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6" r:id="rId3"/>
    <p:sldMasterId id="2147483701" r:id="rId4"/>
    <p:sldMasterId id="2147483715" r:id="rId5"/>
  </p:sldMasterIdLst>
  <p:notesMasterIdLst>
    <p:notesMasterId r:id="rId31"/>
  </p:notesMasterIdLst>
  <p:sldIdLst>
    <p:sldId id="257" r:id="rId6"/>
    <p:sldId id="258" r:id="rId7"/>
    <p:sldId id="259" r:id="rId8"/>
    <p:sldId id="263" r:id="rId9"/>
    <p:sldId id="262" r:id="rId10"/>
    <p:sldId id="331" r:id="rId11"/>
    <p:sldId id="264" r:id="rId12"/>
    <p:sldId id="325" r:id="rId13"/>
    <p:sldId id="267" r:id="rId14"/>
    <p:sldId id="268" r:id="rId15"/>
    <p:sldId id="269" r:id="rId16"/>
    <p:sldId id="291" r:id="rId17"/>
    <p:sldId id="271" r:id="rId18"/>
    <p:sldId id="292" r:id="rId19"/>
    <p:sldId id="326" r:id="rId20"/>
    <p:sldId id="327" r:id="rId21"/>
    <p:sldId id="328" r:id="rId22"/>
    <p:sldId id="329" r:id="rId23"/>
    <p:sldId id="279" r:id="rId24"/>
    <p:sldId id="321" r:id="rId25"/>
    <p:sldId id="322" r:id="rId26"/>
    <p:sldId id="323" r:id="rId27"/>
    <p:sldId id="324" r:id="rId28"/>
    <p:sldId id="286" r:id="rId29"/>
    <p:sldId id="289" r:id="rId30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LLAL MOHAMED-NASSIM" initials="HMN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8757" autoAdjust="0"/>
  </p:normalViewPr>
  <p:slideViewPr>
    <p:cSldViewPr>
      <p:cViewPr>
        <p:scale>
          <a:sx n="75" d="100"/>
          <a:sy n="75" d="100"/>
        </p:scale>
        <p:origin x="-1824" y="-43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E12DC9-3BFA-4D9A-83FB-E999A412B000}" type="datetimeFigureOut">
              <a:rPr lang="fr-FR" smtClean="0"/>
              <a:t>06/11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F0B0D7-CD09-4D16-8C42-D031C207EB4F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424603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2970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21B6196-99FB-4198-9EB5-D67A62DF76E9}" type="slidenum">
              <a:rPr lang="fr-FR" altLang="fr-FR">
                <a:solidFill>
                  <a:srgbClr val="000000"/>
                </a:solidFill>
                <a:latin typeface="Calibri" panose="020F0502020204030204" pitchFamily="34" charset="0"/>
              </a:rPr>
              <a:pPr/>
              <a:t>1</a:t>
            </a:fld>
            <a:endParaRPr lang="fr-FR" altLang="fr-FR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180" name="Espace réservé du pied de page 3"/>
          <p:cNvSpPr>
            <a:spLocks noGrp="1"/>
          </p:cNvSpPr>
          <p:nvPr>
            <p:ph type="ftr" sz="quarter" idx="4"/>
          </p:nvPr>
        </p:nvSpPr>
        <p:spPr bwMode="auto">
          <a:xfrm>
            <a:off x="0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altLang="fr-FR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0181" name="Espace réservé du numéro de diapositive 4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7A6D1E1-6DD1-4625-98BE-5D936BC93335}" type="slidenum">
              <a:rPr lang="fr-FR" altLang="fr-FR">
                <a:solidFill>
                  <a:srgbClr val="000000"/>
                </a:solidFill>
                <a:cs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fr-FR" altLang="fr-FR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B3B5F2-DD26-4152-9A2C-6BA454EF18AA}" type="slidenum">
              <a:rPr lang="fr-FR" smtClean="0">
                <a:solidFill>
                  <a:prstClr val="black"/>
                </a:solidFill>
              </a:rPr>
              <a:pPr/>
              <a:t>14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9668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fld id="{1324118F-A2FB-4AA5-A72B-314B98AE7250}" type="slidenum">
              <a:rPr lang="en-GB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>
                <a:defRPr/>
              </a:pPr>
              <a:t>15</a:t>
            </a:fld>
            <a:endParaRPr lang="en-GB" altLang="en-US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84263" y="768350"/>
            <a:ext cx="4762500" cy="3571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714875"/>
            <a:ext cx="5029200" cy="44656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26" tIns="47463" rIns="94926" bIns="47463" numCol="1" anchor="t" anchorCtr="0" compatLnSpc="1">
            <a:prstTxWarp prst="textNoShape">
              <a:avLst/>
            </a:prstTxWarp>
          </a:bodyPr>
          <a:lstStyle/>
          <a:p>
            <a:pPr lvl="0" rtl="0"/>
            <a:endParaRPr lang="fr-FR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03573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fld id="{1324118F-A2FB-4AA5-A72B-314B98AE7250}" type="slidenum">
              <a:rPr lang="en-GB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>
                <a:defRPr/>
              </a:pPr>
              <a:t>16</a:t>
            </a:fld>
            <a:endParaRPr lang="en-GB" altLang="en-US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84263" y="768350"/>
            <a:ext cx="4762500" cy="3571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714875"/>
            <a:ext cx="5029200" cy="44656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26" tIns="47463" rIns="94926" bIns="47463" numCol="1" anchor="t" anchorCtr="0" compatLnSpc="1">
            <a:prstTxWarp prst="textNoShape">
              <a:avLst/>
            </a:prstTxWarp>
          </a:bodyPr>
          <a:lstStyle/>
          <a:p>
            <a:pPr marL="0" indent="0">
              <a:spcBef>
                <a:spcPct val="0"/>
              </a:spcBef>
              <a:buFontTx/>
              <a:buNone/>
            </a:pP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52035738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fld id="{1324118F-A2FB-4AA5-A72B-314B98AE7250}" type="slidenum">
              <a:rPr lang="en-GB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>
                <a:defRPr/>
              </a:pPr>
              <a:t>17</a:t>
            </a:fld>
            <a:endParaRPr lang="en-GB" altLang="en-US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84263" y="768350"/>
            <a:ext cx="4762500" cy="3571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714875"/>
            <a:ext cx="5029200" cy="44656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26" tIns="47463" rIns="94926" bIns="4746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en-US" dirty="0" smtClean="0"/>
          </a:p>
          <a:p>
            <a:pPr>
              <a:spcBef>
                <a:spcPct val="0"/>
              </a:spcBef>
            </a:pP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52035738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fld id="{1324118F-A2FB-4AA5-A72B-314B98AE7250}" type="slidenum">
              <a:rPr lang="en-GB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>
                <a:defRPr/>
              </a:pPr>
              <a:t>18</a:t>
            </a:fld>
            <a:endParaRPr lang="en-GB" altLang="en-US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84263" y="768350"/>
            <a:ext cx="4762500" cy="3571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714875"/>
            <a:ext cx="5029200" cy="44656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26" tIns="47463" rIns="94926" bIns="47463" numCol="1" anchor="t" anchorCtr="0" compatLnSpc="1">
            <a:prstTxWarp prst="textNoShape">
              <a:avLst/>
            </a:prstTxWarp>
          </a:bodyPr>
          <a:lstStyle/>
          <a:p>
            <a:endParaRPr lang="fr-FR" sz="11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03573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fld id="{1324118F-A2FB-4AA5-A72B-314B98AE7250}" type="slidenum">
              <a:rPr lang="en-GB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>
                <a:defRPr/>
              </a:pPr>
              <a:t>19</a:t>
            </a:fld>
            <a:endParaRPr lang="en-GB" altLang="en-US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84263" y="768350"/>
            <a:ext cx="4762500" cy="3571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714875"/>
            <a:ext cx="5029200" cy="44656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26" tIns="47463" rIns="94926" bIns="4746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5203573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fld id="{1324118F-A2FB-4AA5-A72B-314B98AE7250}" type="slidenum">
              <a:rPr lang="en-GB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>
                <a:defRPr/>
              </a:pPr>
              <a:t>20</a:t>
            </a:fld>
            <a:endParaRPr lang="en-GB" altLang="en-US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84263" y="768350"/>
            <a:ext cx="4762500" cy="3571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714875"/>
            <a:ext cx="5029200" cy="44656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26" tIns="47463" rIns="94926" bIns="4746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5203573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fld id="{1324118F-A2FB-4AA5-A72B-314B98AE7250}" type="slidenum">
              <a:rPr lang="en-GB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>
                <a:defRPr/>
              </a:pPr>
              <a:t>21</a:t>
            </a:fld>
            <a:endParaRPr lang="en-GB" altLang="en-US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84263" y="768350"/>
            <a:ext cx="4762500" cy="3571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714875"/>
            <a:ext cx="5029200" cy="44656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26" tIns="47463" rIns="94926" bIns="4746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5203573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fld id="{1324118F-A2FB-4AA5-A72B-314B98AE7250}" type="slidenum">
              <a:rPr lang="en-GB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>
                <a:defRPr/>
              </a:pPr>
              <a:t>22</a:t>
            </a:fld>
            <a:endParaRPr lang="en-GB" altLang="en-US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84263" y="768350"/>
            <a:ext cx="4762500" cy="3571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714875"/>
            <a:ext cx="5029200" cy="44656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26" tIns="47463" rIns="94926" bIns="47463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520357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b="1" smtClean="0">
              <a:solidFill>
                <a:srgbClr val="000000"/>
              </a:solidFill>
            </a:endParaRPr>
          </a:p>
        </p:txBody>
      </p:sp>
      <p:sp>
        <p:nvSpPr>
          <p:cNvPr id="35844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9A42396-A6DB-4ABD-A458-8066B25FFFE3}" type="slidenum">
              <a:rPr lang="fr-FR" altLang="fr-FR">
                <a:solidFill>
                  <a:srgbClr val="000000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fr-FR" altLang="fr-FR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5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02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02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fld id="{1324118F-A2FB-4AA5-A72B-314B98AE7250}" type="slidenum">
              <a:rPr lang="en-GB" altLang="en-US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pPr>
                <a:defRPr/>
              </a:pPr>
              <a:t>23</a:t>
            </a:fld>
            <a:endParaRPr lang="en-GB" altLang="en-US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4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084263" y="768350"/>
            <a:ext cx="4762500" cy="35718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4714875"/>
            <a:ext cx="5029200" cy="44656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4926" tIns="47463" rIns="94926" bIns="47463" numCol="1" anchor="t" anchorCtr="0" compatLnSpc="1">
            <a:prstTxWarp prst="textNoShape">
              <a:avLst/>
            </a:prstTxWarp>
          </a:bodyPr>
          <a:lstStyle/>
          <a:p>
            <a:pPr lvl="0" rtl="0"/>
            <a:endParaRPr lang="fr-FR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035738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9395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59396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572A9443-A258-4E50-BE01-98A715C32536}" type="slidenum">
              <a:rPr lang="fr-FR" altLang="fr-FR">
                <a:solidFill>
                  <a:srgbClr val="000000"/>
                </a:solidFill>
                <a:latin typeface="Calibri" panose="020F0502020204030204" pitchFamily="34" charset="0"/>
              </a:rPr>
              <a:pPr/>
              <a:t>25</a:t>
            </a:fld>
            <a:endParaRPr lang="fr-FR" altLang="fr-FR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82976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5325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AD64848-3649-4D8B-B309-5B1B6B3AC125}" type="slidenum">
              <a:rPr lang="fr-FR" altLang="fr-FR">
                <a:solidFill>
                  <a:srgbClr val="000000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fr-FR" altLang="fr-FR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593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F4140C-7095-4F8E-ACF3-28B44A2F4551}" type="slidenum">
              <a:rPr kumimoji="0" lang="fr-FR" altLang="fr-F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altLang="fr-FR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47738" y="744538"/>
            <a:ext cx="49625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28401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75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175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175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175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17575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17575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fld id="{EC6DC67C-5B5A-4430-8F6E-10D50B4BFD3A}" type="slidenum">
              <a:rPr lang="en-US" b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pPr eaLnBrk="1" hangingPunct="1"/>
              <a:t>8</a:t>
            </a:fld>
            <a:endParaRPr lang="en-US" b="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7388"/>
            <a:ext cx="4568825" cy="3425825"/>
          </a:xfrm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endParaRPr lang="en-US" baseline="0" dirty="0" smtClean="0">
              <a:effectLst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685800" fontAlgn="base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E46C0A"/>
              </a:buClr>
              <a:buSzTx/>
              <a:buFont typeface="Wingdings" panose="05000000000000000000" pitchFamily="2" charset="2"/>
              <a:buNone/>
              <a:tabLst/>
              <a:defRPr/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F0B0D7-CD09-4D16-8C42-D031C207EB4F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48315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smtClean="0"/>
          </a:p>
        </p:txBody>
      </p:sp>
      <p:sp>
        <p:nvSpPr>
          <p:cNvPr id="43012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64D06E7-D696-4BD8-8996-02520FF9635C}" type="slidenum">
              <a:rPr lang="fr-FR" altLang="fr-FR">
                <a:solidFill>
                  <a:srgbClr val="000000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fr-FR" altLang="fr-FR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 dirty="0" smtClean="0"/>
          </a:p>
        </p:txBody>
      </p:sp>
      <p:sp>
        <p:nvSpPr>
          <p:cNvPr id="45060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E80DFB9-1D03-4185-80A5-79316DE8ABA6}" type="slidenum">
              <a:rPr lang="fr-FR" altLang="fr-FR">
                <a:solidFill>
                  <a:srgbClr val="000000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fr-FR" altLang="fr-FR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baseline="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B3B5F2-DD26-4152-9A2C-6BA454EF18AA}" type="slidenum">
              <a:rPr lang="fr-FR" smtClean="0">
                <a:solidFill>
                  <a:prstClr val="black"/>
                </a:solidFill>
              </a:rPr>
              <a:pPr/>
              <a:t>12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227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jp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2.jpeg"/><Relationship Id="rId7" Type="http://schemas.openxmlformats.org/officeDocument/2006/relationships/image" Target="../media/image5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4.jpg"/><Relationship Id="rId5" Type="http://schemas.microsoft.com/office/2007/relationships/hdphoto" Target="../media/hdphoto1.wdp"/><Relationship Id="rId4" Type="http://schemas.openxmlformats.org/officeDocument/2006/relationships/image" Target="../media/image3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2.jpeg"/><Relationship Id="rId7" Type="http://schemas.openxmlformats.org/officeDocument/2006/relationships/image" Target="../media/image5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4.jpg"/><Relationship Id="rId5" Type="http://schemas.microsoft.com/office/2007/relationships/hdphoto" Target="../media/hdphoto1.wdp"/><Relationship Id="rId4" Type="http://schemas.openxmlformats.org/officeDocument/2006/relationships/image" Target="../media/image3.jpe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179787" y="4848238"/>
            <a:ext cx="8712994" cy="23813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/>
          <p:cNvCxnSpPr/>
          <p:nvPr userDrawn="1"/>
        </p:nvCxnSpPr>
        <p:spPr>
          <a:xfrm>
            <a:off x="179787" y="2276475"/>
            <a:ext cx="8712994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285" y="908063"/>
            <a:ext cx="841772" cy="1027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Hexagone 6"/>
          <p:cNvSpPr>
            <a:spLocks noChangeAspect="1"/>
          </p:cNvSpPr>
          <p:nvPr userDrawn="1"/>
        </p:nvSpPr>
        <p:spPr>
          <a:xfrm>
            <a:off x="1257605" y="1628800"/>
            <a:ext cx="1278861" cy="1150970"/>
          </a:xfrm>
          <a:prstGeom prst="hexagon">
            <a:avLst/>
          </a:prstGeom>
          <a:blipFill>
            <a:blip r:embed="rId3" cstate="print">
              <a:extLst/>
            </a:blip>
            <a:stretch>
              <a:fillRect/>
            </a:stretch>
          </a:blipFill>
          <a:ln w="12700">
            <a:solidFill>
              <a:schemeClr val="tx1"/>
            </a:solidFill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8" name="Hexagone 7"/>
          <p:cNvSpPr>
            <a:spLocks noChangeAspect="1"/>
          </p:cNvSpPr>
          <p:nvPr userDrawn="1"/>
        </p:nvSpPr>
        <p:spPr>
          <a:xfrm>
            <a:off x="107504" y="2314052"/>
            <a:ext cx="1278861" cy="1150970"/>
          </a:xfrm>
          <a:prstGeom prst="hexagon">
            <a:avLst/>
          </a:prstGeom>
          <a:blipFill>
            <a:blip r:embed="rId4">
              <a:extLst/>
            </a:blip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9" name="Hexagone 8"/>
          <p:cNvSpPr>
            <a:spLocks noChangeAspect="1"/>
          </p:cNvSpPr>
          <p:nvPr userDrawn="1"/>
        </p:nvSpPr>
        <p:spPr>
          <a:xfrm>
            <a:off x="107504" y="3649564"/>
            <a:ext cx="1278861" cy="1150970"/>
          </a:xfrm>
          <a:prstGeom prst="hexagon">
            <a:avLst/>
          </a:prstGeom>
          <a:blipFill>
            <a:blip r:embed="rId5"/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10" name="Hexagone 9"/>
          <p:cNvSpPr>
            <a:spLocks noChangeAspect="1"/>
          </p:cNvSpPr>
          <p:nvPr userDrawn="1"/>
        </p:nvSpPr>
        <p:spPr>
          <a:xfrm>
            <a:off x="1257605" y="4272072"/>
            <a:ext cx="1278861" cy="1150970"/>
          </a:xfrm>
          <a:prstGeom prst="hexagon">
            <a:avLst/>
          </a:prstGeom>
          <a:blipFill>
            <a:blip r:embed="rId6"/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>
              <a:defRPr/>
            </a:pPr>
            <a:endParaRPr lang="fr-FR" sz="1350">
              <a:solidFill>
                <a:prstClr val="white"/>
              </a:solidFill>
            </a:endParaRPr>
          </a:p>
        </p:txBody>
      </p:sp>
      <p:sp>
        <p:nvSpPr>
          <p:cNvPr id="11" name="Freeform 21"/>
          <p:cNvSpPr>
            <a:spLocks noChangeAspect="1"/>
          </p:cNvSpPr>
          <p:nvPr userDrawn="1"/>
        </p:nvSpPr>
        <p:spPr bwMode="auto">
          <a:xfrm>
            <a:off x="1257606" y="2928798"/>
            <a:ext cx="1318498" cy="1192924"/>
          </a:xfrm>
          <a:prstGeom prst="hexagon">
            <a:avLst/>
          </a:prstGeom>
          <a:blipFill dpi="0" rotWithShape="1">
            <a:blip r:embed="rId7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/>
          <a:lstStyle/>
          <a:p>
            <a:pPr defTabSz="685800">
              <a:defRPr/>
            </a:pPr>
            <a:endParaRPr lang="fr-FR" sz="1350" dirty="0">
              <a:solidFill>
                <a:prstClr val="black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483769" y="2314052"/>
            <a:ext cx="6408712" cy="2475724"/>
          </a:xfrm>
        </p:spPr>
        <p:txBody>
          <a:bodyPr/>
          <a:lstStyle>
            <a:lvl1pPr algn="ctr">
              <a:defRPr sz="21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578339" y="5013176"/>
            <a:ext cx="4578267" cy="481874"/>
          </a:xfrm>
        </p:spPr>
        <p:txBody>
          <a:bodyPr>
            <a:no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15" name="Espace réservé de la date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5A470F0-1D75-4987-9FD8-0FB768F8794A}" type="datetime1">
              <a:rPr lang="fr-FR" smtClean="0"/>
              <a:t>06/11/2018</a:t>
            </a:fld>
            <a:endParaRPr lang="fr-FR" dirty="0"/>
          </a:p>
        </p:txBody>
      </p:sp>
      <p:sp>
        <p:nvSpPr>
          <p:cNvPr id="16" name="Espace réservé du pied de page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FR" dirty="0"/>
          </a:p>
        </p:txBody>
      </p:sp>
      <p:sp>
        <p:nvSpPr>
          <p:cNvPr id="17" name="Espace réservé du numéro de diapositive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A8E9DDF-8B28-42BD-98AD-DD59700DB9CB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2260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4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F03DAE-EE0B-4066-BA07-7CED77C364DA}" type="datetime1">
              <a:rPr lang="fr-FR" smtClean="0"/>
              <a:t>06/11/2018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7E15B0-1E55-4869-870C-CB7BD6B41320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155582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9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54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54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BE789D-E0F7-472F-B7E5-7D22F0194841}" type="datetime1">
              <a:rPr lang="fr-FR" smtClean="0"/>
              <a:t>06/11/2018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865A4A-5F23-4674-A2BF-B3242F7674D2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106858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179787" y="4848232"/>
            <a:ext cx="8712994" cy="23813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/>
          <p:cNvCxnSpPr/>
          <p:nvPr userDrawn="1"/>
        </p:nvCxnSpPr>
        <p:spPr>
          <a:xfrm>
            <a:off x="179787" y="2276475"/>
            <a:ext cx="8712994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9317" y="908050"/>
            <a:ext cx="972740" cy="97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Hexagone 6"/>
          <p:cNvSpPr>
            <a:spLocks noChangeAspect="1"/>
          </p:cNvSpPr>
          <p:nvPr userDrawn="1"/>
        </p:nvSpPr>
        <p:spPr>
          <a:xfrm>
            <a:off x="1257605" y="1628800"/>
            <a:ext cx="1278861" cy="1150970"/>
          </a:xfrm>
          <a:prstGeom prst="hexagon">
            <a:avLst/>
          </a:prstGeom>
          <a:blipFill>
            <a:blip r:embed="rId3" cstate="print">
              <a:extLst/>
            </a:blip>
            <a:stretch>
              <a:fillRect/>
            </a:stretch>
          </a:blipFill>
          <a:ln w="12700">
            <a:solidFill>
              <a:schemeClr val="tx1"/>
            </a:solidFill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Hexagone 7"/>
          <p:cNvSpPr>
            <a:spLocks noChangeAspect="1"/>
          </p:cNvSpPr>
          <p:nvPr userDrawn="1"/>
        </p:nvSpPr>
        <p:spPr>
          <a:xfrm>
            <a:off x="107504" y="2314052"/>
            <a:ext cx="1278861" cy="1150970"/>
          </a:xfrm>
          <a:prstGeom prst="hexagon">
            <a:avLst/>
          </a:prstGeom>
          <a:blipFill>
            <a:blip r:embed="rId4" cstate="print">
              <a:extLst/>
            </a:blip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Hexagone 8"/>
          <p:cNvSpPr>
            <a:spLocks noChangeAspect="1"/>
          </p:cNvSpPr>
          <p:nvPr userDrawn="1"/>
        </p:nvSpPr>
        <p:spPr>
          <a:xfrm>
            <a:off x="107504" y="3649564"/>
            <a:ext cx="1278861" cy="1150970"/>
          </a:xfrm>
          <a:prstGeom prst="hexagon">
            <a:avLst/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10" name="Hexagone 9"/>
          <p:cNvSpPr>
            <a:spLocks noChangeAspect="1"/>
          </p:cNvSpPr>
          <p:nvPr userDrawn="1"/>
        </p:nvSpPr>
        <p:spPr>
          <a:xfrm>
            <a:off x="1257605" y="4272072"/>
            <a:ext cx="1278861" cy="1150970"/>
          </a:xfrm>
          <a:prstGeom prst="hexagon">
            <a:avLst/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11" name="Freeform 21"/>
          <p:cNvSpPr>
            <a:spLocks noChangeAspect="1"/>
          </p:cNvSpPr>
          <p:nvPr userDrawn="1"/>
        </p:nvSpPr>
        <p:spPr bwMode="auto">
          <a:xfrm>
            <a:off x="1257606" y="2928798"/>
            <a:ext cx="1318498" cy="1192924"/>
          </a:xfrm>
          <a:prstGeom prst="hexagon">
            <a:avLst/>
          </a:prstGeom>
          <a:blipFill dpi="0" rotWithShape="1">
            <a:blip r:embed="rId7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483769" y="2314052"/>
            <a:ext cx="6408712" cy="2475724"/>
          </a:xfrm>
        </p:spPr>
        <p:txBody>
          <a:bodyPr/>
          <a:lstStyle>
            <a:lvl1pPr algn="ctr">
              <a:defRPr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578339" y="5013176"/>
            <a:ext cx="4578267" cy="481874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02431" y="6381757"/>
            <a:ext cx="2133600" cy="365125"/>
          </a:xfrm>
        </p:spPr>
        <p:txBody>
          <a:bodyPr/>
          <a:lstStyle>
            <a:lvl1pPr defTabSz="914180">
              <a:defRPr sz="1050" smtClean="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40E9540E-E301-4BC2-A141-EB1182DC90BE}" type="datetime1">
              <a:rPr lang="fr-FR" smtClean="0"/>
              <a:t>06/11/2018</a:t>
            </a:fld>
            <a:endParaRPr lang="fr-FR"/>
          </a:p>
        </p:txBody>
      </p:sp>
      <p:sp>
        <p:nvSpPr>
          <p:cNvPr id="1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46822" y="6381757"/>
            <a:ext cx="2895600" cy="365125"/>
          </a:xfrm>
        </p:spPr>
        <p:txBody>
          <a:bodyPr/>
          <a:lstStyle>
            <a:lvl1pPr defTabSz="914180">
              <a:defRPr sz="105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59179" y="6381757"/>
            <a:ext cx="2133600" cy="365125"/>
          </a:xfrm>
        </p:spPr>
        <p:txBody>
          <a:bodyPr/>
          <a:lstStyle>
            <a:lvl1pPr defTabSz="914180">
              <a:defRPr sz="1050" smtClean="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358513BF-BA0F-46E3-BAC0-D5BD07774D42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5836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4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/>
          <p:cNvCxnSpPr/>
          <p:nvPr userDrawn="1"/>
        </p:nvCxnSpPr>
        <p:spPr>
          <a:xfrm>
            <a:off x="251226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1520" y="908720"/>
            <a:ext cx="8640960" cy="54006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 sz="1000" smtClean="0"/>
            </a:lvl1pPr>
          </a:lstStyle>
          <a:p>
            <a:pPr>
              <a:defRPr/>
            </a:pPr>
            <a:fld id="{C48C37CC-65F9-4188-89E1-943FAF97D0CD}" type="datetime1">
              <a:rPr lang="fr-FR" smtClean="0"/>
              <a:t>06/11/2018</a:t>
            </a:fld>
            <a:endParaRPr lang="fr-FR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 sz="10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 sz="1000" smtClean="0"/>
            </a:lvl1pPr>
          </a:lstStyle>
          <a:p>
            <a:pPr>
              <a:defRPr/>
            </a:pPr>
            <a:fld id="{2C09ABEB-8707-427A-B921-F8E9FCA0202F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52156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6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2400" b="1" cap="all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7BF9E32C-EFAE-4B26-AA20-B27268CD5EF6}" type="datetime1">
              <a:rPr lang="fr-FR" smtClean="0"/>
              <a:t>06/11/2018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188A8054-5FD6-483E-9EA0-2E0E2DEDDDC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02475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51224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5"/>
          <p:cNvCxnSpPr/>
          <p:nvPr userDrawn="1"/>
        </p:nvCxnSpPr>
        <p:spPr>
          <a:xfrm>
            <a:off x="251226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51521" y="908720"/>
            <a:ext cx="4176464" cy="54006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4009" y="908720"/>
            <a:ext cx="4247512" cy="54006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E1879045-5122-44FA-8346-158B6A5C8753}" type="datetime1">
              <a:rPr lang="fr-FR" smtClean="0"/>
              <a:t>06/11/2018</a:t>
            </a:fld>
            <a:endParaRPr lang="fr-FR"/>
          </a:p>
        </p:txBody>
      </p:sp>
      <p:sp>
        <p:nvSpPr>
          <p:cNvPr id="8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1574CAE5-2D2E-4FCB-8CFA-913D12F15ABF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77662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/>
          <p:cNvCxnSpPr/>
          <p:nvPr userDrawn="1"/>
        </p:nvCxnSpPr>
        <p:spPr>
          <a:xfrm>
            <a:off x="251224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251226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51521" y="980728"/>
            <a:ext cx="417646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51521" y="1620490"/>
            <a:ext cx="4176464" cy="468883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716019" y="980728"/>
            <a:ext cx="417646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716019" y="1620490"/>
            <a:ext cx="4176464" cy="468883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38E6C856-78FA-4101-A9AF-259EB3937EBB}" type="datetime1">
              <a:rPr lang="fr-FR" smtClean="0"/>
              <a:t>06/11/2018</a:t>
            </a:fld>
            <a:endParaRPr lang="fr-FR"/>
          </a:p>
        </p:txBody>
      </p:sp>
      <p:sp>
        <p:nvSpPr>
          <p:cNvPr id="10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145C7F1C-882D-4B31-A062-2C41265B601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89344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51224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3"/>
          <p:cNvCxnSpPr/>
          <p:nvPr userDrawn="1"/>
        </p:nvCxnSpPr>
        <p:spPr>
          <a:xfrm>
            <a:off x="251226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5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6358E188-D021-4583-AB1E-14CCBC4B3062}" type="datetime1">
              <a:rPr lang="fr-FR" smtClean="0"/>
              <a:t>06/11/2018</a:t>
            </a:fld>
            <a:endParaRPr lang="fr-FR" dirty="0"/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EEF5C028-B261-42B1-B546-2633A826CE0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573189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/>
          <p:cNvCxnSpPr/>
          <p:nvPr userDrawn="1"/>
        </p:nvCxnSpPr>
        <p:spPr>
          <a:xfrm>
            <a:off x="251226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971FC9D3-DDE2-4DBA-9E5F-B733386FE9BD}" type="datetime1">
              <a:rPr lang="fr-FR" smtClean="0"/>
              <a:t>06/11/2018</a:t>
            </a:fld>
            <a:endParaRPr lang="fr-FR"/>
          </a:p>
        </p:txBody>
      </p:sp>
      <p:sp>
        <p:nvSpPr>
          <p:cNvPr id="4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19A10309-4B41-4D47-AD93-18D7A40A6A9A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71629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51226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8"/>
            <a:ext cx="5111750" cy="58531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D9DEA90B-5B54-4FAD-BE0F-AFC88DD7FD88}" type="datetime1">
              <a:rPr lang="fr-FR" smtClean="0"/>
              <a:t>06/11/2018</a:t>
            </a:fld>
            <a:endParaRPr lang="fr-FR"/>
          </a:p>
        </p:txBody>
      </p:sp>
      <p:sp>
        <p:nvSpPr>
          <p:cNvPr id="7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C1A2D8C2-68E3-4A7D-8C78-43AE319F76C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79709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4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/>
          <p:cNvCxnSpPr/>
          <p:nvPr userDrawn="1"/>
        </p:nvCxnSpPr>
        <p:spPr>
          <a:xfrm>
            <a:off x="251229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1520" y="908720"/>
            <a:ext cx="8640960" cy="54006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750" smtClean="0"/>
            </a:lvl1pPr>
          </a:lstStyle>
          <a:p>
            <a:pPr>
              <a:defRPr/>
            </a:pPr>
            <a:fld id="{4CD74E97-6675-45A2-BF74-B89D124D63EB}" type="datetime1">
              <a:rPr lang="fr-FR" smtClean="0"/>
              <a:t>06/11/2018</a:t>
            </a:fld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750" smtClean="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50" smtClean="0"/>
            </a:lvl1pPr>
          </a:lstStyle>
          <a:p>
            <a:pPr>
              <a:defRPr/>
            </a:pPr>
            <a:fld id="{22F5B5D8-74B3-4FD1-88D7-1C79C37A0425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674670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51226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5140A65C-4F48-4C94-B33C-8AB0E8BB239D}" type="datetime1">
              <a:rPr lang="fr-FR" smtClean="0"/>
              <a:t>06/11/2018</a:t>
            </a:fld>
            <a:endParaRPr lang="fr-FR"/>
          </a:p>
        </p:txBody>
      </p:sp>
      <p:sp>
        <p:nvSpPr>
          <p:cNvPr id="7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4A961E28-6C95-4EF9-A24F-C025DB766AED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72016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4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3B2D5B46-005F-4266-9530-6C9AE158212E}" type="datetime1">
              <a:rPr lang="fr-FR" smtClean="0"/>
              <a:t>06/11/2018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70FDC6F2-35EF-4995-B43D-D1DEEA3AAAE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22383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6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6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6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B726BB1A-9704-4106-A42E-4FFF27F2CA62}" type="datetime1">
              <a:rPr lang="fr-FR" smtClean="0"/>
              <a:t>06/11/2018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73CD739B-B24D-4E0E-8BC7-3209769C84C1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77529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3355849"/>
            <a:ext cx="8077200" cy="1673352"/>
          </a:xfrm>
        </p:spPr>
        <p:txBody>
          <a:bodyPr tIns="0" rIns="45720" bIns="0" anchor="t"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lvl1pPr algn="l">
              <a:defRPr sz="4700" b="1"/>
            </a:lvl1pPr>
            <a:extLst/>
          </a:lstStyle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3283586"/>
      </p:ext>
    </p:extLst>
  </p:cSld>
  <p:clrMapOvr>
    <a:masterClrMapping/>
  </p:clrMapOvr>
  <p:transition spd="slow">
    <p:fade thruBlk="1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211142" y="44458"/>
            <a:ext cx="8721725" cy="6454775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87956" y="6308725"/>
            <a:ext cx="576263" cy="357188"/>
          </a:xfrm>
        </p:spPr>
        <p:txBody>
          <a:bodyPr/>
          <a:lstStyle>
            <a:lvl1pPr defTabSz="914180"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AABC9FB-3EEA-4926-92B5-50600B39EF1F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 defTabSz="914180">
              <a:defRPr smtClean="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17294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Connecteur droit 13"/>
          <p:cNvCxnSpPr/>
          <p:nvPr/>
        </p:nvCxnSpPr>
        <p:spPr>
          <a:xfrm>
            <a:off x="179512" y="4847569"/>
            <a:ext cx="8712968" cy="24453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/>
        </p:nvCxnSpPr>
        <p:spPr>
          <a:xfrm>
            <a:off x="179512" y="2276872"/>
            <a:ext cx="8712968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483769" y="2314054"/>
            <a:ext cx="6408712" cy="2475724"/>
          </a:xfrm>
        </p:spPr>
        <p:txBody>
          <a:bodyPr>
            <a:normAutofit/>
          </a:bodyPr>
          <a:lstStyle>
            <a:lvl1pPr algn="ctr">
              <a:defRPr sz="3333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578342" y="5013187"/>
            <a:ext cx="4578267" cy="481873"/>
          </a:xfrm>
        </p:spPr>
        <p:txBody>
          <a:bodyPr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 marL="544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3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7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0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02865" y="6381340"/>
            <a:ext cx="2133600" cy="365125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AB25E0B7-341E-4B0A-8FAA-7500A912BF7A}" type="datetime1">
              <a:rPr lang="fr-FR" smtClean="0">
                <a:solidFill>
                  <a:prstClr val="black"/>
                </a:solidFill>
                <a:latin typeface="Arial"/>
              </a:rPr>
              <a:t>06/11/2018</a:t>
            </a:fld>
            <a:endParaRPr lang="fr-FR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46352" y="6381340"/>
            <a:ext cx="2895600" cy="365125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58881" y="6381340"/>
            <a:ext cx="2133600" cy="365125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57C9965D-C35C-4C81-A866-AF0EB9175DFD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753" y="908731"/>
            <a:ext cx="972486" cy="972487"/>
          </a:xfrm>
          <a:prstGeom prst="rect">
            <a:avLst/>
          </a:prstGeom>
        </p:spPr>
      </p:pic>
      <p:sp>
        <p:nvSpPr>
          <p:cNvPr id="9" name="Hexagone 8"/>
          <p:cNvSpPr>
            <a:spLocks noChangeAspect="1"/>
          </p:cNvSpPr>
          <p:nvPr/>
        </p:nvSpPr>
        <p:spPr>
          <a:xfrm>
            <a:off x="1257605" y="1628809"/>
            <a:ext cx="1278861" cy="1150971"/>
          </a:xfrm>
          <a:prstGeom prst="hexagon">
            <a:avLst/>
          </a:prstGeom>
          <a:blipFill>
            <a:blip r:embed="rId3" cstate="print">
              <a:extLst/>
            </a:blip>
            <a:stretch>
              <a:fillRect/>
            </a:stretch>
          </a:blipFill>
          <a:ln w="12700">
            <a:solidFill>
              <a:schemeClr val="tx1"/>
            </a:solidFill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40" tIns="54420" rIns="108840" bIns="54420" rtlCol="0" anchor="ctr"/>
          <a:lstStyle/>
          <a:p>
            <a:pPr algn="ctr" defTabSz="1088367">
              <a:defRPr/>
            </a:pPr>
            <a:endParaRPr lang="fr-FR" sz="2133">
              <a:solidFill>
                <a:prstClr val="white"/>
              </a:solidFill>
            </a:endParaRPr>
          </a:p>
        </p:txBody>
      </p:sp>
      <p:sp>
        <p:nvSpPr>
          <p:cNvPr id="10" name="Hexagone 9"/>
          <p:cNvSpPr>
            <a:spLocks noChangeAspect="1"/>
          </p:cNvSpPr>
          <p:nvPr/>
        </p:nvSpPr>
        <p:spPr>
          <a:xfrm>
            <a:off x="107507" y="2314062"/>
            <a:ext cx="1278861" cy="1150971"/>
          </a:xfrm>
          <a:prstGeom prst="hexagon">
            <a:avLst/>
          </a:prstGeo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40" tIns="54420" rIns="108840" bIns="54420" rtlCol="0" anchor="ctr"/>
          <a:lstStyle/>
          <a:p>
            <a:pPr algn="ctr" defTabSz="1088367">
              <a:defRPr/>
            </a:pPr>
            <a:endParaRPr lang="fr-FR" sz="2133">
              <a:solidFill>
                <a:prstClr val="white"/>
              </a:solidFill>
            </a:endParaRPr>
          </a:p>
        </p:txBody>
      </p:sp>
      <p:sp>
        <p:nvSpPr>
          <p:cNvPr id="11" name="Hexagone 10"/>
          <p:cNvSpPr>
            <a:spLocks noChangeAspect="1"/>
          </p:cNvSpPr>
          <p:nvPr/>
        </p:nvSpPr>
        <p:spPr>
          <a:xfrm>
            <a:off x="107507" y="3649573"/>
            <a:ext cx="1278861" cy="1150971"/>
          </a:xfrm>
          <a:prstGeom prst="hexagon">
            <a:avLst/>
          </a:prstGeom>
          <a:blipFill>
            <a:blip r:embed="rId6"/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40" tIns="54420" rIns="108840" bIns="54420" rtlCol="0" anchor="ctr"/>
          <a:lstStyle/>
          <a:p>
            <a:pPr algn="ctr" defTabSz="1088367">
              <a:defRPr/>
            </a:pPr>
            <a:endParaRPr lang="fr-FR" sz="2133">
              <a:solidFill>
                <a:prstClr val="white"/>
              </a:solidFill>
            </a:endParaRPr>
          </a:p>
        </p:txBody>
      </p:sp>
      <p:sp>
        <p:nvSpPr>
          <p:cNvPr id="12" name="Hexagone 11"/>
          <p:cNvSpPr>
            <a:spLocks noChangeAspect="1"/>
          </p:cNvSpPr>
          <p:nvPr/>
        </p:nvSpPr>
        <p:spPr>
          <a:xfrm>
            <a:off x="1257605" y="4272081"/>
            <a:ext cx="1278861" cy="1150971"/>
          </a:xfrm>
          <a:prstGeom prst="hexagon">
            <a:avLst/>
          </a:prstGeom>
          <a:blipFill>
            <a:blip r:embed="rId7"/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840" tIns="54420" rIns="108840" bIns="54420" rtlCol="0" anchor="ctr"/>
          <a:lstStyle/>
          <a:p>
            <a:pPr algn="ctr" defTabSz="1088367">
              <a:defRPr/>
            </a:pPr>
            <a:endParaRPr lang="fr-FR" sz="2133">
              <a:solidFill>
                <a:prstClr val="white"/>
              </a:solidFill>
            </a:endParaRPr>
          </a:p>
        </p:txBody>
      </p:sp>
      <p:sp>
        <p:nvSpPr>
          <p:cNvPr id="15" name="Freeform 21" descr="pipelines"/>
          <p:cNvSpPr>
            <a:spLocks noChangeAspect="1"/>
          </p:cNvSpPr>
          <p:nvPr/>
        </p:nvSpPr>
        <p:spPr bwMode="auto">
          <a:xfrm>
            <a:off x="1257606" y="2928799"/>
            <a:ext cx="1318498" cy="1192924"/>
          </a:xfrm>
          <a:prstGeom prst="hexagon">
            <a:avLst/>
          </a:prstGeom>
          <a:blipFill dpi="0" rotWithShape="1">
            <a:blip r:embed="rId8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lIns="108840" tIns="54420" rIns="108840" bIns="54420"/>
          <a:lstStyle/>
          <a:p>
            <a:pPr defTabSz="1088367">
              <a:defRPr/>
            </a:pPr>
            <a:endParaRPr lang="fr-FR" sz="2133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271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1521" y="908720"/>
            <a:ext cx="8640960" cy="54006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200"/>
            </a:lvl1pPr>
          </a:lstStyle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3C03CC6-9292-444B-88A2-2E489D70CBF2}" type="datetime1">
              <a:rPr lang="fr-FR" smtClean="0">
                <a:solidFill>
                  <a:prstClr val="black"/>
                </a:solidFill>
                <a:latin typeface="Arial"/>
              </a:rPr>
              <a:t>06/11/2018</a:t>
            </a:fld>
            <a:endParaRPr lang="fr-FR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200"/>
            </a:lvl1pPr>
          </a:lstStyle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/>
            </a:lvl1pPr>
          </a:lstStyle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C3ABD1F-8E66-446F-8EA8-A161B4CBAE0D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251521" y="764704"/>
            <a:ext cx="8640960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/>
        </p:nvCxnSpPr>
        <p:spPr>
          <a:xfrm>
            <a:off x="251520" y="6398107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08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>
            <a:normAutofit/>
          </a:bodyPr>
          <a:lstStyle>
            <a:lvl1pPr algn="l">
              <a:defRPr sz="2800" b="1" cap="all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54418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2pPr>
            <a:lvl3pPr marL="108836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632550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4pPr>
            <a:lvl5pPr marL="2176734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5pPr>
            <a:lvl6pPr marL="2720917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6pPr>
            <a:lvl7pPr marL="3265101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7pPr>
            <a:lvl8pPr marL="3809285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8pPr>
            <a:lvl9pPr marL="4353468" indent="0">
              <a:buNone/>
              <a:defRPr sz="17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0286E5E-242B-4928-9956-705A0E188EC2}" type="datetime1">
              <a:rPr lang="fr-FR" smtClean="0">
                <a:solidFill>
                  <a:prstClr val="black"/>
                </a:solidFill>
                <a:latin typeface="Arial"/>
              </a:rPr>
              <a:t>06/11/2018</a:t>
            </a:fld>
            <a:endParaRPr lang="fr-FR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6BA9968-1CC9-4A37-9382-CA7AD702BBCB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251520" y="6398107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130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51521" y="908720"/>
            <a:ext cx="4176464" cy="5400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733"/>
            </a:lvl4pPr>
            <a:lvl5pPr>
              <a:defRPr sz="17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4009" y="908720"/>
            <a:ext cx="4247512" cy="54006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733"/>
            </a:lvl4pPr>
            <a:lvl5pPr>
              <a:defRPr sz="17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2FC3C74D-D2B7-4762-AA58-972E43B1F8EE}" type="datetime1">
              <a:rPr lang="fr-FR" smtClean="0">
                <a:solidFill>
                  <a:prstClr val="black"/>
                </a:solidFill>
                <a:latin typeface="Arial"/>
              </a:rPr>
              <a:t>06/11/2018</a:t>
            </a:fld>
            <a:endParaRPr lang="fr-FR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AA356DB9-1367-4155-93EA-07240EFD6BB6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8" name="Connecteur droit 7"/>
          <p:cNvCxnSpPr/>
          <p:nvPr/>
        </p:nvCxnSpPr>
        <p:spPr>
          <a:xfrm>
            <a:off x="251521" y="764704"/>
            <a:ext cx="8640960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/>
        </p:nvCxnSpPr>
        <p:spPr>
          <a:xfrm>
            <a:off x="251520" y="6398107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4854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51521" y="980739"/>
            <a:ext cx="4176464" cy="639761"/>
          </a:xfrm>
        </p:spPr>
        <p:txBody>
          <a:bodyPr anchor="b">
            <a:noAutofit/>
          </a:bodyPr>
          <a:lstStyle>
            <a:lvl1pPr marL="0" indent="0" algn="ctr">
              <a:buNone/>
              <a:defRPr sz="2133" b="1"/>
            </a:lvl1pPr>
            <a:lvl2pPr marL="544184" indent="0">
              <a:buNone/>
              <a:defRPr sz="2400" b="1"/>
            </a:lvl2pPr>
            <a:lvl3pPr marL="1088367" indent="0">
              <a:buNone/>
              <a:defRPr sz="2133" b="1"/>
            </a:lvl3pPr>
            <a:lvl4pPr marL="1632550" indent="0">
              <a:buNone/>
              <a:defRPr sz="1867" b="1"/>
            </a:lvl4pPr>
            <a:lvl5pPr marL="2176734" indent="0">
              <a:buNone/>
              <a:defRPr sz="1867" b="1"/>
            </a:lvl5pPr>
            <a:lvl6pPr marL="2720917" indent="0">
              <a:buNone/>
              <a:defRPr sz="1867" b="1"/>
            </a:lvl6pPr>
            <a:lvl7pPr marL="3265101" indent="0">
              <a:buNone/>
              <a:defRPr sz="1867" b="1"/>
            </a:lvl7pPr>
            <a:lvl8pPr marL="3809285" indent="0">
              <a:buNone/>
              <a:defRPr sz="1867" b="1"/>
            </a:lvl8pPr>
            <a:lvl9pPr marL="4353468" indent="0">
              <a:buNone/>
              <a:defRPr sz="1867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51521" y="1620493"/>
            <a:ext cx="4176464" cy="468882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867"/>
            </a:lvl2pPr>
            <a:lvl3pPr>
              <a:defRPr sz="1733"/>
            </a:lvl3pPr>
            <a:lvl4pPr>
              <a:defRPr sz="1467"/>
            </a:lvl4pPr>
            <a:lvl5pPr>
              <a:defRPr sz="14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716019" y="980739"/>
            <a:ext cx="4176464" cy="639761"/>
          </a:xfrm>
        </p:spPr>
        <p:txBody>
          <a:bodyPr anchor="b">
            <a:noAutofit/>
          </a:bodyPr>
          <a:lstStyle>
            <a:lvl1pPr marL="0" indent="0" algn="ctr">
              <a:buNone/>
              <a:defRPr sz="2133" b="1"/>
            </a:lvl1pPr>
            <a:lvl2pPr marL="544184" indent="0">
              <a:buNone/>
              <a:defRPr sz="2400" b="1"/>
            </a:lvl2pPr>
            <a:lvl3pPr marL="1088367" indent="0">
              <a:buNone/>
              <a:defRPr sz="2133" b="1"/>
            </a:lvl3pPr>
            <a:lvl4pPr marL="1632550" indent="0">
              <a:buNone/>
              <a:defRPr sz="1867" b="1"/>
            </a:lvl4pPr>
            <a:lvl5pPr marL="2176734" indent="0">
              <a:buNone/>
              <a:defRPr sz="1867" b="1"/>
            </a:lvl5pPr>
            <a:lvl6pPr marL="2720917" indent="0">
              <a:buNone/>
              <a:defRPr sz="1867" b="1"/>
            </a:lvl6pPr>
            <a:lvl7pPr marL="3265101" indent="0">
              <a:buNone/>
              <a:defRPr sz="1867" b="1"/>
            </a:lvl7pPr>
            <a:lvl8pPr marL="3809285" indent="0">
              <a:buNone/>
              <a:defRPr sz="1867" b="1"/>
            </a:lvl8pPr>
            <a:lvl9pPr marL="4353468" indent="0">
              <a:buNone/>
              <a:defRPr sz="1867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716019" y="1620493"/>
            <a:ext cx="4176464" cy="4688829"/>
          </a:xfrm>
        </p:spPr>
        <p:txBody>
          <a:bodyPr>
            <a:normAutofit/>
          </a:bodyPr>
          <a:lstStyle>
            <a:lvl1pPr>
              <a:defRPr sz="2133"/>
            </a:lvl1pPr>
            <a:lvl2pPr>
              <a:defRPr sz="1867"/>
            </a:lvl2pPr>
            <a:lvl3pPr>
              <a:defRPr sz="1733"/>
            </a:lvl3pPr>
            <a:lvl4pPr>
              <a:defRPr sz="1467"/>
            </a:lvl4pPr>
            <a:lvl5pPr>
              <a:defRPr sz="1467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E70718A0-BBCE-4E54-A28E-3AB7058C5858}" type="datetime1">
              <a:rPr lang="fr-FR" smtClean="0">
                <a:solidFill>
                  <a:prstClr val="black"/>
                </a:solidFill>
                <a:latin typeface="Arial"/>
              </a:rPr>
              <a:t>06/11/2018</a:t>
            </a:fld>
            <a:endParaRPr lang="fr-FR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03A73A2-8D06-41C3-96F4-CA3B7E18E5D8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10" name="Connecteur droit 9"/>
          <p:cNvCxnSpPr/>
          <p:nvPr/>
        </p:nvCxnSpPr>
        <p:spPr>
          <a:xfrm>
            <a:off x="251521" y="764704"/>
            <a:ext cx="8640960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/>
        </p:nvCxnSpPr>
        <p:spPr>
          <a:xfrm>
            <a:off x="251520" y="6398107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2112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9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16"/>
            <a:ext cx="7772400" cy="1362075"/>
          </a:xfrm>
        </p:spPr>
        <p:txBody>
          <a:bodyPr anchor="t"/>
          <a:lstStyle>
            <a:lvl1pPr algn="l">
              <a:defRPr sz="1800" b="1" cap="all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F37529-44F4-4010-9D21-E5F01BEC6D6F}" type="datetime1">
              <a:rPr lang="fr-FR" smtClean="0"/>
              <a:t>06/11/2018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7FF460-8B58-4264-8F8F-069F17444A0B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51201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cxnSp>
        <p:nvCxnSpPr>
          <p:cNvPr id="6" name="Connecteur droit 5"/>
          <p:cNvCxnSpPr/>
          <p:nvPr/>
        </p:nvCxnSpPr>
        <p:spPr>
          <a:xfrm>
            <a:off x="251521" y="764704"/>
            <a:ext cx="8640960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/>
        </p:nvCxnSpPr>
        <p:spPr>
          <a:xfrm>
            <a:off x="251520" y="6398107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7538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51EBD8E3-F182-42AC-83EF-29C032D95838}" type="datetime1">
              <a:rPr lang="fr-FR" smtClean="0">
                <a:solidFill>
                  <a:prstClr val="black"/>
                </a:solidFill>
                <a:latin typeface="Arial"/>
              </a:rPr>
              <a:t>06/11/2018</a:t>
            </a:fld>
            <a:endParaRPr lang="fr-FR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black"/>
              </a:solidFill>
              <a:latin typeface="Arial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62CBF1AB-6696-456D-98CE-218EAD68CBDC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251520" y="6398107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8140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5" y="273062"/>
            <a:ext cx="3008313" cy="1162049"/>
          </a:xfrm>
        </p:spPr>
        <p:txBody>
          <a:bodyPr anchor="b">
            <a:normAutofit/>
          </a:bodyPr>
          <a:lstStyle>
            <a:lvl1pPr algn="l">
              <a:defRPr sz="2133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133"/>
            </a:lvl2pPr>
            <a:lvl3pPr>
              <a:defRPr sz="1867"/>
            </a:lvl3pPr>
            <a:lvl4pPr>
              <a:defRPr sz="1733"/>
            </a:lvl4pPr>
            <a:lvl5pPr>
              <a:defRPr sz="1733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733"/>
            </a:lvl1pPr>
            <a:lvl2pPr marL="544184" indent="0">
              <a:buNone/>
              <a:defRPr sz="1467"/>
            </a:lvl2pPr>
            <a:lvl3pPr marL="1088367" indent="0">
              <a:buNone/>
              <a:defRPr sz="1200"/>
            </a:lvl3pPr>
            <a:lvl4pPr marL="1632550" indent="0">
              <a:buNone/>
              <a:defRPr sz="1067"/>
            </a:lvl4pPr>
            <a:lvl5pPr marL="2176734" indent="0">
              <a:buNone/>
              <a:defRPr sz="1067"/>
            </a:lvl5pPr>
            <a:lvl6pPr marL="2720917" indent="0">
              <a:buNone/>
              <a:defRPr sz="1067"/>
            </a:lvl6pPr>
            <a:lvl7pPr marL="3265101" indent="0">
              <a:buNone/>
              <a:defRPr sz="1067"/>
            </a:lvl7pPr>
            <a:lvl8pPr marL="3809285" indent="0">
              <a:buNone/>
              <a:defRPr sz="1067"/>
            </a:lvl8pPr>
            <a:lvl9pPr marL="4353468" indent="0">
              <a:buNone/>
              <a:defRPr sz="1067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F2B13DA9-0C99-45DF-B241-8011A226EA39}" type="datetime1">
              <a:rPr lang="fr-FR" smtClean="0">
                <a:solidFill>
                  <a:prstClr val="black"/>
                </a:solidFill>
                <a:latin typeface="Arial"/>
              </a:rPr>
              <a:t>06/11/2018</a:t>
            </a:fld>
            <a:endParaRPr lang="fr-FR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A99B2575-D643-4F5C-A5D1-5EE2916CB87F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8" name="Connecteur droit 7"/>
          <p:cNvCxnSpPr/>
          <p:nvPr/>
        </p:nvCxnSpPr>
        <p:spPr>
          <a:xfrm>
            <a:off x="251520" y="6398107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4145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10"/>
            <a:ext cx="5486400" cy="566739"/>
          </a:xfrm>
        </p:spPr>
        <p:txBody>
          <a:bodyPr anchor="b"/>
          <a:lstStyle>
            <a:lvl1pPr algn="l">
              <a:defRPr sz="24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867"/>
            </a:lvl1pPr>
            <a:lvl2pPr marL="544184" indent="0">
              <a:buNone/>
              <a:defRPr sz="3333"/>
            </a:lvl2pPr>
            <a:lvl3pPr marL="1088367" indent="0">
              <a:buNone/>
              <a:defRPr sz="2800"/>
            </a:lvl3pPr>
            <a:lvl4pPr marL="1632550" indent="0">
              <a:buNone/>
              <a:defRPr sz="2400"/>
            </a:lvl4pPr>
            <a:lvl5pPr marL="2176734" indent="0">
              <a:buNone/>
              <a:defRPr sz="2400"/>
            </a:lvl5pPr>
            <a:lvl6pPr marL="2720917" indent="0">
              <a:buNone/>
              <a:defRPr sz="2400"/>
            </a:lvl6pPr>
            <a:lvl7pPr marL="3265101" indent="0">
              <a:buNone/>
              <a:defRPr sz="2400"/>
            </a:lvl7pPr>
            <a:lvl8pPr marL="3809285" indent="0">
              <a:buNone/>
              <a:defRPr sz="2400"/>
            </a:lvl8pPr>
            <a:lvl9pPr marL="4353468" indent="0">
              <a:buNone/>
              <a:defRPr sz="2400"/>
            </a:lvl9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48"/>
            <a:ext cx="5486400" cy="804863"/>
          </a:xfrm>
        </p:spPr>
        <p:txBody>
          <a:bodyPr/>
          <a:lstStyle>
            <a:lvl1pPr marL="0" indent="0">
              <a:buNone/>
              <a:defRPr sz="1733"/>
            </a:lvl1pPr>
            <a:lvl2pPr marL="544184" indent="0">
              <a:buNone/>
              <a:defRPr sz="1467"/>
            </a:lvl2pPr>
            <a:lvl3pPr marL="1088367" indent="0">
              <a:buNone/>
              <a:defRPr sz="1200"/>
            </a:lvl3pPr>
            <a:lvl4pPr marL="1632550" indent="0">
              <a:buNone/>
              <a:defRPr sz="1067"/>
            </a:lvl4pPr>
            <a:lvl5pPr marL="2176734" indent="0">
              <a:buNone/>
              <a:defRPr sz="1067"/>
            </a:lvl5pPr>
            <a:lvl6pPr marL="2720917" indent="0">
              <a:buNone/>
              <a:defRPr sz="1067"/>
            </a:lvl6pPr>
            <a:lvl7pPr marL="3265101" indent="0">
              <a:buNone/>
              <a:defRPr sz="1067"/>
            </a:lvl7pPr>
            <a:lvl8pPr marL="3809285" indent="0">
              <a:buNone/>
              <a:defRPr sz="1067"/>
            </a:lvl8pPr>
            <a:lvl9pPr marL="4353468" indent="0">
              <a:buNone/>
              <a:defRPr sz="1067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8190F476-0C4B-4BA2-AAF0-C14C5BB76F31}" type="datetime1">
              <a:rPr lang="fr-FR" smtClean="0">
                <a:solidFill>
                  <a:prstClr val="black"/>
                </a:solidFill>
                <a:latin typeface="Arial"/>
              </a:rPr>
              <a:t>06/11/2018</a:t>
            </a:fld>
            <a:endParaRPr lang="fr-FR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7C5D5D47-099B-400E-8636-4F695912F5B2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251520" y="6398107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7947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94009F88-80BA-479A-819F-3AF867B926A6}" type="datetime1">
              <a:rPr lang="fr-FR" smtClean="0">
                <a:solidFill>
                  <a:prstClr val="black"/>
                </a:solidFill>
                <a:latin typeface="Arial"/>
              </a:rPr>
              <a:t>06/11/2018</a:t>
            </a:fld>
            <a:endParaRPr lang="fr-FR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81A662AF-1BFD-4BDA-881F-BD8F18561F6A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7" name="Connecteur droit 6"/>
          <p:cNvCxnSpPr/>
          <p:nvPr/>
        </p:nvCxnSpPr>
        <p:spPr>
          <a:xfrm>
            <a:off x="251521" y="764704"/>
            <a:ext cx="8640960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1320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9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9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D336324A-6332-45C7-81B7-8F70770C1964}" type="datetime1">
              <a:rPr lang="fr-FR" smtClean="0">
                <a:solidFill>
                  <a:prstClr val="black"/>
                </a:solidFill>
                <a:latin typeface="Arial"/>
              </a:rPr>
              <a:t>06/11/2018</a:t>
            </a:fld>
            <a:endParaRPr lang="fr-FR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CB53E1C-0684-40AB-961D-526B8309BE24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9" name="Connecteur droit 8"/>
          <p:cNvCxnSpPr/>
          <p:nvPr/>
        </p:nvCxnSpPr>
        <p:spPr>
          <a:xfrm>
            <a:off x="251520" y="6398107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3494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B82EDF7-863C-429F-AE30-306B03E6E807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5096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B82EDF7-863C-429F-AE30-306B03E6E807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0394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088367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B82EDF7-863C-429F-AE30-306B03E6E807}" type="slidenum">
              <a:rPr lang="fr-FR" smtClean="0">
                <a:solidFill>
                  <a:prstClr val="black"/>
                </a:solidFill>
                <a:latin typeface="Arial"/>
              </a:rPr>
              <a:pPr defTabSz="1088367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fr-FR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757391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179785" y="4848226"/>
            <a:ext cx="8712994" cy="23813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/>
          <p:cNvCxnSpPr/>
          <p:nvPr userDrawn="1"/>
        </p:nvCxnSpPr>
        <p:spPr>
          <a:xfrm>
            <a:off x="179785" y="2276475"/>
            <a:ext cx="8712994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9317" y="908050"/>
            <a:ext cx="972740" cy="97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Hexagone 6"/>
          <p:cNvSpPr>
            <a:spLocks noChangeAspect="1"/>
          </p:cNvSpPr>
          <p:nvPr userDrawn="1"/>
        </p:nvSpPr>
        <p:spPr>
          <a:xfrm>
            <a:off x="1257605" y="1628800"/>
            <a:ext cx="1278861" cy="1150970"/>
          </a:xfrm>
          <a:prstGeom prst="hexagon">
            <a:avLst/>
          </a:prstGeom>
          <a:blipFill>
            <a:blip r:embed="rId3" cstate="print">
              <a:extLst/>
            </a:blip>
            <a:stretch>
              <a:fillRect/>
            </a:stretch>
          </a:blipFill>
          <a:ln w="12700">
            <a:solidFill>
              <a:schemeClr val="tx1"/>
            </a:solidFill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8" name="Hexagone 7"/>
          <p:cNvSpPr>
            <a:spLocks noChangeAspect="1"/>
          </p:cNvSpPr>
          <p:nvPr userDrawn="1"/>
        </p:nvSpPr>
        <p:spPr>
          <a:xfrm>
            <a:off x="107504" y="2314052"/>
            <a:ext cx="1278861" cy="1150970"/>
          </a:xfrm>
          <a:prstGeom prst="hexagon">
            <a:avLst/>
          </a:prstGeom>
          <a:blipFill>
            <a:blip r:embed="rId4" cstate="print">
              <a:extLst/>
            </a:blip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9" name="Hexagone 8"/>
          <p:cNvSpPr>
            <a:spLocks noChangeAspect="1"/>
          </p:cNvSpPr>
          <p:nvPr userDrawn="1"/>
        </p:nvSpPr>
        <p:spPr>
          <a:xfrm>
            <a:off x="107504" y="3649564"/>
            <a:ext cx="1278861" cy="1150970"/>
          </a:xfrm>
          <a:prstGeom prst="hexagon">
            <a:avLst/>
          </a:prstGeom>
          <a:blipFill>
            <a:blip r:embed="rId5" cstate="print"/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10" name="Hexagone 9"/>
          <p:cNvSpPr>
            <a:spLocks noChangeAspect="1"/>
          </p:cNvSpPr>
          <p:nvPr userDrawn="1"/>
        </p:nvSpPr>
        <p:spPr>
          <a:xfrm>
            <a:off x="1257604" y="4272072"/>
            <a:ext cx="1278861" cy="1150970"/>
          </a:xfrm>
          <a:prstGeom prst="hexagon">
            <a:avLst/>
          </a:prstGeom>
          <a:blipFill>
            <a:blip r:embed="rId6" cstate="print"/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11" name="Freeform 21"/>
          <p:cNvSpPr>
            <a:spLocks noChangeAspect="1"/>
          </p:cNvSpPr>
          <p:nvPr userDrawn="1"/>
        </p:nvSpPr>
        <p:spPr bwMode="auto">
          <a:xfrm>
            <a:off x="1257605" y="2928798"/>
            <a:ext cx="1318498" cy="1192924"/>
          </a:xfrm>
          <a:prstGeom prst="hexagon">
            <a:avLst/>
          </a:prstGeom>
          <a:blipFill dpi="0" rotWithShape="1">
            <a:blip r:embed="rId7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/>
          <a:lstStyle/>
          <a:p>
            <a:pPr>
              <a:defRPr/>
            </a:pP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483769" y="2314052"/>
            <a:ext cx="6408712" cy="2475724"/>
          </a:xfrm>
        </p:spPr>
        <p:txBody>
          <a:bodyPr/>
          <a:lstStyle>
            <a:lvl1pPr algn="ctr">
              <a:defRPr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578338" y="5013176"/>
            <a:ext cx="4578267" cy="481874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12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02431" y="6381751"/>
            <a:ext cx="2133600" cy="365125"/>
          </a:xfrm>
        </p:spPr>
        <p:txBody>
          <a:bodyPr/>
          <a:lstStyle>
            <a:lvl1pPr defTabSz="914180">
              <a:defRPr sz="1050" smtClean="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215B67AC-CB43-48F5-BD75-73D96D4D9E41}" type="datetime1">
              <a:rPr lang="fr-FR" smtClean="0"/>
              <a:t>06/11/2018</a:t>
            </a:fld>
            <a:endParaRPr lang="fr-FR"/>
          </a:p>
        </p:txBody>
      </p:sp>
      <p:sp>
        <p:nvSpPr>
          <p:cNvPr id="13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46822" y="6381751"/>
            <a:ext cx="2895600" cy="365125"/>
          </a:xfrm>
        </p:spPr>
        <p:txBody>
          <a:bodyPr/>
          <a:lstStyle>
            <a:lvl1pPr defTabSz="914180">
              <a:defRPr sz="105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4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59179" y="6381751"/>
            <a:ext cx="2133600" cy="365125"/>
          </a:xfrm>
        </p:spPr>
        <p:txBody>
          <a:bodyPr/>
          <a:lstStyle>
            <a:lvl1pPr defTabSz="914180">
              <a:defRPr sz="1050" smtClean="0"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358513BF-BA0F-46E3-BAC0-D5BD07774D42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794609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51224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5"/>
          <p:cNvCxnSpPr/>
          <p:nvPr userDrawn="1"/>
        </p:nvCxnSpPr>
        <p:spPr>
          <a:xfrm>
            <a:off x="251229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51521" y="908720"/>
            <a:ext cx="4176464" cy="540060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4009" y="908720"/>
            <a:ext cx="4247512" cy="5400600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F03E74-2C6C-40ED-8828-F2163C60BFF4}" type="datetime1">
              <a:rPr lang="fr-FR" smtClean="0"/>
              <a:t>06/11/2018</a:t>
            </a:fld>
            <a:endParaRPr lang="fr-FR" dirty="0"/>
          </a:p>
        </p:txBody>
      </p:sp>
      <p:sp>
        <p:nvSpPr>
          <p:cNvPr id="8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8C8D4F-298A-441C-99D9-C1A29783BA85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29998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3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4"/>
          <p:cNvCxnSpPr/>
          <p:nvPr userDrawn="1"/>
        </p:nvCxnSpPr>
        <p:spPr>
          <a:xfrm>
            <a:off x="251223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1520" y="908720"/>
            <a:ext cx="8640960" cy="54006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 sz="1000" smtClean="0"/>
            </a:lvl1pPr>
          </a:lstStyle>
          <a:p>
            <a:pPr>
              <a:defRPr/>
            </a:pPr>
            <a:fld id="{89264114-E3FF-497F-8955-84EB4D7E6ACC}" type="datetime1">
              <a:rPr lang="fr-FR" smtClean="0"/>
              <a:t>06/11/2018</a:t>
            </a:fld>
            <a:endParaRPr lang="fr-FR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 sz="10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 sz="1000" smtClean="0"/>
            </a:lvl1pPr>
          </a:lstStyle>
          <a:p>
            <a:pPr>
              <a:defRPr/>
            </a:pPr>
            <a:fld id="{2C09ABEB-8707-427A-B921-F8E9FCA0202F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62782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3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2400" b="1" cap="all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031618CE-977C-453D-843D-30320770F795}" type="datetime1">
              <a:rPr lang="fr-FR" smtClean="0"/>
              <a:t>06/11/2018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188A8054-5FD6-483E-9EA0-2E0E2DEDDDC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322673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51223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5"/>
          <p:cNvCxnSpPr/>
          <p:nvPr userDrawn="1"/>
        </p:nvCxnSpPr>
        <p:spPr>
          <a:xfrm>
            <a:off x="251223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51521" y="908720"/>
            <a:ext cx="4176464" cy="54006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4009" y="908720"/>
            <a:ext cx="4247512" cy="54006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0DC6B5D3-C4E2-455C-B05C-8353BFD85A62}" type="datetime1">
              <a:rPr lang="fr-FR" smtClean="0"/>
              <a:t>06/11/2018</a:t>
            </a:fld>
            <a:endParaRPr lang="fr-FR"/>
          </a:p>
        </p:txBody>
      </p:sp>
      <p:sp>
        <p:nvSpPr>
          <p:cNvPr id="8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1574CAE5-2D2E-4FCB-8CFA-913D12F15ABF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93676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/>
          <p:cNvCxnSpPr/>
          <p:nvPr userDrawn="1"/>
        </p:nvCxnSpPr>
        <p:spPr>
          <a:xfrm>
            <a:off x="251223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251223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51521" y="980728"/>
            <a:ext cx="417646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51521" y="1620490"/>
            <a:ext cx="4176464" cy="468883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716018" y="980728"/>
            <a:ext cx="417646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716018" y="1620490"/>
            <a:ext cx="4176464" cy="468883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F486ECE6-2137-40C0-B41A-1282E058F09E}" type="datetime1">
              <a:rPr lang="fr-FR" smtClean="0"/>
              <a:t>06/11/2018</a:t>
            </a:fld>
            <a:endParaRPr lang="fr-FR"/>
          </a:p>
        </p:txBody>
      </p:sp>
      <p:sp>
        <p:nvSpPr>
          <p:cNvPr id="10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145C7F1C-882D-4B31-A062-2C41265B601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12261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51223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3"/>
          <p:cNvCxnSpPr/>
          <p:nvPr userDrawn="1"/>
        </p:nvCxnSpPr>
        <p:spPr>
          <a:xfrm>
            <a:off x="251223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5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6F6CDC7D-F3CF-49D8-9030-2DC311EAF173}" type="datetime1">
              <a:rPr lang="fr-FR" smtClean="0"/>
              <a:t>06/11/2018</a:t>
            </a:fld>
            <a:endParaRPr lang="fr-FR" dirty="0"/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EEF5C028-B261-42B1-B546-2633A826CE0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684894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/>
          <p:cNvCxnSpPr/>
          <p:nvPr userDrawn="1"/>
        </p:nvCxnSpPr>
        <p:spPr>
          <a:xfrm>
            <a:off x="251223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559568AF-4A76-4D70-976A-9C5354876239}" type="datetime1">
              <a:rPr lang="fr-FR" smtClean="0"/>
              <a:t>06/11/2018</a:t>
            </a:fld>
            <a:endParaRPr lang="fr-FR"/>
          </a:p>
        </p:txBody>
      </p:sp>
      <p:sp>
        <p:nvSpPr>
          <p:cNvPr id="4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19A10309-4B41-4D47-AD93-18D7A40A6A9A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68036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51223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C31A8DB2-F8E9-445A-9B9A-DAB72909127F}" type="datetime1">
              <a:rPr lang="fr-FR" smtClean="0"/>
              <a:t>06/11/2018</a:t>
            </a:fld>
            <a:endParaRPr lang="fr-FR"/>
          </a:p>
        </p:txBody>
      </p:sp>
      <p:sp>
        <p:nvSpPr>
          <p:cNvPr id="7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C1A2D8C2-68E3-4A7D-8C78-43AE319F76C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733858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51223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9151BAED-925B-4BDC-8D61-69A3C0DC6821}" type="datetime1">
              <a:rPr lang="fr-FR" smtClean="0"/>
              <a:t>06/11/2018</a:t>
            </a:fld>
            <a:endParaRPr lang="fr-FR"/>
          </a:p>
        </p:txBody>
      </p:sp>
      <p:sp>
        <p:nvSpPr>
          <p:cNvPr id="7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4A961E28-6C95-4EF9-A24F-C025DB766AED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414200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3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47968DB6-23CB-4409-B2B3-AF08797AA044}" type="datetime1">
              <a:rPr lang="fr-FR" smtClean="0"/>
              <a:t>06/11/2018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70FDC6F2-35EF-4995-B43D-D1DEEA3AAAE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4560619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cteur droit 3"/>
          <p:cNvCxnSpPr/>
          <p:nvPr userDrawn="1"/>
        </p:nvCxnSpPr>
        <p:spPr>
          <a:xfrm>
            <a:off x="251223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C08277D0-BF8E-410E-AAE2-D1A96229BA0D}" type="datetime1">
              <a:rPr lang="fr-FR" smtClean="0"/>
              <a:t>06/11/2018</a:t>
            </a:fld>
            <a:endParaRPr lang="fr-FR"/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180">
              <a:defRPr/>
            </a:lvl1pPr>
          </a:lstStyle>
          <a:p>
            <a:pPr>
              <a:defRPr/>
            </a:pPr>
            <a:fld id="{73CD739B-B24D-4E0E-8BC7-3209769C84C1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306274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Connecteur droit 6"/>
          <p:cNvCxnSpPr/>
          <p:nvPr userDrawn="1"/>
        </p:nvCxnSpPr>
        <p:spPr>
          <a:xfrm>
            <a:off x="251224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251229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51521" y="980728"/>
            <a:ext cx="417646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35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51521" y="1620490"/>
            <a:ext cx="4176464" cy="4688830"/>
          </a:xfrm>
        </p:spPr>
        <p:txBody>
          <a:bodyPr/>
          <a:lstStyle>
            <a:lvl1pPr>
              <a:defRPr sz="150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716019" y="980728"/>
            <a:ext cx="417646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35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716019" y="1620490"/>
            <a:ext cx="4176464" cy="468883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558B4C-B0B7-4EB5-A59E-0DE7A6E091C6}" type="datetime1">
              <a:rPr lang="fr-FR" smtClean="0"/>
              <a:t>06/11/2018</a:t>
            </a:fld>
            <a:endParaRPr lang="fr-FR"/>
          </a:p>
        </p:txBody>
      </p:sp>
      <p:sp>
        <p:nvSpPr>
          <p:cNvPr id="10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11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01EACA-5CB0-44E8-80BE-BC846F23AEC6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09200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 de 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3355849"/>
            <a:ext cx="8077200" cy="1673352"/>
          </a:xfrm>
        </p:spPr>
        <p:txBody>
          <a:bodyPr tIns="0" rIns="45720" bIns="0" anchor="t"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lvl1pPr algn="l">
              <a:defRPr sz="4700" b="1"/>
            </a:lvl1pPr>
            <a:extLst/>
          </a:lstStyle>
          <a:p>
            <a:r>
              <a:rPr lang="fr-FR" smtClean="0"/>
              <a:t>Cliquez pour modifier le style du titr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027615"/>
      </p:ext>
    </p:extLst>
  </p:cSld>
  <p:clrMapOvr>
    <a:masterClrMapping/>
  </p:clrMapOvr>
  <p:transition spd="slow">
    <p:fade thruBlk="1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211139" y="44452"/>
            <a:ext cx="8721725" cy="6454775"/>
          </a:xfrm>
        </p:spPr>
        <p:txBody>
          <a:bodyPr/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387953" y="6308725"/>
            <a:ext cx="576263" cy="357188"/>
          </a:xfrm>
        </p:spPr>
        <p:txBody>
          <a:bodyPr/>
          <a:lstStyle>
            <a:lvl1pPr defTabSz="914180">
              <a:defRPr smtClean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4AABC9FB-3EEA-4926-92B5-50600B39EF1F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 defTabSz="914180">
              <a:defRPr smtClean="0"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02970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Connecteur droit 13"/>
          <p:cNvCxnSpPr/>
          <p:nvPr userDrawn="1"/>
        </p:nvCxnSpPr>
        <p:spPr>
          <a:xfrm>
            <a:off x="179512" y="4847557"/>
            <a:ext cx="8712968" cy="24453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/>
          <p:cNvCxnSpPr/>
          <p:nvPr userDrawn="1"/>
        </p:nvCxnSpPr>
        <p:spPr>
          <a:xfrm>
            <a:off x="179512" y="2276872"/>
            <a:ext cx="8712968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483768" y="2314052"/>
            <a:ext cx="6408712" cy="2475724"/>
          </a:xfrm>
        </p:spPr>
        <p:txBody>
          <a:bodyPr>
            <a:normAutofit/>
          </a:bodyPr>
          <a:lstStyle>
            <a:lvl1pPr algn="ctr">
              <a:defRPr sz="2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578337" y="5013176"/>
            <a:ext cx="4578267" cy="481874"/>
          </a:xfrm>
        </p:spPr>
        <p:txBody>
          <a:bodyPr>
            <a:no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02865" y="6381328"/>
            <a:ext cx="2133600" cy="365125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</a:defRPr>
            </a:lvl1pPr>
          </a:lstStyle>
          <a:p>
            <a:fld id="{198D1B92-25DF-4454-B217-F9390EF7F5CE}" type="datetime1">
              <a:rPr lang="fr-FR" smtClean="0">
                <a:solidFill>
                  <a:prstClr val="black"/>
                </a:solidFill>
              </a:rPr>
              <a:t>06/11/2018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46351" y="6381328"/>
            <a:ext cx="2895600" cy="365125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</a:defRPr>
            </a:lvl1pPr>
          </a:lstStyle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758880" y="6381328"/>
            <a:ext cx="2133600" cy="365125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</a:defRPr>
            </a:lvl1pPr>
          </a:lstStyle>
          <a:p>
            <a:fld id="{57C9965D-C35C-4C81-A866-AF0EB9175DFD}" type="slidenum">
              <a:rPr lang="fr-FR" smtClean="0">
                <a:solidFill>
                  <a:prstClr val="black"/>
                </a:solidFill>
              </a:rPr>
              <a:pPr/>
              <a:t>‹#›</a:t>
            </a:fld>
            <a:endParaRPr lang="fr-FR">
              <a:solidFill>
                <a:prstClr val="black"/>
              </a:solidFill>
            </a:endParaRP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753" y="908720"/>
            <a:ext cx="972486" cy="972486"/>
          </a:xfrm>
          <a:prstGeom prst="rect">
            <a:avLst/>
          </a:prstGeom>
        </p:spPr>
      </p:pic>
      <p:sp>
        <p:nvSpPr>
          <p:cNvPr id="9" name="Hexagone 8"/>
          <p:cNvSpPr>
            <a:spLocks noChangeAspect="1"/>
          </p:cNvSpPr>
          <p:nvPr userDrawn="1"/>
        </p:nvSpPr>
        <p:spPr>
          <a:xfrm>
            <a:off x="1257604" y="1628800"/>
            <a:ext cx="1278861" cy="1150970"/>
          </a:xfrm>
          <a:prstGeom prst="hexagon">
            <a:avLst/>
          </a:prstGeom>
          <a:blipFill>
            <a:blip r:embed="rId3" cstate="print">
              <a:extLst/>
            </a:blip>
            <a:stretch>
              <a:fillRect/>
            </a:stretch>
          </a:blipFill>
          <a:ln w="12700">
            <a:solidFill>
              <a:schemeClr val="tx1"/>
            </a:solidFill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0" name="Hexagone 9"/>
          <p:cNvSpPr>
            <a:spLocks noChangeAspect="1"/>
          </p:cNvSpPr>
          <p:nvPr userDrawn="1"/>
        </p:nvSpPr>
        <p:spPr>
          <a:xfrm>
            <a:off x="107504" y="2314052"/>
            <a:ext cx="1278861" cy="1150970"/>
          </a:xfrm>
          <a:prstGeom prst="hexagon">
            <a:avLst/>
          </a:prstGeo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1" name="Hexagone 10"/>
          <p:cNvSpPr>
            <a:spLocks noChangeAspect="1"/>
          </p:cNvSpPr>
          <p:nvPr userDrawn="1"/>
        </p:nvSpPr>
        <p:spPr>
          <a:xfrm>
            <a:off x="107504" y="3649564"/>
            <a:ext cx="1278861" cy="1150970"/>
          </a:xfrm>
          <a:prstGeom prst="hexagon">
            <a:avLst/>
          </a:prstGeom>
          <a:blipFill>
            <a:blip r:embed="rId6"/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2" name="Hexagone 11"/>
          <p:cNvSpPr>
            <a:spLocks noChangeAspect="1"/>
          </p:cNvSpPr>
          <p:nvPr userDrawn="1"/>
        </p:nvSpPr>
        <p:spPr>
          <a:xfrm>
            <a:off x="1257603" y="4272072"/>
            <a:ext cx="1278861" cy="1150970"/>
          </a:xfrm>
          <a:prstGeom prst="hexagon">
            <a:avLst/>
          </a:prstGeom>
          <a:blipFill>
            <a:blip r:embed="rId7"/>
            <a:stretch>
              <a:fillRect/>
            </a:stretch>
          </a:blipFill>
          <a:ln>
            <a:noFill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prstClr val="white"/>
              </a:solidFill>
            </a:endParaRPr>
          </a:p>
        </p:txBody>
      </p:sp>
      <p:sp>
        <p:nvSpPr>
          <p:cNvPr id="15" name="Freeform 21" descr="pipelines"/>
          <p:cNvSpPr>
            <a:spLocks noChangeAspect="1"/>
          </p:cNvSpPr>
          <p:nvPr userDrawn="1"/>
        </p:nvSpPr>
        <p:spPr bwMode="auto">
          <a:xfrm>
            <a:off x="1257604" y="2928798"/>
            <a:ext cx="1318498" cy="1192924"/>
          </a:xfrm>
          <a:prstGeom prst="hexagon">
            <a:avLst/>
          </a:prstGeom>
          <a:blipFill dpi="0" rotWithShape="1">
            <a:blip r:embed="rId8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  <a:effectLst>
            <a:outerShdw blurRad="19050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/>
          <a:lstStyle/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50907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1520" y="908720"/>
            <a:ext cx="8640960" cy="5400600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fld id="{04EC3BCB-A5BF-4F28-A0B9-6B8DD891C259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06/11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/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E0ACBFBD-7886-4180-B7E5-6F9E3E42B523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251520" y="764704"/>
            <a:ext cx="8640960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251520" y="6398106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10251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>
            <a:normAutofit/>
          </a:bodyPr>
          <a:lstStyle>
            <a:lvl1pPr algn="l">
              <a:defRPr sz="2400" b="1" cap="all"/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9113A0-4BAD-4361-A08D-16A66C300F34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06/11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965D-C35C-4C81-A866-AF0EB9175DF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251520" y="6398106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72672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51520" y="908720"/>
            <a:ext cx="4176464" cy="54006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4008" y="908720"/>
            <a:ext cx="4247512" cy="54006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A2DBDE-A582-4C96-AD2C-143E4B339EF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06/11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364A96-68BF-4D27-96C1-C6F502967C3F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251520" y="764704"/>
            <a:ext cx="8640960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eur droit 9"/>
          <p:cNvCxnSpPr/>
          <p:nvPr userDrawn="1"/>
        </p:nvCxnSpPr>
        <p:spPr>
          <a:xfrm>
            <a:off x="251520" y="6398106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101830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51520" y="980728"/>
            <a:ext cx="417646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251520" y="1620490"/>
            <a:ext cx="4176464" cy="468883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716017" y="980728"/>
            <a:ext cx="417646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716017" y="1620490"/>
            <a:ext cx="4176464" cy="468883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681D8-7455-4CB1-BEB0-6605BCDE3684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06/11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965D-C35C-4C81-A866-AF0EB9175DF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0" name="Connecteur droit 9"/>
          <p:cNvCxnSpPr/>
          <p:nvPr userDrawn="1"/>
        </p:nvCxnSpPr>
        <p:spPr>
          <a:xfrm>
            <a:off x="251520" y="764704"/>
            <a:ext cx="8640960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/>
          <p:cNvCxnSpPr/>
          <p:nvPr userDrawn="1"/>
        </p:nvCxnSpPr>
        <p:spPr>
          <a:xfrm>
            <a:off x="251520" y="6398106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55109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AEAEED-25E3-42B0-ACDD-D4511BE60686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06/11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965D-C35C-4C81-A866-AF0EB9175DF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6" name="Connecteur droit 5"/>
          <p:cNvCxnSpPr/>
          <p:nvPr userDrawn="1"/>
        </p:nvCxnSpPr>
        <p:spPr>
          <a:xfrm>
            <a:off x="251520" y="764704"/>
            <a:ext cx="8640960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necteur droit 7"/>
          <p:cNvCxnSpPr/>
          <p:nvPr userDrawn="1"/>
        </p:nvCxnSpPr>
        <p:spPr>
          <a:xfrm>
            <a:off x="251520" y="6398106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65228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75E97-A19F-4F88-B6C5-ABFC644E01A2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06/11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965D-C35C-4C81-A866-AF0EB9175DF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251520" y="6398106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54457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>
            <a:normAutofit/>
          </a:bodyPr>
          <a:lstStyle>
            <a:lvl1pPr algn="l">
              <a:defRPr sz="18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B2053-3729-475B-B4EA-6ABF690D462E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06/11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965D-C35C-4C81-A866-AF0EB9175DF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251520" y="6398106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35095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51224" y="765175"/>
            <a:ext cx="8641556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3"/>
          <p:cNvCxnSpPr/>
          <p:nvPr userDrawn="1"/>
        </p:nvCxnSpPr>
        <p:spPr>
          <a:xfrm>
            <a:off x="251229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5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D3D1DC-7C05-42F5-B4F7-BA74DB6C69D0}" type="datetime1">
              <a:rPr lang="fr-FR" smtClean="0"/>
              <a:t>06/11/2018</a:t>
            </a:fld>
            <a:endParaRPr lang="fr-FR" dirty="0"/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330D31-4995-49B9-86BD-656E33C59AFD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6060247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9B5CB0-A982-49A1-B6DC-4722BCA1511E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06/11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965D-C35C-4C81-A866-AF0EB9175DF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251520" y="6398106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913232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4C27E-0DBE-4D5B-8122-D54BBCB51D2B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06/11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965D-C35C-4C81-A866-AF0EB9175DF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Connecteur droit 6"/>
          <p:cNvCxnSpPr/>
          <p:nvPr userDrawn="1"/>
        </p:nvCxnSpPr>
        <p:spPr>
          <a:xfrm>
            <a:off x="251520" y="764704"/>
            <a:ext cx="8640960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13416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A2A7D5-DD2E-4D35-AA95-2F623A94B432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06/11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965D-C35C-4C81-A866-AF0EB9175DF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251520" y="6398106"/>
            <a:ext cx="8640000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0833273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necteur droit 2"/>
          <p:cNvCxnSpPr/>
          <p:nvPr userDrawn="1"/>
        </p:nvCxnSpPr>
        <p:spPr>
          <a:xfrm>
            <a:off x="250825" y="765175"/>
            <a:ext cx="8642350" cy="0"/>
          </a:xfrm>
          <a:prstGeom prst="line">
            <a:avLst/>
          </a:prstGeom>
          <a:ln w="114300">
            <a:solidFill>
              <a:srgbClr val="FF972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Connecteur droit 3"/>
          <p:cNvCxnSpPr/>
          <p:nvPr userDrawn="1"/>
        </p:nvCxnSpPr>
        <p:spPr>
          <a:xfrm>
            <a:off x="250826" y="6397625"/>
            <a:ext cx="8640763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251520" y="130622"/>
            <a:ext cx="8640960" cy="562074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6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251520" y="641363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D5D1CB7-C285-4BE1-905B-5E652EB94CFE}" type="datetime1">
              <a:rPr lang="fr-FR" smtClean="0">
                <a:solidFill>
                  <a:srgbClr val="000000"/>
                </a:solidFill>
              </a:rPr>
              <a:t>06/11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31840" y="641363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BFCA5A6-BA1D-406D-8573-FC18B951B6E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0086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Connecteur droit 1"/>
          <p:cNvCxnSpPr/>
          <p:nvPr userDrawn="1"/>
        </p:nvCxnSpPr>
        <p:spPr>
          <a:xfrm>
            <a:off x="251229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7D4739-18DF-456E-9033-6946C0607567}" type="datetime1">
              <a:rPr lang="fr-FR" smtClean="0"/>
              <a:t>06/11/2018</a:t>
            </a:fld>
            <a:endParaRPr lang="fr-FR"/>
          </a:p>
        </p:txBody>
      </p:sp>
      <p:sp>
        <p:nvSpPr>
          <p:cNvPr id="4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31CDCD-6D2A-4364-98DB-12B0A329CAB6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28934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51229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135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6"/>
            <a:ext cx="5111750" cy="5853113"/>
          </a:xfrm>
        </p:spPr>
        <p:txBody>
          <a:bodyPr/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7ECFE6-7BC4-4915-AF1E-E76F9D8B3774}" type="datetime1">
              <a:rPr lang="fr-FR" smtClean="0"/>
              <a:t>06/11/2018</a:t>
            </a:fld>
            <a:endParaRPr lang="fr-FR"/>
          </a:p>
        </p:txBody>
      </p:sp>
      <p:sp>
        <p:nvSpPr>
          <p:cNvPr id="7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E2A6D3-D950-41CA-9369-C0BF6E4A6F4A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7473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necteur droit 4"/>
          <p:cNvCxnSpPr/>
          <p:nvPr userDrawn="1"/>
        </p:nvCxnSpPr>
        <p:spPr>
          <a:xfrm>
            <a:off x="251229" y="6397625"/>
            <a:ext cx="8640365" cy="0"/>
          </a:xfrm>
          <a:prstGeom prst="line">
            <a:avLst/>
          </a:prstGeom>
          <a:ln w="317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4E1C73-004F-4C23-881A-FD0A506ABCBD}" type="datetime1">
              <a:rPr lang="fr-FR" smtClean="0"/>
              <a:t>06/11/2018</a:t>
            </a:fld>
            <a:endParaRPr lang="fr-FR"/>
          </a:p>
        </p:txBody>
      </p:sp>
      <p:sp>
        <p:nvSpPr>
          <p:cNvPr id="7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35B514-0DA2-4964-8802-EE59ECEAF21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16824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61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51224" y="130188"/>
            <a:ext cx="8641556" cy="561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51224" y="908058"/>
            <a:ext cx="8641556" cy="5400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251222" y="641351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B19D0C1C-94B1-47F7-A866-7AB2AAD745FD}" type="datetime1">
              <a:rPr lang="fr-FR" smtClean="0"/>
              <a:t>06/11/2018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31344" y="6413513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86563" y="641351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0A8E9DDF-8B28-42BD-98AD-DD59700DB9CB}" type="slidenum">
              <a:rPr lang="fr-FR"/>
              <a:pPr>
                <a:defRPr/>
              </a:pPr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34356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685800" rtl="0" fontAlgn="base">
        <a:spcBef>
          <a:spcPct val="0"/>
        </a:spcBef>
        <a:spcAft>
          <a:spcPct val="0"/>
        </a:spcAft>
        <a:defRPr sz="1600" b="1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l" defTabSz="6858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</a:defRPr>
      </a:lvl2pPr>
      <a:lvl3pPr algn="l" defTabSz="6858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</a:defRPr>
      </a:lvl3pPr>
      <a:lvl4pPr algn="l" defTabSz="6858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</a:defRPr>
      </a:lvl4pPr>
      <a:lvl5pPr algn="l" defTabSz="6858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</a:defRPr>
      </a:lvl5pPr>
      <a:lvl6pPr marL="457200" algn="l" defTabSz="6858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</a:defRPr>
      </a:lvl6pPr>
      <a:lvl7pPr marL="914400" algn="l" defTabSz="6858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</a:defRPr>
      </a:lvl7pPr>
      <a:lvl8pPr marL="1371600" algn="l" defTabSz="6858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</a:defRPr>
      </a:lvl8pPr>
      <a:lvl9pPr marL="1828800" algn="l" defTabSz="685800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200025" indent="-200025" algn="l" defTabSz="685800" rtl="0" fontAlgn="base">
        <a:spcBef>
          <a:spcPct val="20000"/>
        </a:spcBef>
        <a:spcAft>
          <a:spcPct val="0"/>
        </a:spcAft>
        <a:buClr>
          <a:srgbClr val="E46C0A"/>
        </a:buClr>
        <a:buFont typeface="Wingdings" panose="05000000000000000000" pitchFamily="2" charset="2"/>
        <a:buChar char="§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fontAlgn="base">
        <a:spcBef>
          <a:spcPct val="20000"/>
        </a:spcBef>
        <a:spcAft>
          <a:spcPct val="0"/>
        </a:spcAft>
        <a:buClr>
          <a:srgbClr val="E46C0A"/>
        </a:buClr>
        <a:buFont typeface="Arial" panose="020B0604020202020204" pitchFamily="34" charset="0"/>
        <a:buChar char="–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900113" indent="-214313" algn="l" defTabSz="685800" rtl="0" fontAlgn="base">
        <a:spcBef>
          <a:spcPct val="20000"/>
        </a:spcBef>
        <a:spcAft>
          <a:spcPct val="0"/>
        </a:spcAft>
        <a:buClr>
          <a:srgbClr val="E46C0A"/>
        </a:buClr>
        <a:buSzPct val="70000"/>
        <a:buFont typeface="Wingdings" panose="05000000000000000000" pitchFamily="2" charset="2"/>
        <a:buChar char="q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fontAlgn="base">
        <a:spcBef>
          <a:spcPct val="20000"/>
        </a:spcBef>
        <a:spcAft>
          <a:spcPct val="0"/>
        </a:spcAft>
        <a:buClr>
          <a:srgbClr val="E46C0A"/>
        </a:buClr>
        <a:buFont typeface="Courier New" panose="02070309020205020404" pitchFamily="49" charset="0"/>
        <a:buChar char="o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fontAlgn="base">
        <a:spcBef>
          <a:spcPct val="20000"/>
        </a:spcBef>
        <a:spcAft>
          <a:spcPct val="0"/>
        </a:spcAft>
        <a:buClr>
          <a:srgbClr val="E46C0A"/>
        </a:buClr>
        <a:buFont typeface="Arial" panose="020B0604020202020204" pitchFamily="34" charset="0"/>
        <a:buChar char="»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51224" y="130182"/>
            <a:ext cx="8641556" cy="561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2051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251224" y="908057"/>
            <a:ext cx="8641556" cy="540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Modifiez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251222" y="641350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A7105F9A-3759-48C3-9ADD-602F5E598F8B}" type="datetime1">
              <a:rPr lang="fr-FR" smtClean="0"/>
              <a:t>06/11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31344" y="6413507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 dirty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86563" y="641350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DC0455AC-137D-4D73-983F-772580C4BA7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3870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268288" indent="-268288" algn="l" rtl="0" fontAlgn="base">
        <a:spcBef>
          <a:spcPct val="20000"/>
        </a:spcBef>
        <a:spcAft>
          <a:spcPct val="0"/>
        </a:spcAft>
        <a:buClr>
          <a:srgbClr val="E46C0A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E46C0A"/>
        </a:buClr>
        <a:buFont typeface="Arial" panose="020B0604020202020204" pitchFamily="34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rtl="0" fontAlgn="base">
        <a:spcBef>
          <a:spcPct val="20000"/>
        </a:spcBef>
        <a:spcAft>
          <a:spcPct val="0"/>
        </a:spcAft>
        <a:buClr>
          <a:srgbClr val="E46C0A"/>
        </a:buClr>
        <a:buSzPct val="70000"/>
        <a:buFont typeface="Wingdings" panose="05000000000000000000" pitchFamily="2" charset="2"/>
        <a:buChar char="q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46C0A"/>
        </a:buClr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46C0A"/>
        </a:buClr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51521" y="130633"/>
            <a:ext cx="8640960" cy="562075"/>
          </a:xfrm>
          <a:prstGeom prst="rect">
            <a:avLst/>
          </a:prstGeom>
        </p:spPr>
        <p:txBody>
          <a:bodyPr vert="horz" lIns="81630" tIns="40815" rIns="81630" bIns="408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51521" y="908720"/>
            <a:ext cx="8640960" cy="5400600"/>
          </a:xfrm>
          <a:prstGeom prst="rect">
            <a:avLst/>
          </a:prstGeom>
        </p:spPr>
        <p:txBody>
          <a:bodyPr vert="horz" lIns="81630" tIns="40815" rIns="81630" bIns="40815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251521" y="6413613"/>
            <a:ext cx="2133600" cy="365125"/>
          </a:xfrm>
          <a:prstGeom prst="rect">
            <a:avLst/>
          </a:prstGeom>
        </p:spPr>
        <p:txBody>
          <a:bodyPr vert="horz" lIns="81630" tIns="40815" rIns="81630" bIns="40815" rtlCol="0" anchor="ctr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pPr defTabSz="1088367">
              <a:defRPr/>
            </a:pPr>
            <a:fld id="{01DCC601-1186-4837-9433-C4BF629621F8}" type="datetime1">
              <a:rPr lang="fr-FR" smtClean="0">
                <a:solidFill>
                  <a:prstClr val="black"/>
                </a:solidFill>
              </a:rPr>
              <a:t>06/11/2018</a:t>
            </a:fld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31840" y="6413613"/>
            <a:ext cx="2895600" cy="365125"/>
          </a:xfrm>
          <a:prstGeom prst="rect">
            <a:avLst/>
          </a:prstGeom>
        </p:spPr>
        <p:txBody>
          <a:bodyPr vert="horz" lIns="81630" tIns="40815" rIns="81630" bIns="40815" rtlCol="0" anchor="ctr"/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pPr defTabSz="1088367">
              <a:defRPr/>
            </a:pP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86030" y="6413613"/>
            <a:ext cx="2133600" cy="365125"/>
          </a:xfrm>
          <a:prstGeom prst="rect">
            <a:avLst/>
          </a:prstGeom>
        </p:spPr>
        <p:txBody>
          <a:bodyPr vert="horz" lIns="81630" tIns="40815" rIns="81630" bIns="40815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pPr defTabSz="1088367">
              <a:defRPr/>
            </a:pPr>
            <a:fld id="{BB82EDF7-863C-429F-AE30-306B03E6E807}" type="slidenum">
              <a:rPr lang="fr-FR" smtClean="0">
                <a:solidFill>
                  <a:prstClr val="black"/>
                </a:solidFill>
              </a:rPr>
              <a:pPr defTabSz="1088367">
                <a:defRPr/>
              </a:pPr>
              <a:t>‹#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1599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88367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319331" indent="-319331" algn="l" defTabSz="1088367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884298" indent="-340114" algn="l" defTabSz="1088367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Arial" pitchFamily="34" charset="0"/>
        <a:buChar char="–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428482" indent="-340114" algn="l" defTabSz="1088367" rtl="0" eaLnBrk="1" latinLnBrk="0" hangingPunct="1">
        <a:spcBef>
          <a:spcPct val="20000"/>
        </a:spcBef>
        <a:buClr>
          <a:schemeClr val="accent6">
            <a:lumMod val="75000"/>
          </a:schemeClr>
        </a:buClr>
        <a:buSzPct val="70000"/>
        <a:buFont typeface="Wingdings" pitchFamily="2" charset="2"/>
        <a:buChar char="q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904642" indent="-272092" algn="l" defTabSz="1088367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Courier New" pitchFamily="49" charset="0"/>
        <a:buChar char="o"/>
        <a:defRPr sz="1733" kern="1200">
          <a:solidFill>
            <a:schemeClr val="tx1"/>
          </a:solidFill>
          <a:latin typeface="+mn-lt"/>
          <a:ea typeface="+mn-ea"/>
          <a:cs typeface="+mn-cs"/>
        </a:defRPr>
      </a:lvl4pPr>
      <a:lvl5pPr marL="2448825" indent="-272092" algn="l" defTabSz="1088367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Arial" pitchFamily="34" charset="0"/>
        <a:buChar char="»"/>
        <a:defRPr sz="1733" kern="1200">
          <a:solidFill>
            <a:schemeClr val="tx1"/>
          </a:solidFill>
          <a:latin typeface="+mn-lt"/>
          <a:ea typeface="+mn-ea"/>
          <a:cs typeface="+mn-cs"/>
        </a:defRPr>
      </a:lvl5pPr>
      <a:lvl6pPr marL="2993009" indent="-272092" algn="l" defTabSz="108836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193" indent="-272092" algn="l" defTabSz="108836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377" indent="-272092" algn="l" defTabSz="108836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559" indent="-272092" algn="l" defTabSz="108836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184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367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550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734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0917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101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285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468" algn="l" defTabSz="1088367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51223" y="130176"/>
            <a:ext cx="8641556" cy="5619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2051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251223" y="908051"/>
            <a:ext cx="8641556" cy="540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Modifiez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251222" y="641350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5B41EC9B-DBED-45B2-8F48-C6CBA302EA26}" type="datetime1">
              <a:rPr lang="fr-FR" smtClean="0"/>
              <a:t>06/11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31344" y="641350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000" dirty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86563" y="641350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 smtClean="0">
                <a:solidFill>
                  <a:prstClr val="black">
                    <a:tint val="75000"/>
                  </a:prstClr>
                </a:solidFill>
                <a:latin typeface="+mn-lt"/>
              </a:defRPr>
            </a:lvl1pPr>
          </a:lstStyle>
          <a:p>
            <a:pPr>
              <a:defRPr/>
            </a:pPr>
            <a:fld id="{DC0455AC-137D-4D73-983F-772580C4BA7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4319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200" b="1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 b="1">
          <a:solidFill>
            <a:schemeClr val="tx1"/>
          </a:solidFill>
          <a:latin typeface="Arial" panose="020B0604020202020204" pitchFamily="34" charset="0"/>
        </a:defRPr>
      </a:lvl9pPr>
    </p:titleStyle>
    <p:bodyStyle>
      <a:lvl1pPr marL="268288" indent="-268288" algn="l" rtl="0" fontAlgn="base">
        <a:spcBef>
          <a:spcPct val="20000"/>
        </a:spcBef>
        <a:spcAft>
          <a:spcPct val="0"/>
        </a:spcAft>
        <a:buClr>
          <a:srgbClr val="E46C0A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E46C0A"/>
        </a:buClr>
        <a:buFont typeface="Arial" panose="020B0604020202020204" pitchFamily="34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rtl="0" fontAlgn="base">
        <a:spcBef>
          <a:spcPct val="20000"/>
        </a:spcBef>
        <a:spcAft>
          <a:spcPct val="0"/>
        </a:spcAft>
        <a:buClr>
          <a:srgbClr val="E46C0A"/>
        </a:buClr>
        <a:buSzPct val="70000"/>
        <a:buFont typeface="Wingdings" panose="05000000000000000000" pitchFamily="2" charset="2"/>
        <a:buChar char="q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E46C0A"/>
        </a:buClr>
        <a:buFont typeface="Courier New" panose="02070309020205020404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E46C0A"/>
        </a:buClr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51520" y="130622"/>
            <a:ext cx="8640960" cy="5620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51520" y="908720"/>
            <a:ext cx="8640960" cy="5400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251520" y="641360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E245E4-843D-4532-A55E-9874A2EC00F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t>06/11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31840" y="641360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786030" y="641360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C9965D-C35C-4C81-A866-AF0EB9175DFD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190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50" indent="-28575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SzPct val="70000"/>
        <a:buFont typeface="Wingdings" pitchFamily="2" charset="2"/>
        <a:buChar char="q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Courier New" pitchFamily="49" charset="0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17" Type="http://schemas.openxmlformats.org/officeDocument/2006/relationships/tags" Target="../tags/tag1098.xml"/><Relationship Id="rId671" Type="http://schemas.openxmlformats.org/officeDocument/2006/relationships/tags" Target="../tags/tag1652.xml"/><Relationship Id="rId769" Type="http://schemas.openxmlformats.org/officeDocument/2006/relationships/tags" Target="../tags/tag1750.xml"/><Relationship Id="rId21" Type="http://schemas.openxmlformats.org/officeDocument/2006/relationships/tags" Target="../tags/tag1002.xml"/><Relationship Id="rId324" Type="http://schemas.openxmlformats.org/officeDocument/2006/relationships/tags" Target="../tags/tag1305.xml"/><Relationship Id="rId531" Type="http://schemas.openxmlformats.org/officeDocument/2006/relationships/tags" Target="../tags/tag1512.xml"/><Relationship Id="rId629" Type="http://schemas.openxmlformats.org/officeDocument/2006/relationships/tags" Target="../tags/tag1610.xml"/><Relationship Id="rId170" Type="http://schemas.openxmlformats.org/officeDocument/2006/relationships/tags" Target="../tags/tag1151.xml"/><Relationship Id="rId836" Type="http://schemas.openxmlformats.org/officeDocument/2006/relationships/tags" Target="../tags/tag1817.xml"/><Relationship Id="rId268" Type="http://schemas.openxmlformats.org/officeDocument/2006/relationships/tags" Target="../tags/tag1249.xml"/><Relationship Id="rId475" Type="http://schemas.openxmlformats.org/officeDocument/2006/relationships/tags" Target="../tags/tag1456.xml"/><Relationship Id="rId682" Type="http://schemas.openxmlformats.org/officeDocument/2006/relationships/tags" Target="../tags/tag1663.xml"/><Relationship Id="rId903" Type="http://schemas.openxmlformats.org/officeDocument/2006/relationships/tags" Target="../tags/tag1884.xml"/><Relationship Id="rId32" Type="http://schemas.openxmlformats.org/officeDocument/2006/relationships/tags" Target="../tags/tag1013.xml"/><Relationship Id="rId128" Type="http://schemas.openxmlformats.org/officeDocument/2006/relationships/tags" Target="../tags/tag1109.xml"/><Relationship Id="rId335" Type="http://schemas.openxmlformats.org/officeDocument/2006/relationships/tags" Target="../tags/tag1316.xml"/><Relationship Id="rId542" Type="http://schemas.openxmlformats.org/officeDocument/2006/relationships/tags" Target="../tags/tag1523.xml"/><Relationship Id="rId181" Type="http://schemas.openxmlformats.org/officeDocument/2006/relationships/tags" Target="../tags/tag1162.xml"/><Relationship Id="rId402" Type="http://schemas.openxmlformats.org/officeDocument/2006/relationships/tags" Target="../tags/tag1383.xml"/><Relationship Id="rId847" Type="http://schemas.openxmlformats.org/officeDocument/2006/relationships/tags" Target="../tags/tag1828.xml"/><Relationship Id="rId279" Type="http://schemas.openxmlformats.org/officeDocument/2006/relationships/tags" Target="../tags/tag1260.xml"/><Relationship Id="rId486" Type="http://schemas.openxmlformats.org/officeDocument/2006/relationships/tags" Target="../tags/tag1467.xml"/><Relationship Id="rId693" Type="http://schemas.openxmlformats.org/officeDocument/2006/relationships/tags" Target="../tags/tag1674.xml"/><Relationship Id="rId707" Type="http://schemas.openxmlformats.org/officeDocument/2006/relationships/tags" Target="../tags/tag1688.xml"/><Relationship Id="rId914" Type="http://schemas.openxmlformats.org/officeDocument/2006/relationships/tags" Target="../tags/tag1895.xml"/><Relationship Id="rId43" Type="http://schemas.openxmlformats.org/officeDocument/2006/relationships/tags" Target="../tags/tag1024.xml"/><Relationship Id="rId139" Type="http://schemas.openxmlformats.org/officeDocument/2006/relationships/tags" Target="../tags/tag1120.xml"/><Relationship Id="rId346" Type="http://schemas.openxmlformats.org/officeDocument/2006/relationships/tags" Target="../tags/tag1327.xml"/><Relationship Id="rId553" Type="http://schemas.openxmlformats.org/officeDocument/2006/relationships/tags" Target="../tags/tag1534.xml"/><Relationship Id="rId760" Type="http://schemas.openxmlformats.org/officeDocument/2006/relationships/tags" Target="../tags/tag1741.xml"/><Relationship Id="rId192" Type="http://schemas.openxmlformats.org/officeDocument/2006/relationships/tags" Target="../tags/tag1173.xml"/><Relationship Id="rId206" Type="http://schemas.openxmlformats.org/officeDocument/2006/relationships/tags" Target="../tags/tag1187.xml"/><Relationship Id="rId413" Type="http://schemas.openxmlformats.org/officeDocument/2006/relationships/tags" Target="../tags/tag1394.xml"/><Relationship Id="rId858" Type="http://schemas.openxmlformats.org/officeDocument/2006/relationships/tags" Target="../tags/tag1839.xml"/><Relationship Id="rId497" Type="http://schemas.openxmlformats.org/officeDocument/2006/relationships/tags" Target="../tags/tag1478.xml"/><Relationship Id="rId620" Type="http://schemas.openxmlformats.org/officeDocument/2006/relationships/tags" Target="../tags/tag1601.xml"/><Relationship Id="rId718" Type="http://schemas.openxmlformats.org/officeDocument/2006/relationships/tags" Target="../tags/tag1699.xml"/><Relationship Id="rId925" Type="http://schemas.openxmlformats.org/officeDocument/2006/relationships/tags" Target="../tags/tag1906.xml"/><Relationship Id="rId357" Type="http://schemas.openxmlformats.org/officeDocument/2006/relationships/tags" Target="../tags/tag1338.xml"/><Relationship Id="rId54" Type="http://schemas.openxmlformats.org/officeDocument/2006/relationships/tags" Target="../tags/tag1035.xml"/><Relationship Id="rId217" Type="http://schemas.openxmlformats.org/officeDocument/2006/relationships/tags" Target="../tags/tag1198.xml"/><Relationship Id="rId564" Type="http://schemas.openxmlformats.org/officeDocument/2006/relationships/tags" Target="../tags/tag1545.xml"/><Relationship Id="rId771" Type="http://schemas.openxmlformats.org/officeDocument/2006/relationships/tags" Target="../tags/tag1752.xml"/><Relationship Id="rId869" Type="http://schemas.openxmlformats.org/officeDocument/2006/relationships/tags" Target="../tags/tag1850.xml"/><Relationship Id="rId424" Type="http://schemas.openxmlformats.org/officeDocument/2006/relationships/tags" Target="../tags/tag1405.xml"/><Relationship Id="rId631" Type="http://schemas.openxmlformats.org/officeDocument/2006/relationships/tags" Target="../tags/tag1612.xml"/><Relationship Id="rId729" Type="http://schemas.openxmlformats.org/officeDocument/2006/relationships/tags" Target="../tags/tag1710.xml"/><Relationship Id="rId270" Type="http://schemas.openxmlformats.org/officeDocument/2006/relationships/tags" Target="../tags/tag1251.xml"/><Relationship Id="rId936" Type="http://schemas.openxmlformats.org/officeDocument/2006/relationships/tags" Target="../tags/tag1917.xml"/><Relationship Id="rId65" Type="http://schemas.openxmlformats.org/officeDocument/2006/relationships/tags" Target="../tags/tag1046.xml"/><Relationship Id="rId130" Type="http://schemas.openxmlformats.org/officeDocument/2006/relationships/tags" Target="../tags/tag1111.xml"/><Relationship Id="rId368" Type="http://schemas.openxmlformats.org/officeDocument/2006/relationships/tags" Target="../tags/tag1349.xml"/><Relationship Id="rId575" Type="http://schemas.openxmlformats.org/officeDocument/2006/relationships/tags" Target="../tags/tag1556.xml"/><Relationship Id="rId782" Type="http://schemas.openxmlformats.org/officeDocument/2006/relationships/tags" Target="../tags/tag1763.xml"/><Relationship Id="rId228" Type="http://schemas.openxmlformats.org/officeDocument/2006/relationships/tags" Target="../tags/tag1209.xml"/><Relationship Id="rId435" Type="http://schemas.openxmlformats.org/officeDocument/2006/relationships/tags" Target="../tags/tag1416.xml"/><Relationship Id="rId642" Type="http://schemas.openxmlformats.org/officeDocument/2006/relationships/tags" Target="../tags/tag1623.xml"/><Relationship Id="rId281" Type="http://schemas.openxmlformats.org/officeDocument/2006/relationships/tags" Target="../tags/tag1262.xml"/><Relationship Id="rId502" Type="http://schemas.openxmlformats.org/officeDocument/2006/relationships/tags" Target="../tags/tag1483.xml"/><Relationship Id="rId947" Type="http://schemas.openxmlformats.org/officeDocument/2006/relationships/tags" Target="../tags/tag1928.xml"/><Relationship Id="rId76" Type="http://schemas.openxmlformats.org/officeDocument/2006/relationships/tags" Target="../tags/tag1057.xml"/><Relationship Id="rId141" Type="http://schemas.openxmlformats.org/officeDocument/2006/relationships/tags" Target="../tags/tag1122.xml"/><Relationship Id="rId379" Type="http://schemas.openxmlformats.org/officeDocument/2006/relationships/tags" Target="../tags/tag1360.xml"/><Relationship Id="rId586" Type="http://schemas.openxmlformats.org/officeDocument/2006/relationships/tags" Target="../tags/tag1567.xml"/><Relationship Id="rId793" Type="http://schemas.openxmlformats.org/officeDocument/2006/relationships/tags" Target="../tags/tag1774.xml"/><Relationship Id="rId807" Type="http://schemas.openxmlformats.org/officeDocument/2006/relationships/tags" Target="../tags/tag1788.xml"/><Relationship Id="rId7" Type="http://schemas.openxmlformats.org/officeDocument/2006/relationships/tags" Target="../tags/tag988.xml"/><Relationship Id="rId239" Type="http://schemas.openxmlformats.org/officeDocument/2006/relationships/tags" Target="../tags/tag1220.xml"/><Relationship Id="rId446" Type="http://schemas.openxmlformats.org/officeDocument/2006/relationships/tags" Target="../tags/tag1427.xml"/><Relationship Id="rId653" Type="http://schemas.openxmlformats.org/officeDocument/2006/relationships/tags" Target="../tags/tag1634.xml"/><Relationship Id="rId292" Type="http://schemas.openxmlformats.org/officeDocument/2006/relationships/tags" Target="../tags/tag1273.xml"/><Relationship Id="rId306" Type="http://schemas.openxmlformats.org/officeDocument/2006/relationships/tags" Target="../tags/tag1287.xml"/><Relationship Id="rId860" Type="http://schemas.openxmlformats.org/officeDocument/2006/relationships/tags" Target="../tags/tag1841.xml"/><Relationship Id="rId958" Type="http://schemas.openxmlformats.org/officeDocument/2006/relationships/tags" Target="../tags/tag1939.xml"/><Relationship Id="rId87" Type="http://schemas.openxmlformats.org/officeDocument/2006/relationships/tags" Target="../tags/tag1068.xml"/><Relationship Id="rId513" Type="http://schemas.openxmlformats.org/officeDocument/2006/relationships/tags" Target="../tags/tag1494.xml"/><Relationship Id="rId597" Type="http://schemas.openxmlformats.org/officeDocument/2006/relationships/tags" Target="../tags/tag1578.xml"/><Relationship Id="rId720" Type="http://schemas.openxmlformats.org/officeDocument/2006/relationships/tags" Target="../tags/tag1701.xml"/><Relationship Id="rId818" Type="http://schemas.openxmlformats.org/officeDocument/2006/relationships/tags" Target="../tags/tag1799.xml"/><Relationship Id="rId152" Type="http://schemas.openxmlformats.org/officeDocument/2006/relationships/tags" Target="../tags/tag1133.xml"/><Relationship Id="rId457" Type="http://schemas.openxmlformats.org/officeDocument/2006/relationships/tags" Target="../tags/tag1438.xml"/><Relationship Id="rId664" Type="http://schemas.openxmlformats.org/officeDocument/2006/relationships/tags" Target="../tags/tag1645.xml"/><Relationship Id="rId871" Type="http://schemas.openxmlformats.org/officeDocument/2006/relationships/tags" Target="../tags/tag1852.xml"/><Relationship Id="rId14" Type="http://schemas.openxmlformats.org/officeDocument/2006/relationships/tags" Target="../tags/tag995.xml"/><Relationship Id="rId317" Type="http://schemas.openxmlformats.org/officeDocument/2006/relationships/tags" Target="../tags/tag1298.xml"/><Relationship Id="rId524" Type="http://schemas.openxmlformats.org/officeDocument/2006/relationships/tags" Target="../tags/tag1505.xml"/><Relationship Id="rId731" Type="http://schemas.openxmlformats.org/officeDocument/2006/relationships/tags" Target="../tags/tag1712.xml"/><Relationship Id="rId98" Type="http://schemas.openxmlformats.org/officeDocument/2006/relationships/tags" Target="../tags/tag1079.xml"/><Relationship Id="rId163" Type="http://schemas.openxmlformats.org/officeDocument/2006/relationships/tags" Target="../tags/tag1144.xml"/><Relationship Id="rId370" Type="http://schemas.openxmlformats.org/officeDocument/2006/relationships/tags" Target="../tags/tag1351.xml"/><Relationship Id="rId829" Type="http://schemas.openxmlformats.org/officeDocument/2006/relationships/tags" Target="../tags/tag1810.xml"/><Relationship Id="rId230" Type="http://schemas.openxmlformats.org/officeDocument/2006/relationships/tags" Target="../tags/tag1211.xml"/><Relationship Id="rId468" Type="http://schemas.openxmlformats.org/officeDocument/2006/relationships/tags" Target="../tags/tag1449.xml"/><Relationship Id="rId675" Type="http://schemas.openxmlformats.org/officeDocument/2006/relationships/tags" Target="../tags/tag1656.xml"/><Relationship Id="rId882" Type="http://schemas.openxmlformats.org/officeDocument/2006/relationships/tags" Target="../tags/tag1863.xml"/><Relationship Id="rId25" Type="http://schemas.openxmlformats.org/officeDocument/2006/relationships/tags" Target="../tags/tag1006.xml"/><Relationship Id="rId328" Type="http://schemas.openxmlformats.org/officeDocument/2006/relationships/tags" Target="../tags/tag1309.xml"/><Relationship Id="rId535" Type="http://schemas.openxmlformats.org/officeDocument/2006/relationships/tags" Target="../tags/tag1516.xml"/><Relationship Id="rId742" Type="http://schemas.openxmlformats.org/officeDocument/2006/relationships/tags" Target="../tags/tag1723.xml"/><Relationship Id="rId174" Type="http://schemas.openxmlformats.org/officeDocument/2006/relationships/tags" Target="../tags/tag1155.xml"/><Relationship Id="rId381" Type="http://schemas.openxmlformats.org/officeDocument/2006/relationships/tags" Target="../tags/tag1362.xml"/><Relationship Id="rId602" Type="http://schemas.openxmlformats.org/officeDocument/2006/relationships/tags" Target="../tags/tag1583.xml"/><Relationship Id="rId241" Type="http://schemas.openxmlformats.org/officeDocument/2006/relationships/tags" Target="../tags/tag1222.xml"/><Relationship Id="rId479" Type="http://schemas.openxmlformats.org/officeDocument/2006/relationships/tags" Target="../tags/tag1460.xml"/><Relationship Id="rId686" Type="http://schemas.openxmlformats.org/officeDocument/2006/relationships/tags" Target="../tags/tag1667.xml"/><Relationship Id="rId893" Type="http://schemas.openxmlformats.org/officeDocument/2006/relationships/tags" Target="../tags/tag1874.xml"/><Relationship Id="rId907" Type="http://schemas.openxmlformats.org/officeDocument/2006/relationships/tags" Target="../tags/tag1888.xml"/><Relationship Id="rId36" Type="http://schemas.openxmlformats.org/officeDocument/2006/relationships/tags" Target="../tags/tag1017.xml"/><Relationship Id="rId339" Type="http://schemas.openxmlformats.org/officeDocument/2006/relationships/tags" Target="../tags/tag1320.xml"/><Relationship Id="rId546" Type="http://schemas.openxmlformats.org/officeDocument/2006/relationships/tags" Target="../tags/tag1527.xml"/><Relationship Id="rId753" Type="http://schemas.openxmlformats.org/officeDocument/2006/relationships/tags" Target="../tags/tag1734.xml"/><Relationship Id="rId101" Type="http://schemas.openxmlformats.org/officeDocument/2006/relationships/tags" Target="../tags/tag1082.xml"/><Relationship Id="rId185" Type="http://schemas.openxmlformats.org/officeDocument/2006/relationships/tags" Target="../tags/tag1166.xml"/><Relationship Id="rId406" Type="http://schemas.openxmlformats.org/officeDocument/2006/relationships/tags" Target="../tags/tag1387.xml"/><Relationship Id="rId960" Type="http://schemas.openxmlformats.org/officeDocument/2006/relationships/tags" Target="../tags/tag1941.xml"/><Relationship Id="rId392" Type="http://schemas.openxmlformats.org/officeDocument/2006/relationships/tags" Target="../tags/tag1373.xml"/><Relationship Id="rId613" Type="http://schemas.openxmlformats.org/officeDocument/2006/relationships/tags" Target="../tags/tag1594.xml"/><Relationship Id="rId697" Type="http://schemas.openxmlformats.org/officeDocument/2006/relationships/tags" Target="../tags/tag1678.xml"/><Relationship Id="rId820" Type="http://schemas.openxmlformats.org/officeDocument/2006/relationships/tags" Target="../tags/tag1801.xml"/><Relationship Id="rId918" Type="http://schemas.openxmlformats.org/officeDocument/2006/relationships/tags" Target="../tags/tag1899.xml"/><Relationship Id="rId252" Type="http://schemas.openxmlformats.org/officeDocument/2006/relationships/tags" Target="../tags/tag1233.xml"/><Relationship Id="rId47" Type="http://schemas.openxmlformats.org/officeDocument/2006/relationships/tags" Target="../tags/tag1028.xml"/><Relationship Id="rId89" Type="http://schemas.openxmlformats.org/officeDocument/2006/relationships/tags" Target="../tags/tag1070.xml"/><Relationship Id="rId112" Type="http://schemas.openxmlformats.org/officeDocument/2006/relationships/tags" Target="../tags/tag1093.xml"/><Relationship Id="rId154" Type="http://schemas.openxmlformats.org/officeDocument/2006/relationships/tags" Target="../tags/tag1135.xml"/><Relationship Id="rId361" Type="http://schemas.openxmlformats.org/officeDocument/2006/relationships/tags" Target="../tags/tag1342.xml"/><Relationship Id="rId557" Type="http://schemas.openxmlformats.org/officeDocument/2006/relationships/tags" Target="../tags/tag1538.xml"/><Relationship Id="rId599" Type="http://schemas.openxmlformats.org/officeDocument/2006/relationships/tags" Target="../tags/tag1580.xml"/><Relationship Id="rId764" Type="http://schemas.openxmlformats.org/officeDocument/2006/relationships/tags" Target="../tags/tag1745.xml"/><Relationship Id="rId196" Type="http://schemas.openxmlformats.org/officeDocument/2006/relationships/tags" Target="../tags/tag1177.xml"/><Relationship Id="rId417" Type="http://schemas.openxmlformats.org/officeDocument/2006/relationships/tags" Target="../tags/tag1398.xml"/><Relationship Id="rId459" Type="http://schemas.openxmlformats.org/officeDocument/2006/relationships/tags" Target="../tags/tag1440.xml"/><Relationship Id="rId624" Type="http://schemas.openxmlformats.org/officeDocument/2006/relationships/tags" Target="../tags/tag1605.xml"/><Relationship Id="rId666" Type="http://schemas.openxmlformats.org/officeDocument/2006/relationships/tags" Target="../tags/tag1647.xml"/><Relationship Id="rId831" Type="http://schemas.openxmlformats.org/officeDocument/2006/relationships/tags" Target="../tags/tag1812.xml"/><Relationship Id="rId873" Type="http://schemas.openxmlformats.org/officeDocument/2006/relationships/tags" Target="../tags/tag1854.xml"/><Relationship Id="rId16" Type="http://schemas.openxmlformats.org/officeDocument/2006/relationships/tags" Target="../tags/tag997.xml"/><Relationship Id="rId221" Type="http://schemas.openxmlformats.org/officeDocument/2006/relationships/tags" Target="../tags/tag1202.xml"/><Relationship Id="rId263" Type="http://schemas.openxmlformats.org/officeDocument/2006/relationships/tags" Target="../tags/tag1244.xml"/><Relationship Id="rId319" Type="http://schemas.openxmlformats.org/officeDocument/2006/relationships/tags" Target="../tags/tag1300.xml"/><Relationship Id="rId470" Type="http://schemas.openxmlformats.org/officeDocument/2006/relationships/tags" Target="../tags/tag1451.xml"/><Relationship Id="rId526" Type="http://schemas.openxmlformats.org/officeDocument/2006/relationships/tags" Target="../tags/tag1507.xml"/><Relationship Id="rId929" Type="http://schemas.openxmlformats.org/officeDocument/2006/relationships/tags" Target="../tags/tag1910.xml"/><Relationship Id="rId58" Type="http://schemas.openxmlformats.org/officeDocument/2006/relationships/tags" Target="../tags/tag1039.xml"/><Relationship Id="rId123" Type="http://schemas.openxmlformats.org/officeDocument/2006/relationships/tags" Target="../tags/tag1104.xml"/><Relationship Id="rId330" Type="http://schemas.openxmlformats.org/officeDocument/2006/relationships/tags" Target="../tags/tag1311.xml"/><Relationship Id="rId568" Type="http://schemas.openxmlformats.org/officeDocument/2006/relationships/tags" Target="../tags/tag1549.xml"/><Relationship Id="rId733" Type="http://schemas.openxmlformats.org/officeDocument/2006/relationships/tags" Target="../tags/tag1714.xml"/><Relationship Id="rId775" Type="http://schemas.openxmlformats.org/officeDocument/2006/relationships/tags" Target="../tags/tag1756.xml"/><Relationship Id="rId940" Type="http://schemas.openxmlformats.org/officeDocument/2006/relationships/tags" Target="../tags/tag1921.xml"/><Relationship Id="rId165" Type="http://schemas.openxmlformats.org/officeDocument/2006/relationships/tags" Target="../tags/tag1146.xml"/><Relationship Id="rId372" Type="http://schemas.openxmlformats.org/officeDocument/2006/relationships/tags" Target="../tags/tag1353.xml"/><Relationship Id="rId428" Type="http://schemas.openxmlformats.org/officeDocument/2006/relationships/tags" Target="../tags/tag1409.xml"/><Relationship Id="rId635" Type="http://schemas.openxmlformats.org/officeDocument/2006/relationships/tags" Target="../tags/tag1616.xml"/><Relationship Id="rId677" Type="http://schemas.openxmlformats.org/officeDocument/2006/relationships/tags" Target="../tags/tag1658.xml"/><Relationship Id="rId800" Type="http://schemas.openxmlformats.org/officeDocument/2006/relationships/tags" Target="../tags/tag1781.xml"/><Relationship Id="rId842" Type="http://schemas.openxmlformats.org/officeDocument/2006/relationships/tags" Target="../tags/tag1823.xml"/><Relationship Id="rId232" Type="http://schemas.openxmlformats.org/officeDocument/2006/relationships/tags" Target="../tags/tag1213.xml"/><Relationship Id="rId274" Type="http://schemas.openxmlformats.org/officeDocument/2006/relationships/tags" Target="../tags/tag1255.xml"/><Relationship Id="rId481" Type="http://schemas.openxmlformats.org/officeDocument/2006/relationships/tags" Target="../tags/tag1462.xml"/><Relationship Id="rId702" Type="http://schemas.openxmlformats.org/officeDocument/2006/relationships/tags" Target="../tags/tag1683.xml"/><Relationship Id="rId884" Type="http://schemas.openxmlformats.org/officeDocument/2006/relationships/tags" Target="../tags/tag1865.xml"/><Relationship Id="rId27" Type="http://schemas.openxmlformats.org/officeDocument/2006/relationships/tags" Target="../tags/tag1008.xml"/><Relationship Id="rId69" Type="http://schemas.openxmlformats.org/officeDocument/2006/relationships/tags" Target="../tags/tag1050.xml"/><Relationship Id="rId134" Type="http://schemas.openxmlformats.org/officeDocument/2006/relationships/tags" Target="../tags/tag1115.xml"/><Relationship Id="rId537" Type="http://schemas.openxmlformats.org/officeDocument/2006/relationships/tags" Target="../tags/tag1518.xml"/><Relationship Id="rId579" Type="http://schemas.openxmlformats.org/officeDocument/2006/relationships/tags" Target="../tags/tag1560.xml"/><Relationship Id="rId744" Type="http://schemas.openxmlformats.org/officeDocument/2006/relationships/tags" Target="../tags/tag1725.xml"/><Relationship Id="rId786" Type="http://schemas.openxmlformats.org/officeDocument/2006/relationships/tags" Target="../tags/tag1767.xml"/><Relationship Id="rId951" Type="http://schemas.openxmlformats.org/officeDocument/2006/relationships/tags" Target="../tags/tag1932.xml"/><Relationship Id="rId80" Type="http://schemas.openxmlformats.org/officeDocument/2006/relationships/tags" Target="../tags/tag1061.xml"/><Relationship Id="rId176" Type="http://schemas.openxmlformats.org/officeDocument/2006/relationships/tags" Target="../tags/tag1157.xml"/><Relationship Id="rId341" Type="http://schemas.openxmlformats.org/officeDocument/2006/relationships/tags" Target="../tags/tag1322.xml"/><Relationship Id="rId383" Type="http://schemas.openxmlformats.org/officeDocument/2006/relationships/tags" Target="../tags/tag1364.xml"/><Relationship Id="rId439" Type="http://schemas.openxmlformats.org/officeDocument/2006/relationships/tags" Target="../tags/tag1420.xml"/><Relationship Id="rId590" Type="http://schemas.openxmlformats.org/officeDocument/2006/relationships/tags" Target="../tags/tag1571.xml"/><Relationship Id="rId604" Type="http://schemas.openxmlformats.org/officeDocument/2006/relationships/tags" Target="../tags/tag1585.xml"/><Relationship Id="rId646" Type="http://schemas.openxmlformats.org/officeDocument/2006/relationships/tags" Target="../tags/tag1627.xml"/><Relationship Id="rId811" Type="http://schemas.openxmlformats.org/officeDocument/2006/relationships/tags" Target="../tags/tag1792.xml"/><Relationship Id="rId201" Type="http://schemas.openxmlformats.org/officeDocument/2006/relationships/tags" Target="../tags/tag1182.xml"/><Relationship Id="rId243" Type="http://schemas.openxmlformats.org/officeDocument/2006/relationships/tags" Target="../tags/tag1224.xml"/><Relationship Id="rId285" Type="http://schemas.openxmlformats.org/officeDocument/2006/relationships/tags" Target="../tags/tag1266.xml"/><Relationship Id="rId450" Type="http://schemas.openxmlformats.org/officeDocument/2006/relationships/tags" Target="../tags/tag1431.xml"/><Relationship Id="rId506" Type="http://schemas.openxmlformats.org/officeDocument/2006/relationships/tags" Target="../tags/tag1487.xml"/><Relationship Id="rId688" Type="http://schemas.openxmlformats.org/officeDocument/2006/relationships/tags" Target="../tags/tag1669.xml"/><Relationship Id="rId853" Type="http://schemas.openxmlformats.org/officeDocument/2006/relationships/tags" Target="../tags/tag1834.xml"/><Relationship Id="rId895" Type="http://schemas.openxmlformats.org/officeDocument/2006/relationships/tags" Target="../tags/tag1876.xml"/><Relationship Id="rId909" Type="http://schemas.openxmlformats.org/officeDocument/2006/relationships/tags" Target="../tags/tag1890.xml"/><Relationship Id="rId38" Type="http://schemas.openxmlformats.org/officeDocument/2006/relationships/tags" Target="../tags/tag1019.xml"/><Relationship Id="rId103" Type="http://schemas.openxmlformats.org/officeDocument/2006/relationships/tags" Target="../tags/tag1084.xml"/><Relationship Id="rId310" Type="http://schemas.openxmlformats.org/officeDocument/2006/relationships/tags" Target="../tags/tag1291.xml"/><Relationship Id="rId492" Type="http://schemas.openxmlformats.org/officeDocument/2006/relationships/tags" Target="../tags/tag1473.xml"/><Relationship Id="rId548" Type="http://schemas.openxmlformats.org/officeDocument/2006/relationships/tags" Target="../tags/tag1529.xml"/><Relationship Id="rId713" Type="http://schemas.openxmlformats.org/officeDocument/2006/relationships/tags" Target="../tags/tag1694.xml"/><Relationship Id="rId755" Type="http://schemas.openxmlformats.org/officeDocument/2006/relationships/tags" Target="../tags/tag1736.xml"/><Relationship Id="rId797" Type="http://schemas.openxmlformats.org/officeDocument/2006/relationships/tags" Target="../tags/tag1778.xml"/><Relationship Id="rId920" Type="http://schemas.openxmlformats.org/officeDocument/2006/relationships/tags" Target="../tags/tag1901.xml"/><Relationship Id="rId962" Type="http://schemas.openxmlformats.org/officeDocument/2006/relationships/tags" Target="../tags/tag1943.xml"/><Relationship Id="rId91" Type="http://schemas.openxmlformats.org/officeDocument/2006/relationships/tags" Target="../tags/tag1072.xml"/><Relationship Id="rId145" Type="http://schemas.openxmlformats.org/officeDocument/2006/relationships/tags" Target="../tags/tag1126.xml"/><Relationship Id="rId187" Type="http://schemas.openxmlformats.org/officeDocument/2006/relationships/tags" Target="../tags/tag1168.xml"/><Relationship Id="rId352" Type="http://schemas.openxmlformats.org/officeDocument/2006/relationships/tags" Target="../tags/tag1333.xml"/><Relationship Id="rId394" Type="http://schemas.openxmlformats.org/officeDocument/2006/relationships/tags" Target="../tags/tag1375.xml"/><Relationship Id="rId408" Type="http://schemas.openxmlformats.org/officeDocument/2006/relationships/tags" Target="../tags/tag1389.xml"/><Relationship Id="rId615" Type="http://schemas.openxmlformats.org/officeDocument/2006/relationships/tags" Target="../tags/tag1596.xml"/><Relationship Id="rId822" Type="http://schemas.openxmlformats.org/officeDocument/2006/relationships/tags" Target="../tags/tag1803.xml"/><Relationship Id="rId212" Type="http://schemas.openxmlformats.org/officeDocument/2006/relationships/tags" Target="../tags/tag1193.xml"/><Relationship Id="rId254" Type="http://schemas.openxmlformats.org/officeDocument/2006/relationships/tags" Target="../tags/tag1235.xml"/><Relationship Id="rId657" Type="http://schemas.openxmlformats.org/officeDocument/2006/relationships/tags" Target="../tags/tag1638.xml"/><Relationship Id="rId699" Type="http://schemas.openxmlformats.org/officeDocument/2006/relationships/tags" Target="../tags/tag1680.xml"/><Relationship Id="rId864" Type="http://schemas.openxmlformats.org/officeDocument/2006/relationships/tags" Target="../tags/tag1845.xml"/><Relationship Id="rId49" Type="http://schemas.openxmlformats.org/officeDocument/2006/relationships/tags" Target="../tags/tag1030.xml"/><Relationship Id="rId114" Type="http://schemas.openxmlformats.org/officeDocument/2006/relationships/tags" Target="../tags/tag1095.xml"/><Relationship Id="rId296" Type="http://schemas.openxmlformats.org/officeDocument/2006/relationships/tags" Target="../tags/tag1277.xml"/><Relationship Id="rId461" Type="http://schemas.openxmlformats.org/officeDocument/2006/relationships/tags" Target="../tags/tag1442.xml"/><Relationship Id="rId517" Type="http://schemas.openxmlformats.org/officeDocument/2006/relationships/tags" Target="../tags/tag1498.xml"/><Relationship Id="rId559" Type="http://schemas.openxmlformats.org/officeDocument/2006/relationships/tags" Target="../tags/tag1540.xml"/><Relationship Id="rId724" Type="http://schemas.openxmlformats.org/officeDocument/2006/relationships/tags" Target="../tags/tag1705.xml"/><Relationship Id="rId766" Type="http://schemas.openxmlformats.org/officeDocument/2006/relationships/tags" Target="../tags/tag1747.xml"/><Relationship Id="rId931" Type="http://schemas.openxmlformats.org/officeDocument/2006/relationships/tags" Target="../tags/tag1912.xml"/><Relationship Id="rId60" Type="http://schemas.openxmlformats.org/officeDocument/2006/relationships/tags" Target="../tags/tag1041.xml"/><Relationship Id="rId156" Type="http://schemas.openxmlformats.org/officeDocument/2006/relationships/tags" Target="../tags/tag1137.xml"/><Relationship Id="rId198" Type="http://schemas.openxmlformats.org/officeDocument/2006/relationships/tags" Target="../tags/tag1179.xml"/><Relationship Id="rId321" Type="http://schemas.openxmlformats.org/officeDocument/2006/relationships/tags" Target="../tags/tag1302.xml"/><Relationship Id="rId363" Type="http://schemas.openxmlformats.org/officeDocument/2006/relationships/tags" Target="../tags/tag1344.xml"/><Relationship Id="rId419" Type="http://schemas.openxmlformats.org/officeDocument/2006/relationships/tags" Target="../tags/tag1400.xml"/><Relationship Id="rId570" Type="http://schemas.openxmlformats.org/officeDocument/2006/relationships/tags" Target="../tags/tag1551.xml"/><Relationship Id="rId626" Type="http://schemas.openxmlformats.org/officeDocument/2006/relationships/tags" Target="../tags/tag1607.xml"/><Relationship Id="rId223" Type="http://schemas.openxmlformats.org/officeDocument/2006/relationships/tags" Target="../tags/tag1204.xml"/><Relationship Id="rId430" Type="http://schemas.openxmlformats.org/officeDocument/2006/relationships/tags" Target="../tags/tag1411.xml"/><Relationship Id="rId668" Type="http://schemas.openxmlformats.org/officeDocument/2006/relationships/tags" Target="../tags/tag1649.xml"/><Relationship Id="rId833" Type="http://schemas.openxmlformats.org/officeDocument/2006/relationships/tags" Target="../tags/tag1814.xml"/><Relationship Id="rId875" Type="http://schemas.openxmlformats.org/officeDocument/2006/relationships/tags" Target="../tags/tag1856.xml"/><Relationship Id="rId18" Type="http://schemas.openxmlformats.org/officeDocument/2006/relationships/tags" Target="../tags/tag999.xml"/><Relationship Id="rId265" Type="http://schemas.openxmlformats.org/officeDocument/2006/relationships/tags" Target="../tags/tag1246.xml"/><Relationship Id="rId472" Type="http://schemas.openxmlformats.org/officeDocument/2006/relationships/tags" Target="../tags/tag1453.xml"/><Relationship Id="rId528" Type="http://schemas.openxmlformats.org/officeDocument/2006/relationships/tags" Target="../tags/tag1509.xml"/><Relationship Id="rId735" Type="http://schemas.openxmlformats.org/officeDocument/2006/relationships/tags" Target="../tags/tag1716.xml"/><Relationship Id="rId900" Type="http://schemas.openxmlformats.org/officeDocument/2006/relationships/tags" Target="../tags/tag1881.xml"/><Relationship Id="rId942" Type="http://schemas.openxmlformats.org/officeDocument/2006/relationships/tags" Target="../tags/tag1923.xml"/><Relationship Id="rId125" Type="http://schemas.openxmlformats.org/officeDocument/2006/relationships/tags" Target="../tags/tag1106.xml"/><Relationship Id="rId167" Type="http://schemas.openxmlformats.org/officeDocument/2006/relationships/tags" Target="../tags/tag1148.xml"/><Relationship Id="rId332" Type="http://schemas.openxmlformats.org/officeDocument/2006/relationships/tags" Target="../tags/tag1313.xml"/><Relationship Id="rId374" Type="http://schemas.openxmlformats.org/officeDocument/2006/relationships/tags" Target="../tags/tag1355.xml"/><Relationship Id="rId581" Type="http://schemas.openxmlformats.org/officeDocument/2006/relationships/tags" Target="../tags/tag1562.xml"/><Relationship Id="rId777" Type="http://schemas.openxmlformats.org/officeDocument/2006/relationships/tags" Target="../tags/tag1758.xml"/><Relationship Id="rId71" Type="http://schemas.openxmlformats.org/officeDocument/2006/relationships/tags" Target="../tags/tag1052.xml"/><Relationship Id="rId234" Type="http://schemas.openxmlformats.org/officeDocument/2006/relationships/tags" Target="../tags/tag1215.xml"/><Relationship Id="rId637" Type="http://schemas.openxmlformats.org/officeDocument/2006/relationships/tags" Target="../tags/tag1618.xml"/><Relationship Id="rId679" Type="http://schemas.openxmlformats.org/officeDocument/2006/relationships/tags" Target="../tags/tag1660.xml"/><Relationship Id="rId802" Type="http://schemas.openxmlformats.org/officeDocument/2006/relationships/tags" Target="../tags/tag1783.xml"/><Relationship Id="rId844" Type="http://schemas.openxmlformats.org/officeDocument/2006/relationships/tags" Target="../tags/tag1825.xml"/><Relationship Id="rId886" Type="http://schemas.openxmlformats.org/officeDocument/2006/relationships/tags" Target="../tags/tag1867.xml"/><Relationship Id="rId2" Type="http://schemas.openxmlformats.org/officeDocument/2006/relationships/tags" Target="../tags/tag983.xml"/><Relationship Id="rId29" Type="http://schemas.openxmlformats.org/officeDocument/2006/relationships/tags" Target="../tags/tag1010.xml"/><Relationship Id="rId276" Type="http://schemas.openxmlformats.org/officeDocument/2006/relationships/tags" Target="../tags/tag1257.xml"/><Relationship Id="rId441" Type="http://schemas.openxmlformats.org/officeDocument/2006/relationships/tags" Target="../tags/tag1422.xml"/><Relationship Id="rId483" Type="http://schemas.openxmlformats.org/officeDocument/2006/relationships/tags" Target="../tags/tag1464.xml"/><Relationship Id="rId539" Type="http://schemas.openxmlformats.org/officeDocument/2006/relationships/tags" Target="../tags/tag1520.xml"/><Relationship Id="rId690" Type="http://schemas.openxmlformats.org/officeDocument/2006/relationships/tags" Target="../tags/tag1671.xml"/><Relationship Id="rId704" Type="http://schemas.openxmlformats.org/officeDocument/2006/relationships/tags" Target="../tags/tag1685.xml"/><Relationship Id="rId746" Type="http://schemas.openxmlformats.org/officeDocument/2006/relationships/tags" Target="../tags/tag1727.xml"/><Relationship Id="rId911" Type="http://schemas.openxmlformats.org/officeDocument/2006/relationships/tags" Target="../tags/tag1892.xml"/><Relationship Id="rId40" Type="http://schemas.openxmlformats.org/officeDocument/2006/relationships/tags" Target="../tags/tag1021.xml"/><Relationship Id="rId136" Type="http://schemas.openxmlformats.org/officeDocument/2006/relationships/tags" Target="../tags/tag1117.xml"/><Relationship Id="rId178" Type="http://schemas.openxmlformats.org/officeDocument/2006/relationships/tags" Target="../tags/tag1159.xml"/><Relationship Id="rId301" Type="http://schemas.openxmlformats.org/officeDocument/2006/relationships/tags" Target="../tags/tag1282.xml"/><Relationship Id="rId343" Type="http://schemas.openxmlformats.org/officeDocument/2006/relationships/tags" Target="../tags/tag1324.xml"/><Relationship Id="rId550" Type="http://schemas.openxmlformats.org/officeDocument/2006/relationships/tags" Target="../tags/tag1531.xml"/><Relationship Id="rId788" Type="http://schemas.openxmlformats.org/officeDocument/2006/relationships/tags" Target="../tags/tag1769.xml"/><Relationship Id="rId953" Type="http://schemas.openxmlformats.org/officeDocument/2006/relationships/tags" Target="../tags/tag1934.xml"/><Relationship Id="rId82" Type="http://schemas.openxmlformats.org/officeDocument/2006/relationships/tags" Target="../tags/tag1063.xml"/><Relationship Id="rId203" Type="http://schemas.openxmlformats.org/officeDocument/2006/relationships/tags" Target="../tags/tag1184.xml"/><Relationship Id="rId385" Type="http://schemas.openxmlformats.org/officeDocument/2006/relationships/tags" Target="../tags/tag1366.xml"/><Relationship Id="rId592" Type="http://schemas.openxmlformats.org/officeDocument/2006/relationships/tags" Target="../tags/tag1573.xml"/><Relationship Id="rId606" Type="http://schemas.openxmlformats.org/officeDocument/2006/relationships/tags" Target="../tags/tag1587.xml"/><Relationship Id="rId648" Type="http://schemas.openxmlformats.org/officeDocument/2006/relationships/tags" Target="../tags/tag1629.xml"/><Relationship Id="rId813" Type="http://schemas.openxmlformats.org/officeDocument/2006/relationships/tags" Target="../tags/tag1794.xml"/><Relationship Id="rId855" Type="http://schemas.openxmlformats.org/officeDocument/2006/relationships/tags" Target="../tags/tag1836.xml"/><Relationship Id="rId245" Type="http://schemas.openxmlformats.org/officeDocument/2006/relationships/tags" Target="../tags/tag1226.xml"/><Relationship Id="rId287" Type="http://schemas.openxmlformats.org/officeDocument/2006/relationships/tags" Target="../tags/tag1268.xml"/><Relationship Id="rId410" Type="http://schemas.openxmlformats.org/officeDocument/2006/relationships/tags" Target="../tags/tag1391.xml"/><Relationship Id="rId452" Type="http://schemas.openxmlformats.org/officeDocument/2006/relationships/tags" Target="../tags/tag1433.xml"/><Relationship Id="rId494" Type="http://schemas.openxmlformats.org/officeDocument/2006/relationships/tags" Target="../tags/tag1475.xml"/><Relationship Id="rId508" Type="http://schemas.openxmlformats.org/officeDocument/2006/relationships/tags" Target="../tags/tag1489.xml"/><Relationship Id="rId715" Type="http://schemas.openxmlformats.org/officeDocument/2006/relationships/tags" Target="../tags/tag1696.xml"/><Relationship Id="rId897" Type="http://schemas.openxmlformats.org/officeDocument/2006/relationships/tags" Target="../tags/tag1878.xml"/><Relationship Id="rId922" Type="http://schemas.openxmlformats.org/officeDocument/2006/relationships/tags" Target="../tags/tag1903.xml"/><Relationship Id="rId105" Type="http://schemas.openxmlformats.org/officeDocument/2006/relationships/tags" Target="../tags/tag1086.xml"/><Relationship Id="rId147" Type="http://schemas.openxmlformats.org/officeDocument/2006/relationships/tags" Target="../tags/tag1128.xml"/><Relationship Id="rId312" Type="http://schemas.openxmlformats.org/officeDocument/2006/relationships/tags" Target="../tags/tag1293.xml"/><Relationship Id="rId354" Type="http://schemas.openxmlformats.org/officeDocument/2006/relationships/tags" Target="../tags/tag1335.xml"/><Relationship Id="rId757" Type="http://schemas.openxmlformats.org/officeDocument/2006/relationships/tags" Target="../tags/tag1738.xml"/><Relationship Id="rId799" Type="http://schemas.openxmlformats.org/officeDocument/2006/relationships/tags" Target="../tags/tag1780.xml"/><Relationship Id="rId964" Type="http://schemas.openxmlformats.org/officeDocument/2006/relationships/notesSlide" Target="../notesSlides/notesSlide9.xml"/><Relationship Id="rId51" Type="http://schemas.openxmlformats.org/officeDocument/2006/relationships/tags" Target="../tags/tag1032.xml"/><Relationship Id="rId93" Type="http://schemas.openxmlformats.org/officeDocument/2006/relationships/tags" Target="../tags/tag1074.xml"/><Relationship Id="rId189" Type="http://schemas.openxmlformats.org/officeDocument/2006/relationships/tags" Target="../tags/tag1170.xml"/><Relationship Id="rId396" Type="http://schemas.openxmlformats.org/officeDocument/2006/relationships/tags" Target="../tags/tag1377.xml"/><Relationship Id="rId561" Type="http://schemas.openxmlformats.org/officeDocument/2006/relationships/tags" Target="../tags/tag1542.xml"/><Relationship Id="rId617" Type="http://schemas.openxmlformats.org/officeDocument/2006/relationships/tags" Target="../tags/tag1598.xml"/><Relationship Id="rId659" Type="http://schemas.openxmlformats.org/officeDocument/2006/relationships/tags" Target="../tags/tag1640.xml"/><Relationship Id="rId824" Type="http://schemas.openxmlformats.org/officeDocument/2006/relationships/tags" Target="../tags/tag1805.xml"/><Relationship Id="rId866" Type="http://schemas.openxmlformats.org/officeDocument/2006/relationships/tags" Target="../tags/tag1847.xml"/><Relationship Id="rId214" Type="http://schemas.openxmlformats.org/officeDocument/2006/relationships/tags" Target="../tags/tag1195.xml"/><Relationship Id="rId256" Type="http://schemas.openxmlformats.org/officeDocument/2006/relationships/tags" Target="../tags/tag1237.xml"/><Relationship Id="rId298" Type="http://schemas.openxmlformats.org/officeDocument/2006/relationships/tags" Target="../tags/tag1279.xml"/><Relationship Id="rId421" Type="http://schemas.openxmlformats.org/officeDocument/2006/relationships/tags" Target="../tags/tag1402.xml"/><Relationship Id="rId463" Type="http://schemas.openxmlformats.org/officeDocument/2006/relationships/tags" Target="../tags/tag1444.xml"/><Relationship Id="rId519" Type="http://schemas.openxmlformats.org/officeDocument/2006/relationships/tags" Target="../tags/tag1500.xml"/><Relationship Id="rId670" Type="http://schemas.openxmlformats.org/officeDocument/2006/relationships/tags" Target="../tags/tag1651.xml"/><Relationship Id="rId116" Type="http://schemas.openxmlformats.org/officeDocument/2006/relationships/tags" Target="../tags/tag1097.xml"/><Relationship Id="rId158" Type="http://schemas.openxmlformats.org/officeDocument/2006/relationships/tags" Target="../tags/tag1139.xml"/><Relationship Id="rId323" Type="http://schemas.openxmlformats.org/officeDocument/2006/relationships/tags" Target="../tags/tag1304.xml"/><Relationship Id="rId530" Type="http://schemas.openxmlformats.org/officeDocument/2006/relationships/tags" Target="../tags/tag1511.xml"/><Relationship Id="rId726" Type="http://schemas.openxmlformats.org/officeDocument/2006/relationships/tags" Target="../tags/tag1707.xml"/><Relationship Id="rId768" Type="http://schemas.openxmlformats.org/officeDocument/2006/relationships/tags" Target="../tags/tag1749.xml"/><Relationship Id="rId933" Type="http://schemas.openxmlformats.org/officeDocument/2006/relationships/tags" Target="../tags/tag1914.xml"/><Relationship Id="rId20" Type="http://schemas.openxmlformats.org/officeDocument/2006/relationships/tags" Target="../tags/tag1001.xml"/><Relationship Id="rId62" Type="http://schemas.openxmlformats.org/officeDocument/2006/relationships/tags" Target="../tags/tag1043.xml"/><Relationship Id="rId365" Type="http://schemas.openxmlformats.org/officeDocument/2006/relationships/tags" Target="../tags/tag1346.xml"/><Relationship Id="rId572" Type="http://schemas.openxmlformats.org/officeDocument/2006/relationships/tags" Target="../tags/tag1553.xml"/><Relationship Id="rId628" Type="http://schemas.openxmlformats.org/officeDocument/2006/relationships/tags" Target="../tags/tag1609.xml"/><Relationship Id="rId835" Type="http://schemas.openxmlformats.org/officeDocument/2006/relationships/tags" Target="../tags/tag1816.xml"/><Relationship Id="rId225" Type="http://schemas.openxmlformats.org/officeDocument/2006/relationships/tags" Target="../tags/tag1206.xml"/><Relationship Id="rId267" Type="http://schemas.openxmlformats.org/officeDocument/2006/relationships/tags" Target="../tags/tag1248.xml"/><Relationship Id="rId432" Type="http://schemas.openxmlformats.org/officeDocument/2006/relationships/tags" Target="../tags/tag1413.xml"/><Relationship Id="rId474" Type="http://schemas.openxmlformats.org/officeDocument/2006/relationships/tags" Target="../tags/tag1455.xml"/><Relationship Id="rId877" Type="http://schemas.openxmlformats.org/officeDocument/2006/relationships/tags" Target="../tags/tag1858.xml"/><Relationship Id="rId127" Type="http://schemas.openxmlformats.org/officeDocument/2006/relationships/tags" Target="../tags/tag1108.xml"/><Relationship Id="rId681" Type="http://schemas.openxmlformats.org/officeDocument/2006/relationships/tags" Target="../tags/tag1662.xml"/><Relationship Id="rId737" Type="http://schemas.openxmlformats.org/officeDocument/2006/relationships/tags" Target="../tags/tag1718.xml"/><Relationship Id="rId779" Type="http://schemas.openxmlformats.org/officeDocument/2006/relationships/tags" Target="../tags/tag1760.xml"/><Relationship Id="rId902" Type="http://schemas.openxmlformats.org/officeDocument/2006/relationships/tags" Target="../tags/tag1883.xml"/><Relationship Id="rId944" Type="http://schemas.openxmlformats.org/officeDocument/2006/relationships/tags" Target="../tags/tag1925.xml"/><Relationship Id="rId31" Type="http://schemas.openxmlformats.org/officeDocument/2006/relationships/tags" Target="../tags/tag1012.xml"/><Relationship Id="rId73" Type="http://schemas.openxmlformats.org/officeDocument/2006/relationships/tags" Target="../tags/tag1054.xml"/><Relationship Id="rId169" Type="http://schemas.openxmlformats.org/officeDocument/2006/relationships/tags" Target="../tags/tag1150.xml"/><Relationship Id="rId334" Type="http://schemas.openxmlformats.org/officeDocument/2006/relationships/tags" Target="../tags/tag1315.xml"/><Relationship Id="rId376" Type="http://schemas.openxmlformats.org/officeDocument/2006/relationships/tags" Target="../tags/tag1357.xml"/><Relationship Id="rId541" Type="http://schemas.openxmlformats.org/officeDocument/2006/relationships/tags" Target="../tags/tag1522.xml"/><Relationship Id="rId583" Type="http://schemas.openxmlformats.org/officeDocument/2006/relationships/tags" Target="../tags/tag1564.xml"/><Relationship Id="rId639" Type="http://schemas.openxmlformats.org/officeDocument/2006/relationships/tags" Target="../tags/tag1620.xml"/><Relationship Id="rId790" Type="http://schemas.openxmlformats.org/officeDocument/2006/relationships/tags" Target="../tags/tag1771.xml"/><Relationship Id="rId804" Type="http://schemas.openxmlformats.org/officeDocument/2006/relationships/tags" Target="../tags/tag1785.xml"/><Relationship Id="rId4" Type="http://schemas.openxmlformats.org/officeDocument/2006/relationships/tags" Target="../tags/tag985.xml"/><Relationship Id="rId180" Type="http://schemas.openxmlformats.org/officeDocument/2006/relationships/tags" Target="../tags/tag1161.xml"/><Relationship Id="rId236" Type="http://schemas.openxmlformats.org/officeDocument/2006/relationships/tags" Target="../tags/tag1217.xml"/><Relationship Id="rId278" Type="http://schemas.openxmlformats.org/officeDocument/2006/relationships/tags" Target="../tags/tag1259.xml"/><Relationship Id="rId401" Type="http://schemas.openxmlformats.org/officeDocument/2006/relationships/tags" Target="../tags/tag1382.xml"/><Relationship Id="rId443" Type="http://schemas.openxmlformats.org/officeDocument/2006/relationships/tags" Target="../tags/tag1424.xml"/><Relationship Id="rId650" Type="http://schemas.openxmlformats.org/officeDocument/2006/relationships/tags" Target="../tags/tag1631.xml"/><Relationship Id="rId846" Type="http://schemas.openxmlformats.org/officeDocument/2006/relationships/tags" Target="../tags/tag1827.xml"/><Relationship Id="rId888" Type="http://schemas.openxmlformats.org/officeDocument/2006/relationships/tags" Target="../tags/tag1869.xml"/><Relationship Id="rId303" Type="http://schemas.openxmlformats.org/officeDocument/2006/relationships/tags" Target="../tags/tag1284.xml"/><Relationship Id="rId485" Type="http://schemas.openxmlformats.org/officeDocument/2006/relationships/tags" Target="../tags/tag1466.xml"/><Relationship Id="rId692" Type="http://schemas.openxmlformats.org/officeDocument/2006/relationships/tags" Target="../tags/tag1673.xml"/><Relationship Id="rId706" Type="http://schemas.openxmlformats.org/officeDocument/2006/relationships/tags" Target="../tags/tag1687.xml"/><Relationship Id="rId748" Type="http://schemas.openxmlformats.org/officeDocument/2006/relationships/tags" Target="../tags/tag1729.xml"/><Relationship Id="rId913" Type="http://schemas.openxmlformats.org/officeDocument/2006/relationships/tags" Target="../tags/tag1894.xml"/><Relationship Id="rId955" Type="http://schemas.openxmlformats.org/officeDocument/2006/relationships/tags" Target="../tags/tag1936.xml"/><Relationship Id="rId42" Type="http://schemas.openxmlformats.org/officeDocument/2006/relationships/tags" Target="../tags/tag1023.xml"/><Relationship Id="rId84" Type="http://schemas.openxmlformats.org/officeDocument/2006/relationships/tags" Target="../tags/tag1065.xml"/><Relationship Id="rId138" Type="http://schemas.openxmlformats.org/officeDocument/2006/relationships/tags" Target="../tags/tag1119.xml"/><Relationship Id="rId345" Type="http://schemas.openxmlformats.org/officeDocument/2006/relationships/tags" Target="../tags/tag1326.xml"/><Relationship Id="rId387" Type="http://schemas.openxmlformats.org/officeDocument/2006/relationships/tags" Target="../tags/tag1368.xml"/><Relationship Id="rId510" Type="http://schemas.openxmlformats.org/officeDocument/2006/relationships/tags" Target="../tags/tag1491.xml"/><Relationship Id="rId552" Type="http://schemas.openxmlformats.org/officeDocument/2006/relationships/tags" Target="../tags/tag1533.xml"/><Relationship Id="rId594" Type="http://schemas.openxmlformats.org/officeDocument/2006/relationships/tags" Target="../tags/tag1575.xml"/><Relationship Id="rId608" Type="http://schemas.openxmlformats.org/officeDocument/2006/relationships/tags" Target="../tags/tag1589.xml"/><Relationship Id="rId815" Type="http://schemas.openxmlformats.org/officeDocument/2006/relationships/tags" Target="../tags/tag1796.xml"/><Relationship Id="rId191" Type="http://schemas.openxmlformats.org/officeDocument/2006/relationships/tags" Target="../tags/tag1172.xml"/><Relationship Id="rId205" Type="http://schemas.openxmlformats.org/officeDocument/2006/relationships/tags" Target="../tags/tag1186.xml"/><Relationship Id="rId247" Type="http://schemas.openxmlformats.org/officeDocument/2006/relationships/tags" Target="../tags/tag1228.xml"/><Relationship Id="rId412" Type="http://schemas.openxmlformats.org/officeDocument/2006/relationships/tags" Target="../tags/tag1393.xml"/><Relationship Id="rId857" Type="http://schemas.openxmlformats.org/officeDocument/2006/relationships/tags" Target="../tags/tag1838.xml"/><Relationship Id="rId899" Type="http://schemas.openxmlformats.org/officeDocument/2006/relationships/tags" Target="../tags/tag1880.xml"/><Relationship Id="rId107" Type="http://schemas.openxmlformats.org/officeDocument/2006/relationships/tags" Target="../tags/tag1088.xml"/><Relationship Id="rId289" Type="http://schemas.openxmlformats.org/officeDocument/2006/relationships/tags" Target="../tags/tag1270.xml"/><Relationship Id="rId454" Type="http://schemas.openxmlformats.org/officeDocument/2006/relationships/tags" Target="../tags/tag1435.xml"/><Relationship Id="rId496" Type="http://schemas.openxmlformats.org/officeDocument/2006/relationships/tags" Target="../tags/tag1477.xml"/><Relationship Id="rId661" Type="http://schemas.openxmlformats.org/officeDocument/2006/relationships/tags" Target="../tags/tag1642.xml"/><Relationship Id="rId717" Type="http://schemas.openxmlformats.org/officeDocument/2006/relationships/tags" Target="../tags/tag1698.xml"/><Relationship Id="rId759" Type="http://schemas.openxmlformats.org/officeDocument/2006/relationships/tags" Target="../tags/tag1740.xml"/><Relationship Id="rId924" Type="http://schemas.openxmlformats.org/officeDocument/2006/relationships/tags" Target="../tags/tag1905.xml"/><Relationship Id="rId966" Type="http://schemas.openxmlformats.org/officeDocument/2006/relationships/image" Target="../media/image71.png"/><Relationship Id="rId11" Type="http://schemas.openxmlformats.org/officeDocument/2006/relationships/tags" Target="../tags/tag992.xml"/><Relationship Id="rId53" Type="http://schemas.openxmlformats.org/officeDocument/2006/relationships/tags" Target="../tags/tag1034.xml"/><Relationship Id="rId149" Type="http://schemas.openxmlformats.org/officeDocument/2006/relationships/tags" Target="../tags/tag1130.xml"/><Relationship Id="rId314" Type="http://schemas.openxmlformats.org/officeDocument/2006/relationships/tags" Target="../tags/tag1295.xml"/><Relationship Id="rId356" Type="http://schemas.openxmlformats.org/officeDocument/2006/relationships/tags" Target="../tags/tag1337.xml"/><Relationship Id="rId398" Type="http://schemas.openxmlformats.org/officeDocument/2006/relationships/tags" Target="../tags/tag1379.xml"/><Relationship Id="rId521" Type="http://schemas.openxmlformats.org/officeDocument/2006/relationships/tags" Target="../tags/tag1502.xml"/><Relationship Id="rId563" Type="http://schemas.openxmlformats.org/officeDocument/2006/relationships/tags" Target="../tags/tag1544.xml"/><Relationship Id="rId619" Type="http://schemas.openxmlformats.org/officeDocument/2006/relationships/tags" Target="../tags/tag1600.xml"/><Relationship Id="rId770" Type="http://schemas.openxmlformats.org/officeDocument/2006/relationships/tags" Target="../tags/tag1751.xml"/><Relationship Id="rId95" Type="http://schemas.openxmlformats.org/officeDocument/2006/relationships/tags" Target="../tags/tag1076.xml"/><Relationship Id="rId160" Type="http://schemas.openxmlformats.org/officeDocument/2006/relationships/tags" Target="../tags/tag1141.xml"/><Relationship Id="rId216" Type="http://schemas.openxmlformats.org/officeDocument/2006/relationships/tags" Target="../tags/tag1197.xml"/><Relationship Id="rId423" Type="http://schemas.openxmlformats.org/officeDocument/2006/relationships/tags" Target="../tags/tag1404.xml"/><Relationship Id="rId826" Type="http://schemas.openxmlformats.org/officeDocument/2006/relationships/tags" Target="../tags/tag1807.xml"/><Relationship Id="rId868" Type="http://schemas.openxmlformats.org/officeDocument/2006/relationships/tags" Target="../tags/tag1849.xml"/><Relationship Id="rId258" Type="http://schemas.openxmlformats.org/officeDocument/2006/relationships/tags" Target="../tags/tag1239.xml"/><Relationship Id="rId465" Type="http://schemas.openxmlformats.org/officeDocument/2006/relationships/tags" Target="../tags/tag1446.xml"/><Relationship Id="rId630" Type="http://schemas.openxmlformats.org/officeDocument/2006/relationships/tags" Target="../tags/tag1611.xml"/><Relationship Id="rId672" Type="http://schemas.openxmlformats.org/officeDocument/2006/relationships/tags" Target="../tags/tag1653.xml"/><Relationship Id="rId728" Type="http://schemas.openxmlformats.org/officeDocument/2006/relationships/tags" Target="../tags/tag1709.xml"/><Relationship Id="rId935" Type="http://schemas.openxmlformats.org/officeDocument/2006/relationships/tags" Target="../tags/tag1916.xml"/><Relationship Id="rId22" Type="http://schemas.openxmlformats.org/officeDocument/2006/relationships/tags" Target="../tags/tag1003.xml"/><Relationship Id="rId64" Type="http://schemas.openxmlformats.org/officeDocument/2006/relationships/tags" Target="../tags/tag1045.xml"/><Relationship Id="rId118" Type="http://schemas.openxmlformats.org/officeDocument/2006/relationships/tags" Target="../tags/tag1099.xml"/><Relationship Id="rId325" Type="http://schemas.openxmlformats.org/officeDocument/2006/relationships/tags" Target="../tags/tag1306.xml"/><Relationship Id="rId367" Type="http://schemas.openxmlformats.org/officeDocument/2006/relationships/tags" Target="../tags/tag1348.xml"/><Relationship Id="rId532" Type="http://schemas.openxmlformats.org/officeDocument/2006/relationships/tags" Target="../tags/tag1513.xml"/><Relationship Id="rId574" Type="http://schemas.openxmlformats.org/officeDocument/2006/relationships/tags" Target="../tags/tag1555.xml"/><Relationship Id="rId171" Type="http://schemas.openxmlformats.org/officeDocument/2006/relationships/tags" Target="../tags/tag1152.xml"/><Relationship Id="rId227" Type="http://schemas.openxmlformats.org/officeDocument/2006/relationships/tags" Target="../tags/tag1208.xml"/><Relationship Id="rId781" Type="http://schemas.openxmlformats.org/officeDocument/2006/relationships/tags" Target="../tags/tag1762.xml"/><Relationship Id="rId837" Type="http://schemas.openxmlformats.org/officeDocument/2006/relationships/tags" Target="../tags/tag1818.xml"/><Relationship Id="rId879" Type="http://schemas.openxmlformats.org/officeDocument/2006/relationships/tags" Target="../tags/tag1860.xml"/><Relationship Id="rId269" Type="http://schemas.openxmlformats.org/officeDocument/2006/relationships/tags" Target="../tags/tag1250.xml"/><Relationship Id="rId434" Type="http://schemas.openxmlformats.org/officeDocument/2006/relationships/tags" Target="../tags/tag1415.xml"/><Relationship Id="rId476" Type="http://schemas.openxmlformats.org/officeDocument/2006/relationships/tags" Target="../tags/tag1457.xml"/><Relationship Id="rId641" Type="http://schemas.openxmlformats.org/officeDocument/2006/relationships/tags" Target="../tags/tag1622.xml"/><Relationship Id="rId683" Type="http://schemas.openxmlformats.org/officeDocument/2006/relationships/tags" Target="../tags/tag1664.xml"/><Relationship Id="rId739" Type="http://schemas.openxmlformats.org/officeDocument/2006/relationships/tags" Target="../tags/tag1720.xml"/><Relationship Id="rId890" Type="http://schemas.openxmlformats.org/officeDocument/2006/relationships/tags" Target="../tags/tag1871.xml"/><Relationship Id="rId904" Type="http://schemas.openxmlformats.org/officeDocument/2006/relationships/tags" Target="../tags/tag1885.xml"/><Relationship Id="rId33" Type="http://schemas.openxmlformats.org/officeDocument/2006/relationships/tags" Target="../tags/tag1014.xml"/><Relationship Id="rId129" Type="http://schemas.openxmlformats.org/officeDocument/2006/relationships/tags" Target="../tags/tag1110.xml"/><Relationship Id="rId280" Type="http://schemas.openxmlformats.org/officeDocument/2006/relationships/tags" Target="../tags/tag1261.xml"/><Relationship Id="rId336" Type="http://schemas.openxmlformats.org/officeDocument/2006/relationships/tags" Target="../tags/tag1317.xml"/><Relationship Id="rId501" Type="http://schemas.openxmlformats.org/officeDocument/2006/relationships/tags" Target="../tags/tag1482.xml"/><Relationship Id="rId543" Type="http://schemas.openxmlformats.org/officeDocument/2006/relationships/tags" Target="../tags/tag1524.xml"/><Relationship Id="rId946" Type="http://schemas.openxmlformats.org/officeDocument/2006/relationships/tags" Target="../tags/tag1927.xml"/><Relationship Id="rId75" Type="http://schemas.openxmlformats.org/officeDocument/2006/relationships/tags" Target="../tags/tag1056.xml"/><Relationship Id="rId140" Type="http://schemas.openxmlformats.org/officeDocument/2006/relationships/tags" Target="../tags/tag1121.xml"/><Relationship Id="rId182" Type="http://schemas.openxmlformats.org/officeDocument/2006/relationships/tags" Target="../tags/tag1163.xml"/><Relationship Id="rId378" Type="http://schemas.openxmlformats.org/officeDocument/2006/relationships/tags" Target="../tags/tag1359.xml"/><Relationship Id="rId403" Type="http://schemas.openxmlformats.org/officeDocument/2006/relationships/tags" Target="../tags/tag1384.xml"/><Relationship Id="rId585" Type="http://schemas.openxmlformats.org/officeDocument/2006/relationships/tags" Target="../tags/tag1566.xml"/><Relationship Id="rId750" Type="http://schemas.openxmlformats.org/officeDocument/2006/relationships/tags" Target="../tags/tag1731.xml"/><Relationship Id="rId792" Type="http://schemas.openxmlformats.org/officeDocument/2006/relationships/tags" Target="../tags/tag1773.xml"/><Relationship Id="rId806" Type="http://schemas.openxmlformats.org/officeDocument/2006/relationships/tags" Target="../tags/tag1787.xml"/><Relationship Id="rId848" Type="http://schemas.openxmlformats.org/officeDocument/2006/relationships/tags" Target="../tags/tag1829.xml"/><Relationship Id="rId6" Type="http://schemas.openxmlformats.org/officeDocument/2006/relationships/tags" Target="../tags/tag987.xml"/><Relationship Id="rId238" Type="http://schemas.openxmlformats.org/officeDocument/2006/relationships/tags" Target="../tags/tag1219.xml"/><Relationship Id="rId445" Type="http://schemas.openxmlformats.org/officeDocument/2006/relationships/tags" Target="../tags/tag1426.xml"/><Relationship Id="rId487" Type="http://schemas.openxmlformats.org/officeDocument/2006/relationships/tags" Target="../tags/tag1468.xml"/><Relationship Id="rId610" Type="http://schemas.openxmlformats.org/officeDocument/2006/relationships/tags" Target="../tags/tag1591.xml"/><Relationship Id="rId652" Type="http://schemas.openxmlformats.org/officeDocument/2006/relationships/tags" Target="../tags/tag1633.xml"/><Relationship Id="rId694" Type="http://schemas.openxmlformats.org/officeDocument/2006/relationships/tags" Target="../tags/tag1675.xml"/><Relationship Id="rId708" Type="http://schemas.openxmlformats.org/officeDocument/2006/relationships/tags" Target="../tags/tag1689.xml"/><Relationship Id="rId915" Type="http://schemas.openxmlformats.org/officeDocument/2006/relationships/tags" Target="../tags/tag1896.xml"/><Relationship Id="rId291" Type="http://schemas.openxmlformats.org/officeDocument/2006/relationships/tags" Target="../tags/tag1272.xml"/><Relationship Id="rId305" Type="http://schemas.openxmlformats.org/officeDocument/2006/relationships/tags" Target="../tags/tag1286.xml"/><Relationship Id="rId347" Type="http://schemas.openxmlformats.org/officeDocument/2006/relationships/tags" Target="../tags/tag1328.xml"/><Relationship Id="rId512" Type="http://schemas.openxmlformats.org/officeDocument/2006/relationships/tags" Target="../tags/tag1493.xml"/><Relationship Id="rId957" Type="http://schemas.openxmlformats.org/officeDocument/2006/relationships/tags" Target="../tags/tag1938.xml"/><Relationship Id="rId44" Type="http://schemas.openxmlformats.org/officeDocument/2006/relationships/tags" Target="../tags/tag1025.xml"/><Relationship Id="rId86" Type="http://schemas.openxmlformats.org/officeDocument/2006/relationships/tags" Target="../tags/tag1067.xml"/><Relationship Id="rId151" Type="http://schemas.openxmlformats.org/officeDocument/2006/relationships/tags" Target="../tags/tag1132.xml"/><Relationship Id="rId389" Type="http://schemas.openxmlformats.org/officeDocument/2006/relationships/tags" Target="../tags/tag1370.xml"/><Relationship Id="rId554" Type="http://schemas.openxmlformats.org/officeDocument/2006/relationships/tags" Target="../tags/tag1535.xml"/><Relationship Id="rId596" Type="http://schemas.openxmlformats.org/officeDocument/2006/relationships/tags" Target="../tags/tag1577.xml"/><Relationship Id="rId761" Type="http://schemas.openxmlformats.org/officeDocument/2006/relationships/tags" Target="../tags/tag1742.xml"/><Relationship Id="rId817" Type="http://schemas.openxmlformats.org/officeDocument/2006/relationships/tags" Target="../tags/tag1798.xml"/><Relationship Id="rId859" Type="http://schemas.openxmlformats.org/officeDocument/2006/relationships/tags" Target="../tags/tag1840.xml"/><Relationship Id="rId193" Type="http://schemas.openxmlformats.org/officeDocument/2006/relationships/tags" Target="../tags/tag1174.xml"/><Relationship Id="rId207" Type="http://schemas.openxmlformats.org/officeDocument/2006/relationships/tags" Target="../tags/tag1188.xml"/><Relationship Id="rId249" Type="http://schemas.openxmlformats.org/officeDocument/2006/relationships/tags" Target="../tags/tag1230.xml"/><Relationship Id="rId414" Type="http://schemas.openxmlformats.org/officeDocument/2006/relationships/tags" Target="../tags/tag1395.xml"/><Relationship Id="rId456" Type="http://schemas.openxmlformats.org/officeDocument/2006/relationships/tags" Target="../tags/tag1437.xml"/><Relationship Id="rId498" Type="http://schemas.openxmlformats.org/officeDocument/2006/relationships/tags" Target="../tags/tag1479.xml"/><Relationship Id="rId621" Type="http://schemas.openxmlformats.org/officeDocument/2006/relationships/tags" Target="../tags/tag1602.xml"/><Relationship Id="rId663" Type="http://schemas.openxmlformats.org/officeDocument/2006/relationships/tags" Target="../tags/tag1644.xml"/><Relationship Id="rId870" Type="http://schemas.openxmlformats.org/officeDocument/2006/relationships/tags" Target="../tags/tag1851.xml"/><Relationship Id="rId13" Type="http://schemas.openxmlformats.org/officeDocument/2006/relationships/tags" Target="../tags/tag994.xml"/><Relationship Id="rId109" Type="http://schemas.openxmlformats.org/officeDocument/2006/relationships/tags" Target="../tags/tag1090.xml"/><Relationship Id="rId260" Type="http://schemas.openxmlformats.org/officeDocument/2006/relationships/tags" Target="../tags/tag1241.xml"/><Relationship Id="rId316" Type="http://schemas.openxmlformats.org/officeDocument/2006/relationships/tags" Target="../tags/tag1297.xml"/><Relationship Id="rId523" Type="http://schemas.openxmlformats.org/officeDocument/2006/relationships/tags" Target="../tags/tag1504.xml"/><Relationship Id="rId719" Type="http://schemas.openxmlformats.org/officeDocument/2006/relationships/tags" Target="../tags/tag1700.xml"/><Relationship Id="rId926" Type="http://schemas.openxmlformats.org/officeDocument/2006/relationships/tags" Target="../tags/tag1907.xml"/><Relationship Id="rId55" Type="http://schemas.openxmlformats.org/officeDocument/2006/relationships/tags" Target="../tags/tag1036.xml"/><Relationship Id="rId97" Type="http://schemas.openxmlformats.org/officeDocument/2006/relationships/tags" Target="../tags/tag1078.xml"/><Relationship Id="rId120" Type="http://schemas.openxmlformats.org/officeDocument/2006/relationships/tags" Target="../tags/tag1101.xml"/><Relationship Id="rId358" Type="http://schemas.openxmlformats.org/officeDocument/2006/relationships/tags" Target="../tags/tag1339.xml"/><Relationship Id="rId565" Type="http://schemas.openxmlformats.org/officeDocument/2006/relationships/tags" Target="../tags/tag1546.xml"/><Relationship Id="rId730" Type="http://schemas.openxmlformats.org/officeDocument/2006/relationships/tags" Target="../tags/tag1711.xml"/><Relationship Id="rId772" Type="http://schemas.openxmlformats.org/officeDocument/2006/relationships/tags" Target="../tags/tag1753.xml"/><Relationship Id="rId828" Type="http://schemas.openxmlformats.org/officeDocument/2006/relationships/tags" Target="../tags/tag1809.xml"/><Relationship Id="rId162" Type="http://schemas.openxmlformats.org/officeDocument/2006/relationships/tags" Target="../tags/tag1143.xml"/><Relationship Id="rId218" Type="http://schemas.openxmlformats.org/officeDocument/2006/relationships/tags" Target="../tags/tag1199.xml"/><Relationship Id="rId425" Type="http://schemas.openxmlformats.org/officeDocument/2006/relationships/tags" Target="../tags/tag1406.xml"/><Relationship Id="rId467" Type="http://schemas.openxmlformats.org/officeDocument/2006/relationships/tags" Target="../tags/tag1448.xml"/><Relationship Id="rId632" Type="http://schemas.openxmlformats.org/officeDocument/2006/relationships/tags" Target="../tags/tag1613.xml"/><Relationship Id="rId271" Type="http://schemas.openxmlformats.org/officeDocument/2006/relationships/tags" Target="../tags/tag1252.xml"/><Relationship Id="rId674" Type="http://schemas.openxmlformats.org/officeDocument/2006/relationships/tags" Target="../tags/tag1655.xml"/><Relationship Id="rId881" Type="http://schemas.openxmlformats.org/officeDocument/2006/relationships/tags" Target="../tags/tag1862.xml"/><Relationship Id="rId937" Type="http://schemas.openxmlformats.org/officeDocument/2006/relationships/tags" Target="../tags/tag1918.xml"/><Relationship Id="rId24" Type="http://schemas.openxmlformats.org/officeDocument/2006/relationships/tags" Target="../tags/tag1005.xml"/><Relationship Id="rId66" Type="http://schemas.openxmlformats.org/officeDocument/2006/relationships/tags" Target="../tags/tag1047.xml"/><Relationship Id="rId131" Type="http://schemas.openxmlformats.org/officeDocument/2006/relationships/tags" Target="../tags/tag1112.xml"/><Relationship Id="rId327" Type="http://schemas.openxmlformats.org/officeDocument/2006/relationships/tags" Target="../tags/tag1308.xml"/><Relationship Id="rId369" Type="http://schemas.openxmlformats.org/officeDocument/2006/relationships/tags" Target="../tags/tag1350.xml"/><Relationship Id="rId534" Type="http://schemas.openxmlformats.org/officeDocument/2006/relationships/tags" Target="../tags/tag1515.xml"/><Relationship Id="rId576" Type="http://schemas.openxmlformats.org/officeDocument/2006/relationships/tags" Target="../tags/tag1557.xml"/><Relationship Id="rId741" Type="http://schemas.openxmlformats.org/officeDocument/2006/relationships/tags" Target="../tags/tag1722.xml"/><Relationship Id="rId783" Type="http://schemas.openxmlformats.org/officeDocument/2006/relationships/tags" Target="../tags/tag1764.xml"/><Relationship Id="rId839" Type="http://schemas.openxmlformats.org/officeDocument/2006/relationships/tags" Target="../tags/tag1820.xml"/><Relationship Id="rId173" Type="http://schemas.openxmlformats.org/officeDocument/2006/relationships/tags" Target="../tags/tag1154.xml"/><Relationship Id="rId229" Type="http://schemas.openxmlformats.org/officeDocument/2006/relationships/tags" Target="../tags/tag1210.xml"/><Relationship Id="rId380" Type="http://schemas.openxmlformats.org/officeDocument/2006/relationships/tags" Target="../tags/tag1361.xml"/><Relationship Id="rId436" Type="http://schemas.openxmlformats.org/officeDocument/2006/relationships/tags" Target="../tags/tag1417.xml"/><Relationship Id="rId601" Type="http://schemas.openxmlformats.org/officeDocument/2006/relationships/tags" Target="../tags/tag1582.xml"/><Relationship Id="rId643" Type="http://schemas.openxmlformats.org/officeDocument/2006/relationships/tags" Target="../tags/tag1624.xml"/><Relationship Id="rId240" Type="http://schemas.openxmlformats.org/officeDocument/2006/relationships/tags" Target="../tags/tag1221.xml"/><Relationship Id="rId478" Type="http://schemas.openxmlformats.org/officeDocument/2006/relationships/tags" Target="../tags/tag1459.xml"/><Relationship Id="rId685" Type="http://schemas.openxmlformats.org/officeDocument/2006/relationships/tags" Target="../tags/tag1666.xml"/><Relationship Id="rId850" Type="http://schemas.openxmlformats.org/officeDocument/2006/relationships/tags" Target="../tags/tag1831.xml"/><Relationship Id="rId892" Type="http://schemas.openxmlformats.org/officeDocument/2006/relationships/tags" Target="../tags/tag1873.xml"/><Relationship Id="rId906" Type="http://schemas.openxmlformats.org/officeDocument/2006/relationships/tags" Target="../tags/tag1887.xml"/><Relationship Id="rId948" Type="http://schemas.openxmlformats.org/officeDocument/2006/relationships/tags" Target="../tags/tag1929.xml"/><Relationship Id="rId35" Type="http://schemas.openxmlformats.org/officeDocument/2006/relationships/tags" Target="../tags/tag1016.xml"/><Relationship Id="rId77" Type="http://schemas.openxmlformats.org/officeDocument/2006/relationships/tags" Target="../tags/tag1058.xml"/><Relationship Id="rId100" Type="http://schemas.openxmlformats.org/officeDocument/2006/relationships/tags" Target="../tags/tag1081.xml"/><Relationship Id="rId282" Type="http://schemas.openxmlformats.org/officeDocument/2006/relationships/tags" Target="../tags/tag1263.xml"/><Relationship Id="rId338" Type="http://schemas.openxmlformats.org/officeDocument/2006/relationships/tags" Target="../tags/tag1319.xml"/><Relationship Id="rId503" Type="http://schemas.openxmlformats.org/officeDocument/2006/relationships/tags" Target="../tags/tag1484.xml"/><Relationship Id="rId545" Type="http://schemas.openxmlformats.org/officeDocument/2006/relationships/tags" Target="../tags/tag1526.xml"/><Relationship Id="rId587" Type="http://schemas.openxmlformats.org/officeDocument/2006/relationships/tags" Target="../tags/tag1568.xml"/><Relationship Id="rId710" Type="http://schemas.openxmlformats.org/officeDocument/2006/relationships/tags" Target="../tags/tag1691.xml"/><Relationship Id="rId752" Type="http://schemas.openxmlformats.org/officeDocument/2006/relationships/tags" Target="../tags/tag1733.xml"/><Relationship Id="rId808" Type="http://schemas.openxmlformats.org/officeDocument/2006/relationships/tags" Target="../tags/tag1789.xml"/><Relationship Id="rId8" Type="http://schemas.openxmlformats.org/officeDocument/2006/relationships/tags" Target="../tags/tag989.xml"/><Relationship Id="rId142" Type="http://schemas.openxmlformats.org/officeDocument/2006/relationships/tags" Target="../tags/tag1123.xml"/><Relationship Id="rId184" Type="http://schemas.openxmlformats.org/officeDocument/2006/relationships/tags" Target="../tags/tag1165.xml"/><Relationship Id="rId391" Type="http://schemas.openxmlformats.org/officeDocument/2006/relationships/tags" Target="../tags/tag1372.xml"/><Relationship Id="rId405" Type="http://schemas.openxmlformats.org/officeDocument/2006/relationships/tags" Target="../tags/tag1386.xml"/><Relationship Id="rId447" Type="http://schemas.openxmlformats.org/officeDocument/2006/relationships/tags" Target="../tags/tag1428.xml"/><Relationship Id="rId612" Type="http://schemas.openxmlformats.org/officeDocument/2006/relationships/tags" Target="../tags/tag1593.xml"/><Relationship Id="rId794" Type="http://schemas.openxmlformats.org/officeDocument/2006/relationships/tags" Target="../tags/tag1775.xml"/><Relationship Id="rId251" Type="http://schemas.openxmlformats.org/officeDocument/2006/relationships/tags" Target="../tags/tag1232.xml"/><Relationship Id="rId489" Type="http://schemas.openxmlformats.org/officeDocument/2006/relationships/tags" Target="../tags/tag1470.xml"/><Relationship Id="rId654" Type="http://schemas.openxmlformats.org/officeDocument/2006/relationships/tags" Target="../tags/tag1635.xml"/><Relationship Id="rId696" Type="http://schemas.openxmlformats.org/officeDocument/2006/relationships/tags" Target="../tags/tag1677.xml"/><Relationship Id="rId861" Type="http://schemas.openxmlformats.org/officeDocument/2006/relationships/tags" Target="../tags/tag1842.xml"/><Relationship Id="rId917" Type="http://schemas.openxmlformats.org/officeDocument/2006/relationships/tags" Target="../tags/tag1898.xml"/><Relationship Id="rId959" Type="http://schemas.openxmlformats.org/officeDocument/2006/relationships/tags" Target="../tags/tag1940.xml"/><Relationship Id="rId46" Type="http://schemas.openxmlformats.org/officeDocument/2006/relationships/tags" Target="../tags/tag1027.xml"/><Relationship Id="rId293" Type="http://schemas.openxmlformats.org/officeDocument/2006/relationships/tags" Target="../tags/tag1274.xml"/><Relationship Id="rId307" Type="http://schemas.openxmlformats.org/officeDocument/2006/relationships/tags" Target="../tags/tag1288.xml"/><Relationship Id="rId349" Type="http://schemas.openxmlformats.org/officeDocument/2006/relationships/tags" Target="../tags/tag1330.xml"/><Relationship Id="rId514" Type="http://schemas.openxmlformats.org/officeDocument/2006/relationships/tags" Target="../tags/tag1495.xml"/><Relationship Id="rId556" Type="http://schemas.openxmlformats.org/officeDocument/2006/relationships/tags" Target="../tags/tag1537.xml"/><Relationship Id="rId721" Type="http://schemas.openxmlformats.org/officeDocument/2006/relationships/tags" Target="../tags/tag1702.xml"/><Relationship Id="rId763" Type="http://schemas.openxmlformats.org/officeDocument/2006/relationships/tags" Target="../tags/tag1744.xml"/><Relationship Id="rId88" Type="http://schemas.openxmlformats.org/officeDocument/2006/relationships/tags" Target="../tags/tag1069.xml"/><Relationship Id="rId111" Type="http://schemas.openxmlformats.org/officeDocument/2006/relationships/tags" Target="../tags/tag1092.xml"/><Relationship Id="rId153" Type="http://schemas.openxmlformats.org/officeDocument/2006/relationships/tags" Target="../tags/tag1134.xml"/><Relationship Id="rId195" Type="http://schemas.openxmlformats.org/officeDocument/2006/relationships/tags" Target="../tags/tag1176.xml"/><Relationship Id="rId209" Type="http://schemas.openxmlformats.org/officeDocument/2006/relationships/tags" Target="../tags/tag1190.xml"/><Relationship Id="rId360" Type="http://schemas.openxmlformats.org/officeDocument/2006/relationships/tags" Target="../tags/tag1341.xml"/><Relationship Id="rId416" Type="http://schemas.openxmlformats.org/officeDocument/2006/relationships/tags" Target="../tags/tag1397.xml"/><Relationship Id="rId598" Type="http://schemas.openxmlformats.org/officeDocument/2006/relationships/tags" Target="../tags/tag1579.xml"/><Relationship Id="rId819" Type="http://schemas.openxmlformats.org/officeDocument/2006/relationships/tags" Target="../tags/tag1800.xml"/><Relationship Id="rId220" Type="http://schemas.openxmlformats.org/officeDocument/2006/relationships/tags" Target="../tags/tag1201.xml"/><Relationship Id="rId458" Type="http://schemas.openxmlformats.org/officeDocument/2006/relationships/tags" Target="../tags/tag1439.xml"/><Relationship Id="rId623" Type="http://schemas.openxmlformats.org/officeDocument/2006/relationships/tags" Target="../tags/tag1604.xml"/><Relationship Id="rId665" Type="http://schemas.openxmlformats.org/officeDocument/2006/relationships/tags" Target="../tags/tag1646.xml"/><Relationship Id="rId830" Type="http://schemas.openxmlformats.org/officeDocument/2006/relationships/tags" Target="../tags/tag1811.xml"/><Relationship Id="rId872" Type="http://schemas.openxmlformats.org/officeDocument/2006/relationships/tags" Target="../tags/tag1853.xml"/><Relationship Id="rId928" Type="http://schemas.openxmlformats.org/officeDocument/2006/relationships/tags" Target="../tags/tag1909.xml"/><Relationship Id="rId15" Type="http://schemas.openxmlformats.org/officeDocument/2006/relationships/tags" Target="../tags/tag996.xml"/><Relationship Id="rId57" Type="http://schemas.openxmlformats.org/officeDocument/2006/relationships/tags" Target="../tags/tag1038.xml"/><Relationship Id="rId262" Type="http://schemas.openxmlformats.org/officeDocument/2006/relationships/tags" Target="../tags/tag1243.xml"/><Relationship Id="rId318" Type="http://schemas.openxmlformats.org/officeDocument/2006/relationships/tags" Target="../tags/tag1299.xml"/><Relationship Id="rId525" Type="http://schemas.openxmlformats.org/officeDocument/2006/relationships/tags" Target="../tags/tag1506.xml"/><Relationship Id="rId567" Type="http://schemas.openxmlformats.org/officeDocument/2006/relationships/tags" Target="../tags/tag1548.xml"/><Relationship Id="rId732" Type="http://schemas.openxmlformats.org/officeDocument/2006/relationships/tags" Target="../tags/tag1713.xml"/><Relationship Id="rId99" Type="http://schemas.openxmlformats.org/officeDocument/2006/relationships/tags" Target="../tags/tag1080.xml"/><Relationship Id="rId122" Type="http://schemas.openxmlformats.org/officeDocument/2006/relationships/tags" Target="../tags/tag1103.xml"/><Relationship Id="rId164" Type="http://schemas.openxmlformats.org/officeDocument/2006/relationships/tags" Target="../tags/tag1145.xml"/><Relationship Id="rId371" Type="http://schemas.openxmlformats.org/officeDocument/2006/relationships/tags" Target="../tags/tag1352.xml"/><Relationship Id="rId774" Type="http://schemas.openxmlformats.org/officeDocument/2006/relationships/tags" Target="../tags/tag1755.xml"/><Relationship Id="rId427" Type="http://schemas.openxmlformats.org/officeDocument/2006/relationships/tags" Target="../tags/tag1408.xml"/><Relationship Id="rId469" Type="http://schemas.openxmlformats.org/officeDocument/2006/relationships/tags" Target="../tags/tag1450.xml"/><Relationship Id="rId634" Type="http://schemas.openxmlformats.org/officeDocument/2006/relationships/tags" Target="../tags/tag1615.xml"/><Relationship Id="rId676" Type="http://schemas.openxmlformats.org/officeDocument/2006/relationships/tags" Target="../tags/tag1657.xml"/><Relationship Id="rId841" Type="http://schemas.openxmlformats.org/officeDocument/2006/relationships/tags" Target="../tags/tag1822.xml"/><Relationship Id="rId883" Type="http://schemas.openxmlformats.org/officeDocument/2006/relationships/tags" Target="../tags/tag1864.xml"/><Relationship Id="rId26" Type="http://schemas.openxmlformats.org/officeDocument/2006/relationships/tags" Target="../tags/tag1007.xml"/><Relationship Id="rId231" Type="http://schemas.openxmlformats.org/officeDocument/2006/relationships/tags" Target="../tags/tag1212.xml"/><Relationship Id="rId273" Type="http://schemas.openxmlformats.org/officeDocument/2006/relationships/tags" Target="../tags/tag1254.xml"/><Relationship Id="rId329" Type="http://schemas.openxmlformats.org/officeDocument/2006/relationships/tags" Target="../tags/tag1310.xml"/><Relationship Id="rId480" Type="http://schemas.openxmlformats.org/officeDocument/2006/relationships/tags" Target="../tags/tag1461.xml"/><Relationship Id="rId536" Type="http://schemas.openxmlformats.org/officeDocument/2006/relationships/tags" Target="../tags/tag1517.xml"/><Relationship Id="rId701" Type="http://schemas.openxmlformats.org/officeDocument/2006/relationships/tags" Target="../tags/tag1682.xml"/><Relationship Id="rId939" Type="http://schemas.openxmlformats.org/officeDocument/2006/relationships/tags" Target="../tags/tag1920.xml"/><Relationship Id="rId68" Type="http://schemas.openxmlformats.org/officeDocument/2006/relationships/tags" Target="../tags/tag1049.xml"/><Relationship Id="rId133" Type="http://schemas.openxmlformats.org/officeDocument/2006/relationships/tags" Target="../tags/tag1114.xml"/><Relationship Id="rId175" Type="http://schemas.openxmlformats.org/officeDocument/2006/relationships/tags" Target="../tags/tag1156.xml"/><Relationship Id="rId340" Type="http://schemas.openxmlformats.org/officeDocument/2006/relationships/tags" Target="../tags/tag1321.xml"/><Relationship Id="rId578" Type="http://schemas.openxmlformats.org/officeDocument/2006/relationships/tags" Target="../tags/tag1559.xml"/><Relationship Id="rId743" Type="http://schemas.openxmlformats.org/officeDocument/2006/relationships/tags" Target="../tags/tag1724.xml"/><Relationship Id="rId785" Type="http://schemas.openxmlformats.org/officeDocument/2006/relationships/tags" Target="../tags/tag1766.xml"/><Relationship Id="rId950" Type="http://schemas.openxmlformats.org/officeDocument/2006/relationships/tags" Target="../tags/tag1931.xml"/><Relationship Id="rId200" Type="http://schemas.openxmlformats.org/officeDocument/2006/relationships/tags" Target="../tags/tag1181.xml"/><Relationship Id="rId382" Type="http://schemas.openxmlformats.org/officeDocument/2006/relationships/tags" Target="../tags/tag1363.xml"/><Relationship Id="rId438" Type="http://schemas.openxmlformats.org/officeDocument/2006/relationships/tags" Target="../tags/tag1419.xml"/><Relationship Id="rId603" Type="http://schemas.openxmlformats.org/officeDocument/2006/relationships/tags" Target="../tags/tag1584.xml"/><Relationship Id="rId645" Type="http://schemas.openxmlformats.org/officeDocument/2006/relationships/tags" Target="../tags/tag1626.xml"/><Relationship Id="rId687" Type="http://schemas.openxmlformats.org/officeDocument/2006/relationships/tags" Target="../tags/tag1668.xml"/><Relationship Id="rId810" Type="http://schemas.openxmlformats.org/officeDocument/2006/relationships/tags" Target="../tags/tag1791.xml"/><Relationship Id="rId852" Type="http://schemas.openxmlformats.org/officeDocument/2006/relationships/tags" Target="../tags/tag1833.xml"/><Relationship Id="rId908" Type="http://schemas.openxmlformats.org/officeDocument/2006/relationships/tags" Target="../tags/tag1889.xml"/><Relationship Id="rId242" Type="http://schemas.openxmlformats.org/officeDocument/2006/relationships/tags" Target="../tags/tag1223.xml"/><Relationship Id="rId284" Type="http://schemas.openxmlformats.org/officeDocument/2006/relationships/tags" Target="../tags/tag1265.xml"/><Relationship Id="rId491" Type="http://schemas.openxmlformats.org/officeDocument/2006/relationships/tags" Target="../tags/tag1472.xml"/><Relationship Id="rId505" Type="http://schemas.openxmlformats.org/officeDocument/2006/relationships/tags" Target="../tags/tag1486.xml"/><Relationship Id="rId712" Type="http://schemas.openxmlformats.org/officeDocument/2006/relationships/tags" Target="../tags/tag1693.xml"/><Relationship Id="rId894" Type="http://schemas.openxmlformats.org/officeDocument/2006/relationships/tags" Target="../tags/tag1875.xml"/><Relationship Id="rId37" Type="http://schemas.openxmlformats.org/officeDocument/2006/relationships/tags" Target="../tags/tag1018.xml"/><Relationship Id="rId79" Type="http://schemas.openxmlformats.org/officeDocument/2006/relationships/tags" Target="../tags/tag1060.xml"/><Relationship Id="rId102" Type="http://schemas.openxmlformats.org/officeDocument/2006/relationships/tags" Target="../tags/tag1083.xml"/><Relationship Id="rId144" Type="http://schemas.openxmlformats.org/officeDocument/2006/relationships/tags" Target="../tags/tag1125.xml"/><Relationship Id="rId547" Type="http://schemas.openxmlformats.org/officeDocument/2006/relationships/tags" Target="../tags/tag1528.xml"/><Relationship Id="rId589" Type="http://schemas.openxmlformats.org/officeDocument/2006/relationships/tags" Target="../tags/tag1570.xml"/><Relationship Id="rId754" Type="http://schemas.openxmlformats.org/officeDocument/2006/relationships/tags" Target="../tags/tag1735.xml"/><Relationship Id="rId796" Type="http://schemas.openxmlformats.org/officeDocument/2006/relationships/tags" Target="../tags/tag1777.xml"/><Relationship Id="rId961" Type="http://schemas.openxmlformats.org/officeDocument/2006/relationships/tags" Target="../tags/tag1942.xml"/><Relationship Id="rId90" Type="http://schemas.openxmlformats.org/officeDocument/2006/relationships/tags" Target="../tags/tag1071.xml"/><Relationship Id="rId186" Type="http://schemas.openxmlformats.org/officeDocument/2006/relationships/tags" Target="../tags/tag1167.xml"/><Relationship Id="rId351" Type="http://schemas.openxmlformats.org/officeDocument/2006/relationships/tags" Target="../tags/tag1332.xml"/><Relationship Id="rId393" Type="http://schemas.openxmlformats.org/officeDocument/2006/relationships/tags" Target="../tags/tag1374.xml"/><Relationship Id="rId407" Type="http://schemas.openxmlformats.org/officeDocument/2006/relationships/tags" Target="../tags/tag1388.xml"/><Relationship Id="rId449" Type="http://schemas.openxmlformats.org/officeDocument/2006/relationships/tags" Target="../tags/tag1430.xml"/><Relationship Id="rId614" Type="http://schemas.openxmlformats.org/officeDocument/2006/relationships/tags" Target="../tags/tag1595.xml"/><Relationship Id="rId656" Type="http://schemas.openxmlformats.org/officeDocument/2006/relationships/tags" Target="../tags/tag1637.xml"/><Relationship Id="rId821" Type="http://schemas.openxmlformats.org/officeDocument/2006/relationships/tags" Target="../tags/tag1802.xml"/><Relationship Id="rId863" Type="http://schemas.openxmlformats.org/officeDocument/2006/relationships/tags" Target="../tags/tag1844.xml"/><Relationship Id="rId211" Type="http://schemas.openxmlformats.org/officeDocument/2006/relationships/tags" Target="../tags/tag1192.xml"/><Relationship Id="rId253" Type="http://schemas.openxmlformats.org/officeDocument/2006/relationships/tags" Target="../tags/tag1234.xml"/><Relationship Id="rId295" Type="http://schemas.openxmlformats.org/officeDocument/2006/relationships/tags" Target="../tags/tag1276.xml"/><Relationship Id="rId309" Type="http://schemas.openxmlformats.org/officeDocument/2006/relationships/tags" Target="../tags/tag1290.xml"/><Relationship Id="rId460" Type="http://schemas.openxmlformats.org/officeDocument/2006/relationships/tags" Target="../tags/tag1441.xml"/><Relationship Id="rId516" Type="http://schemas.openxmlformats.org/officeDocument/2006/relationships/tags" Target="../tags/tag1497.xml"/><Relationship Id="rId698" Type="http://schemas.openxmlformats.org/officeDocument/2006/relationships/tags" Target="../tags/tag1679.xml"/><Relationship Id="rId919" Type="http://schemas.openxmlformats.org/officeDocument/2006/relationships/tags" Target="../tags/tag1900.xml"/><Relationship Id="rId48" Type="http://schemas.openxmlformats.org/officeDocument/2006/relationships/tags" Target="../tags/tag1029.xml"/><Relationship Id="rId113" Type="http://schemas.openxmlformats.org/officeDocument/2006/relationships/tags" Target="../tags/tag1094.xml"/><Relationship Id="rId320" Type="http://schemas.openxmlformats.org/officeDocument/2006/relationships/tags" Target="../tags/tag1301.xml"/><Relationship Id="rId558" Type="http://schemas.openxmlformats.org/officeDocument/2006/relationships/tags" Target="../tags/tag1539.xml"/><Relationship Id="rId723" Type="http://schemas.openxmlformats.org/officeDocument/2006/relationships/tags" Target="../tags/tag1704.xml"/><Relationship Id="rId765" Type="http://schemas.openxmlformats.org/officeDocument/2006/relationships/tags" Target="../tags/tag1746.xml"/><Relationship Id="rId930" Type="http://schemas.openxmlformats.org/officeDocument/2006/relationships/tags" Target="../tags/tag1911.xml"/><Relationship Id="rId155" Type="http://schemas.openxmlformats.org/officeDocument/2006/relationships/tags" Target="../tags/tag1136.xml"/><Relationship Id="rId197" Type="http://schemas.openxmlformats.org/officeDocument/2006/relationships/tags" Target="../tags/tag1178.xml"/><Relationship Id="rId362" Type="http://schemas.openxmlformats.org/officeDocument/2006/relationships/tags" Target="../tags/tag1343.xml"/><Relationship Id="rId418" Type="http://schemas.openxmlformats.org/officeDocument/2006/relationships/tags" Target="../tags/tag1399.xml"/><Relationship Id="rId625" Type="http://schemas.openxmlformats.org/officeDocument/2006/relationships/tags" Target="../tags/tag1606.xml"/><Relationship Id="rId832" Type="http://schemas.openxmlformats.org/officeDocument/2006/relationships/tags" Target="../tags/tag1813.xml"/><Relationship Id="rId222" Type="http://schemas.openxmlformats.org/officeDocument/2006/relationships/tags" Target="../tags/tag1203.xml"/><Relationship Id="rId264" Type="http://schemas.openxmlformats.org/officeDocument/2006/relationships/tags" Target="../tags/tag1245.xml"/><Relationship Id="rId471" Type="http://schemas.openxmlformats.org/officeDocument/2006/relationships/tags" Target="../tags/tag1452.xml"/><Relationship Id="rId667" Type="http://schemas.openxmlformats.org/officeDocument/2006/relationships/tags" Target="../tags/tag1648.xml"/><Relationship Id="rId874" Type="http://schemas.openxmlformats.org/officeDocument/2006/relationships/tags" Target="../tags/tag1855.xml"/><Relationship Id="rId17" Type="http://schemas.openxmlformats.org/officeDocument/2006/relationships/tags" Target="../tags/tag998.xml"/><Relationship Id="rId59" Type="http://schemas.openxmlformats.org/officeDocument/2006/relationships/tags" Target="../tags/tag1040.xml"/><Relationship Id="rId124" Type="http://schemas.openxmlformats.org/officeDocument/2006/relationships/tags" Target="../tags/tag1105.xml"/><Relationship Id="rId527" Type="http://schemas.openxmlformats.org/officeDocument/2006/relationships/tags" Target="../tags/tag1508.xml"/><Relationship Id="rId569" Type="http://schemas.openxmlformats.org/officeDocument/2006/relationships/tags" Target="../tags/tag1550.xml"/><Relationship Id="rId734" Type="http://schemas.openxmlformats.org/officeDocument/2006/relationships/tags" Target="../tags/tag1715.xml"/><Relationship Id="rId776" Type="http://schemas.openxmlformats.org/officeDocument/2006/relationships/tags" Target="../tags/tag1757.xml"/><Relationship Id="rId941" Type="http://schemas.openxmlformats.org/officeDocument/2006/relationships/tags" Target="../tags/tag1922.xml"/><Relationship Id="rId70" Type="http://schemas.openxmlformats.org/officeDocument/2006/relationships/tags" Target="../tags/tag1051.xml"/><Relationship Id="rId166" Type="http://schemas.openxmlformats.org/officeDocument/2006/relationships/tags" Target="../tags/tag1147.xml"/><Relationship Id="rId331" Type="http://schemas.openxmlformats.org/officeDocument/2006/relationships/tags" Target="../tags/tag1312.xml"/><Relationship Id="rId373" Type="http://schemas.openxmlformats.org/officeDocument/2006/relationships/tags" Target="../tags/tag1354.xml"/><Relationship Id="rId429" Type="http://schemas.openxmlformats.org/officeDocument/2006/relationships/tags" Target="../tags/tag1410.xml"/><Relationship Id="rId580" Type="http://schemas.openxmlformats.org/officeDocument/2006/relationships/tags" Target="../tags/tag1561.xml"/><Relationship Id="rId636" Type="http://schemas.openxmlformats.org/officeDocument/2006/relationships/tags" Target="../tags/tag1617.xml"/><Relationship Id="rId801" Type="http://schemas.openxmlformats.org/officeDocument/2006/relationships/tags" Target="../tags/tag1782.xml"/><Relationship Id="rId1" Type="http://schemas.openxmlformats.org/officeDocument/2006/relationships/tags" Target="../tags/tag982.xml"/><Relationship Id="rId233" Type="http://schemas.openxmlformats.org/officeDocument/2006/relationships/tags" Target="../tags/tag1214.xml"/><Relationship Id="rId440" Type="http://schemas.openxmlformats.org/officeDocument/2006/relationships/tags" Target="../tags/tag1421.xml"/><Relationship Id="rId678" Type="http://schemas.openxmlformats.org/officeDocument/2006/relationships/tags" Target="../tags/tag1659.xml"/><Relationship Id="rId843" Type="http://schemas.openxmlformats.org/officeDocument/2006/relationships/tags" Target="../tags/tag1824.xml"/><Relationship Id="rId885" Type="http://schemas.openxmlformats.org/officeDocument/2006/relationships/tags" Target="../tags/tag1866.xml"/><Relationship Id="rId28" Type="http://schemas.openxmlformats.org/officeDocument/2006/relationships/tags" Target="../tags/tag1009.xml"/><Relationship Id="rId275" Type="http://schemas.openxmlformats.org/officeDocument/2006/relationships/tags" Target="../tags/tag1256.xml"/><Relationship Id="rId300" Type="http://schemas.openxmlformats.org/officeDocument/2006/relationships/tags" Target="../tags/tag1281.xml"/><Relationship Id="rId482" Type="http://schemas.openxmlformats.org/officeDocument/2006/relationships/tags" Target="../tags/tag1463.xml"/><Relationship Id="rId538" Type="http://schemas.openxmlformats.org/officeDocument/2006/relationships/tags" Target="../tags/tag1519.xml"/><Relationship Id="rId703" Type="http://schemas.openxmlformats.org/officeDocument/2006/relationships/tags" Target="../tags/tag1684.xml"/><Relationship Id="rId745" Type="http://schemas.openxmlformats.org/officeDocument/2006/relationships/tags" Target="../tags/tag1726.xml"/><Relationship Id="rId910" Type="http://schemas.openxmlformats.org/officeDocument/2006/relationships/tags" Target="../tags/tag1891.xml"/><Relationship Id="rId952" Type="http://schemas.openxmlformats.org/officeDocument/2006/relationships/tags" Target="../tags/tag1933.xml"/><Relationship Id="rId81" Type="http://schemas.openxmlformats.org/officeDocument/2006/relationships/tags" Target="../tags/tag1062.xml"/><Relationship Id="rId135" Type="http://schemas.openxmlformats.org/officeDocument/2006/relationships/tags" Target="../tags/tag1116.xml"/><Relationship Id="rId177" Type="http://schemas.openxmlformats.org/officeDocument/2006/relationships/tags" Target="../tags/tag1158.xml"/><Relationship Id="rId342" Type="http://schemas.openxmlformats.org/officeDocument/2006/relationships/tags" Target="../tags/tag1323.xml"/><Relationship Id="rId384" Type="http://schemas.openxmlformats.org/officeDocument/2006/relationships/tags" Target="../tags/tag1365.xml"/><Relationship Id="rId591" Type="http://schemas.openxmlformats.org/officeDocument/2006/relationships/tags" Target="../tags/tag1572.xml"/><Relationship Id="rId605" Type="http://schemas.openxmlformats.org/officeDocument/2006/relationships/tags" Target="../tags/tag1586.xml"/><Relationship Id="rId787" Type="http://schemas.openxmlformats.org/officeDocument/2006/relationships/tags" Target="../tags/tag1768.xml"/><Relationship Id="rId812" Type="http://schemas.openxmlformats.org/officeDocument/2006/relationships/tags" Target="../tags/tag1793.xml"/><Relationship Id="rId202" Type="http://schemas.openxmlformats.org/officeDocument/2006/relationships/tags" Target="../tags/tag1183.xml"/><Relationship Id="rId244" Type="http://schemas.openxmlformats.org/officeDocument/2006/relationships/tags" Target="../tags/tag1225.xml"/><Relationship Id="rId647" Type="http://schemas.openxmlformats.org/officeDocument/2006/relationships/tags" Target="../tags/tag1628.xml"/><Relationship Id="rId689" Type="http://schemas.openxmlformats.org/officeDocument/2006/relationships/tags" Target="../tags/tag1670.xml"/><Relationship Id="rId854" Type="http://schemas.openxmlformats.org/officeDocument/2006/relationships/tags" Target="../tags/tag1835.xml"/><Relationship Id="rId896" Type="http://schemas.openxmlformats.org/officeDocument/2006/relationships/tags" Target="../tags/tag1877.xml"/><Relationship Id="rId39" Type="http://schemas.openxmlformats.org/officeDocument/2006/relationships/tags" Target="../tags/tag1020.xml"/><Relationship Id="rId286" Type="http://schemas.openxmlformats.org/officeDocument/2006/relationships/tags" Target="../tags/tag1267.xml"/><Relationship Id="rId451" Type="http://schemas.openxmlformats.org/officeDocument/2006/relationships/tags" Target="../tags/tag1432.xml"/><Relationship Id="rId493" Type="http://schemas.openxmlformats.org/officeDocument/2006/relationships/tags" Target="../tags/tag1474.xml"/><Relationship Id="rId507" Type="http://schemas.openxmlformats.org/officeDocument/2006/relationships/tags" Target="../tags/tag1488.xml"/><Relationship Id="rId549" Type="http://schemas.openxmlformats.org/officeDocument/2006/relationships/tags" Target="../tags/tag1530.xml"/><Relationship Id="rId714" Type="http://schemas.openxmlformats.org/officeDocument/2006/relationships/tags" Target="../tags/tag1695.xml"/><Relationship Id="rId756" Type="http://schemas.openxmlformats.org/officeDocument/2006/relationships/tags" Target="../tags/tag1737.xml"/><Relationship Id="rId921" Type="http://schemas.openxmlformats.org/officeDocument/2006/relationships/tags" Target="../tags/tag1902.xml"/><Relationship Id="rId50" Type="http://schemas.openxmlformats.org/officeDocument/2006/relationships/tags" Target="../tags/tag1031.xml"/><Relationship Id="rId104" Type="http://schemas.openxmlformats.org/officeDocument/2006/relationships/tags" Target="../tags/tag1085.xml"/><Relationship Id="rId146" Type="http://schemas.openxmlformats.org/officeDocument/2006/relationships/tags" Target="../tags/tag1127.xml"/><Relationship Id="rId188" Type="http://schemas.openxmlformats.org/officeDocument/2006/relationships/tags" Target="../tags/tag1169.xml"/><Relationship Id="rId311" Type="http://schemas.openxmlformats.org/officeDocument/2006/relationships/tags" Target="../tags/tag1292.xml"/><Relationship Id="rId353" Type="http://schemas.openxmlformats.org/officeDocument/2006/relationships/tags" Target="../tags/tag1334.xml"/><Relationship Id="rId395" Type="http://schemas.openxmlformats.org/officeDocument/2006/relationships/tags" Target="../tags/tag1376.xml"/><Relationship Id="rId409" Type="http://schemas.openxmlformats.org/officeDocument/2006/relationships/tags" Target="../tags/tag1390.xml"/><Relationship Id="rId560" Type="http://schemas.openxmlformats.org/officeDocument/2006/relationships/tags" Target="../tags/tag1541.xml"/><Relationship Id="rId798" Type="http://schemas.openxmlformats.org/officeDocument/2006/relationships/tags" Target="../tags/tag1779.xml"/><Relationship Id="rId963" Type="http://schemas.openxmlformats.org/officeDocument/2006/relationships/slideLayout" Target="../slideLayouts/slideLayout57.xml"/><Relationship Id="rId92" Type="http://schemas.openxmlformats.org/officeDocument/2006/relationships/tags" Target="../tags/tag1073.xml"/><Relationship Id="rId213" Type="http://schemas.openxmlformats.org/officeDocument/2006/relationships/tags" Target="../tags/tag1194.xml"/><Relationship Id="rId420" Type="http://schemas.openxmlformats.org/officeDocument/2006/relationships/tags" Target="../tags/tag1401.xml"/><Relationship Id="rId616" Type="http://schemas.openxmlformats.org/officeDocument/2006/relationships/tags" Target="../tags/tag1597.xml"/><Relationship Id="rId658" Type="http://schemas.openxmlformats.org/officeDocument/2006/relationships/tags" Target="../tags/tag1639.xml"/><Relationship Id="rId823" Type="http://schemas.openxmlformats.org/officeDocument/2006/relationships/tags" Target="../tags/tag1804.xml"/><Relationship Id="rId865" Type="http://schemas.openxmlformats.org/officeDocument/2006/relationships/tags" Target="../tags/tag1846.xml"/><Relationship Id="rId255" Type="http://schemas.openxmlformats.org/officeDocument/2006/relationships/tags" Target="../tags/tag1236.xml"/><Relationship Id="rId297" Type="http://schemas.openxmlformats.org/officeDocument/2006/relationships/tags" Target="../tags/tag1278.xml"/><Relationship Id="rId462" Type="http://schemas.openxmlformats.org/officeDocument/2006/relationships/tags" Target="../tags/tag1443.xml"/><Relationship Id="rId518" Type="http://schemas.openxmlformats.org/officeDocument/2006/relationships/tags" Target="../tags/tag1499.xml"/><Relationship Id="rId725" Type="http://schemas.openxmlformats.org/officeDocument/2006/relationships/tags" Target="../tags/tag1706.xml"/><Relationship Id="rId932" Type="http://schemas.openxmlformats.org/officeDocument/2006/relationships/tags" Target="../tags/tag1913.xml"/><Relationship Id="rId115" Type="http://schemas.openxmlformats.org/officeDocument/2006/relationships/tags" Target="../tags/tag1096.xml"/><Relationship Id="rId157" Type="http://schemas.openxmlformats.org/officeDocument/2006/relationships/tags" Target="../tags/tag1138.xml"/><Relationship Id="rId322" Type="http://schemas.openxmlformats.org/officeDocument/2006/relationships/tags" Target="../tags/tag1303.xml"/><Relationship Id="rId364" Type="http://schemas.openxmlformats.org/officeDocument/2006/relationships/tags" Target="../tags/tag1345.xml"/><Relationship Id="rId767" Type="http://schemas.openxmlformats.org/officeDocument/2006/relationships/tags" Target="../tags/tag1748.xml"/><Relationship Id="rId61" Type="http://schemas.openxmlformats.org/officeDocument/2006/relationships/tags" Target="../tags/tag1042.xml"/><Relationship Id="rId199" Type="http://schemas.openxmlformats.org/officeDocument/2006/relationships/tags" Target="../tags/tag1180.xml"/><Relationship Id="rId571" Type="http://schemas.openxmlformats.org/officeDocument/2006/relationships/tags" Target="../tags/tag1552.xml"/><Relationship Id="rId627" Type="http://schemas.openxmlformats.org/officeDocument/2006/relationships/tags" Target="../tags/tag1608.xml"/><Relationship Id="rId669" Type="http://schemas.openxmlformats.org/officeDocument/2006/relationships/tags" Target="../tags/tag1650.xml"/><Relationship Id="rId834" Type="http://schemas.openxmlformats.org/officeDocument/2006/relationships/tags" Target="../tags/tag1815.xml"/><Relationship Id="rId876" Type="http://schemas.openxmlformats.org/officeDocument/2006/relationships/tags" Target="../tags/tag1857.xml"/><Relationship Id="rId19" Type="http://schemas.openxmlformats.org/officeDocument/2006/relationships/tags" Target="../tags/tag1000.xml"/><Relationship Id="rId224" Type="http://schemas.openxmlformats.org/officeDocument/2006/relationships/tags" Target="../tags/tag1205.xml"/><Relationship Id="rId266" Type="http://schemas.openxmlformats.org/officeDocument/2006/relationships/tags" Target="../tags/tag1247.xml"/><Relationship Id="rId431" Type="http://schemas.openxmlformats.org/officeDocument/2006/relationships/tags" Target="../tags/tag1412.xml"/><Relationship Id="rId473" Type="http://schemas.openxmlformats.org/officeDocument/2006/relationships/tags" Target="../tags/tag1454.xml"/><Relationship Id="rId529" Type="http://schemas.openxmlformats.org/officeDocument/2006/relationships/tags" Target="../tags/tag1510.xml"/><Relationship Id="rId680" Type="http://schemas.openxmlformats.org/officeDocument/2006/relationships/tags" Target="../tags/tag1661.xml"/><Relationship Id="rId736" Type="http://schemas.openxmlformats.org/officeDocument/2006/relationships/tags" Target="../tags/tag1717.xml"/><Relationship Id="rId901" Type="http://schemas.openxmlformats.org/officeDocument/2006/relationships/tags" Target="../tags/tag1882.xml"/><Relationship Id="rId30" Type="http://schemas.openxmlformats.org/officeDocument/2006/relationships/tags" Target="../tags/tag1011.xml"/><Relationship Id="rId126" Type="http://schemas.openxmlformats.org/officeDocument/2006/relationships/tags" Target="../tags/tag1107.xml"/><Relationship Id="rId168" Type="http://schemas.openxmlformats.org/officeDocument/2006/relationships/tags" Target="../tags/tag1149.xml"/><Relationship Id="rId333" Type="http://schemas.openxmlformats.org/officeDocument/2006/relationships/tags" Target="../tags/tag1314.xml"/><Relationship Id="rId540" Type="http://schemas.openxmlformats.org/officeDocument/2006/relationships/tags" Target="../tags/tag1521.xml"/><Relationship Id="rId778" Type="http://schemas.openxmlformats.org/officeDocument/2006/relationships/tags" Target="../tags/tag1759.xml"/><Relationship Id="rId943" Type="http://schemas.openxmlformats.org/officeDocument/2006/relationships/tags" Target="../tags/tag1924.xml"/><Relationship Id="rId72" Type="http://schemas.openxmlformats.org/officeDocument/2006/relationships/tags" Target="../tags/tag1053.xml"/><Relationship Id="rId375" Type="http://schemas.openxmlformats.org/officeDocument/2006/relationships/tags" Target="../tags/tag1356.xml"/><Relationship Id="rId582" Type="http://schemas.openxmlformats.org/officeDocument/2006/relationships/tags" Target="../tags/tag1563.xml"/><Relationship Id="rId638" Type="http://schemas.openxmlformats.org/officeDocument/2006/relationships/tags" Target="../tags/tag1619.xml"/><Relationship Id="rId803" Type="http://schemas.openxmlformats.org/officeDocument/2006/relationships/tags" Target="../tags/tag1784.xml"/><Relationship Id="rId845" Type="http://schemas.openxmlformats.org/officeDocument/2006/relationships/tags" Target="../tags/tag1826.xml"/><Relationship Id="rId3" Type="http://schemas.openxmlformats.org/officeDocument/2006/relationships/tags" Target="../tags/tag984.xml"/><Relationship Id="rId235" Type="http://schemas.openxmlformats.org/officeDocument/2006/relationships/tags" Target="../tags/tag1216.xml"/><Relationship Id="rId277" Type="http://schemas.openxmlformats.org/officeDocument/2006/relationships/tags" Target="../tags/tag1258.xml"/><Relationship Id="rId400" Type="http://schemas.openxmlformats.org/officeDocument/2006/relationships/tags" Target="../tags/tag1381.xml"/><Relationship Id="rId442" Type="http://schemas.openxmlformats.org/officeDocument/2006/relationships/tags" Target="../tags/tag1423.xml"/><Relationship Id="rId484" Type="http://schemas.openxmlformats.org/officeDocument/2006/relationships/tags" Target="../tags/tag1465.xml"/><Relationship Id="rId705" Type="http://schemas.openxmlformats.org/officeDocument/2006/relationships/tags" Target="../tags/tag1686.xml"/><Relationship Id="rId887" Type="http://schemas.openxmlformats.org/officeDocument/2006/relationships/tags" Target="../tags/tag1868.xml"/><Relationship Id="rId137" Type="http://schemas.openxmlformats.org/officeDocument/2006/relationships/tags" Target="../tags/tag1118.xml"/><Relationship Id="rId302" Type="http://schemas.openxmlformats.org/officeDocument/2006/relationships/tags" Target="../tags/tag1283.xml"/><Relationship Id="rId344" Type="http://schemas.openxmlformats.org/officeDocument/2006/relationships/tags" Target="../tags/tag1325.xml"/><Relationship Id="rId691" Type="http://schemas.openxmlformats.org/officeDocument/2006/relationships/tags" Target="../tags/tag1672.xml"/><Relationship Id="rId747" Type="http://schemas.openxmlformats.org/officeDocument/2006/relationships/tags" Target="../tags/tag1728.xml"/><Relationship Id="rId789" Type="http://schemas.openxmlformats.org/officeDocument/2006/relationships/tags" Target="../tags/tag1770.xml"/><Relationship Id="rId912" Type="http://schemas.openxmlformats.org/officeDocument/2006/relationships/tags" Target="../tags/tag1893.xml"/><Relationship Id="rId954" Type="http://schemas.openxmlformats.org/officeDocument/2006/relationships/tags" Target="../tags/tag1935.xml"/><Relationship Id="rId41" Type="http://schemas.openxmlformats.org/officeDocument/2006/relationships/tags" Target="../tags/tag1022.xml"/><Relationship Id="rId83" Type="http://schemas.openxmlformats.org/officeDocument/2006/relationships/tags" Target="../tags/tag1064.xml"/><Relationship Id="rId179" Type="http://schemas.openxmlformats.org/officeDocument/2006/relationships/tags" Target="../tags/tag1160.xml"/><Relationship Id="rId386" Type="http://schemas.openxmlformats.org/officeDocument/2006/relationships/tags" Target="../tags/tag1367.xml"/><Relationship Id="rId551" Type="http://schemas.openxmlformats.org/officeDocument/2006/relationships/tags" Target="../tags/tag1532.xml"/><Relationship Id="rId593" Type="http://schemas.openxmlformats.org/officeDocument/2006/relationships/tags" Target="../tags/tag1574.xml"/><Relationship Id="rId607" Type="http://schemas.openxmlformats.org/officeDocument/2006/relationships/tags" Target="../tags/tag1588.xml"/><Relationship Id="rId649" Type="http://schemas.openxmlformats.org/officeDocument/2006/relationships/tags" Target="../tags/tag1630.xml"/><Relationship Id="rId814" Type="http://schemas.openxmlformats.org/officeDocument/2006/relationships/tags" Target="../tags/tag1795.xml"/><Relationship Id="rId856" Type="http://schemas.openxmlformats.org/officeDocument/2006/relationships/tags" Target="../tags/tag1837.xml"/><Relationship Id="rId190" Type="http://schemas.openxmlformats.org/officeDocument/2006/relationships/tags" Target="../tags/tag1171.xml"/><Relationship Id="rId204" Type="http://schemas.openxmlformats.org/officeDocument/2006/relationships/tags" Target="../tags/tag1185.xml"/><Relationship Id="rId246" Type="http://schemas.openxmlformats.org/officeDocument/2006/relationships/tags" Target="../tags/tag1227.xml"/><Relationship Id="rId288" Type="http://schemas.openxmlformats.org/officeDocument/2006/relationships/tags" Target="../tags/tag1269.xml"/><Relationship Id="rId411" Type="http://schemas.openxmlformats.org/officeDocument/2006/relationships/tags" Target="../tags/tag1392.xml"/><Relationship Id="rId453" Type="http://schemas.openxmlformats.org/officeDocument/2006/relationships/tags" Target="../tags/tag1434.xml"/><Relationship Id="rId509" Type="http://schemas.openxmlformats.org/officeDocument/2006/relationships/tags" Target="../tags/tag1490.xml"/><Relationship Id="rId660" Type="http://schemas.openxmlformats.org/officeDocument/2006/relationships/tags" Target="../tags/tag1641.xml"/><Relationship Id="rId898" Type="http://schemas.openxmlformats.org/officeDocument/2006/relationships/tags" Target="../tags/tag1879.xml"/><Relationship Id="rId106" Type="http://schemas.openxmlformats.org/officeDocument/2006/relationships/tags" Target="../tags/tag1087.xml"/><Relationship Id="rId313" Type="http://schemas.openxmlformats.org/officeDocument/2006/relationships/tags" Target="../tags/tag1294.xml"/><Relationship Id="rId495" Type="http://schemas.openxmlformats.org/officeDocument/2006/relationships/tags" Target="../tags/tag1476.xml"/><Relationship Id="rId716" Type="http://schemas.openxmlformats.org/officeDocument/2006/relationships/tags" Target="../tags/tag1697.xml"/><Relationship Id="rId758" Type="http://schemas.openxmlformats.org/officeDocument/2006/relationships/tags" Target="../tags/tag1739.xml"/><Relationship Id="rId923" Type="http://schemas.openxmlformats.org/officeDocument/2006/relationships/tags" Target="../tags/tag1904.xml"/><Relationship Id="rId965" Type="http://schemas.openxmlformats.org/officeDocument/2006/relationships/image" Target="../media/image70.png"/><Relationship Id="rId10" Type="http://schemas.openxmlformats.org/officeDocument/2006/relationships/tags" Target="../tags/tag991.xml"/><Relationship Id="rId52" Type="http://schemas.openxmlformats.org/officeDocument/2006/relationships/tags" Target="../tags/tag1033.xml"/><Relationship Id="rId94" Type="http://schemas.openxmlformats.org/officeDocument/2006/relationships/tags" Target="../tags/tag1075.xml"/><Relationship Id="rId148" Type="http://schemas.openxmlformats.org/officeDocument/2006/relationships/tags" Target="../tags/tag1129.xml"/><Relationship Id="rId355" Type="http://schemas.openxmlformats.org/officeDocument/2006/relationships/tags" Target="../tags/tag1336.xml"/><Relationship Id="rId397" Type="http://schemas.openxmlformats.org/officeDocument/2006/relationships/tags" Target="../tags/tag1378.xml"/><Relationship Id="rId520" Type="http://schemas.openxmlformats.org/officeDocument/2006/relationships/tags" Target="../tags/tag1501.xml"/><Relationship Id="rId562" Type="http://schemas.openxmlformats.org/officeDocument/2006/relationships/tags" Target="../tags/tag1543.xml"/><Relationship Id="rId618" Type="http://schemas.openxmlformats.org/officeDocument/2006/relationships/tags" Target="../tags/tag1599.xml"/><Relationship Id="rId825" Type="http://schemas.openxmlformats.org/officeDocument/2006/relationships/tags" Target="../tags/tag1806.xml"/><Relationship Id="rId215" Type="http://schemas.openxmlformats.org/officeDocument/2006/relationships/tags" Target="../tags/tag1196.xml"/><Relationship Id="rId257" Type="http://schemas.openxmlformats.org/officeDocument/2006/relationships/tags" Target="../tags/tag1238.xml"/><Relationship Id="rId422" Type="http://schemas.openxmlformats.org/officeDocument/2006/relationships/tags" Target="../tags/tag1403.xml"/><Relationship Id="rId464" Type="http://schemas.openxmlformats.org/officeDocument/2006/relationships/tags" Target="../tags/tag1445.xml"/><Relationship Id="rId867" Type="http://schemas.openxmlformats.org/officeDocument/2006/relationships/tags" Target="../tags/tag1848.xml"/><Relationship Id="rId299" Type="http://schemas.openxmlformats.org/officeDocument/2006/relationships/tags" Target="../tags/tag1280.xml"/><Relationship Id="rId727" Type="http://schemas.openxmlformats.org/officeDocument/2006/relationships/tags" Target="../tags/tag1708.xml"/><Relationship Id="rId934" Type="http://schemas.openxmlformats.org/officeDocument/2006/relationships/tags" Target="../tags/tag1915.xml"/><Relationship Id="rId63" Type="http://schemas.openxmlformats.org/officeDocument/2006/relationships/tags" Target="../tags/tag1044.xml"/><Relationship Id="rId159" Type="http://schemas.openxmlformats.org/officeDocument/2006/relationships/tags" Target="../tags/tag1140.xml"/><Relationship Id="rId366" Type="http://schemas.openxmlformats.org/officeDocument/2006/relationships/tags" Target="../tags/tag1347.xml"/><Relationship Id="rId573" Type="http://schemas.openxmlformats.org/officeDocument/2006/relationships/tags" Target="../tags/tag1554.xml"/><Relationship Id="rId780" Type="http://schemas.openxmlformats.org/officeDocument/2006/relationships/tags" Target="../tags/tag1761.xml"/><Relationship Id="rId226" Type="http://schemas.openxmlformats.org/officeDocument/2006/relationships/tags" Target="../tags/tag1207.xml"/><Relationship Id="rId433" Type="http://schemas.openxmlformats.org/officeDocument/2006/relationships/tags" Target="../tags/tag1414.xml"/><Relationship Id="rId878" Type="http://schemas.openxmlformats.org/officeDocument/2006/relationships/tags" Target="../tags/tag1859.xml"/><Relationship Id="rId640" Type="http://schemas.openxmlformats.org/officeDocument/2006/relationships/tags" Target="../tags/tag1621.xml"/><Relationship Id="rId738" Type="http://schemas.openxmlformats.org/officeDocument/2006/relationships/tags" Target="../tags/tag1719.xml"/><Relationship Id="rId945" Type="http://schemas.openxmlformats.org/officeDocument/2006/relationships/tags" Target="../tags/tag1926.xml"/><Relationship Id="rId74" Type="http://schemas.openxmlformats.org/officeDocument/2006/relationships/tags" Target="../tags/tag1055.xml"/><Relationship Id="rId377" Type="http://schemas.openxmlformats.org/officeDocument/2006/relationships/tags" Target="../tags/tag1358.xml"/><Relationship Id="rId500" Type="http://schemas.openxmlformats.org/officeDocument/2006/relationships/tags" Target="../tags/tag1481.xml"/><Relationship Id="rId584" Type="http://schemas.openxmlformats.org/officeDocument/2006/relationships/tags" Target="../tags/tag1565.xml"/><Relationship Id="rId805" Type="http://schemas.openxmlformats.org/officeDocument/2006/relationships/tags" Target="../tags/tag1786.xml"/><Relationship Id="rId5" Type="http://schemas.openxmlformats.org/officeDocument/2006/relationships/tags" Target="../tags/tag986.xml"/><Relationship Id="rId237" Type="http://schemas.openxmlformats.org/officeDocument/2006/relationships/tags" Target="../tags/tag1218.xml"/><Relationship Id="rId791" Type="http://schemas.openxmlformats.org/officeDocument/2006/relationships/tags" Target="../tags/tag1772.xml"/><Relationship Id="rId889" Type="http://schemas.openxmlformats.org/officeDocument/2006/relationships/tags" Target="../tags/tag1870.xml"/><Relationship Id="rId444" Type="http://schemas.openxmlformats.org/officeDocument/2006/relationships/tags" Target="../tags/tag1425.xml"/><Relationship Id="rId651" Type="http://schemas.openxmlformats.org/officeDocument/2006/relationships/tags" Target="../tags/tag1632.xml"/><Relationship Id="rId749" Type="http://schemas.openxmlformats.org/officeDocument/2006/relationships/tags" Target="../tags/tag1730.xml"/><Relationship Id="rId290" Type="http://schemas.openxmlformats.org/officeDocument/2006/relationships/tags" Target="../tags/tag1271.xml"/><Relationship Id="rId304" Type="http://schemas.openxmlformats.org/officeDocument/2006/relationships/tags" Target="../tags/tag1285.xml"/><Relationship Id="rId388" Type="http://schemas.openxmlformats.org/officeDocument/2006/relationships/tags" Target="../tags/tag1369.xml"/><Relationship Id="rId511" Type="http://schemas.openxmlformats.org/officeDocument/2006/relationships/tags" Target="../tags/tag1492.xml"/><Relationship Id="rId609" Type="http://schemas.openxmlformats.org/officeDocument/2006/relationships/tags" Target="../tags/tag1590.xml"/><Relationship Id="rId956" Type="http://schemas.openxmlformats.org/officeDocument/2006/relationships/tags" Target="../tags/tag1937.xml"/><Relationship Id="rId85" Type="http://schemas.openxmlformats.org/officeDocument/2006/relationships/tags" Target="../tags/tag1066.xml"/><Relationship Id="rId150" Type="http://schemas.openxmlformats.org/officeDocument/2006/relationships/tags" Target="../tags/tag1131.xml"/><Relationship Id="rId595" Type="http://schemas.openxmlformats.org/officeDocument/2006/relationships/tags" Target="../tags/tag1576.xml"/><Relationship Id="rId816" Type="http://schemas.openxmlformats.org/officeDocument/2006/relationships/tags" Target="../tags/tag1797.xml"/><Relationship Id="rId248" Type="http://schemas.openxmlformats.org/officeDocument/2006/relationships/tags" Target="../tags/tag1229.xml"/><Relationship Id="rId455" Type="http://schemas.openxmlformats.org/officeDocument/2006/relationships/tags" Target="../tags/tag1436.xml"/><Relationship Id="rId662" Type="http://schemas.openxmlformats.org/officeDocument/2006/relationships/tags" Target="../tags/tag1643.xml"/><Relationship Id="rId12" Type="http://schemas.openxmlformats.org/officeDocument/2006/relationships/tags" Target="../tags/tag993.xml"/><Relationship Id="rId108" Type="http://schemas.openxmlformats.org/officeDocument/2006/relationships/tags" Target="../tags/tag1089.xml"/><Relationship Id="rId315" Type="http://schemas.openxmlformats.org/officeDocument/2006/relationships/tags" Target="../tags/tag1296.xml"/><Relationship Id="rId522" Type="http://schemas.openxmlformats.org/officeDocument/2006/relationships/tags" Target="../tags/tag1503.xml"/><Relationship Id="rId96" Type="http://schemas.openxmlformats.org/officeDocument/2006/relationships/tags" Target="../tags/tag1077.xml"/><Relationship Id="rId161" Type="http://schemas.openxmlformats.org/officeDocument/2006/relationships/tags" Target="../tags/tag1142.xml"/><Relationship Id="rId399" Type="http://schemas.openxmlformats.org/officeDocument/2006/relationships/tags" Target="../tags/tag1380.xml"/><Relationship Id="rId827" Type="http://schemas.openxmlformats.org/officeDocument/2006/relationships/tags" Target="../tags/tag1808.xml"/><Relationship Id="rId259" Type="http://schemas.openxmlformats.org/officeDocument/2006/relationships/tags" Target="../tags/tag1240.xml"/><Relationship Id="rId466" Type="http://schemas.openxmlformats.org/officeDocument/2006/relationships/tags" Target="../tags/tag1447.xml"/><Relationship Id="rId673" Type="http://schemas.openxmlformats.org/officeDocument/2006/relationships/tags" Target="../tags/tag1654.xml"/><Relationship Id="rId880" Type="http://schemas.openxmlformats.org/officeDocument/2006/relationships/tags" Target="../tags/tag1861.xml"/><Relationship Id="rId23" Type="http://schemas.openxmlformats.org/officeDocument/2006/relationships/tags" Target="../tags/tag1004.xml"/><Relationship Id="rId119" Type="http://schemas.openxmlformats.org/officeDocument/2006/relationships/tags" Target="../tags/tag1100.xml"/><Relationship Id="rId326" Type="http://schemas.openxmlformats.org/officeDocument/2006/relationships/tags" Target="../tags/tag1307.xml"/><Relationship Id="rId533" Type="http://schemas.openxmlformats.org/officeDocument/2006/relationships/tags" Target="../tags/tag1514.xml"/><Relationship Id="rId740" Type="http://schemas.openxmlformats.org/officeDocument/2006/relationships/tags" Target="../tags/tag1721.xml"/><Relationship Id="rId838" Type="http://schemas.openxmlformats.org/officeDocument/2006/relationships/tags" Target="../tags/tag1819.xml"/><Relationship Id="rId172" Type="http://schemas.openxmlformats.org/officeDocument/2006/relationships/tags" Target="../tags/tag1153.xml"/><Relationship Id="rId477" Type="http://schemas.openxmlformats.org/officeDocument/2006/relationships/tags" Target="../tags/tag1458.xml"/><Relationship Id="rId600" Type="http://schemas.openxmlformats.org/officeDocument/2006/relationships/tags" Target="../tags/tag1581.xml"/><Relationship Id="rId684" Type="http://schemas.openxmlformats.org/officeDocument/2006/relationships/tags" Target="../tags/tag1665.xml"/><Relationship Id="rId337" Type="http://schemas.openxmlformats.org/officeDocument/2006/relationships/tags" Target="../tags/tag1318.xml"/><Relationship Id="rId891" Type="http://schemas.openxmlformats.org/officeDocument/2006/relationships/tags" Target="../tags/tag1872.xml"/><Relationship Id="rId905" Type="http://schemas.openxmlformats.org/officeDocument/2006/relationships/tags" Target="../tags/tag1886.xml"/><Relationship Id="rId34" Type="http://schemas.openxmlformats.org/officeDocument/2006/relationships/tags" Target="../tags/tag1015.xml"/><Relationship Id="rId544" Type="http://schemas.openxmlformats.org/officeDocument/2006/relationships/tags" Target="../tags/tag1525.xml"/><Relationship Id="rId751" Type="http://schemas.openxmlformats.org/officeDocument/2006/relationships/tags" Target="../tags/tag1732.xml"/><Relationship Id="rId849" Type="http://schemas.openxmlformats.org/officeDocument/2006/relationships/tags" Target="../tags/tag1830.xml"/><Relationship Id="rId183" Type="http://schemas.openxmlformats.org/officeDocument/2006/relationships/tags" Target="../tags/tag1164.xml"/><Relationship Id="rId390" Type="http://schemas.openxmlformats.org/officeDocument/2006/relationships/tags" Target="../tags/tag1371.xml"/><Relationship Id="rId404" Type="http://schemas.openxmlformats.org/officeDocument/2006/relationships/tags" Target="../tags/tag1385.xml"/><Relationship Id="rId611" Type="http://schemas.openxmlformats.org/officeDocument/2006/relationships/tags" Target="../tags/tag1592.xml"/><Relationship Id="rId250" Type="http://schemas.openxmlformats.org/officeDocument/2006/relationships/tags" Target="../tags/tag1231.xml"/><Relationship Id="rId488" Type="http://schemas.openxmlformats.org/officeDocument/2006/relationships/tags" Target="../tags/tag1469.xml"/><Relationship Id="rId695" Type="http://schemas.openxmlformats.org/officeDocument/2006/relationships/tags" Target="../tags/tag1676.xml"/><Relationship Id="rId709" Type="http://schemas.openxmlformats.org/officeDocument/2006/relationships/tags" Target="../tags/tag1690.xml"/><Relationship Id="rId916" Type="http://schemas.openxmlformats.org/officeDocument/2006/relationships/tags" Target="../tags/tag1897.xml"/><Relationship Id="rId45" Type="http://schemas.openxmlformats.org/officeDocument/2006/relationships/tags" Target="../tags/tag1026.xml"/><Relationship Id="rId110" Type="http://schemas.openxmlformats.org/officeDocument/2006/relationships/tags" Target="../tags/tag1091.xml"/><Relationship Id="rId348" Type="http://schemas.openxmlformats.org/officeDocument/2006/relationships/tags" Target="../tags/tag1329.xml"/><Relationship Id="rId555" Type="http://schemas.openxmlformats.org/officeDocument/2006/relationships/tags" Target="../tags/tag1536.xml"/><Relationship Id="rId762" Type="http://schemas.openxmlformats.org/officeDocument/2006/relationships/tags" Target="../tags/tag1743.xml"/><Relationship Id="rId194" Type="http://schemas.openxmlformats.org/officeDocument/2006/relationships/tags" Target="../tags/tag1175.xml"/><Relationship Id="rId208" Type="http://schemas.openxmlformats.org/officeDocument/2006/relationships/tags" Target="../tags/tag1189.xml"/><Relationship Id="rId415" Type="http://schemas.openxmlformats.org/officeDocument/2006/relationships/tags" Target="../tags/tag1396.xml"/><Relationship Id="rId622" Type="http://schemas.openxmlformats.org/officeDocument/2006/relationships/tags" Target="../tags/tag1603.xml"/><Relationship Id="rId261" Type="http://schemas.openxmlformats.org/officeDocument/2006/relationships/tags" Target="../tags/tag1242.xml"/><Relationship Id="rId499" Type="http://schemas.openxmlformats.org/officeDocument/2006/relationships/tags" Target="../tags/tag1480.xml"/><Relationship Id="rId927" Type="http://schemas.openxmlformats.org/officeDocument/2006/relationships/tags" Target="../tags/tag1908.xml"/><Relationship Id="rId56" Type="http://schemas.openxmlformats.org/officeDocument/2006/relationships/tags" Target="../tags/tag1037.xml"/><Relationship Id="rId359" Type="http://schemas.openxmlformats.org/officeDocument/2006/relationships/tags" Target="../tags/tag1340.xml"/><Relationship Id="rId566" Type="http://schemas.openxmlformats.org/officeDocument/2006/relationships/tags" Target="../tags/tag1547.xml"/><Relationship Id="rId773" Type="http://schemas.openxmlformats.org/officeDocument/2006/relationships/tags" Target="../tags/tag1754.xml"/><Relationship Id="rId121" Type="http://schemas.openxmlformats.org/officeDocument/2006/relationships/tags" Target="../tags/tag1102.xml"/><Relationship Id="rId219" Type="http://schemas.openxmlformats.org/officeDocument/2006/relationships/tags" Target="../tags/tag1200.xml"/><Relationship Id="rId426" Type="http://schemas.openxmlformats.org/officeDocument/2006/relationships/tags" Target="../tags/tag1407.xml"/><Relationship Id="rId633" Type="http://schemas.openxmlformats.org/officeDocument/2006/relationships/tags" Target="../tags/tag1614.xml"/><Relationship Id="rId840" Type="http://schemas.openxmlformats.org/officeDocument/2006/relationships/tags" Target="../tags/tag1821.xml"/><Relationship Id="rId938" Type="http://schemas.openxmlformats.org/officeDocument/2006/relationships/tags" Target="../tags/tag1919.xml"/><Relationship Id="rId67" Type="http://schemas.openxmlformats.org/officeDocument/2006/relationships/tags" Target="../tags/tag1048.xml"/><Relationship Id="rId272" Type="http://schemas.openxmlformats.org/officeDocument/2006/relationships/tags" Target="../tags/tag1253.xml"/><Relationship Id="rId577" Type="http://schemas.openxmlformats.org/officeDocument/2006/relationships/tags" Target="../tags/tag1558.xml"/><Relationship Id="rId700" Type="http://schemas.openxmlformats.org/officeDocument/2006/relationships/tags" Target="../tags/tag1681.xml"/><Relationship Id="rId132" Type="http://schemas.openxmlformats.org/officeDocument/2006/relationships/tags" Target="../tags/tag1113.xml"/><Relationship Id="rId784" Type="http://schemas.openxmlformats.org/officeDocument/2006/relationships/tags" Target="../tags/tag1765.xml"/><Relationship Id="rId437" Type="http://schemas.openxmlformats.org/officeDocument/2006/relationships/tags" Target="../tags/tag1418.xml"/><Relationship Id="rId644" Type="http://schemas.openxmlformats.org/officeDocument/2006/relationships/tags" Target="../tags/tag1625.xml"/><Relationship Id="rId851" Type="http://schemas.openxmlformats.org/officeDocument/2006/relationships/tags" Target="../tags/tag1832.xml"/><Relationship Id="rId283" Type="http://schemas.openxmlformats.org/officeDocument/2006/relationships/tags" Target="../tags/tag1264.xml"/><Relationship Id="rId490" Type="http://schemas.openxmlformats.org/officeDocument/2006/relationships/tags" Target="../tags/tag1471.xml"/><Relationship Id="rId504" Type="http://schemas.openxmlformats.org/officeDocument/2006/relationships/tags" Target="../tags/tag1485.xml"/><Relationship Id="rId711" Type="http://schemas.openxmlformats.org/officeDocument/2006/relationships/tags" Target="../tags/tag1692.xml"/><Relationship Id="rId949" Type="http://schemas.openxmlformats.org/officeDocument/2006/relationships/tags" Target="../tags/tag1930.xml"/><Relationship Id="rId78" Type="http://schemas.openxmlformats.org/officeDocument/2006/relationships/tags" Target="../tags/tag1059.xml"/><Relationship Id="rId143" Type="http://schemas.openxmlformats.org/officeDocument/2006/relationships/tags" Target="../tags/tag1124.xml"/><Relationship Id="rId350" Type="http://schemas.openxmlformats.org/officeDocument/2006/relationships/tags" Target="../tags/tag1331.xml"/><Relationship Id="rId588" Type="http://schemas.openxmlformats.org/officeDocument/2006/relationships/tags" Target="../tags/tag1569.xml"/><Relationship Id="rId795" Type="http://schemas.openxmlformats.org/officeDocument/2006/relationships/tags" Target="../tags/tag1776.xml"/><Relationship Id="rId809" Type="http://schemas.openxmlformats.org/officeDocument/2006/relationships/tags" Target="../tags/tag1790.xml"/><Relationship Id="rId9" Type="http://schemas.openxmlformats.org/officeDocument/2006/relationships/tags" Target="../tags/tag990.xml"/><Relationship Id="rId210" Type="http://schemas.openxmlformats.org/officeDocument/2006/relationships/tags" Target="../tags/tag1191.xml"/><Relationship Id="rId448" Type="http://schemas.openxmlformats.org/officeDocument/2006/relationships/tags" Target="../tags/tag1429.xml"/><Relationship Id="rId655" Type="http://schemas.openxmlformats.org/officeDocument/2006/relationships/tags" Target="../tags/tag1636.xml"/><Relationship Id="rId862" Type="http://schemas.openxmlformats.org/officeDocument/2006/relationships/tags" Target="../tags/tag1843.xml"/><Relationship Id="rId294" Type="http://schemas.openxmlformats.org/officeDocument/2006/relationships/tags" Target="../tags/tag1275.xml"/><Relationship Id="rId308" Type="http://schemas.openxmlformats.org/officeDocument/2006/relationships/tags" Target="../tags/tag1289.xml"/><Relationship Id="rId515" Type="http://schemas.openxmlformats.org/officeDocument/2006/relationships/tags" Target="../tags/tag1496.xml"/><Relationship Id="rId722" Type="http://schemas.openxmlformats.org/officeDocument/2006/relationships/tags" Target="../tags/tag170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7" Type="http://schemas.openxmlformats.org/officeDocument/2006/relationships/image" Target="../media/image7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5.jpeg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tags" Target="../tags/tag1946.xml"/><Relationship Id="rId7" Type="http://schemas.openxmlformats.org/officeDocument/2006/relationships/tags" Target="../tags/tag1950.xml"/><Relationship Id="rId2" Type="http://schemas.openxmlformats.org/officeDocument/2006/relationships/tags" Target="../tags/tag1945.xml"/><Relationship Id="rId1" Type="http://schemas.openxmlformats.org/officeDocument/2006/relationships/tags" Target="../tags/tag1944.xml"/><Relationship Id="rId6" Type="http://schemas.openxmlformats.org/officeDocument/2006/relationships/tags" Target="../tags/tag1949.xml"/><Relationship Id="rId11" Type="http://schemas.openxmlformats.org/officeDocument/2006/relationships/image" Target="../media/image78.png"/><Relationship Id="rId5" Type="http://schemas.openxmlformats.org/officeDocument/2006/relationships/tags" Target="../tags/tag1948.xml"/><Relationship Id="rId10" Type="http://schemas.openxmlformats.org/officeDocument/2006/relationships/image" Target="../media/image77.png"/><Relationship Id="rId4" Type="http://schemas.openxmlformats.org/officeDocument/2006/relationships/tags" Target="../tags/tag1947.xml"/><Relationship Id="rId9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13" Type="http://schemas.openxmlformats.org/officeDocument/2006/relationships/image" Target="../media/image89.png"/><Relationship Id="rId18" Type="http://schemas.openxmlformats.org/officeDocument/2006/relationships/image" Target="../media/image94.pn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12" Type="http://schemas.openxmlformats.org/officeDocument/2006/relationships/image" Target="../media/image88.png"/><Relationship Id="rId17" Type="http://schemas.openxmlformats.org/officeDocument/2006/relationships/image" Target="../media/image93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92.png"/><Relationship Id="rId20" Type="http://schemas.openxmlformats.org/officeDocument/2006/relationships/image" Target="../media/image9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2.png"/><Relationship Id="rId11" Type="http://schemas.openxmlformats.org/officeDocument/2006/relationships/image" Target="../media/image87.png"/><Relationship Id="rId5" Type="http://schemas.openxmlformats.org/officeDocument/2006/relationships/image" Target="../media/image81.png"/><Relationship Id="rId15" Type="http://schemas.openxmlformats.org/officeDocument/2006/relationships/image" Target="../media/image91.png"/><Relationship Id="rId10" Type="http://schemas.openxmlformats.org/officeDocument/2006/relationships/image" Target="../media/image86.png"/><Relationship Id="rId19" Type="http://schemas.openxmlformats.org/officeDocument/2006/relationships/image" Target="../media/image95.png"/><Relationship Id="rId4" Type="http://schemas.openxmlformats.org/officeDocument/2006/relationships/image" Target="../media/image80.png"/><Relationship Id="rId9" Type="http://schemas.openxmlformats.org/officeDocument/2006/relationships/image" Target="../media/image85.png"/><Relationship Id="rId14" Type="http://schemas.openxmlformats.org/officeDocument/2006/relationships/image" Target="../media/image9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79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10" Type="http://schemas.openxmlformats.org/officeDocument/2006/relationships/image" Target="../media/image103.emf"/><Relationship Id="rId4" Type="http://schemas.openxmlformats.org/officeDocument/2006/relationships/image" Target="../media/image97.png"/><Relationship Id="rId9" Type="http://schemas.openxmlformats.org/officeDocument/2006/relationships/image" Target="../media/image10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13" Type="http://schemas.openxmlformats.org/officeDocument/2006/relationships/image" Target="../media/image113.png"/><Relationship Id="rId3" Type="http://schemas.openxmlformats.org/officeDocument/2006/relationships/image" Target="../media/image79.png"/><Relationship Id="rId7" Type="http://schemas.openxmlformats.org/officeDocument/2006/relationships/image" Target="../media/image107.png"/><Relationship Id="rId12" Type="http://schemas.openxmlformats.org/officeDocument/2006/relationships/image" Target="../media/image1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6.png"/><Relationship Id="rId11" Type="http://schemas.openxmlformats.org/officeDocument/2006/relationships/image" Target="../media/image111.png"/><Relationship Id="rId5" Type="http://schemas.openxmlformats.org/officeDocument/2006/relationships/image" Target="../media/image105.png"/><Relationship Id="rId15" Type="http://schemas.openxmlformats.org/officeDocument/2006/relationships/image" Target="../media/image115.png"/><Relationship Id="rId10" Type="http://schemas.openxmlformats.org/officeDocument/2006/relationships/image" Target="../media/image110.png"/><Relationship Id="rId4" Type="http://schemas.openxmlformats.org/officeDocument/2006/relationships/image" Target="../media/image104.png"/><Relationship Id="rId9" Type="http://schemas.openxmlformats.org/officeDocument/2006/relationships/image" Target="../media/image109.png"/><Relationship Id="rId14" Type="http://schemas.openxmlformats.org/officeDocument/2006/relationships/image" Target="../media/image11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13" Type="http://schemas.openxmlformats.org/officeDocument/2006/relationships/image" Target="../media/image87.png"/><Relationship Id="rId18" Type="http://schemas.openxmlformats.org/officeDocument/2006/relationships/image" Target="../media/image121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111.png"/><Relationship Id="rId12" Type="http://schemas.openxmlformats.org/officeDocument/2006/relationships/image" Target="../media/image86.png"/><Relationship Id="rId17" Type="http://schemas.openxmlformats.org/officeDocument/2006/relationships/image" Target="../media/image120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19.png"/><Relationship Id="rId20" Type="http://schemas.openxmlformats.org/officeDocument/2006/relationships/image" Target="../media/image123.png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05.png"/><Relationship Id="rId11" Type="http://schemas.openxmlformats.org/officeDocument/2006/relationships/image" Target="../media/image84.png"/><Relationship Id="rId5" Type="http://schemas.openxmlformats.org/officeDocument/2006/relationships/image" Target="../media/image104.png"/><Relationship Id="rId15" Type="http://schemas.openxmlformats.org/officeDocument/2006/relationships/image" Target="../media/image118.png"/><Relationship Id="rId10" Type="http://schemas.openxmlformats.org/officeDocument/2006/relationships/image" Target="../media/image117.png"/><Relationship Id="rId19" Type="http://schemas.openxmlformats.org/officeDocument/2006/relationships/image" Target="../media/image122.png"/><Relationship Id="rId4" Type="http://schemas.openxmlformats.org/officeDocument/2006/relationships/image" Target="../media/image79.png"/><Relationship Id="rId9" Type="http://schemas.openxmlformats.org/officeDocument/2006/relationships/image" Target="../media/image116.png"/><Relationship Id="rId14" Type="http://schemas.openxmlformats.org/officeDocument/2006/relationships/image" Target="../media/image11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9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6.png"/><Relationship Id="rId5" Type="http://schemas.openxmlformats.org/officeDocument/2006/relationships/image" Target="../media/image131.emf"/><Relationship Id="rId4" Type="http://schemas.openxmlformats.org/officeDocument/2006/relationships/image" Target="../media/image12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6.png"/><Relationship Id="rId4" Type="http://schemas.openxmlformats.org/officeDocument/2006/relationships/image" Target="../media/image133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jpeg"/><Relationship Id="rId18" Type="http://schemas.openxmlformats.org/officeDocument/2006/relationships/image" Target="../media/image31.gif"/><Relationship Id="rId3" Type="http://schemas.openxmlformats.org/officeDocument/2006/relationships/tags" Target="../tags/tag4.xml"/><Relationship Id="rId21" Type="http://schemas.openxmlformats.org/officeDocument/2006/relationships/image" Target="../media/image34.jpe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jpeg"/><Relationship Id="rId2" Type="http://schemas.openxmlformats.org/officeDocument/2006/relationships/tags" Target="../tags/tag3.xml"/><Relationship Id="rId16" Type="http://schemas.openxmlformats.org/officeDocument/2006/relationships/image" Target="../media/image29.jpeg"/><Relationship Id="rId20" Type="http://schemas.openxmlformats.org/officeDocument/2006/relationships/image" Target="../media/image33.gif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4.jpeg"/><Relationship Id="rId5" Type="http://schemas.openxmlformats.org/officeDocument/2006/relationships/tags" Target="../tags/tag6.xml"/><Relationship Id="rId15" Type="http://schemas.openxmlformats.org/officeDocument/2006/relationships/image" Target="../media/image28.gif"/><Relationship Id="rId10" Type="http://schemas.openxmlformats.org/officeDocument/2006/relationships/image" Target="../media/image23.png"/><Relationship Id="rId19" Type="http://schemas.openxmlformats.org/officeDocument/2006/relationships/image" Target="../media/image32.jpeg"/><Relationship Id="rId4" Type="http://schemas.openxmlformats.org/officeDocument/2006/relationships/tags" Target="../tags/tag5.xml"/><Relationship Id="rId9" Type="http://schemas.openxmlformats.org/officeDocument/2006/relationships/image" Target="../media/image22.png"/><Relationship Id="rId14" Type="http://schemas.openxmlformats.org/officeDocument/2006/relationships/image" Target="../media/image27.jpeg"/><Relationship Id="rId22" Type="http://schemas.openxmlformats.org/officeDocument/2006/relationships/image" Target="../media/image35.png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23.xml"/><Relationship Id="rId671" Type="http://schemas.openxmlformats.org/officeDocument/2006/relationships/tags" Target="../tags/tag677.xml"/><Relationship Id="rId769" Type="http://schemas.openxmlformats.org/officeDocument/2006/relationships/tags" Target="../tags/tag775.xml"/><Relationship Id="rId21" Type="http://schemas.openxmlformats.org/officeDocument/2006/relationships/tags" Target="../tags/tag27.xml"/><Relationship Id="rId324" Type="http://schemas.openxmlformats.org/officeDocument/2006/relationships/tags" Target="../tags/tag330.xml"/><Relationship Id="rId531" Type="http://schemas.openxmlformats.org/officeDocument/2006/relationships/tags" Target="../tags/tag537.xml"/><Relationship Id="rId629" Type="http://schemas.openxmlformats.org/officeDocument/2006/relationships/tags" Target="../tags/tag635.xml"/><Relationship Id="rId170" Type="http://schemas.openxmlformats.org/officeDocument/2006/relationships/tags" Target="../tags/tag176.xml"/><Relationship Id="rId836" Type="http://schemas.openxmlformats.org/officeDocument/2006/relationships/tags" Target="../tags/tag842.xml"/><Relationship Id="rId268" Type="http://schemas.openxmlformats.org/officeDocument/2006/relationships/tags" Target="../tags/tag274.xml"/><Relationship Id="rId475" Type="http://schemas.openxmlformats.org/officeDocument/2006/relationships/tags" Target="../tags/tag481.xml"/><Relationship Id="rId682" Type="http://schemas.openxmlformats.org/officeDocument/2006/relationships/tags" Target="../tags/tag688.xml"/><Relationship Id="rId903" Type="http://schemas.openxmlformats.org/officeDocument/2006/relationships/tags" Target="../tags/tag909.xml"/><Relationship Id="rId32" Type="http://schemas.openxmlformats.org/officeDocument/2006/relationships/tags" Target="../tags/tag38.xml"/><Relationship Id="rId128" Type="http://schemas.openxmlformats.org/officeDocument/2006/relationships/tags" Target="../tags/tag134.xml"/><Relationship Id="rId335" Type="http://schemas.openxmlformats.org/officeDocument/2006/relationships/tags" Target="../tags/tag341.xml"/><Relationship Id="rId542" Type="http://schemas.openxmlformats.org/officeDocument/2006/relationships/tags" Target="../tags/tag548.xml"/><Relationship Id="rId181" Type="http://schemas.openxmlformats.org/officeDocument/2006/relationships/tags" Target="../tags/tag187.xml"/><Relationship Id="rId402" Type="http://schemas.openxmlformats.org/officeDocument/2006/relationships/tags" Target="../tags/tag408.xml"/><Relationship Id="rId847" Type="http://schemas.openxmlformats.org/officeDocument/2006/relationships/tags" Target="../tags/tag853.xml"/><Relationship Id="rId279" Type="http://schemas.openxmlformats.org/officeDocument/2006/relationships/tags" Target="../tags/tag285.xml"/><Relationship Id="rId486" Type="http://schemas.openxmlformats.org/officeDocument/2006/relationships/tags" Target="../tags/tag492.xml"/><Relationship Id="rId693" Type="http://schemas.openxmlformats.org/officeDocument/2006/relationships/tags" Target="../tags/tag699.xml"/><Relationship Id="rId707" Type="http://schemas.openxmlformats.org/officeDocument/2006/relationships/tags" Target="../tags/tag713.xml"/><Relationship Id="rId914" Type="http://schemas.openxmlformats.org/officeDocument/2006/relationships/tags" Target="../tags/tag920.xml"/><Relationship Id="rId43" Type="http://schemas.openxmlformats.org/officeDocument/2006/relationships/tags" Target="../tags/tag49.xml"/><Relationship Id="rId139" Type="http://schemas.openxmlformats.org/officeDocument/2006/relationships/tags" Target="../tags/tag145.xml"/><Relationship Id="rId346" Type="http://schemas.openxmlformats.org/officeDocument/2006/relationships/tags" Target="../tags/tag352.xml"/><Relationship Id="rId553" Type="http://schemas.openxmlformats.org/officeDocument/2006/relationships/tags" Target="../tags/tag559.xml"/><Relationship Id="rId760" Type="http://schemas.openxmlformats.org/officeDocument/2006/relationships/tags" Target="../tags/tag766.xml"/><Relationship Id="rId192" Type="http://schemas.openxmlformats.org/officeDocument/2006/relationships/tags" Target="../tags/tag198.xml"/><Relationship Id="rId206" Type="http://schemas.openxmlformats.org/officeDocument/2006/relationships/tags" Target="../tags/tag212.xml"/><Relationship Id="rId413" Type="http://schemas.openxmlformats.org/officeDocument/2006/relationships/tags" Target="../tags/tag419.xml"/><Relationship Id="rId858" Type="http://schemas.openxmlformats.org/officeDocument/2006/relationships/tags" Target="../tags/tag864.xml"/><Relationship Id="rId497" Type="http://schemas.openxmlformats.org/officeDocument/2006/relationships/tags" Target="../tags/tag503.xml"/><Relationship Id="rId620" Type="http://schemas.openxmlformats.org/officeDocument/2006/relationships/tags" Target="../tags/tag626.xml"/><Relationship Id="rId718" Type="http://schemas.openxmlformats.org/officeDocument/2006/relationships/tags" Target="../tags/tag724.xml"/><Relationship Id="rId925" Type="http://schemas.openxmlformats.org/officeDocument/2006/relationships/tags" Target="../tags/tag931.xml"/><Relationship Id="rId357" Type="http://schemas.openxmlformats.org/officeDocument/2006/relationships/tags" Target="../tags/tag363.xml"/><Relationship Id="rId54" Type="http://schemas.openxmlformats.org/officeDocument/2006/relationships/tags" Target="../tags/tag60.xml"/><Relationship Id="rId217" Type="http://schemas.openxmlformats.org/officeDocument/2006/relationships/tags" Target="../tags/tag223.xml"/><Relationship Id="rId564" Type="http://schemas.openxmlformats.org/officeDocument/2006/relationships/tags" Target="../tags/tag570.xml"/><Relationship Id="rId771" Type="http://schemas.openxmlformats.org/officeDocument/2006/relationships/tags" Target="../tags/tag777.xml"/><Relationship Id="rId869" Type="http://schemas.openxmlformats.org/officeDocument/2006/relationships/tags" Target="../tags/tag875.xml"/><Relationship Id="rId424" Type="http://schemas.openxmlformats.org/officeDocument/2006/relationships/tags" Target="../tags/tag430.xml"/><Relationship Id="rId631" Type="http://schemas.openxmlformats.org/officeDocument/2006/relationships/tags" Target="../tags/tag637.xml"/><Relationship Id="rId729" Type="http://schemas.openxmlformats.org/officeDocument/2006/relationships/tags" Target="../tags/tag735.xml"/><Relationship Id="rId270" Type="http://schemas.openxmlformats.org/officeDocument/2006/relationships/tags" Target="../tags/tag276.xml"/><Relationship Id="rId936" Type="http://schemas.openxmlformats.org/officeDocument/2006/relationships/tags" Target="../tags/tag942.xml"/><Relationship Id="rId65" Type="http://schemas.openxmlformats.org/officeDocument/2006/relationships/tags" Target="../tags/tag71.xml"/><Relationship Id="rId130" Type="http://schemas.openxmlformats.org/officeDocument/2006/relationships/tags" Target="../tags/tag136.xml"/><Relationship Id="rId368" Type="http://schemas.openxmlformats.org/officeDocument/2006/relationships/tags" Target="../tags/tag374.xml"/><Relationship Id="rId575" Type="http://schemas.openxmlformats.org/officeDocument/2006/relationships/tags" Target="../tags/tag581.xml"/><Relationship Id="rId782" Type="http://schemas.openxmlformats.org/officeDocument/2006/relationships/tags" Target="../tags/tag788.xml"/><Relationship Id="rId228" Type="http://schemas.openxmlformats.org/officeDocument/2006/relationships/tags" Target="../tags/tag234.xml"/><Relationship Id="rId435" Type="http://schemas.openxmlformats.org/officeDocument/2006/relationships/tags" Target="../tags/tag441.xml"/><Relationship Id="rId642" Type="http://schemas.openxmlformats.org/officeDocument/2006/relationships/tags" Target="../tags/tag648.xml"/><Relationship Id="rId281" Type="http://schemas.openxmlformats.org/officeDocument/2006/relationships/tags" Target="../tags/tag287.xml"/><Relationship Id="rId502" Type="http://schemas.openxmlformats.org/officeDocument/2006/relationships/tags" Target="../tags/tag508.xml"/><Relationship Id="rId947" Type="http://schemas.openxmlformats.org/officeDocument/2006/relationships/tags" Target="../tags/tag953.xml"/><Relationship Id="rId76" Type="http://schemas.openxmlformats.org/officeDocument/2006/relationships/tags" Target="../tags/tag82.xml"/><Relationship Id="rId141" Type="http://schemas.openxmlformats.org/officeDocument/2006/relationships/tags" Target="../tags/tag147.xml"/><Relationship Id="rId379" Type="http://schemas.openxmlformats.org/officeDocument/2006/relationships/tags" Target="../tags/tag385.xml"/><Relationship Id="rId586" Type="http://schemas.openxmlformats.org/officeDocument/2006/relationships/tags" Target="../tags/tag592.xml"/><Relationship Id="rId793" Type="http://schemas.openxmlformats.org/officeDocument/2006/relationships/tags" Target="../tags/tag799.xml"/><Relationship Id="rId807" Type="http://schemas.openxmlformats.org/officeDocument/2006/relationships/tags" Target="../tags/tag813.xml"/><Relationship Id="rId7" Type="http://schemas.openxmlformats.org/officeDocument/2006/relationships/tags" Target="../tags/tag13.xml"/><Relationship Id="rId239" Type="http://schemas.openxmlformats.org/officeDocument/2006/relationships/tags" Target="../tags/tag245.xml"/><Relationship Id="rId446" Type="http://schemas.openxmlformats.org/officeDocument/2006/relationships/tags" Target="../tags/tag452.xml"/><Relationship Id="rId653" Type="http://schemas.openxmlformats.org/officeDocument/2006/relationships/tags" Target="../tags/tag659.xml"/><Relationship Id="rId292" Type="http://schemas.openxmlformats.org/officeDocument/2006/relationships/tags" Target="../tags/tag298.xml"/><Relationship Id="rId306" Type="http://schemas.openxmlformats.org/officeDocument/2006/relationships/tags" Target="../tags/tag312.xml"/><Relationship Id="rId860" Type="http://schemas.openxmlformats.org/officeDocument/2006/relationships/tags" Target="../tags/tag866.xml"/><Relationship Id="rId958" Type="http://schemas.openxmlformats.org/officeDocument/2006/relationships/tags" Target="../tags/tag964.xml"/><Relationship Id="rId87" Type="http://schemas.openxmlformats.org/officeDocument/2006/relationships/tags" Target="../tags/tag93.xml"/><Relationship Id="rId513" Type="http://schemas.openxmlformats.org/officeDocument/2006/relationships/tags" Target="../tags/tag519.xml"/><Relationship Id="rId597" Type="http://schemas.openxmlformats.org/officeDocument/2006/relationships/tags" Target="../tags/tag603.xml"/><Relationship Id="rId720" Type="http://schemas.openxmlformats.org/officeDocument/2006/relationships/tags" Target="../tags/tag726.xml"/><Relationship Id="rId818" Type="http://schemas.openxmlformats.org/officeDocument/2006/relationships/tags" Target="../tags/tag824.xml"/><Relationship Id="rId152" Type="http://schemas.openxmlformats.org/officeDocument/2006/relationships/tags" Target="../tags/tag158.xml"/><Relationship Id="rId457" Type="http://schemas.openxmlformats.org/officeDocument/2006/relationships/tags" Target="../tags/tag463.xml"/><Relationship Id="rId664" Type="http://schemas.openxmlformats.org/officeDocument/2006/relationships/tags" Target="../tags/tag670.xml"/><Relationship Id="rId871" Type="http://schemas.openxmlformats.org/officeDocument/2006/relationships/tags" Target="../tags/tag877.xml"/><Relationship Id="rId969" Type="http://schemas.openxmlformats.org/officeDocument/2006/relationships/tags" Target="../tags/tag975.xml"/><Relationship Id="rId14" Type="http://schemas.openxmlformats.org/officeDocument/2006/relationships/tags" Target="../tags/tag20.xml"/><Relationship Id="rId317" Type="http://schemas.openxmlformats.org/officeDocument/2006/relationships/tags" Target="../tags/tag323.xml"/><Relationship Id="rId524" Type="http://schemas.openxmlformats.org/officeDocument/2006/relationships/tags" Target="../tags/tag530.xml"/><Relationship Id="rId731" Type="http://schemas.openxmlformats.org/officeDocument/2006/relationships/tags" Target="../tags/tag737.xml"/><Relationship Id="rId98" Type="http://schemas.openxmlformats.org/officeDocument/2006/relationships/tags" Target="../tags/tag104.xml"/><Relationship Id="rId163" Type="http://schemas.openxmlformats.org/officeDocument/2006/relationships/tags" Target="../tags/tag169.xml"/><Relationship Id="rId370" Type="http://schemas.openxmlformats.org/officeDocument/2006/relationships/tags" Target="../tags/tag376.xml"/><Relationship Id="rId829" Type="http://schemas.openxmlformats.org/officeDocument/2006/relationships/tags" Target="../tags/tag835.xml"/><Relationship Id="rId230" Type="http://schemas.openxmlformats.org/officeDocument/2006/relationships/tags" Target="../tags/tag236.xml"/><Relationship Id="rId468" Type="http://schemas.openxmlformats.org/officeDocument/2006/relationships/tags" Target="../tags/tag474.xml"/><Relationship Id="rId675" Type="http://schemas.openxmlformats.org/officeDocument/2006/relationships/tags" Target="../tags/tag681.xml"/><Relationship Id="rId882" Type="http://schemas.openxmlformats.org/officeDocument/2006/relationships/tags" Target="../tags/tag888.xml"/><Relationship Id="rId25" Type="http://schemas.openxmlformats.org/officeDocument/2006/relationships/tags" Target="../tags/tag31.xml"/><Relationship Id="rId328" Type="http://schemas.openxmlformats.org/officeDocument/2006/relationships/tags" Target="../tags/tag334.xml"/><Relationship Id="rId535" Type="http://schemas.openxmlformats.org/officeDocument/2006/relationships/tags" Target="../tags/tag541.xml"/><Relationship Id="rId742" Type="http://schemas.openxmlformats.org/officeDocument/2006/relationships/tags" Target="../tags/tag748.xml"/><Relationship Id="rId174" Type="http://schemas.openxmlformats.org/officeDocument/2006/relationships/tags" Target="../tags/tag180.xml"/><Relationship Id="rId381" Type="http://schemas.openxmlformats.org/officeDocument/2006/relationships/tags" Target="../tags/tag387.xml"/><Relationship Id="rId602" Type="http://schemas.openxmlformats.org/officeDocument/2006/relationships/tags" Target="../tags/tag608.xml"/><Relationship Id="rId241" Type="http://schemas.openxmlformats.org/officeDocument/2006/relationships/tags" Target="../tags/tag247.xml"/><Relationship Id="rId479" Type="http://schemas.openxmlformats.org/officeDocument/2006/relationships/tags" Target="../tags/tag485.xml"/><Relationship Id="rId686" Type="http://schemas.openxmlformats.org/officeDocument/2006/relationships/tags" Target="../tags/tag692.xml"/><Relationship Id="rId893" Type="http://schemas.openxmlformats.org/officeDocument/2006/relationships/tags" Target="../tags/tag899.xml"/><Relationship Id="rId907" Type="http://schemas.openxmlformats.org/officeDocument/2006/relationships/tags" Target="../tags/tag913.xml"/><Relationship Id="rId36" Type="http://schemas.openxmlformats.org/officeDocument/2006/relationships/tags" Target="../tags/tag42.xml"/><Relationship Id="rId339" Type="http://schemas.openxmlformats.org/officeDocument/2006/relationships/tags" Target="../tags/tag345.xml"/><Relationship Id="rId546" Type="http://schemas.openxmlformats.org/officeDocument/2006/relationships/tags" Target="../tags/tag552.xml"/><Relationship Id="rId753" Type="http://schemas.openxmlformats.org/officeDocument/2006/relationships/tags" Target="../tags/tag759.xml"/><Relationship Id="rId101" Type="http://schemas.openxmlformats.org/officeDocument/2006/relationships/tags" Target="../tags/tag107.xml"/><Relationship Id="rId185" Type="http://schemas.openxmlformats.org/officeDocument/2006/relationships/tags" Target="../tags/tag191.xml"/><Relationship Id="rId406" Type="http://schemas.openxmlformats.org/officeDocument/2006/relationships/tags" Target="../tags/tag412.xml"/><Relationship Id="rId960" Type="http://schemas.openxmlformats.org/officeDocument/2006/relationships/tags" Target="../tags/tag966.xml"/><Relationship Id="rId392" Type="http://schemas.openxmlformats.org/officeDocument/2006/relationships/tags" Target="../tags/tag398.xml"/><Relationship Id="rId613" Type="http://schemas.openxmlformats.org/officeDocument/2006/relationships/tags" Target="../tags/tag619.xml"/><Relationship Id="rId697" Type="http://schemas.openxmlformats.org/officeDocument/2006/relationships/tags" Target="../tags/tag703.xml"/><Relationship Id="rId820" Type="http://schemas.openxmlformats.org/officeDocument/2006/relationships/tags" Target="../tags/tag826.xml"/><Relationship Id="rId918" Type="http://schemas.openxmlformats.org/officeDocument/2006/relationships/tags" Target="../tags/tag924.xml"/><Relationship Id="rId252" Type="http://schemas.openxmlformats.org/officeDocument/2006/relationships/tags" Target="../tags/tag258.xml"/><Relationship Id="rId47" Type="http://schemas.openxmlformats.org/officeDocument/2006/relationships/tags" Target="../tags/tag53.xml"/><Relationship Id="rId112" Type="http://schemas.openxmlformats.org/officeDocument/2006/relationships/tags" Target="../tags/tag118.xml"/><Relationship Id="rId557" Type="http://schemas.openxmlformats.org/officeDocument/2006/relationships/tags" Target="../tags/tag563.xml"/><Relationship Id="rId764" Type="http://schemas.openxmlformats.org/officeDocument/2006/relationships/tags" Target="../tags/tag770.xml"/><Relationship Id="rId971" Type="http://schemas.openxmlformats.org/officeDocument/2006/relationships/tags" Target="../tags/tag977.xml"/><Relationship Id="rId196" Type="http://schemas.openxmlformats.org/officeDocument/2006/relationships/tags" Target="../tags/tag202.xml"/><Relationship Id="rId417" Type="http://schemas.openxmlformats.org/officeDocument/2006/relationships/tags" Target="../tags/tag423.xml"/><Relationship Id="rId624" Type="http://schemas.openxmlformats.org/officeDocument/2006/relationships/tags" Target="../tags/tag630.xml"/><Relationship Id="rId831" Type="http://schemas.openxmlformats.org/officeDocument/2006/relationships/tags" Target="../tags/tag837.xml"/><Relationship Id="rId16" Type="http://schemas.openxmlformats.org/officeDocument/2006/relationships/tags" Target="../tags/tag22.xml"/><Relationship Id="rId221" Type="http://schemas.openxmlformats.org/officeDocument/2006/relationships/tags" Target="../tags/tag227.xml"/><Relationship Id="rId263" Type="http://schemas.openxmlformats.org/officeDocument/2006/relationships/tags" Target="../tags/tag269.xml"/><Relationship Id="rId319" Type="http://schemas.openxmlformats.org/officeDocument/2006/relationships/tags" Target="../tags/tag325.xml"/><Relationship Id="rId470" Type="http://schemas.openxmlformats.org/officeDocument/2006/relationships/tags" Target="../tags/tag476.xml"/><Relationship Id="rId526" Type="http://schemas.openxmlformats.org/officeDocument/2006/relationships/tags" Target="../tags/tag532.xml"/><Relationship Id="rId929" Type="http://schemas.openxmlformats.org/officeDocument/2006/relationships/tags" Target="../tags/tag935.xml"/><Relationship Id="rId58" Type="http://schemas.openxmlformats.org/officeDocument/2006/relationships/tags" Target="../tags/tag64.xml"/><Relationship Id="rId123" Type="http://schemas.openxmlformats.org/officeDocument/2006/relationships/tags" Target="../tags/tag129.xml"/><Relationship Id="rId330" Type="http://schemas.openxmlformats.org/officeDocument/2006/relationships/tags" Target="../tags/tag336.xml"/><Relationship Id="rId568" Type="http://schemas.openxmlformats.org/officeDocument/2006/relationships/tags" Target="../tags/tag574.xml"/><Relationship Id="rId733" Type="http://schemas.openxmlformats.org/officeDocument/2006/relationships/tags" Target="../tags/tag739.xml"/><Relationship Id="rId775" Type="http://schemas.openxmlformats.org/officeDocument/2006/relationships/tags" Target="../tags/tag781.xml"/><Relationship Id="rId940" Type="http://schemas.openxmlformats.org/officeDocument/2006/relationships/tags" Target="../tags/tag946.xml"/><Relationship Id="rId165" Type="http://schemas.openxmlformats.org/officeDocument/2006/relationships/tags" Target="../tags/tag171.xml"/><Relationship Id="rId372" Type="http://schemas.openxmlformats.org/officeDocument/2006/relationships/tags" Target="../tags/tag378.xml"/><Relationship Id="rId428" Type="http://schemas.openxmlformats.org/officeDocument/2006/relationships/tags" Target="../tags/tag434.xml"/><Relationship Id="rId635" Type="http://schemas.openxmlformats.org/officeDocument/2006/relationships/tags" Target="../tags/tag641.xml"/><Relationship Id="rId677" Type="http://schemas.openxmlformats.org/officeDocument/2006/relationships/tags" Target="../tags/tag683.xml"/><Relationship Id="rId800" Type="http://schemas.openxmlformats.org/officeDocument/2006/relationships/tags" Target="../tags/tag806.xml"/><Relationship Id="rId842" Type="http://schemas.openxmlformats.org/officeDocument/2006/relationships/tags" Target="../tags/tag848.xml"/><Relationship Id="rId232" Type="http://schemas.openxmlformats.org/officeDocument/2006/relationships/tags" Target="../tags/tag238.xml"/><Relationship Id="rId274" Type="http://schemas.openxmlformats.org/officeDocument/2006/relationships/tags" Target="../tags/tag280.xml"/><Relationship Id="rId481" Type="http://schemas.openxmlformats.org/officeDocument/2006/relationships/tags" Target="../tags/tag487.xml"/><Relationship Id="rId702" Type="http://schemas.openxmlformats.org/officeDocument/2006/relationships/tags" Target="../tags/tag708.xml"/><Relationship Id="rId884" Type="http://schemas.openxmlformats.org/officeDocument/2006/relationships/tags" Target="../tags/tag890.xml"/><Relationship Id="rId27" Type="http://schemas.openxmlformats.org/officeDocument/2006/relationships/tags" Target="../tags/tag33.xml"/><Relationship Id="rId69" Type="http://schemas.openxmlformats.org/officeDocument/2006/relationships/tags" Target="../tags/tag75.xml"/><Relationship Id="rId134" Type="http://schemas.openxmlformats.org/officeDocument/2006/relationships/tags" Target="../tags/tag140.xml"/><Relationship Id="rId537" Type="http://schemas.openxmlformats.org/officeDocument/2006/relationships/tags" Target="../tags/tag543.xml"/><Relationship Id="rId579" Type="http://schemas.openxmlformats.org/officeDocument/2006/relationships/tags" Target="../tags/tag585.xml"/><Relationship Id="rId744" Type="http://schemas.openxmlformats.org/officeDocument/2006/relationships/tags" Target="../tags/tag750.xml"/><Relationship Id="rId786" Type="http://schemas.openxmlformats.org/officeDocument/2006/relationships/tags" Target="../tags/tag792.xml"/><Relationship Id="rId951" Type="http://schemas.openxmlformats.org/officeDocument/2006/relationships/tags" Target="../tags/tag957.xml"/><Relationship Id="rId80" Type="http://schemas.openxmlformats.org/officeDocument/2006/relationships/tags" Target="../tags/tag86.xml"/><Relationship Id="rId176" Type="http://schemas.openxmlformats.org/officeDocument/2006/relationships/tags" Target="../tags/tag182.xml"/><Relationship Id="rId341" Type="http://schemas.openxmlformats.org/officeDocument/2006/relationships/tags" Target="../tags/tag347.xml"/><Relationship Id="rId383" Type="http://schemas.openxmlformats.org/officeDocument/2006/relationships/tags" Target="../tags/tag389.xml"/><Relationship Id="rId439" Type="http://schemas.openxmlformats.org/officeDocument/2006/relationships/tags" Target="../tags/tag445.xml"/><Relationship Id="rId590" Type="http://schemas.openxmlformats.org/officeDocument/2006/relationships/tags" Target="../tags/tag596.xml"/><Relationship Id="rId604" Type="http://schemas.openxmlformats.org/officeDocument/2006/relationships/tags" Target="../tags/tag610.xml"/><Relationship Id="rId646" Type="http://schemas.openxmlformats.org/officeDocument/2006/relationships/tags" Target="../tags/tag652.xml"/><Relationship Id="rId811" Type="http://schemas.openxmlformats.org/officeDocument/2006/relationships/tags" Target="../tags/tag817.xml"/><Relationship Id="rId201" Type="http://schemas.openxmlformats.org/officeDocument/2006/relationships/tags" Target="../tags/tag207.xml"/><Relationship Id="rId243" Type="http://schemas.openxmlformats.org/officeDocument/2006/relationships/tags" Target="../tags/tag249.xml"/><Relationship Id="rId285" Type="http://schemas.openxmlformats.org/officeDocument/2006/relationships/tags" Target="../tags/tag291.xml"/><Relationship Id="rId450" Type="http://schemas.openxmlformats.org/officeDocument/2006/relationships/tags" Target="../tags/tag456.xml"/><Relationship Id="rId506" Type="http://schemas.openxmlformats.org/officeDocument/2006/relationships/tags" Target="../tags/tag512.xml"/><Relationship Id="rId688" Type="http://schemas.openxmlformats.org/officeDocument/2006/relationships/tags" Target="../tags/tag694.xml"/><Relationship Id="rId853" Type="http://schemas.openxmlformats.org/officeDocument/2006/relationships/tags" Target="../tags/tag859.xml"/><Relationship Id="rId895" Type="http://schemas.openxmlformats.org/officeDocument/2006/relationships/tags" Target="../tags/tag901.xml"/><Relationship Id="rId909" Type="http://schemas.openxmlformats.org/officeDocument/2006/relationships/tags" Target="../tags/tag915.xml"/><Relationship Id="rId38" Type="http://schemas.openxmlformats.org/officeDocument/2006/relationships/tags" Target="../tags/tag44.xml"/><Relationship Id="rId103" Type="http://schemas.openxmlformats.org/officeDocument/2006/relationships/tags" Target="../tags/tag109.xml"/><Relationship Id="rId310" Type="http://schemas.openxmlformats.org/officeDocument/2006/relationships/tags" Target="../tags/tag316.xml"/><Relationship Id="rId492" Type="http://schemas.openxmlformats.org/officeDocument/2006/relationships/tags" Target="../tags/tag498.xml"/><Relationship Id="rId548" Type="http://schemas.openxmlformats.org/officeDocument/2006/relationships/tags" Target="../tags/tag554.xml"/><Relationship Id="rId713" Type="http://schemas.openxmlformats.org/officeDocument/2006/relationships/tags" Target="../tags/tag719.xml"/><Relationship Id="rId755" Type="http://schemas.openxmlformats.org/officeDocument/2006/relationships/tags" Target="../tags/tag761.xml"/><Relationship Id="rId797" Type="http://schemas.openxmlformats.org/officeDocument/2006/relationships/tags" Target="../tags/tag803.xml"/><Relationship Id="rId920" Type="http://schemas.openxmlformats.org/officeDocument/2006/relationships/tags" Target="../tags/tag926.xml"/><Relationship Id="rId962" Type="http://schemas.openxmlformats.org/officeDocument/2006/relationships/tags" Target="../tags/tag968.xml"/><Relationship Id="rId91" Type="http://schemas.openxmlformats.org/officeDocument/2006/relationships/tags" Target="../tags/tag97.xml"/><Relationship Id="rId145" Type="http://schemas.openxmlformats.org/officeDocument/2006/relationships/tags" Target="../tags/tag151.xml"/><Relationship Id="rId187" Type="http://schemas.openxmlformats.org/officeDocument/2006/relationships/tags" Target="../tags/tag193.xml"/><Relationship Id="rId352" Type="http://schemas.openxmlformats.org/officeDocument/2006/relationships/tags" Target="../tags/tag358.xml"/><Relationship Id="rId394" Type="http://schemas.openxmlformats.org/officeDocument/2006/relationships/tags" Target="../tags/tag400.xml"/><Relationship Id="rId408" Type="http://schemas.openxmlformats.org/officeDocument/2006/relationships/tags" Target="../tags/tag414.xml"/><Relationship Id="rId615" Type="http://schemas.openxmlformats.org/officeDocument/2006/relationships/tags" Target="../tags/tag621.xml"/><Relationship Id="rId822" Type="http://schemas.openxmlformats.org/officeDocument/2006/relationships/tags" Target="../tags/tag828.xml"/><Relationship Id="rId212" Type="http://schemas.openxmlformats.org/officeDocument/2006/relationships/tags" Target="../tags/tag218.xml"/><Relationship Id="rId254" Type="http://schemas.openxmlformats.org/officeDocument/2006/relationships/tags" Target="../tags/tag260.xml"/><Relationship Id="rId657" Type="http://schemas.openxmlformats.org/officeDocument/2006/relationships/tags" Target="../tags/tag663.xml"/><Relationship Id="rId699" Type="http://schemas.openxmlformats.org/officeDocument/2006/relationships/tags" Target="../tags/tag705.xml"/><Relationship Id="rId864" Type="http://schemas.openxmlformats.org/officeDocument/2006/relationships/tags" Target="../tags/tag870.xml"/><Relationship Id="rId49" Type="http://schemas.openxmlformats.org/officeDocument/2006/relationships/tags" Target="../tags/tag55.xml"/><Relationship Id="rId114" Type="http://schemas.openxmlformats.org/officeDocument/2006/relationships/tags" Target="../tags/tag120.xml"/><Relationship Id="rId296" Type="http://schemas.openxmlformats.org/officeDocument/2006/relationships/tags" Target="../tags/tag302.xml"/><Relationship Id="rId461" Type="http://schemas.openxmlformats.org/officeDocument/2006/relationships/tags" Target="../tags/tag467.xml"/><Relationship Id="rId517" Type="http://schemas.openxmlformats.org/officeDocument/2006/relationships/tags" Target="../tags/tag523.xml"/><Relationship Id="rId559" Type="http://schemas.openxmlformats.org/officeDocument/2006/relationships/tags" Target="../tags/tag565.xml"/><Relationship Id="rId724" Type="http://schemas.openxmlformats.org/officeDocument/2006/relationships/tags" Target="../tags/tag730.xml"/><Relationship Id="rId766" Type="http://schemas.openxmlformats.org/officeDocument/2006/relationships/tags" Target="../tags/tag772.xml"/><Relationship Id="rId931" Type="http://schemas.openxmlformats.org/officeDocument/2006/relationships/tags" Target="../tags/tag937.xml"/><Relationship Id="rId60" Type="http://schemas.openxmlformats.org/officeDocument/2006/relationships/tags" Target="../tags/tag66.xml"/><Relationship Id="rId156" Type="http://schemas.openxmlformats.org/officeDocument/2006/relationships/tags" Target="../tags/tag162.xml"/><Relationship Id="rId198" Type="http://schemas.openxmlformats.org/officeDocument/2006/relationships/tags" Target="../tags/tag204.xml"/><Relationship Id="rId321" Type="http://schemas.openxmlformats.org/officeDocument/2006/relationships/tags" Target="../tags/tag327.xml"/><Relationship Id="rId363" Type="http://schemas.openxmlformats.org/officeDocument/2006/relationships/tags" Target="../tags/tag369.xml"/><Relationship Id="rId419" Type="http://schemas.openxmlformats.org/officeDocument/2006/relationships/tags" Target="../tags/tag425.xml"/><Relationship Id="rId570" Type="http://schemas.openxmlformats.org/officeDocument/2006/relationships/tags" Target="../tags/tag576.xml"/><Relationship Id="rId626" Type="http://schemas.openxmlformats.org/officeDocument/2006/relationships/tags" Target="../tags/tag632.xml"/><Relationship Id="rId973" Type="http://schemas.openxmlformats.org/officeDocument/2006/relationships/tags" Target="../tags/tag979.xml"/><Relationship Id="rId223" Type="http://schemas.openxmlformats.org/officeDocument/2006/relationships/tags" Target="../tags/tag229.xml"/><Relationship Id="rId430" Type="http://schemas.openxmlformats.org/officeDocument/2006/relationships/tags" Target="../tags/tag436.xml"/><Relationship Id="rId668" Type="http://schemas.openxmlformats.org/officeDocument/2006/relationships/tags" Target="../tags/tag674.xml"/><Relationship Id="rId833" Type="http://schemas.openxmlformats.org/officeDocument/2006/relationships/tags" Target="../tags/tag839.xml"/><Relationship Id="rId875" Type="http://schemas.openxmlformats.org/officeDocument/2006/relationships/tags" Target="../tags/tag881.xml"/><Relationship Id="rId18" Type="http://schemas.openxmlformats.org/officeDocument/2006/relationships/tags" Target="../tags/tag24.xml"/><Relationship Id="rId265" Type="http://schemas.openxmlformats.org/officeDocument/2006/relationships/tags" Target="../tags/tag271.xml"/><Relationship Id="rId472" Type="http://schemas.openxmlformats.org/officeDocument/2006/relationships/tags" Target="../tags/tag478.xml"/><Relationship Id="rId528" Type="http://schemas.openxmlformats.org/officeDocument/2006/relationships/tags" Target="../tags/tag534.xml"/><Relationship Id="rId735" Type="http://schemas.openxmlformats.org/officeDocument/2006/relationships/tags" Target="../tags/tag741.xml"/><Relationship Id="rId900" Type="http://schemas.openxmlformats.org/officeDocument/2006/relationships/tags" Target="../tags/tag906.xml"/><Relationship Id="rId942" Type="http://schemas.openxmlformats.org/officeDocument/2006/relationships/tags" Target="../tags/tag948.xml"/><Relationship Id="rId125" Type="http://schemas.openxmlformats.org/officeDocument/2006/relationships/tags" Target="../tags/tag131.xml"/><Relationship Id="rId167" Type="http://schemas.openxmlformats.org/officeDocument/2006/relationships/tags" Target="../tags/tag173.xml"/><Relationship Id="rId332" Type="http://schemas.openxmlformats.org/officeDocument/2006/relationships/tags" Target="../tags/tag338.xml"/><Relationship Id="rId374" Type="http://schemas.openxmlformats.org/officeDocument/2006/relationships/tags" Target="../tags/tag380.xml"/><Relationship Id="rId581" Type="http://schemas.openxmlformats.org/officeDocument/2006/relationships/tags" Target="../tags/tag587.xml"/><Relationship Id="rId777" Type="http://schemas.openxmlformats.org/officeDocument/2006/relationships/tags" Target="../tags/tag783.xml"/><Relationship Id="rId71" Type="http://schemas.openxmlformats.org/officeDocument/2006/relationships/tags" Target="../tags/tag77.xml"/><Relationship Id="rId234" Type="http://schemas.openxmlformats.org/officeDocument/2006/relationships/tags" Target="../tags/tag240.xml"/><Relationship Id="rId637" Type="http://schemas.openxmlformats.org/officeDocument/2006/relationships/tags" Target="../tags/tag643.xml"/><Relationship Id="rId679" Type="http://schemas.openxmlformats.org/officeDocument/2006/relationships/tags" Target="../tags/tag685.xml"/><Relationship Id="rId802" Type="http://schemas.openxmlformats.org/officeDocument/2006/relationships/tags" Target="../tags/tag808.xml"/><Relationship Id="rId844" Type="http://schemas.openxmlformats.org/officeDocument/2006/relationships/tags" Target="../tags/tag850.xml"/><Relationship Id="rId886" Type="http://schemas.openxmlformats.org/officeDocument/2006/relationships/tags" Target="../tags/tag892.xml"/><Relationship Id="rId2" Type="http://schemas.openxmlformats.org/officeDocument/2006/relationships/tags" Target="../tags/tag8.xml"/><Relationship Id="rId29" Type="http://schemas.openxmlformats.org/officeDocument/2006/relationships/tags" Target="../tags/tag35.xml"/><Relationship Id="rId276" Type="http://schemas.openxmlformats.org/officeDocument/2006/relationships/tags" Target="../tags/tag282.xml"/><Relationship Id="rId441" Type="http://schemas.openxmlformats.org/officeDocument/2006/relationships/tags" Target="../tags/tag447.xml"/><Relationship Id="rId483" Type="http://schemas.openxmlformats.org/officeDocument/2006/relationships/tags" Target="../tags/tag489.xml"/><Relationship Id="rId539" Type="http://schemas.openxmlformats.org/officeDocument/2006/relationships/tags" Target="../tags/tag545.xml"/><Relationship Id="rId690" Type="http://schemas.openxmlformats.org/officeDocument/2006/relationships/tags" Target="../tags/tag696.xml"/><Relationship Id="rId704" Type="http://schemas.openxmlformats.org/officeDocument/2006/relationships/tags" Target="../tags/tag710.xml"/><Relationship Id="rId746" Type="http://schemas.openxmlformats.org/officeDocument/2006/relationships/tags" Target="../tags/tag752.xml"/><Relationship Id="rId911" Type="http://schemas.openxmlformats.org/officeDocument/2006/relationships/tags" Target="../tags/tag917.xml"/><Relationship Id="rId40" Type="http://schemas.openxmlformats.org/officeDocument/2006/relationships/tags" Target="../tags/tag46.xml"/><Relationship Id="rId136" Type="http://schemas.openxmlformats.org/officeDocument/2006/relationships/tags" Target="../tags/tag142.xml"/><Relationship Id="rId178" Type="http://schemas.openxmlformats.org/officeDocument/2006/relationships/tags" Target="../tags/tag184.xml"/><Relationship Id="rId301" Type="http://schemas.openxmlformats.org/officeDocument/2006/relationships/tags" Target="../tags/tag307.xml"/><Relationship Id="rId343" Type="http://schemas.openxmlformats.org/officeDocument/2006/relationships/tags" Target="../tags/tag349.xml"/><Relationship Id="rId550" Type="http://schemas.openxmlformats.org/officeDocument/2006/relationships/tags" Target="../tags/tag556.xml"/><Relationship Id="rId788" Type="http://schemas.openxmlformats.org/officeDocument/2006/relationships/tags" Target="../tags/tag794.xml"/><Relationship Id="rId953" Type="http://schemas.openxmlformats.org/officeDocument/2006/relationships/tags" Target="../tags/tag959.xml"/><Relationship Id="rId82" Type="http://schemas.openxmlformats.org/officeDocument/2006/relationships/tags" Target="../tags/tag88.xml"/><Relationship Id="rId203" Type="http://schemas.openxmlformats.org/officeDocument/2006/relationships/tags" Target="../tags/tag209.xml"/><Relationship Id="rId385" Type="http://schemas.openxmlformats.org/officeDocument/2006/relationships/tags" Target="../tags/tag391.xml"/><Relationship Id="rId592" Type="http://schemas.openxmlformats.org/officeDocument/2006/relationships/tags" Target="../tags/tag598.xml"/><Relationship Id="rId606" Type="http://schemas.openxmlformats.org/officeDocument/2006/relationships/tags" Target="../tags/tag612.xml"/><Relationship Id="rId648" Type="http://schemas.openxmlformats.org/officeDocument/2006/relationships/tags" Target="../tags/tag654.xml"/><Relationship Id="rId813" Type="http://schemas.openxmlformats.org/officeDocument/2006/relationships/tags" Target="../tags/tag819.xml"/><Relationship Id="rId855" Type="http://schemas.openxmlformats.org/officeDocument/2006/relationships/tags" Target="../tags/tag861.xml"/><Relationship Id="rId245" Type="http://schemas.openxmlformats.org/officeDocument/2006/relationships/tags" Target="../tags/tag251.xml"/><Relationship Id="rId287" Type="http://schemas.openxmlformats.org/officeDocument/2006/relationships/tags" Target="../tags/tag293.xml"/><Relationship Id="rId410" Type="http://schemas.openxmlformats.org/officeDocument/2006/relationships/tags" Target="../tags/tag416.xml"/><Relationship Id="rId452" Type="http://schemas.openxmlformats.org/officeDocument/2006/relationships/tags" Target="../tags/tag458.xml"/><Relationship Id="rId494" Type="http://schemas.openxmlformats.org/officeDocument/2006/relationships/tags" Target="../tags/tag500.xml"/><Relationship Id="rId508" Type="http://schemas.openxmlformats.org/officeDocument/2006/relationships/tags" Target="../tags/tag514.xml"/><Relationship Id="rId715" Type="http://schemas.openxmlformats.org/officeDocument/2006/relationships/tags" Target="../tags/tag721.xml"/><Relationship Id="rId897" Type="http://schemas.openxmlformats.org/officeDocument/2006/relationships/tags" Target="../tags/tag903.xml"/><Relationship Id="rId922" Type="http://schemas.openxmlformats.org/officeDocument/2006/relationships/tags" Target="../tags/tag928.xml"/><Relationship Id="rId105" Type="http://schemas.openxmlformats.org/officeDocument/2006/relationships/tags" Target="../tags/tag111.xml"/><Relationship Id="rId147" Type="http://schemas.openxmlformats.org/officeDocument/2006/relationships/tags" Target="../tags/tag153.xml"/><Relationship Id="rId312" Type="http://schemas.openxmlformats.org/officeDocument/2006/relationships/tags" Target="../tags/tag318.xml"/><Relationship Id="rId354" Type="http://schemas.openxmlformats.org/officeDocument/2006/relationships/tags" Target="../tags/tag360.xml"/><Relationship Id="rId757" Type="http://schemas.openxmlformats.org/officeDocument/2006/relationships/tags" Target="../tags/tag763.xml"/><Relationship Id="rId799" Type="http://schemas.openxmlformats.org/officeDocument/2006/relationships/tags" Target="../tags/tag805.xml"/><Relationship Id="rId964" Type="http://schemas.openxmlformats.org/officeDocument/2006/relationships/tags" Target="../tags/tag970.xml"/><Relationship Id="rId51" Type="http://schemas.openxmlformats.org/officeDocument/2006/relationships/tags" Target="../tags/tag57.xml"/><Relationship Id="rId93" Type="http://schemas.openxmlformats.org/officeDocument/2006/relationships/tags" Target="../tags/tag99.xml"/><Relationship Id="rId189" Type="http://schemas.openxmlformats.org/officeDocument/2006/relationships/tags" Target="../tags/tag195.xml"/><Relationship Id="rId396" Type="http://schemas.openxmlformats.org/officeDocument/2006/relationships/tags" Target="../tags/tag402.xml"/><Relationship Id="rId561" Type="http://schemas.openxmlformats.org/officeDocument/2006/relationships/tags" Target="../tags/tag567.xml"/><Relationship Id="rId617" Type="http://schemas.openxmlformats.org/officeDocument/2006/relationships/tags" Target="../tags/tag623.xml"/><Relationship Id="rId659" Type="http://schemas.openxmlformats.org/officeDocument/2006/relationships/tags" Target="../tags/tag665.xml"/><Relationship Id="rId824" Type="http://schemas.openxmlformats.org/officeDocument/2006/relationships/tags" Target="../tags/tag830.xml"/><Relationship Id="rId866" Type="http://schemas.openxmlformats.org/officeDocument/2006/relationships/tags" Target="../tags/tag872.xml"/><Relationship Id="rId214" Type="http://schemas.openxmlformats.org/officeDocument/2006/relationships/tags" Target="../tags/tag220.xml"/><Relationship Id="rId256" Type="http://schemas.openxmlformats.org/officeDocument/2006/relationships/tags" Target="../tags/tag262.xml"/><Relationship Id="rId298" Type="http://schemas.openxmlformats.org/officeDocument/2006/relationships/tags" Target="../tags/tag304.xml"/><Relationship Id="rId421" Type="http://schemas.openxmlformats.org/officeDocument/2006/relationships/tags" Target="../tags/tag427.xml"/><Relationship Id="rId463" Type="http://schemas.openxmlformats.org/officeDocument/2006/relationships/tags" Target="../tags/tag469.xml"/><Relationship Id="rId519" Type="http://schemas.openxmlformats.org/officeDocument/2006/relationships/tags" Target="../tags/tag525.xml"/><Relationship Id="rId670" Type="http://schemas.openxmlformats.org/officeDocument/2006/relationships/tags" Target="../tags/tag676.xml"/><Relationship Id="rId116" Type="http://schemas.openxmlformats.org/officeDocument/2006/relationships/tags" Target="../tags/tag122.xml"/><Relationship Id="rId158" Type="http://schemas.openxmlformats.org/officeDocument/2006/relationships/tags" Target="../tags/tag164.xml"/><Relationship Id="rId323" Type="http://schemas.openxmlformats.org/officeDocument/2006/relationships/tags" Target="../tags/tag329.xml"/><Relationship Id="rId530" Type="http://schemas.openxmlformats.org/officeDocument/2006/relationships/tags" Target="../tags/tag536.xml"/><Relationship Id="rId726" Type="http://schemas.openxmlformats.org/officeDocument/2006/relationships/tags" Target="../tags/tag732.xml"/><Relationship Id="rId768" Type="http://schemas.openxmlformats.org/officeDocument/2006/relationships/tags" Target="../tags/tag774.xml"/><Relationship Id="rId933" Type="http://schemas.openxmlformats.org/officeDocument/2006/relationships/tags" Target="../tags/tag939.xml"/><Relationship Id="rId975" Type="http://schemas.openxmlformats.org/officeDocument/2006/relationships/notesSlide" Target="../notesSlides/notesSlide3.xml"/><Relationship Id="rId20" Type="http://schemas.openxmlformats.org/officeDocument/2006/relationships/tags" Target="../tags/tag26.xml"/><Relationship Id="rId62" Type="http://schemas.openxmlformats.org/officeDocument/2006/relationships/tags" Target="../tags/tag68.xml"/><Relationship Id="rId365" Type="http://schemas.openxmlformats.org/officeDocument/2006/relationships/tags" Target="../tags/tag371.xml"/><Relationship Id="rId572" Type="http://schemas.openxmlformats.org/officeDocument/2006/relationships/tags" Target="../tags/tag578.xml"/><Relationship Id="rId628" Type="http://schemas.openxmlformats.org/officeDocument/2006/relationships/tags" Target="../tags/tag634.xml"/><Relationship Id="rId835" Type="http://schemas.openxmlformats.org/officeDocument/2006/relationships/tags" Target="../tags/tag841.xml"/><Relationship Id="rId225" Type="http://schemas.openxmlformats.org/officeDocument/2006/relationships/tags" Target="../tags/tag231.xml"/><Relationship Id="rId267" Type="http://schemas.openxmlformats.org/officeDocument/2006/relationships/tags" Target="../tags/tag273.xml"/><Relationship Id="rId432" Type="http://schemas.openxmlformats.org/officeDocument/2006/relationships/tags" Target="../tags/tag438.xml"/><Relationship Id="rId474" Type="http://schemas.openxmlformats.org/officeDocument/2006/relationships/tags" Target="../tags/tag480.xml"/><Relationship Id="rId877" Type="http://schemas.openxmlformats.org/officeDocument/2006/relationships/tags" Target="../tags/tag883.xml"/><Relationship Id="rId127" Type="http://schemas.openxmlformats.org/officeDocument/2006/relationships/tags" Target="../tags/tag133.xml"/><Relationship Id="rId681" Type="http://schemas.openxmlformats.org/officeDocument/2006/relationships/tags" Target="../tags/tag687.xml"/><Relationship Id="rId737" Type="http://schemas.openxmlformats.org/officeDocument/2006/relationships/tags" Target="../tags/tag743.xml"/><Relationship Id="rId779" Type="http://schemas.openxmlformats.org/officeDocument/2006/relationships/tags" Target="../tags/tag785.xml"/><Relationship Id="rId902" Type="http://schemas.openxmlformats.org/officeDocument/2006/relationships/tags" Target="../tags/tag908.xml"/><Relationship Id="rId944" Type="http://schemas.openxmlformats.org/officeDocument/2006/relationships/tags" Target="../tags/tag950.xml"/><Relationship Id="rId31" Type="http://schemas.openxmlformats.org/officeDocument/2006/relationships/tags" Target="../tags/tag37.xml"/><Relationship Id="rId73" Type="http://schemas.openxmlformats.org/officeDocument/2006/relationships/tags" Target="../tags/tag79.xml"/><Relationship Id="rId169" Type="http://schemas.openxmlformats.org/officeDocument/2006/relationships/tags" Target="../tags/tag175.xml"/><Relationship Id="rId334" Type="http://schemas.openxmlformats.org/officeDocument/2006/relationships/tags" Target="../tags/tag340.xml"/><Relationship Id="rId376" Type="http://schemas.openxmlformats.org/officeDocument/2006/relationships/tags" Target="../tags/tag382.xml"/><Relationship Id="rId541" Type="http://schemas.openxmlformats.org/officeDocument/2006/relationships/tags" Target="../tags/tag547.xml"/><Relationship Id="rId583" Type="http://schemas.openxmlformats.org/officeDocument/2006/relationships/tags" Target="../tags/tag589.xml"/><Relationship Id="rId639" Type="http://schemas.openxmlformats.org/officeDocument/2006/relationships/tags" Target="../tags/tag645.xml"/><Relationship Id="rId790" Type="http://schemas.openxmlformats.org/officeDocument/2006/relationships/tags" Target="../tags/tag796.xml"/><Relationship Id="rId804" Type="http://schemas.openxmlformats.org/officeDocument/2006/relationships/tags" Target="../tags/tag810.xml"/><Relationship Id="rId4" Type="http://schemas.openxmlformats.org/officeDocument/2006/relationships/tags" Target="../tags/tag10.xml"/><Relationship Id="rId180" Type="http://schemas.openxmlformats.org/officeDocument/2006/relationships/tags" Target="../tags/tag186.xml"/><Relationship Id="rId236" Type="http://schemas.openxmlformats.org/officeDocument/2006/relationships/tags" Target="../tags/tag242.xml"/><Relationship Id="rId278" Type="http://schemas.openxmlformats.org/officeDocument/2006/relationships/tags" Target="../tags/tag284.xml"/><Relationship Id="rId401" Type="http://schemas.openxmlformats.org/officeDocument/2006/relationships/tags" Target="../tags/tag407.xml"/><Relationship Id="rId443" Type="http://schemas.openxmlformats.org/officeDocument/2006/relationships/tags" Target="../tags/tag449.xml"/><Relationship Id="rId650" Type="http://schemas.openxmlformats.org/officeDocument/2006/relationships/tags" Target="../tags/tag656.xml"/><Relationship Id="rId846" Type="http://schemas.openxmlformats.org/officeDocument/2006/relationships/tags" Target="../tags/tag852.xml"/><Relationship Id="rId888" Type="http://schemas.openxmlformats.org/officeDocument/2006/relationships/tags" Target="../tags/tag894.xml"/><Relationship Id="rId303" Type="http://schemas.openxmlformats.org/officeDocument/2006/relationships/tags" Target="../tags/tag309.xml"/><Relationship Id="rId485" Type="http://schemas.openxmlformats.org/officeDocument/2006/relationships/tags" Target="../tags/tag491.xml"/><Relationship Id="rId692" Type="http://schemas.openxmlformats.org/officeDocument/2006/relationships/tags" Target="../tags/tag698.xml"/><Relationship Id="rId706" Type="http://schemas.openxmlformats.org/officeDocument/2006/relationships/tags" Target="../tags/tag712.xml"/><Relationship Id="rId748" Type="http://schemas.openxmlformats.org/officeDocument/2006/relationships/tags" Target="../tags/tag754.xml"/><Relationship Id="rId913" Type="http://schemas.openxmlformats.org/officeDocument/2006/relationships/tags" Target="../tags/tag919.xml"/><Relationship Id="rId955" Type="http://schemas.openxmlformats.org/officeDocument/2006/relationships/tags" Target="../tags/tag961.xml"/><Relationship Id="rId42" Type="http://schemas.openxmlformats.org/officeDocument/2006/relationships/tags" Target="../tags/tag48.xml"/><Relationship Id="rId84" Type="http://schemas.openxmlformats.org/officeDocument/2006/relationships/tags" Target="../tags/tag90.xml"/><Relationship Id="rId138" Type="http://schemas.openxmlformats.org/officeDocument/2006/relationships/tags" Target="../tags/tag144.xml"/><Relationship Id="rId345" Type="http://schemas.openxmlformats.org/officeDocument/2006/relationships/tags" Target="../tags/tag351.xml"/><Relationship Id="rId387" Type="http://schemas.openxmlformats.org/officeDocument/2006/relationships/tags" Target="../tags/tag393.xml"/><Relationship Id="rId510" Type="http://schemas.openxmlformats.org/officeDocument/2006/relationships/tags" Target="../tags/tag516.xml"/><Relationship Id="rId552" Type="http://schemas.openxmlformats.org/officeDocument/2006/relationships/tags" Target="../tags/tag558.xml"/><Relationship Id="rId594" Type="http://schemas.openxmlformats.org/officeDocument/2006/relationships/tags" Target="../tags/tag600.xml"/><Relationship Id="rId608" Type="http://schemas.openxmlformats.org/officeDocument/2006/relationships/tags" Target="../tags/tag614.xml"/><Relationship Id="rId815" Type="http://schemas.openxmlformats.org/officeDocument/2006/relationships/tags" Target="../tags/tag821.xml"/><Relationship Id="rId191" Type="http://schemas.openxmlformats.org/officeDocument/2006/relationships/tags" Target="../tags/tag197.xml"/><Relationship Id="rId205" Type="http://schemas.openxmlformats.org/officeDocument/2006/relationships/tags" Target="../tags/tag211.xml"/><Relationship Id="rId247" Type="http://schemas.openxmlformats.org/officeDocument/2006/relationships/tags" Target="../tags/tag253.xml"/><Relationship Id="rId412" Type="http://schemas.openxmlformats.org/officeDocument/2006/relationships/tags" Target="../tags/tag418.xml"/><Relationship Id="rId857" Type="http://schemas.openxmlformats.org/officeDocument/2006/relationships/tags" Target="../tags/tag863.xml"/><Relationship Id="rId899" Type="http://schemas.openxmlformats.org/officeDocument/2006/relationships/tags" Target="../tags/tag905.xml"/><Relationship Id="rId107" Type="http://schemas.openxmlformats.org/officeDocument/2006/relationships/tags" Target="../tags/tag113.xml"/><Relationship Id="rId289" Type="http://schemas.openxmlformats.org/officeDocument/2006/relationships/tags" Target="../tags/tag295.xml"/><Relationship Id="rId454" Type="http://schemas.openxmlformats.org/officeDocument/2006/relationships/tags" Target="../tags/tag460.xml"/><Relationship Id="rId496" Type="http://schemas.openxmlformats.org/officeDocument/2006/relationships/tags" Target="../tags/tag502.xml"/><Relationship Id="rId661" Type="http://schemas.openxmlformats.org/officeDocument/2006/relationships/tags" Target="../tags/tag667.xml"/><Relationship Id="rId717" Type="http://schemas.openxmlformats.org/officeDocument/2006/relationships/tags" Target="../tags/tag723.xml"/><Relationship Id="rId759" Type="http://schemas.openxmlformats.org/officeDocument/2006/relationships/tags" Target="../tags/tag765.xml"/><Relationship Id="rId924" Type="http://schemas.openxmlformats.org/officeDocument/2006/relationships/tags" Target="../tags/tag930.xml"/><Relationship Id="rId966" Type="http://schemas.openxmlformats.org/officeDocument/2006/relationships/tags" Target="../tags/tag972.xml"/><Relationship Id="rId11" Type="http://schemas.openxmlformats.org/officeDocument/2006/relationships/tags" Target="../tags/tag17.xml"/><Relationship Id="rId53" Type="http://schemas.openxmlformats.org/officeDocument/2006/relationships/tags" Target="../tags/tag59.xml"/><Relationship Id="rId149" Type="http://schemas.openxmlformats.org/officeDocument/2006/relationships/tags" Target="../tags/tag155.xml"/><Relationship Id="rId314" Type="http://schemas.openxmlformats.org/officeDocument/2006/relationships/tags" Target="../tags/tag320.xml"/><Relationship Id="rId356" Type="http://schemas.openxmlformats.org/officeDocument/2006/relationships/tags" Target="../tags/tag362.xml"/><Relationship Id="rId398" Type="http://schemas.openxmlformats.org/officeDocument/2006/relationships/tags" Target="../tags/tag404.xml"/><Relationship Id="rId521" Type="http://schemas.openxmlformats.org/officeDocument/2006/relationships/tags" Target="../tags/tag527.xml"/><Relationship Id="rId563" Type="http://schemas.openxmlformats.org/officeDocument/2006/relationships/tags" Target="../tags/tag569.xml"/><Relationship Id="rId619" Type="http://schemas.openxmlformats.org/officeDocument/2006/relationships/tags" Target="../tags/tag625.xml"/><Relationship Id="rId770" Type="http://schemas.openxmlformats.org/officeDocument/2006/relationships/tags" Target="../tags/tag776.xml"/><Relationship Id="rId95" Type="http://schemas.openxmlformats.org/officeDocument/2006/relationships/tags" Target="../tags/tag101.xml"/><Relationship Id="rId160" Type="http://schemas.openxmlformats.org/officeDocument/2006/relationships/tags" Target="../tags/tag166.xml"/><Relationship Id="rId216" Type="http://schemas.openxmlformats.org/officeDocument/2006/relationships/tags" Target="../tags/tag222.xml"/><Relationship Id="rId423" Type="http://schemas.openxmlformats.org/officeDocument/2006/relationships/tags" Target="../tags/tag429.xml"/><Relationship Id="rId826" Type="http://schemas.openxmlformats.org/officeDocument/2006/relationships/tags" Target="../tags/tag832.xml"/><Relationship Id="rId868" Type="http://schemas.openxmlformats.org/officeDocument/2006/relationships/tags" Target="../tags/tag874.xml"/><Relationship Id="rId258" Type="http://schemas.openxmlformats.org/officeDocument/2006/relationships/tags" Target="../tags/tag264.xml"/><Relationship Id="rId465" Type="http://schemas.openxmlformats.org/officeDocument/2006/relationships/tags" Target="../tags/tag471.xml"/><Relationship Id="rId630" Type="http://schemas.openxmlformats.org/officeDocument/2006/relationships/tags" Target="../tags/tag636.xml"/><Relationship Id="rId672" Type="http://schemas.openxmlformats.org/officeDocument/2006/relationships/tags" Target="../tags/tag678.xml"/><Relationship Id="rId728" Type="http://schemas.openxmlformats.org/officeDocument/2006/relationships/tags" Target="../tags/tag734.xml"/><Relationship Id="rId935" Type="http://schemas.openxmlformats.org/officeDocument/2006/relationships/tags" Target="../tags/tag941.xml"/><Relationship Id="rId22" Type="http://schemas.openxmlformats.org/officeDocument/2006/relationships/tags" Target="../tags/tag28.xml"/><Relationship Id="rId64" Type="http://schemas.openxmlformats.org/officeDocument/2006/relationships/tags" Target="../tags/tag70.xml"/><Relationship Id="rId118" Type="http://schemas.openxmlformats.org/officeDocument/2006/relationships/tags" Target="../tags/tag124.xml"/><Relationship Id="rId325" Type="http://schemas.openxmlformats.org/officeDocument/2006/relationships/tags" Target="../tags/tag331.xml"/><Relationship Id="rId367" Type="http://schemas.openxmlformats.org/officeDocument/2006/relationships/tags" Target="../tags/tag373.xml"/><Relationship Id="rId532" Type="http://schemas.openxmlformats.org/officeDocument/2006/relationships/tags" Target="../tags/tag538.xml"/><Relationship Id="rId574" Type="http://schemas.openxmlformats.org/officeDocument/2006/relationships/tags" Target="../tags/tag580.xml"/><Relationship Id="rId171" Type="http://schemas.openxmlformats.org/officeDocument/2006/relationships/tags" Target="../tags/tag177.xml"/><Relationship Id="rId227" Type="http://schemas.openxmlformats.org/officeDocument/2006/relationships/tags" Target="../tags/tag233.xml"/><Relationship Id="rId781" Type="http://schemas.openxmlformats.org/officeDocument/2006/relationships/tags" Target="../tags/tag787.xml"/><Relationship Id="rId837" Type="http://schemas.openxmlformats.org/officeDocument/2006/relationships/tags" Target="../tags/tag843.xml"/><Relationship Id="rId879" Type="http://schemas.openxmlformats.org/officeDocument/2006/relationships/tags" Target="../tags/tag885.xml"/><Relationship Id="rId269" Type="http://schemas.openxmlformats.org/officeDocument/2006/relationships/tags" Target="../tags/tag275.xml"/><Relationship Id="rId434" Type="http://schemas.openxmlformats.org/officeDocument/2006/relationships/tags" Target="../tags/tag440.xml"/><Relationship Id="rId476" Type="http://schemas.openxmlformats.org/officeDocument/2006/relationships/tags" Target="../tags/tag482.xml"/><Relationship Id="rId641" Type="http://schemas.openxmlformats.org/officeDocument/2006/relationships/tags" Target="../tags/tag647.xml"/><Relationship Id="rId683" Type="http://schemas.openxmlformats.org/officeDocument/2006/relationships/tags" Target="../tags/tag689.xml"/><Relationship Id="rId739" Type="http://schemas.openxmlformats.org/officeDocument/2006/relationships/tags" Target="../tags/tag745.xml"/><Relationship Id="rId890" Type="http://schemas.openxmlformats.org/officeDocument/2006/relationships/tags" Target="../tags/tag896.xml"/><Relationship Id="rId904" Type="http://schemas.openxmlformats.org/officeDocument/2006/relationships/tags" Target="../tags/tag910.xml"/><Relationship Id="rId33" Type="http://schemas.openxmlformats.org/officeDocument/2006/relationships/tags" Target="../tags/tag39.xml"/><Relationship Id="rId129" Type="http://schemas.openxmlformats.org/officeDocument/2006/relationships/tags" Target="../tags/tag135.xml"/><Relationship Id="rId280" Type="http://schemas.openxmlformats.org/officeDocument/2006/relationships/tags" Target="../tags/tag286.xml"/><Relationship Id="rId336" Type="http://schemas.openxmlformats.org/officeDocument/2006/relationships/tags" Target="../tags/tag342.xml"/><Relationship Id="rId501" Type="http://schemas.openxmlformats.org/officeDocument/2006/relationships/tags" Target="../tags/tag507.xml"/><Relationship Id="rId543" Type="http://schemas.openxmlformats.org/officeDocument/2006/relationships/tags" Target="../tags/tag549.xml"/><Relationship Id="rId946" Type="http://schemas.openxmlformats.org/officeDocument/2006/relationships/tags" Target="../tags/tag952.xml"/><Relationship Id="rId75" Type="http://schemas.openxmlformats.org/officeDocument/2006/relationships/tags" Target="../tags/tag81.xml"/><Relationship Id="rId140" Type="http://schemas.openxmlformats.org/officeDocument/2006/relationships/tags" Target="../tags/tag146.xml"/><Relationship Id="rId182" Type="http://schemas.openxmlformats.org/officeDocument/2006/relationships/tags" Target="../tags/tag188.xml"/><Relationship Id="rId378" Type="http://schemas.openxmlformats.org/officeDocument/2006/relationships/tags" Target="../tags/tag384.xml"/><Relationship Id="rId403" Type="http://schemas.openxmlformats.org/officeDocument/2006/relationships/tags" Target="../tags/tag409.xml"/><Relationship Id="rId585" Type="http://schemas.openxmlformats.org/officeDocument/2006/relationships/tags" Target="../tags/tag591.xml"/><Relationship Id="rId750" Type="http://schemas.openxmlformats.org/officeDocument/2006/relationships/tags" Target="../tags/tag756.xml"/><Relationship Id="rId792" Type="http://schemas.openxmlformats.org/officeDocument/2006/relationships/tags" Target="../tags/tag798.xml"/><Relationship Id="rId806" Type="http://schemas.openxmlformats.org/officeDocument/2006/relationships/tags" Target="../tags/tag812.xml"/><Relationship Id="rId848" Type="http://schemas.openxmlformats.org/officeDocument/2006/relationships/tags" Target="../tags/tag854.xml"/><Relationship Id="rId6" Type="http://schemas.openxmlformats.org/officeDocument/2006/relationships/tags" Target="../tags/tag12.xml"/><Relationship Id="rId238" Type="http://schemas.openxmlformats.org/officeDocument/2006/relationships/tags" Target="../tags/tag244.xml"/><Relationship Id="rId445" Type="http://schemas.openxmlformats.org/officeDocument/2006/relationships/tags" Target="../tags/tag451.xml"/><Relationship Id="rId487" Type="http://schemas.openxmlformats.org/officeDocument/2006/relationships/tags" Target="../tags/tag493.xml"/><Relationship Id="rId610" Type="http://schemas.openxmlformats.org/officeDocument/2006/relationships/tags" Target="../tags/tag616.xml"/><Relationship Id="rId652" Type="http://schemas.openxmlformats.org/officeDocument/2006/relationships/tags" Target="../tags/tag658.xml"/><Relationship Id="rId694" Type="http://schemas.openxmlformats.org/officeDocument/2006/relationships/tags" Target="../tags/tag700.xml"/><Relationship Id="rId708" Type="http://schemas.openxmlformats.org/officeDocument/2006/relationships/tags" Target="../tags/tag714.xml"/><Relationship Id="rId915" Type="http://schemas.openxmlformats.org/officeDocument/2006/relationships/tags" Target="../tags/tag921.xml"/><Relationship Id="rId291" Type="http://schemas.openxmlformats.org/officeDocument/2006/relationships/tags" Target="../tags/tag297.xml"/><Relationship Id="rId305" Type="http://schemas.openxmlformats.org/officeDocument/2006/relationships/tags" Target="../tags/tag311.xml"/><Relationship Id="rId347" Type="http://schemas.openxmlformats.org/officeDocument/2006/relationships/tags" Target="../tags/tag353.xml"/><Relationship Id="rId512" Type="http://schemas.openxmlformats.org/officeDocument/2006/relationships/tags" Target="../tags/tag518.xml"/><Relationship Id="rId957" Type="http://schemas.openxmlformats.org/officeDocument/2006/relationships/tags" Target="../tags/tag963.xml"/><Relationship Id="rId44" Type="http://schemas.openxmlformats.org/officeDocument/2006/relationships/tags" Target="../tags/tag50.xml"/><Relationship Id="rId86" Type="http://schemas.openxmlformats.org/officeDocument/2006/relationships/tags" Target="../tags/tag92.xml"/><Relationship Id="rId151" Type="http://schemas.openxmlformats.org/officeDocument/2006/relationships/tags" Target="../tags/tag157.xml"/><Relationship Id="rId389" Type="http://schemas.openxmlformats.org/officeDocument/2006/relationships/tags" Target="../tags/tag395.xml"/><Relationship Id="rId554" Type="http://schemas.openxmlformats.org/officeDocument/2006/relationships/tags" Target="../tags/tag560.xml"/><Relationship Id="rId596" Type="http://schemas.openxmlformats.org/officeDocument/2006/relationships/tags" Target="../tags/tag602.xml"/><Relationship Id="rId761" Type="http://schemas.openxmlformats.org/officeDocument/2006/relationships/tags" Target="../tags/tag767.xml"/><Relationship Id="rId817" Type="http://schemas.openxmlformats.org/officeDocument/2006/relationships/tags" Target="../tags/tag823.xml"/><Relationship Id="rId859" Type="http://schemas.openxmlformats.org/officeDocument/2006/relationships/tags" Target="../tags/tag865.xml"/><Relationship Id="rId193" Type="http://schemas.openxmlformats.org/officeDocument/2006/relationships/tags" Target="../tags/tag199.xml"/><Relationship Id="rId207" Type="http://schemas.openxmlformats.org/officeDocument/2006/relationships/tags" Target="../tags/tag213.xml"/><Relationship Id="rId249" Type="http://schemas.openxmlformats.org/officeDocument/2006/relationships/tags" Target="../tags/tag255.xml"/><Relationship Id="rId414" Type="http://schemas.openxmlformats.org/officeDocument/2006/relationships/tags" Target="../tags/tag420.xml"/><Relationship Id="rId456" Type="http://schemas.openxmlformats.org/officeDocument/2006/relationships/tags" Target="../tags/tag462.xml"/><Relationship Id="rId498" Type="http://schemas.openxmlformats.org/officeDocument/2006/relationships/tags" Target="../tags/tag504.xml"/><Relationship Id="rId621" Type="http://schemas.openxmlformats.org/officeDocument/2006/relationships/tags" Target="../tags/tag627.xml"/><Relationship Id="rId663" Type="http://schemas.openxmlformats.org/officeDocument/2006/relationships/tags" Target="../tags/tag669.xml"/><Relationship Id="rId870" Type="http://schemas.openxmlformats.org/officeDocument/2006/relationships/tags" Target="../tags/tag876.xml"/><Relationship Id="rId13" Type="http://schemas.openxmlformats.org/officeDocument/2006/relationships/tags" Target="../tags/tag19.xml"/><Relationship Id="rId109" Type="http://schemas.openxmlformats.org/officeDocument/2006/relationships/tags" Target="../tags/tag115.xml"/><Relationship Id="rId260" Type="http://schemas.openxmlformats.org/officeDocument/2006/relationships/tags" Target="../tags/tag266.xml"/><Relationship Id="rId316" Type="http://schemas.openxmlformats.org/officeDocument/2006/relationships/tags" Target="../tags/tag322.xml"/><Relationship Id="rId523" Type="http://schemas.openxmlformats.org/officeDocument/2006/relationships/tags" Target="../tags/tag529.xml"/><Relationship Id="rId719" Type="http://schemas.openxmlformats.org/officeDocument/2006/relationships/tags" Target="../tags/tag725.xml"/><Relationship Id="rId926" Type="http://schemas.openxmlformats.org/officeDocument/2006/relationships/tags" Target="../tags/tag932.xml"/><Relationship Id="rId968" Type="http://schemas.openxmlformats.org/officeDocument/2006/relationships/tags" Target="../tags/tag974.xml"/><Relationship Id="rId55" Type="http://schemas.openxmlformats.org/officeDocument/2006/relationships/tags" Target="../tags/tag61.xml"/><Relationship Id="rId97" Type="http://schemas.openxmlformats.org/officeDocument/2006/relationships/tags" Target="../tags/tag103.xml"/><Relationship Id="rId120" Type="http://schemas.openxmlformats.org/officeDocument/2006/relationships/tags" Target="../tags/tag126.xml"/><Relationship Id="rId358" Type="http://schemas.openxmlformats.org/officeDocument/2006/relationships/tags" Target="../tags/tag364.xml"/><Relationship Id="rId565" Type="http://schemas.openxmlformats.org/officeDocument/2006/relationships/tags" Target="../tags/tag571.xml"/><Relationship Id="rId730" Type="http://schemas.openxmlformats.org/officeDocument/2006/relationships/tags" Target="../tags/tag736.xml"/><Relationship Id="rId772" Type="http://schemas.openxmlformats.org/officeDocument/2006/relationships/tags" Target="../tags/tag778.xml"/><Relationship Id="rId828" Type="http://schemas.openxmlformats.org/officeDocument/2006/relationships/tags" Target="../tags/tag834.xml"/><Relationship Id="rId162" Type="http://schemas.openxmlformats.org/officeDocument/2006/relationships/tags" Target="../tags/tag168.xml"/><Relationship Id="rId218" Type="http://schemas.openxmlformats.org/officeDocument/2006/relationships/tags" Target="../tags/tag224.xml"/><Relationship Id="rId425" Type="http://schemas.openxmlformats.org/officeDocument/2006/relationships/tags" Target="../tags/tag431.xml"/><Relationship Id="rId467" Type="http://schemas.openxmlformats.org/officeDocument/2006/relationships/tags" Target="../tags/tag473.xml"/><Relationship Id="rId632" Type="http://schemas.openxmlformats.org/officeDocument/2006/relationships/tags" Target="../tags/tag638.xml"/><Relationship Id="rId271" Type="http://schemas.openxmlformats.org/officeDocument/2006/relationships/tags" Target="../tags/tag277.xml"/><Relationship Id="rId674" Type="http://schemas.openxmlformats.org/officeDocument/2006/relationships/tags" Target="../tags/tag680.xml"/><Relationship Id="rId881" Type="http://schemas.openxmlformats.org/officeDocument/2006/relationships/tags" Target="../tags/tag887.xml"/><Relationship Id="rId937" Type="http://schemas.openxmlformats.org/officeDocument/2006/relationships/tags" Target="../tags/tag943.xml"/><Relationship Id="rId24" Type="http://schemas.openxmlformats.org/officeDocument/2006/relationships/tags" Target="../tags/tag30.xml"/><Relationship Id="rId66" Type="http://schemas.openxmlformats.org/officeDocument/2006/relationships/tags" Target="../tags/tag72.xml"/><Relationship Id="rId131" Type="http://schemas.openxmlformats.org/officeDocument/2006/relationships/tags" Target="../tags/tag137.xml"/><Relationship Id="rId327" Type="http://schemas.openxmlformats.org/officeDocument/2006/relationships/tags" Target="../tags/tag333.xml"/><Relationship Id="rId369" Type="http://schemas.openxmlformats.org/officeDocument/2006/relationships/tags" Target="../tags/tag375.xml"/><Relationship Id="rId534" Type="http://schemas.openxmlformats.org/officeDocument/2006/relationships/tags" Target="../tags/tag540.xml"/><Relationship Id="rId576" Type="http://schemas.openxmlformats.org/officeDocument/2006/relationships/tags" Target="../tags/tag582.xml"/><Relationship Id="rId741" Type="http://schemas.openxmlformats.org/officeDocument/2006/relationships/tags" Target="../tags/tag747.xml"/><Relationship Id="rId783" Type="http://schemas.openxmlformats.org/officeDocument/2006/relationships/tags" Target="../tags/tag789.xml"/><Relationship Id="rId839" Type="http://schemas.openxmlformats.org/officeDocument/2006/relationships/tags" Target="../tags/tag845.xml"/><Relationship Id="rId173" Type="http://schemas.openxmlformats.org/officeDocument/2006/relationships/tags" Target="../tags/tag179.xml"/><Relationship Id="rId229" Type="http://schemas.openxmlformats.org/officeDocument/2006/relationships/tags" Target="../tags/tag235.xml"/><Relationship Id="rId380" Type="http://schemas.openxmlformats.org/officeDocument/2006/relationships/tags" Target="../tags/tag386.xml"/><Relationship Id="rId436" Type="http://schemas.openxmlformats.org/officeDocument/2006/relationships/tags" Target="../tags/tag442.xml"/><Relationship Id="rId601" Type="http://schemas.openxmlformats.org/officeDocument/2006/relationships/tags" Target="../tags/tag607.xml"/><Relationship Id="rId643" Type="http://schemas.openxmlformats.org/officeDocument/2006/relationships/tags" Target="../tags/tag649.xml"/><Relationship Id="rId240" Type="http://schemas.openxmlformats.org/officeDocument/2006/relationships/tags" Target="../tags/tag246.xml"/><Relationship Id="rId478" Type="http://schemas.openxmlformats.org/officeDocument/2006/relationships/tags" Target="../tags/tag484.xml"/><Relationship Id="rId685" Type="http://schemas.openxmlformats.org/officeDocument/2006/relationships/tags" Target="../tags/tag691.xml"/><Relationship Id="rId850" Type="http://schemas.openxmlformats.org/officeDocument/2006/relationships/tags" Target="../tags/tag856.xml"/><Relationship Id="rId892" Type="http://schemas.openxmlformats.org/officeDocument/2006/relationships/tags" Target="../tags/tag898.xml"/><Relationship Id="rId906" Type="http://schemas.openxmlformats.org/officeDocument/2006/relationships/tags" Target="../tags/tag912.xml"/><Relationship Id="rId948" Type="http://schemas.openxmlformats.org/officeDocument/2006/relationships/tags" Target="../tags/tag954.xml"/><Relationship Id="rId35" Type="http://schemas.openxmlformats.org/officeDocument/2006/relationships/tags" Target="../tags/tag41.xml"/><Relationship Id="rId77" Type="http://schemas.openxmlformats.org/officeDocument/2006/relationships/tags" Target="../tags/tag83.xml"/><Relationship Id="rId100" Type="http://schemas.openxmlformats.org/officeDocument/2006/relationships/tags" Target="../tags/tag106.xml"/><Relationship Id="rId282" Type="http://schemas.openxmlformats.org/officeDocument/2006/relationships/tags" Target="../tags/tag288.xml"/><Relationship Id="rId338" Type="http://schemas.openxmlformats.org/officeDocument/2006/relationships/tags" Target="../tags/tag344.xml"/><Relationship Id="rId503" Type="http://schemas.openxmlformats.org/officeDocument/2006/relationships/tags" Target="../tags/tag509.xml"/><Relationship Id="rId545" Type="http://schemas.openxmlformats.org/officeDocument/2006/relationships/tags" Target="../tags/tag551.xml"/><Relationship Id="rId587" Type="http://schemas.openxmlformats.org/officeDocument/2006/relationships/tags" Target="../tags/tag593.xml"/><Relationship Id="rId710" Type="http://schemas.openxmlformats.org/officeDocument/2006/relationships/tags" Target="../tags/tag716.xml"/><Relationship Id="rId752" Type="http://schemas.openxmlformats.org/officeDocument/2006/relationships/tags" Target="../tags/tag758.xml"/><Relationship Id="rId808" Type="http://schemas.openxmlformats.org/officeDocument/2006/relationships/tags" Target="../tags/tag814.xml"/><Relationship Id="rId8" Type="http://schemas.openxmlformats.org/officeDocument/2006/relationships/tags" Target="../tags/tag14.xml"/><Relationship Id="rId142" Type="http://schemas.openxmlformats.org/officeDocument/2006/relationships/tags" Target="../tags/tag148.xml"/><Relationship Id="rId184" Type="http://schemas.openxmlformats.org/officeDocument/2006/relationships/tags" Target="../tags/tag190.xml"/><Relationship Id="rId391" Type="http://schemas.openxmlformats.org/officeDocument/2006/relationships/tags" Target="../tags/tag397.xml"/><Relationship Id="rId405" Type="http://schemas.openxmlformats.org/officeDocument/2006/relationships/tags" Target="../tags/tag411.xml"/><Relationship Id="rId447" Type="http://schemas.openxmlformats.org/officeDocument/2006/relationships/tags" Target="../tags/tag453.xml"/><Relationship Id="rId612" Type="http://schemas.openxmlformats.org/officeDocument/2006/relationships/tags" Target="../tags/tag618.xml"/><Relationship Id="rId794" Type="http://schemas.openxmlformats.org/officeDocument/2006/relationships/tags" Target="../tags/tag800.xml"/><Relationship Id="rId251" Type="http://schemas.openxmlformats.org/officeDocument/2006/relationships/tags" Target="../tags/tag257.xml"/><Relationship Id="rId489" Type="http://schemas.openxmlformats.org/officeDocument/2006/relationships/tags" Target="../tags/tag495.xml"/><Relationship Id="rId654" Type="http://schemas.openxmlformats.org/officeDocument/2006/relationships/tags" Target="../tags/tag660.xml"/><Relationship Id="rId696" Type="http://schemas.openxmlformats.org/officeDocument/2006/relationships/tags" Target="../tags/tag702.xml"/><Relationship Id="rId861" Type="http://schemas.openxmlformats.org/officeDocument/2006/relationships/tags" Target="../tags/tag867.xml"/><Relationship Id="rId917" Type="http://schemas.openxmlformats.org/officeDocument/2006/relationships/tags" Target="../tags/tag923.xml"/><Relationship Id="rId959" Type="http://schemas.openxmlformats.org/officeDocument/2006/relationships/tags" Target="../tags/tag965.xml"/><Relationship Id="rId46" Type="http://schemas.openxmlformats.org/officeDocument/2006/relationships/tags" Target="../tags/tag52.xml"/><Relationship Id="rId293" Type="http://schemas.openxmlformats.org/officeDocument/2006/relationships/tags" Target="../tags/tag299.xml"/><Relationship Id="rId307" Type="http://schemas.openxmlformats.org/officeDocument/2006/relationships/tags" Target="../tags/tag313.xml"/><Relationship Id="rId349" Type="http://schemas.openxmlformats.org/officeDocument/2006/relationships/tags" Target="../tags/tag355.xml"/><Relationship Id="rId514" Type="http://schemas.openxmlformats.org/officeDocument/2006/relationships/tags" Target="../tags/tag520.xml"/><Relationship Id="rId556" Type="http://schemas.openxmlformats.org/officeDocument/2006/relationships/tags" Target="../tags/tag562.xml"/><Relationship Id="rId721" Type="http://schemas.openxmlformats.org/officeDocument/2006/relationships/tags" Target="../tags/tag727.xml"/><Relationship Id="rId763" Type="http://schemas.openxmlformats.org/officeDocument/2006/relationships/tags" Target="../tags/tag769.xml"/><Relationship Id="rId88" Type="http://schemas.openxmlformats.org/officeDocument/2006/relationships/tags" Target="../tags/tag94.xml"/><Relationship Id="rId111" Type="http://schemas.openxmlformats.org/officeDocument/2006/relationships/tags" Target="../tags/tag117.xml"/><Relationship Id="rId153" Type="http://schemas.openxmlformats.org/officeDocument/2006/relationships/tags" Target="../tags/tag159.xml"/><Relationship Id="rId195" Type="http://schemas.openxmlformats.org/officeDocument/2006/relationships/tags" Target="../tags/tag201.xml"/><Relationship Id="rId209" Type="http://schemas.openxmlformats.org/officeDocument/2006/relationships/tags" Target="../tags/tag215.xml"/><Relationship Id="rId360" Type="http://schemas.openxmlformats.org/officeDocument/2006/relationships/tags" Target="../tags/tag366.xml"/><Relationship Id="rId416" Type="http://schemas.openxmlformats.org/officeDocument/2006/relationships/tags" Target="../tags/tag422.xml"/><Relationship Id="rId598" Type="http://schemas.openxmlformats.org/officeDocument/2006/relationships/tags" Target="../tags/tag604.xml"/><Relationship Id="rId819" Type="http://schemas.openxmlformats.org/officeDocument/2006/relationships/tags" Target="../tags/tag825.xml"/><Relationship Id="rId970" Type="http://schemas.openxmlformats.org/officeDocument/2006/relationships/tags" Target="../tags/tag976.xml"/><Relationship Id="rId220" Type="http://schemas.openxmlformats.org/officeDocument/2006/relationships/tags" Target="../tags/tag226.xml"/><Relationship Id="rId458" Type="http://schemas.openxmlformats.org/officeDocument/2006/relationships/tags" Target="../tags/tag464.xml"/><Relationship Id="rId623" Type="http://schemas.openxmlformats.org/officeDocument/2006/relationships/tags" Target="../tags/tag629.xml"/><Relationship Id="rId665" Type="http://schemas.openxmlformats.org/officeDocument/2006/relationships/tags" Target="../tags/tag671.xml"/><Relationship Id="rId830" Type="http://schemas.openxmlformats.org/officeDocument/2006/relationships/tags" Target="../tags/tag836.xml"/><Relationship Id="rId872" Type="http://schemas.openxmlformats.org/officeDocument/2006/relationships/tags" Target="../tags/tag878.xml"/><Relationship Id="rId928" Type="http://schemas.openxmlformats.org/officeDocument/2006/relationships/tags" Target="../tags/tag934.xml"/><Relationship Id="rId15" Type="http://schemas.openxmlformats.org/officeDocument/2006/relationships/tags" Target="../tags/tag21.xml"/><Relationship Id="rId57" Type="http://schemas.openxmlformats.org/officeDocument/2006/relationships/tags" Target="../tags/tag63.xml"/><Relationship Id="rId262" Type="http://schemas.openxmlformats.org/officeDocument/2006/relationships/tags" Target="../tags/tag268.xml"/><Relationship Id="rId318" Type="http://schemas.openxmlformats.org/officeDocument/2006/relationships/tags" Target="../tags/tag324.xml"/><Relationship Id="rId525" Type="http://schemas.openxmlformats.org/officeDocument/2006/relationships/tags" Target="../tags/tag531.xml"/><Relationship Id="rId567" Type="http://schemas.openxmlformats.org/officeDocument/2006/relationships/tags" Target="../tags/tag573.xml"/><Relationship Id="rId732" Type="http://schemas.openxmlformats.org/officeDocument/2006/relationships/tags" Target="../tags/tag738.xml"/><Relationship Id="rId99" Type="http://schemas.openxmlformats.org/officeDocument/2006/relationships/tags" Target="../tags/tag105.xml"/><Relationship Id="rId122" Type="http://schemas.openxmlformats.org/officeDocument/2006/relationships/tags" Target="../tags/tag128.xml"/><Relationship Id="rId164" Type="http://schemas.openxmlformats.org/officeDocument/2006/relationships/tags" Target="../tags/tag170.xml"/><Relationship Id="rId371" Type="http://schemas.openxmlformats.org/officeDocument/2006/relationships/tags" Target="../tags/tag377.xml"/><Relationship Id="rId774" Type="http://schemas.openxmlformats.org/officeDocument/2006/relationships/tags" Target="../tags/tag780.xml"/><Relationship Id="rId427" Type="http://schemas.openxmlformats.org/officeDocument/2006/relationships/tags" Target="../tags/tag433.xml"/><Relationship Id="rId469" Type="http://schemas.openxmlformats.org/officeDocument/2006/relationships/tags" Target="../tags/tag475.xml"/><Relationship Id="rId634" Type="http://schemas.openxmlformats.org/officeDocument/2006/relationships/tags" Target="../tags/tag640.xml"/><Relationship Id="rId676" Type="http://schemas.openxmlformats.org/officeDocument/2006/relationships/tags" Target="../tags/tag682.xml"/><Relationship Id="rId841" Type="http://schemas.openxmlformats.org/officeDocument/2006/relationships/tags" Target="../tags/tag847.xml"/><Relationship Id="rId883" Type="http://schemas.openxmlformats.org/officeDocument/2006/relationships/tags" Target="../tags/tag889.xml"/><Relationship Id="rId26" Type="http://schemas.openxmlformats.org/officeDocument/2006/relationships/tags" Target="../tags/tag32.xml"/><Relationship Id="rId231" Type="http://schemas.openxmlformats.org/officeDocument/2006/relationships/tags" Target="../tags/tag237.xml"/><Relationship Id="rId273" Type="http://schemas.openxmlformats.org/officeDocument/2006/relationships/tags" Target="../tags/tag279.xml"/><Relationship Id="rId329" Type="http://schemas.openxmlformats.org/officeDocument/2006/relationships/tags" Target="../tags/tag335.xml"/><Relationship Id="rId480" Type="http://schemas.openxmlformats.org/officeDocument/2006/relationships/tags" Target="../tags/tag486.xml"/><Relationship Id="rId536" Type="http://schemas.openxmlformats.org/officeDocument/2006/relationships/tags" Target="../tags/tag542.xml"/><Relationship Id="rId701" Type="http://schemas.openxmlformats.org/officeDocument/2006/relationships/tags" Target="../tags/tag707.xml"/><Relationship Id="rId939" Type="http://schemas.openxmlformats.org/officeDocument/2006/relationships/tags" Target="../tags/tag945.xml"/><Relationship Id="rId68" Type="http://schemas.openxmlformats.org/officeDocument/2006/relationships/tags" Target="../tags/tag74.xml"/><Relationship Id="rId133" Type="http://schemas.openxmlformats.org/officeDocument/2006/relationships/tags" Target="../tags/tag139.xml"/><Relationship Id="rId175" Type="http://schemas.openxmlformats.org/officeDocument/2006/relationships/tags" Target="../tags/tag181.xml"/><Relationship Id="rId340" Type="http://schemas.openxmlformats.org/officeDocument/2006/relationships/tags" Target="../tags/tag346.xml"/><Relationship Id="rId578" Type="http://schemas.openxmlformats.org/officeDocument/2006/relationships/tags" Target="../tags/tag584.xml"/><Relationship Id="rId743" Type="http://schemas.openxmlformats.org/officeDocument/2006/relationships/tags" Target="../tags/tag749.xml"/><Relationship Id="rId785" Type="http://schemas.openxmlformats.org/officeDocument/2006/relationships/tags" Target="../tags/tag791.xml"/><Relationship Id="rId950" Type="http://schemas.openxmlformats.org/officeDocument/2006/relationships/tags" Target="../tags/tag956.xml"/><Relationship Id="rId200" Type="http://schemas.openxmlformats.org/officeDocument/2006/relationships/tags" Target="../tags/tag206.xml"/><Relationship Id="rId382" Type="http://schemas.openxmlformats.org/officeDocument/2006/relationships/tags" Target="../tags/tag388.xml"/><Relationship Id="rId438" Type="http://schemas.openxmlformats.org/officeDocument/2006/relationships/tags" Target="../tags/tag444.xml"/><Relationship Id="rId603" Type="http://schemas.openxmlformats.org/officeDocument/2006/relationships/tags" Target="../tags/tag609.xml"/><Relationship Id="rId645" Type="http://schemas.openxmlformats.org/officeDocument/2006/relationships/tags" Target="../tags/tag651.xml"/><Relationship Id="rId687" Type="http://schemas.openxmlformats.org/officeDocument/2006/relationships/tags" Target="../tags/tag693.xml"/><Relationship Id="rId810" Type="http://schemas.openxmlformats.org/officeDocument/2006/relationships/tags" Target="../tags/tag816.xml"/><Relationship Id="rId852" Type="http://schemas.openxmlformats.org/officeDocument/2006/relationships/tags" Target="../tags/tag858.xml"/><Relationship Id="rId908" Type="http://schemas.openxmlformats.org/officeDocument/2006/relationships/tags" Target="../tags/tag914.xml"/><Relationship Id="rId242" Type="http://schemas.openxmlformats.org/officeDocument/2006/relationships/tags" Target="../tags/tag248.xml"/><Relationship Id="rId284" Type="http://schemas.openxmlformats.org/officeDocument/2006/relationships/tags" Target="../tags/tag290.xml"/><Relationship Id="rId491" Type="http://schemas.openxmlformats.org/officeDocument/2006/relationships/tags" Target="../tags/tag497.xml"/><Relationship Id="rId505" Type="http://schemas.openxmlformats.org/officeDocument/2006/relationships/tags" Target="../tags/tag511.xml"/><Relationship Id="rId712" Type="http://schemas.openxmlformats.org/officeDocument/2006/relationships/tags" Target="../tags/tag718.xml"/><Relationship Id="rId894" Type="http://schemas.openxmlformats.org/officeDocument/2006/relationships/tags" Target="../tags/tag900.xml"/><Relationship Id="rId37" Type="http://schemas.openxmlformats.org/officeDocument/2006/relationships/tags" Target="../tags/tag43.xml"/><Relationship Id="rId79" Type="http://schemas.openxmlformats.org/officeDocument/2006/relationships/tags" Target="../tags/tag85.xml"/><Relationship Id="rId102" Type="http://schemas.openxmlformats.org/officeDocument/2006/relationships/tags" Target="../tags/tag108.xml"/><Relationship Id="rId144" Type="http://schemas.openxmlformats.org/officeDocument/2006/relationships/tags" Target="../tags/tag150.xml"/><Relationship Id="rId547" Type="http://schemas.openxmlformats.org/officeDocument/2006/relationships/tags" Target="../tags/tag553.xml"/><Relationship Id="rId589" Type="http://schemas.openxmlformats.org/officeDocument/2006/relationships/tags" Target="../tags/tag595.xml"/><Relationship Id="rId754" Type="http://schemas.openxmlformats.org/officeDocument/2006/relationships/tags" Target="../tags/tag760.xml"/><Relationship Id="rId796" Type="http://schemas.openxmlformats.org/officeDocument/2006/relationships/tags" Target="../tags/tag802.xml"/><Relationship Id="rId961" Type="http://schemas.openxmlformats.org/officeDocument/2006/relationships/tags" Target="../tags/tag967.xml"/><Relationship Id="rId90" Type="http://schemas.openxmlformats.org/officeDocument/2006/relationships/tags" Target="../tags/tag96.xml"/><Relationship Id="rId186" Type="http://schemas.openxmlformats.org/officeDocument/2006/relationships/tags" Target="../tags/tag192.xml"/><Relationship Id="rId351" Type="http://schemas.openxmlformats.org/officeDocument/2006/relationships/tags" Target="../tags/tag357.xml"/><Relationship Id="rId393" Type="http://schemas.openxmlformats.org/officeDocument/2006/relationships/tags" Target="../tags/tag399.xml"/><Relationship Id="rId407" Type="http://schemas.openxmlformats.org/officeDocument/2006/relationships/tags" Target="../tags/tag413.xml"/><Relationship Id="rId449" Type="http://schemas.openxmlformats.org/officeDocument/2006/relationships/tags" Target="../tags/tag455.xml"/><Relationship Id="rId614" Type="http://schemas.openxmlformats.org/officeDocument/2006/relationships/tags" Target="../tags/tag620.xml"/><Relationship Id="rId656" Type="http://schemas.openxmlformats.org/officeDocument/2006/relationships/tags" Target="../tags/tag662.xml"/><Relationship Id="rId821" Type="http://schemas.openxmlformats.org/officeDocument/2006/relationships/tags" Target="../tags/tag827.xml"/><Relationship Id="rId863" Type="http://schemas.openxmlformats.org/officeDocument/2006/relationships/tags" Target="../tags/tag869.xml"/><Relationship Id="rId211" Type="http://schemas.openxmlformats.org/officeDocument/2006/relationships/tags" Target="../tags/tag217.xml"/><Relationship Id="rId253" Type="http://schemas.openxmlformats.org/officeDocument/2006/relationships/tags" Target="../tags/tag259.xml"/><Relationship Id="rId295" Type="http://schemas.openxmlformats.org/officeDocument/2006/relationships/tags" Target="../tags/tag301.xml"/><Relationship Id="rId309" Type="http://schemas.openxmlformats.org/officeDocument/2006/relationships/tags" Target="../tags/tag315.xml"/><Relationship Id="rId460" Type="http://schemas.openxmlformats.org/officeDocument/2006/relationships/tags" Target="../tags/tag466.xml"/><Relationship Id="rId516" Type="http://schemas.openxmlformats.org/officeDocument/2006/relationships/tags" Target="../tags/tag522.xml"/><Relationship Id="rId698" Type="http://schemas.openxmlformats.org/officeDocument/2006/relationships/tags" Target="../tags/tag704.xml"/><Relationship Id="rId919" Type="http://schemas.openxmlformats.org/officeDocument/2006/relationships/tags" Target="../tags/tag925.xml"/><Relationship Id="rId48" Type="http://schemas.openxmlformats.org/officeDocument/2006/relationships/tags" Target="../tags/tag54.xml"/><Relationship Id="rId113" Type="http://schemas.openxmlformats.org/officeDocument/2006/relationships/tags" Target="../tags/tag119.xml"/><Relationship Id="rId320" Type="http://schemas.openxmlformats.org/officeDocument/2006/relationships/tags" Target="../tags/tag326.xml"/><Relationship Id="rId558" Type="http://schemas.openxmlformats.org/officeDocument/2006/relationships/tags" Target="../tags/tag564.xml"/><Relationship Id="rId723" Type="http://schemas.openxmlformats.org/officeDocument/2006/relationships/tags" Target="../tags/tag729.xml"/><Relationship Id="rId765" Type="http://schemas.openxmlformats.org/officeDocument/2006/relationships/tags" Target="../tags/tag771.xml"/><Relationship Id="rId930" Type="http://schemas.openxmlformats.org/officeDocument/2006/relationships/tags" Target="../tags/tag936.xml"/><Relationship Id="rId972" Type="http://schemas.openxmlformats.org/officeDocument/2006/relationships/tags" Target="../tags/tag978.xml"/><Relationship Id="rId155" Type="http://schemas.openxmlformats.org/officeDocument/2006/relationships/tags" Target="../tags/tag161.xml"/><Relationship Id="rId197" Type="http://schemas.openxmlformats.org/officeDocument/2006/relationships/tags" Target="../tags/tag203.xml"/><Relationship Id="rId362" Type="http://schemas.openxmlformats.org/officeDocument/2006/relationships/tags" Target="../tags/tag368.xml"/><Relationship Id="rId418" Type="http://schemas.openxmlformats.org/officeDocument/2006/relationships/tags" Target="../tags/tag424.xml"/><Relationship Id="rId625" Type="http://schemas.openxmlformats.org/officeDocument/2006/relationships/tags" Target="../tags/tag631.xml"/><Relationship Id="rId832" Type="http://schemas.openxmlformats.org/officeDocument/2006/relationships/tags" Target="../tags/tag838.xml"/><Relationship Id="rId222" Type="http://schemas.openxmlformats.org/officeDocument/2006/relationships/tags" Target="../tags/tag228.xml"/><Relationship Id="rId264" Type="http://schemas.openxmlformats.org/officeDocument/2006/relationships/tags" Target="../tags/tag270.xml"/><Relationship Id="rId471" Type="http://schemas.openxmlformats.org/officeDocument/2006/relationships/tags" Target="../tags/tag477.xml"/><Relationship Id="rId667" Type="http://schemas.openxmlformats.org/officeDocument/2006/relationships/tags" Target="../tags/tag673.xml"/><Relationship Id="rId874" Type="http://schemas.openxmlformats.org/officeDocument/2006/relationships/tags" Target="../tags/tag880.xml"/><Relationship Id="rId17" Type="http://schemas.openxmlformats.org/officeDocument/2006/relationships/tags" Target="../tags/tag23.xml"/><Relationship Id="rId59" Type="http://schemas.openxmlformats.org/officeDocument/2006/relationships/tags" Target="../tags/tag65.xml"/><Relationship Id="rId124" Type="http://schemas.openxmlformats.org/officeDocument/2006/relationships/tags" Target="../tags/tag130.xml"/><Relationship Id="rId527" Type="http://schemas.openxmlformats.org/officeDocument/2006/relationships/tags" Target="../tags/tag533.xml"/><Relationship Id="rId569" Type="http://schemas.openxmlformats.org/officeDocument/2006/relationships/tags" Target="../tags/tag575.xml"/><Relationship Id="rId734" Type="http://schemas.openxmlformats.org/officeDocument/2006/relationships/tags" Target="../tags/tag740.xml"/><Relationship Id="rId776" Type="http://schemas.openxmlformats.org/officeDocument/2006/relationships/tags" Target="../tags/tag782.xml"/><Relationship Id="rId941" Type="http://schemas.openxmlformats.org/officeDocument/2006/relationships/tags" Target="../tags/tag947.xml"/><Relationship Id="rId70" Type="http://schemas.openxmlformats.org/officeDocument/2006/relationships/tags" Target="../tags/tag76.xml"/><Relationship Id="rId166" Type="http://schemas.openxmlformats.org/officeDocument/2006/relationships/tags" Target="../tags/tag172.xml"/><Relationship Id="rId331" Type="http://schemas.openxmlformats.org/officeDocument/2006/relationships/tags" Target="../tags/tag337.xml"/><Relationship Id="rId373" Type="http://schemas.openxmlformats.org/officeDocument/2006/relationships/tags" Target="../tags/tag379.xml"/><Relationship Id="rId429" Type="http://schemas.openxmlformats.org/officeDocument/2006/relationships/tags" Target="../tags/tag435.xml"/><Relationship Id="rId580" Type="http://schemas.openxmlformats.org/officeDocument/2006/relationships/tags" Target="../tags/tag586.xml"/><Relationship Id="rId636" Type="http://schemas.openxmlformats.org/officeDocument/2006/relationships/tags" Target="../tags/tag642.xml"/><Relationship Id="rId801" Type="http://schemas.openxmlformats.org/officeDocument/2006/relationships/tags" Target="../tags/tag807.xml"/><Relationship Id="rId1" Type="http://schemas.openxmlformats.org/officeDocument/2006/relationships/tags" Target="../tags/tag7.xml"/><Relationship Id="rId233" Type="http://schemas.openxmlformats.org/officeDocument/2006/relationships/tags" Target="../tags/tag239.xml"/><Relationship Id="rId440" Type="http://schemas.openxmlformats.org/officeDocument/2006/relationships/tags" Target="../tags/tag446.xml"/><Relationship Id="rId678" Type="http://schemas.openxmlformats.org/officeDocument/2006/relationships/tags" Target="../tags/tag684.xml"/><Relationship Id="rId843" Type="http://schemas.openxmlformats.org/officeDocument/2006/relationships/tags" Target="../tags/tag849.xml"/><Relationship Id="rId885" Type="http://schemas.openxmlformats.org/officeDocument/2006/relationships/tags" Target="../tags/tag891.xml"/><Relationship Id="rId28" Type="http://schemas.openxmlformats.org/officeDocument/2006/relationships/tags" Target="../tags/tag34.xml"/><Relationship Id="rId275" Type="http://schemas.openxmlformats.org/officeDocument/2006/relationships/tags" Target="../tags/tag281.xml"/><Relationship Id="rId300" Type="http://schemas.openxmlformats.org/officeDocument/2006/relationships/tags" Target="../tags/tag306.xml"/><Relationship Id="rId482" Type="http://schemas.openxmlformats.org/officeDocument/2006/relationships/tags" Target="../tags/tag488.xml"/><Relationship Id="rId538" Type="http://schemas.openxmlformats.org/officeDocument/2006/relationships/tags" Target="../tags/tag544.xml"/><Relationship Id="rId703" Type="http://schemas.openxmlformats.org/officeDocument/2006/relationships/tags" Target="../tags/tag709.xml"/><Relationship Id="rId745" Type="http://schemas.openxmlformats.org/officeDocument/2006/relationships/tags" Target="../tags/tag751.xml"/><Relationship Id="rId910" Type="http://schemas.openxmlformats.org/officeDocument/2006/relationships/tags" Target="../tags/tag916.xml"/><Relationship Id="rId952" Type="http://schemas.openxmlformats.org/officeDocument/2006/relationships/tags" Target="../tags/tag958.xml"/><Relationship Id="rId81" Type="http://schemas.openxmlformats.org/officeDocument/2006/relationships/tags" Target="../tags/tag87.xml"/><Relationship Id="rId135" Type="http://schemas.openxmlformats.org/officeDocument/2006/relationships/tags" Target="../tags/tag141.xml"/><Relationship Id="rId177" Type="http://schemas.openxmlformats.org/officeDocument/2006/relationships/tags" Target="../tags/tag183.xml"/><Relationship Id="rId342" Type="http://schemas.openxmlformats.org/officeDocument/2006/relationships/tags" Target="../tags/tag348.xml"/><Relationship Id="rId384" Type="http://schemas.openxmlformats.org/officeDocument/2006/relationships/tags" Target="../tags/tag390.xml"/><Relationship Id="rId591" Type="http://schemas.openxmlformats.org/officeDocument/2006/relationships/tags" Target="../tags/tag597.xml"/><Relationship Id="rId605" Type="http://schemas.openxmlformats.org/officeDocument/2006/relationships/tags" Target="../tags/tag611.xml"/><Relationship Id="rId787" Type="http://schemas.openxmlformats.org/officeDocument/2006/relationships/tags" Target="../tags/tag793.xml"/><Relationship Id="rId812" Type="http://schemas.openxmlformats.org/officeDocument/2006/relationships/tags" Target="../tags/tag818.xml"/><Relationship Id="rId202" Type="http://schemas.openxmlformats.org/officeDocument/2006/relationships/tags" Target="../tags/tag208.xml"/><Relationship Id="rId244" Type="http://schemas.openxmlformats.org/officeDocument/2006/relationships/tags" Target="../tags/tag250.xml"/><Relationship Id="rId647" Type="http://schemas.openxmlformats.org/officeDocument/2006/relationships/tags" Target="../tags/tag653.xml"/><Relationship Id="rId689" Type="http://schemas.openxmlformats.org/officeDocument/2006/relationships/tags" Target="../tags/tag695.xml"/><Relationship Id="rId854" Type="http://schemas.openxmlformats.org/officeDocument/2006/relationships/tags" Target="../tags/tag860.xml"/><Relationship Id="rId896" Type="http://schemas.openxmlformats.org/officeDocument/2006/relationships/tags" Target="../tags/tag902.xml"/><Relationship Id="rId39" Type="http://schemas.openxmlformats.org/officeDocument/2006/relationships/tags" Target="../tags/tag45.xml"/><Relationship Id="rId286" Type="http://schemas.openxmlformats.org/officeDocument/2006/relationships/tags" Target="../tags/tag292.xml"/><Relationship Id="rId451" Type="http://schemas.openxmlformats.org/officeDocument/2006/relationships/tags" Target="../tags/tag457.xml"/><Relationship Id="rId493" Type="http://schemas.openxmlformats.org/officeDocument/2006/relationships/tags" Target="../tags/tag499.xml"/><Relationship Id="rId507" Type="http://schemas.openxmlformats.org/officeDocument/2006/relationships/tags" Target="../tags/tag513.xml"/><Relationship Id="rId549" Type="http://schemas.openxmlformats.org/officeDocument/2006/relationships/tags" Target="../tags/tag555.xml"/><Relationship Id="rId714" Type="http://schemas.openxmlformats.org/officeDocument/2006/relationships/tags" Target="../tags/tag720.xml"/><Relationship Id="rId756" Type="http://schemas.openxmlformats.org/officeDocument/2006/relationships/tags" Target="../tags/tag762.xml"/><Relationship Id="rId921" Type="http://schemas.openxmlformats.org/officeDocument/2006/relationships/tags" Target="../tags/tag927.xml"/><Relationship Id="rId50" Type="http://schemas.openxmlformats.org/officeDocument/2006/relationships/tags" Target="../tags/tag56.xml"/><Relationship Id="rId104" Type="http://schemas.openxmlformats.org/officeDocument/2006/relationships/tags" Target="../tags/tag110.xml"/><Relationship Id="rId146" Type="http://schemas.openxmlformats.org/officeDocument/2006/relationships/tags" Target="../tags/tag152.xml"/><Relationship Id="rId188" Type="http://schemas.openxmlformats.org/officeDocument/2006/relationships/tags" Target="../tags/tag194.xml"/><Relationship Id="rId311" Type="http://schemas.openxmlformats.org/officeDocument/2006/relationships/tags" Target="../tags/tag317.xml"/><Relationship Id="rId353" Type="http://schemas.openxmlformats.org/officeDocument/2006/relationships/tags" Target="../tags/tag359.xml"/><Relationship Id="rId395" Type="http://schemas.openxmlformats.org/officeDocument/2006/relationships/tags" Target="../tags/tag401.xml"/><Relationship Id="rId409" Type="http://schemas.openxmlformats.org/officeDocument/2006/relationships/tags" Target="../tags/tag415.xml"/><Relationship Id="rId560" Type="http://schemas.openxmlformats.org/officeDocument/2006/relationships/tags" Target="../tags/tag566.xml"/><Relationship Id="rId798" Type="http://schemas.openxmlformats.org/officeDocument/2006/relationships/tags" Target="../tags/tag804.xml"/><Relationship Id="rId963" Type="http://schemas.openxmlformats.org/officeDocument/2006/relationships/tags" Target="../tags/tag969.xml"/><Relationship Id="rId92" Type="http://schemas.openxmlformats.org/officeDocument/2006/relationships/tags" Target="../tags/tag98.xml"/><Relationship Id="rId213" Type="http://schemas.openxmlformats.org/officeDocument/2006/relationships/tags" Target="../tags/tag219.xml"/><Relationship Id="rId420" Type="http://schemas.openxmlformats.org/officeDocument/2006/relationships/tags" Target="../tags/tag426.xml"/><Relationship Id="rId616" Type="http://schemas.openxmlformats.org/officeDocument/2006/relationships/tags" Target="../tags/tag622.xml"/><Relationship Id="rId658" Type="http://schemas.openxmlformats.org/officeDocument/2006/relationships/tags" Target="../tags/tag664.xml"/><Relationship Id="rId823" Type="http://schemas.openxmlformats.org/officeDocument/2006/relationships/tags" Target="../tags/tag829.xml"/><Relationship Id="rId865" Type="http://schemas.openxmlformats.org/officeDocument/2006/relationships/tags" Target="../tags/tag871.xml"/><Relationship Id="rId255" Type="http://schemas.openxmlformats.org/officeDocument/2006/relationships/tags" Target="../tags/tag261.xml"/><Relationship Id="rId297" Type="http://schemas.openxmlformats.org/officeDocument/2006/relationships/tags" Target="../tags/tag303.xml"/><Relationship Id="rId462" Type="http://schemas.openxmlformats.org/officeDocument/2006/relationships/tags" Target="../tags/tag468.xml"/><Relationship Id="rId518" Type="http://schemas.openxmlformats.org/officeDocument/2006/relationships/tags" Target="../tags/tag524.xml"/><Relationship Id="rId725" Type="http://schemas.openxmlformats.org/officeDocument/2006/relationships/tags" Target="../tags/tag731.xml"/><Relationship Id="rId932" Type="http://schemas.openxmlformats.org/officeDocument/2006/relationships/tags" Target="../tags/tag938.xml"/><Relationship Id="rId115" Type="http://schemas.openxmlformats.org/officeDocument/2006/relationships/tags" Target="../tags/tag121.xml"/><Relationship Id="rId157" Type="http://schemas.openxmlformats.org/officeDocument/2006/relationships/tags" Target="../tags/tag163.xml"/><Relationship Id="rId322" Type="http://schemas.openxmlformats.org/officeDocument/2006/relationships/tags" Target="../tags/tag328.xml"/><Relationship Id="rId364" Type="http://schemas.openxmlformats.org/officeDocument/2006/relationships/tags" Target="../tags/tag370.xml"/><Relationship Id="rId767" Type="http://schemas.openxmlformats.org/officeDocument/2006/relationships/tags" Target="../tags/tag773.xml"/><Relationship Id="rId974" Type="http://schemas.openxmlformats.org/officeDocument/2006/relationships/slideLayout" Target="../slideLayouts/slideLayout2.xml"/><Relationship Id="rId61" Type="http://schemas.openxmlformats.org/officeDocument/2006/relationships/tags" Target="../tags/tag67.xml"/><Relationship Id="rId199" Type="http://schemas.openxmlformats.org/officeDocument/2006/relationships/tags" Target="../tags/tag205.xml"/><Relationship Id="rId571" Type="http://schemas.openxmlformats.org/officeDocument/2006/relationships/tags" Target="../tags/tag577.xml"/><Relationship Id="rId627" Type="http://schemas.openxmlformats.org/officeDocument/2006/relationships/tags" Target="../tags/tag633.xml"/><Relationship Id="rId669" Type="http://schemas.openxmlformats.org/officeDocument/2006/relationships/tags" Target="../tags/tag675.xml"/><Relationship Id="rId834" Type="http://schemas.openxmlformats.org/officeDocument/2006/relationships/tags" Target="../tags/tag840.xml"/><Relationship Id="rId876" Type="http://schemas.openxmlformats.org/officeDocument/2006/relationships/tags" Target="../tags/tag882.xml"/><Relationship Id="rId19" Type="http://schemas.openxmlformats.org/officeDocument/2006/relationships/tags" Target="../tags/tag25.xml"/><Relationship Id="rId224" Type="http://schemas.openxmlformats.org/officeDocument/2006/relationships/tags" Target="../tags/tag230.xml"/><Relationship Id="rId266" Type="http://schemas.openxmlformats.org/officeDocument/2006/relationships/tags" Target="../tags/tag272.xml"/><Relationship Id="rId431" Type="http://schemas.openxmlformats.org/officeDocument/2006/relationships/tags" Target="../tags/tag437.xml"/><Relationship Id="rId473" Type="http://schemas.openxmlformats.org/officeDocument/2006/relationships/tags" Target="../tags/tag479.xml"/><Relationship Id="rId529" Type="http://schemas.openxmlformats.org/officeDocument/2006/relationships/tags" Target="../tags/tag535.xml"/><Relationship Id="rId680" Type="http://schemas.openxmlformats.org/officeDocument/2006/relationships/tags" Target="../tags/tag686.xml"/><Relationship Id="rId736" Type="http://schemas.openxmlformats.org/officeDocument/2006/relationships/tags" Target="../tags/tag742.xml"/><Relationship Id="rId901" Type="http://schemas.openxmlformats.org/officeDocument/2006/relationships/tags" Target="../tags/tag907.xml"/><Relationship Id="rId30" Type="http://schemas.openxmlformats.org/officeDocument/2006/relationships/tags" Target="../tags/tag36.xml"/><Relationship Id="rId126" Type="http://schemas.openxmlformats.org/officeDocument/2006/relationships/tags" Target="../tags/tag132.xml"/><Relationship Id="rId168" Type="http://schemas.openxmlformats.org/officeDocument/2006/relationships/tags" Target="../tags/tag174.xml"/><Relationship Id="rId333" Type="http://schemas.openxmlformats.org/officeDocument/2006/relationships/tags" Target="../tags/tag339.xml"/><Relationship Id="rId540" Type="http://schemas.openxmlformats.org/officeDocument/2006/relationships/tags" Target="../tags/tag546.xml"/><Relationship Id="rId778" Type="http://schemas.openxmlformats.org/officeDocument/2006/relationships/tags" Target="../tags/tag784.xml"/><Relationship Id="rId943" Type="http://schemas.openxmlformats.org/officeDocument/2006/relationships/tags" Target="../tags/tag949.xml"/><Relationship Id="rId72" Type="http://schemas.openxmlformats.org/officeDocument/2006/relationships/tags" Target="../tags/tag78.xml"/><Relationship Id="rId375" Type="http://schemas.openxmlformats.org/officeDocument/2006/relationships/tags" Target="../tags/tag381.xml"/><Relationship Id="rId582" Type="http://schemas.openxmlformats.org/officeDocument/2006/relationships/tags" Target="../tags/tag588.xml"/><Relationship Id="rId638" Type="http://schemas.openxmlformats.org/officeDocument/2006/relationships/tags" Target="../tags/tag644.xml"/><Relationship Id="rId803" Type="http://schemas.openxmlformats.org/officeDocument/2006/relationships/tags" Target="../tags/tag809.xml"/><Relationship Id="rId845" Type="http://schemas.openxmlformats.org/officeDocument/2006/relationships/tags" Target="../tags/tag851.xml"/><Relationship Id="rId3" Type="http://schemas.openxmlformats.org/officeDocument/2006/relationships/tags" Target="../tags/tag9.xml"/><Relationship Id="rId235" Type="http://schemas.openxmlformats.org/officeDocument/2006/relationships/tags" Target="../tags/tag241.xml"/><Relationship Id="rId277" Type="http://schemas.openxmlformats.org/officeDocument/2006/relationships/tags" Target="../tags/tag283.xml"/><Relationship Id="rId400" Type="http://schemas.openxmlformats.org/officeDocument/2006/relationships/tags" Target="../tags/tag406.xml"/><Relationship Id="rId442" Type="http://schemas.openxmlformats.org/officeDocument/2006/relationships/tags" Target="../tags/tag448.xml"/><Relationship Id="rId484" Type="http://schemas.openxmlformats.org/officeDocument/2006/relationships/tags" Target="../tags/tag490.xml"/><Relationship Id="rId705" Type="http://schemas.openxmlformats.org/officeDocument/2006/relationships/tags" Target="../tags/tag711.xml"/><Relationship Id="rId887" Type="http://schemas.openxmlformats.org/officeDocument/2006/relationships/tags" Target="../tags/tag893.xml"/><Relationship Id="rId137" Type="http://schemas.openxmlformats.org/officeDocument/2006/relationships/tags" Target="../tags/tag143.xml"/><Relationship Id="rId302" Type="http://schemas.openxmlformats.org/officeDocument/2006/relationships/tags" Target="../tags/tag308.xml"/><Relationship Id="rId344" Type="http://schemas.openxmlformats.org/officeDocument/2006/relationships/tags" Target="../tags/tag350.xml"/><Relationship Id="rId691" Type="http://schemas.openxmlformats.org/officeDocument/2006/relationships/tags" Target="../tags/tag697.xml"/><Relationship Id="rId747" Type="http://schemas.openxmlformats.org/officeDocument/2006/relationships/tags" Target="../tags/tag753.xml"/><Relationship Id="rId789" Type="http://schemas.openxmlformats.org/officeDocument/2006/relationships/tags" Target="../tags/tag795.xml"/><Relationship Id="rId912" Type="http://schemas.openxmlformats.org/officeDocument/2006/relationships/tags" Target="../tags/tag918.xml"/><Relationship Id="rId954" Type="http://schemas.openxmlformats.org/officeDocument/2006/relationships/tags" Target="../tags/tag960.xml"/><Relationship Id="rId41" Type="http://schemas.openxmlformats.org/officeDocument/2006/relationships/tags" Target="../tags/tag47.xml"/><Relationship Id="rId83" Type="http://schemas.openxmlformats.org/officeDocument/2006/relationships/tags" Target="../tags/tag89.xml"/><Relationship Id="rId179" Type="http://schemas.openxmlformats.org/officeDocument/2006/relationships/tags" Target="../tags/tag185.xml"/><Relationship Id="rId386" Type="http://schemas.openxmlformats.org/officeDocument/2006/relationships/tags" Target="../tags/tag392.xml"/><Relationship Id="rId551" Type="http://schemas.openxmlformats.org/officeDocument/2006/relationships/tags" Target="../tags/tag557.xml"/><Relationship Id="rId593" Type="http://schemas.openxmlformats.org/officeDocument/2006/relationships/tags" Target="../tags/tag599.xml"/><Relationship Id="rId607" Type="http://schemas.openxmlformats.org/officeDocument/2006/relationships/tags" Target="../tags/tag613.xml"/><Relationship Id="rId649" Type="http://schemas.openxmlformats.org/officeDocument/2006/relationships/tags" Target="../tags/tag655.xml"/><Relationship Id="rId814" Type="http://schemas.openxmlformats.org/officeDocument/2006/relationships/tags" Target="../tags/tag820.xml"/><Relationship Id="rId856" Type="http://schemas.openxmlformats.org/officeDocument/2006/relationships/tags" Target="../tags/tag862.xml"/><Relationship Id="rId190" Type="http://schemas.openxmlformats.org/officeDocument/2006/relationships/tags" Target="../tags/tag196.xml"/><Relationship Id="rId204" Type="http://schemas.openxmlformats.org/officeDocument/2006/relationships/tags" Target="../tags/tag210.xml"/><Relationship Id="rId246" Type="http://schemas.openxmlformats.org/officeDocument/2006/relationships/tags" Target="../tags/tag252.xml"/><Relationship Id="rId288" Type="http://schemas.openxmlformats.org/officeDocument/2006/relationships/tags" Target="../tags/tag294.xml"/><Relationship Id="rId411" Type="http://schemas.openxmlformats.org/officeDocument/2006/relationships/tags" Target="../tags/tag417.xml"/><Relationship Id="rId453" Type="http://schemas.openxmlformats.org/officeDocument/2006/relationships/tags" Target="../tags/tag459.xml"/><Relationship Id="rId509" Type="http://schemas.openxmlformats.org/officeDocument/2006/relationships/tags" Target="../tags/tag515.xml"/><Relationship Id="rId660" Type="http://schemas.openxmlformats.org/officeDocument/2006/relationships/tags" Target="../tags/tag666.xml"/><Relationship Id="rId898" Type="http://schemas.openxmlformats.org/officeDocument/2006/relationships/tags" Target="../tags/tag904.xml"/><Relationship Id="rId106" Type="http://schemas.openxmlformats.org/officeDocument/2006/relationships/tags" Target="../tags/tag112.xml"/><Relationship Id="rId313" Type="http://schemas.openxmlformats.org/officeDocument/2006/relationships/tags" Target="../tags/tag319.xml"/><Relationship Id="rId495" Type="http://schemas.openxmlformats.org/officeDocument/2006/relationships/tags" Target="../tags/tag501.xml"/><Relationship Id="rId716" Type="http://schemas.openxmlformats.org/officeDocument/2006/relationships/tags" Target="../tags/tag722.xml"/><Relationship Id="rId758" Type="http://schemas.openxmlformats.org/officeDocument/2006/relationships/tags" Target="../tags/tag764.xml"/><Relationship Id="rId923" Type="http://schemas.openxmlformats.org/officeDocument/2006/relationships/tags" Target="../tags/tag929.xml"/><Relationship Id="rId965" Type="http://schemas.openxmlformats.org/officeDocument/2006/relationships/tags" Target="../tags/tag971.xml"/><Relationship Id="rId10" Type="http://schemas.openxmlformats.org/officeDocument/2006/relationships/tags" Target="../tags/tag16.xml"/><Relationship Id="rId52" Type="http://schemas.openxmlformats.org/officeDocument/2006/relationships/tags" Target="../tags/tag58.xml"/><Relationship Id="rId94" Type="http://schemas.openxmlformats.org/officeDocument/2006/relationships/tags" Target="../tags/tag100.xml"/><Relationship Id="rId148" Type="http://schemas.openxmlformats.org/officeDocument/2006/relationships/tags" Target="../tags/tag154.xml"/><Relationship Id="rId355" Type="http://schemas.openxmlformats.org/officeDocument/2006/relationships/tags" Target="../tags/tag361.xml"/><Relationship Id="rId397" Type="http://schemas.openxmlformats.org/officeDocument/2006/relationships/tags" Target="../tags/tag403.xml"/><Relationship Id="rId520" Type="http://schemas.openxmlformats.org/officeDocument/2006/relationships/tags" Target="../tags/tag526.xml"/><Relationship Id="rId562" Type="http://schemas.openxmlformats.org/officeDocument/2006/relationships/tags" Target="../tags/tag568.xml"/><Relationship Id="rId618" Type="http://schemas.openxmlformats.org/officeDocument/2006/relationships/tags" Target="../tags/tag624.xml"/><Relationship Id="rId825" Type="http://schemas.openxmlformats.org/officeDocument/2006/relationships/tags" Target="../tags/tag831.xml"/><Relationship Id="rId215" Type="http://schemas.openxmlformats.org/officeDocument/2006/relationships/tags" Target="../tags/tag221.xml"/><Relationship Id="rId257" Type="http://schemas.openxmlformats.org/officeDocument/2006/relationships/tags" Target="../tags/tag263.xml"/><Relationship Id="rId422" Type="http://schemas.openxmlformats.org/officeDocument/2006/relationships/tags" Target="../tags/tag428.xml"/><Relationship Id="rId464" Type="http://schemas.openxmlformats.org/officeDocument/2006/relationships/tags" Target="../tags/tag470.xml"/><Relationship Id="rId867" Type="http://schemas.openxmlformats.org/officeDocument/2006/relationships/tags" Target="../tags/tag873.xml"/><Relationship Id="rId299" Type="http://schemas.openxmlformats.org/officeDocument/2006/relationships/tags" Target="../tags/tag305.xml"/><Relationship Id="rId727" Type="http://schemas.openxmlformats.org/officeDocument/2006/relationships/tags" Target="../tags/tag733.xml"/><Relationship Id="rId934" Type="http://schemas.openxmlformats.org/officeDocument/2006/relationships/tags" Target="../tags/tag940.xml"/><Relationship Id="rId63" Type="http://schemas.openxmlformats.org/officeDocument/2006/relationships/tags" Target="../tags/tag69.xml"/><Relationship Id="rId159" Type="http://schemas.openxmlformats.org/officeDocument/2006/relationships/tags" Target="../tags/tag165.xml"/><Relationship Id="rId366" Type="http://schemas.openxmlformats.org/officeDocument/2006/relationships/tags" Target="../tags/tag372.xml"/><Relationship Id="rId573" Type="http://schemas.openxmlformats.org/officeDocument/2006/relationships/tags" Target="../tags/tag579.xml"/><Relationship Id="rId780" Type="http://schemas.openxmlformats.org/officeDocument/2006/relationships/tags" Target="../tags/tag786.xml"/><Relationship Id="rId226" Type="http://schemas.openxmlformats.org/officeDocument/2006/relationships/tags" Target="../tags/tag232.xml"/><Relationship Id="rId433" Type="http://schemas.openxmlformats.org/officeDocument/2006/relationships/tags" Target="../tags/tag439.xml"/><Relationship Id="rId878" Type="http://schemas.openxmlformats.org/officeDocument/2006/relationships/tags" Target="../tags/tag884.xml"/><Relationship Id="rId640" Type="http://schemas.openxmlformats.org/officeDocument/2006/relationships/tags" Target="../tags/tag646.xml"/><Relationship Id="rId738" Type="http://schemas.openxmlformats.org/officeDocument/2006/relationships/tags" Target="../tags/tag744.xml"/><Relationship Id="rId945" Type="http://schemas.openxmlformats.org/officeDocument/2006/relationships/tags" Target="../tags/tag951.xml"/><Relationship Id="rId74" Type="http://schemas.openxmlformats.org/officeDocument/2006/relationships/tags" Target="../tags/tag80.xml"/><Relationship Id="rId377" Type="http://schemas.openxmlformats.org/officeDocument/2006/relationships/tags" Target="../tags/tag383.xml"/><Relationship Id="rId500" Type="http://schemas.openxmlformats.org/officeDocument/2006/relationships/tags" Target="../tags/tag506.xml"/><Relationship Id="rId584" Type="http://schemas.openxmlformats.org/officeDocument/2006/relationships/tags" Target="../tags/tag590.xml"/><Relationship Id="rId805" Type="http://schemas.openxmlformats.org/officeDocument/2006/relationships/tags" Target="../tags/tag811.xml"/><Relationship Id="rId5" Type="http://schemas.openxmlformats.org/officeDocument/2006/relationships/tags" Target="../tags/tag11.xml"/><Relationship Id="rId237" Type="http://schemas.openxmlformats.org/officeDocument/2006/relationships/tags" Target="../tags/tag243.xml"/><Relationship Id="rId791" Type="http://schemas.openxmlformats.org/officeDocument/2006/relationships/tags" Target="../tags/tag797.xml"/><Relationship Id="rId889" Type="http://schemas.openxmlformats.org/officeDocument/2006/relationships/tags" Target="../tags/tag895.xml"/><Relationship Id="rId444" Type="http://schemas.openxmlformats.org/officeDocument/2006/relationships/tags" Target="../tags/tag450.xml"/><Relationship Id="rId651" Type="http://schemas.openxmlformats.org/officeDocument/2006/relationships/tags" Target="../tags/tag657.xml"/><Relationship Id="rId749" Type="http://schemas.openxmlformats.org/officeDocument/2006/relationships/tags" Target="../tags/tag755.xml"/><Relationship Id="rId290" Type="http://schemas.openxmlformats.org/officeDocument/2006/relationships/tags" Target="../tags/tag296.xml"/><Relationship Id="rId304" Type="http://schemas.openxmlformats.org/officeDocument/2006/relationships/tags" Target="../tags/tag310.xml"/><Relationship Id="rId388" Type="http://schemas.openxmlformats.org/officeDocument/2006/relationships/tags" Target="../tags/tag394.xml"/><Relationship Id="rId511" Type="http://schemas.openxmlformats.org/officeDocument/2006/relationships/tags" Target="../tags/tag517.xml"/><Relationship Id="rId609" Type="http://schemas.openxmlformats.org/officeDocument/2006/relationships/tags" Target="../tags/tag615.xml"/><Relationship Id="rId956" Type="http://schemas.openxmlformats.org/officeDocument/2006/relationships/tags" Target="../tags/tag962.xml"/><Relationship Id="rId85" Type="http://schemas.openxmlformats.org/officeDocument/2006/relationships/tags" Target="../tags/tag91.xml"/><Relationship Id="rId150" Type="http://schemas.openxmlformats.org/officeDocument/2006/relationships/tags" Target="../tags/tag156.xml"/><Relationship Id="rId595" Type="http://schemas.openxmlformats.org/officeDocument/2006/relationships/tags" Target="../tags/tag601.xml"/><Relationship Id="rId816" Type="http://schemas.openxmlformats.org/officeDocument/2006/relationships/tags" Target="../tags/tag822.xml"/><Relationship Id="rId248" Type="http://schemas.openxmlformats.org/officeDocument/2006/relationships/tags" Target="../tags/tag254.xml"/><Relationship Id="rId455" Type="http://schemas.openxmlformats.org/officeDocument/2006/relationships/tags" Target="../tags/tag461.xml"/><Relationship Id="rId662" Type="http://schemas.openxmlformats.org/officeDocument/2006/relationships/tags" Target="../tags/tag668.xml"/><Relationship Id="rId12" Type="http://schemas.openxmlformats.org/officeDocument/2006/relationships/tags" Target="../tags/tag18.xml"/><Relationship Id="rId108" Type="http://schemas.openxmlformats.org/officeDocument/2006/relationships/tags" Target="../tags/tag114.xml"/><Relationship Id="rId315" Type="http://schemas.openxmlformats.org/officeDocument/2006/relationships/tags" Target="../tags/tag321.xml"/><Relationship Id="rId522" Type="http://schemas.openxmlformats.org/officeDocument/2006/relationships/tags" Target="../tags/tag528.xml"/><Relationship Id="rId967" Type="http://schemas.openxmlformats.org/officeDocument/2006/relationships/tags" Target="../tags/tag973.xml"/><Relationship Id="rId96" Type="http://schemas.openxmlformats.org/officeDocument/2006/relationships/tags" Target="../tags/tag102.xml"/><Relationship Id="rId161" Type="http://schemas.openxmlformats.org/officeDocument/2006/relationships/tags" Target="../tags/tag167.xml"/><Relationship Id="rId399" Type="http://schemas.openxmlformats.org/officeDocument/2006/relationships/tags" Target="../tags/tag405.xml"/><Relationship Id="rId827" Type="http://schemas.openxmlformats.org/officeDocument/2006/relationships/tags" Target="../tags/tag833.xml"/><Relationship Id="rId259" Type="http://schemas.openxmlformats.org/officeDocument/2006/relationships/tags" Target="../tags/tag265.xml"/><Relationship Id="rId466" Type="http://schemas.openxmlformats.org/officeDocument/2006/relationships/tags" Target="../tags/tag472.xml"/><Relationship Id="rId673" Type="http://schemas.openxmlformats.org/officeDocument/2006/relationships/tags" Target="../tags/tag679.xml"/><Relationship Id="rId880" Type="http://schemas.openxmlformats.org/officeDocument/2006/relationships/tags" Target="../tags/tag886.xml"/><Relationship Id="rId23" Type="http://schemas.openxmlformats.org/officeDocument/2006/relationships/tags" Target="../tags/tag29.xml"/><Relationship Id="rId119" Type="http://schemas.openxmlformats.org/officeDocument/2006/relationships/tags" Target="../tags/tag125.xml"/><Relationship Id="rId326" Type="http://schemas.openxmlformats.org/officeDocument/2006/relationships/tags" Target="../tags/tag332.xml"/><Relationship Id="rId533" Type="http://schemas.openxmlformats.org/officeDocument/2006/relationships/tags" Target="../tags/tag539.xml"/><Relationship Id="rId740" Type="http://schemas.openxmlformats.org/officeDocument/2006/relationships/tags" Target="../tags/tag746.xml"/><Relationship Id="rId838" Type="http://schemas.openxmlformats.org/officeDocument/2006/relationships/tags" Target="../tags/tag844.xml"/><Relationship Id="rId172" Type="http://schemas.openxmlformats.org/officeDocument/2006/relationships/tags" Target="../tags/tag178.xml"/><Relationship Id="rId477" Type="http://schemas.openxmlformats.org/officeDocument/2006/relationships/tags" Target="../tags/tag483.xml"/><Relationship Id="rId600" Type="http://schemas.openxmlformats.org/officeDocument/2006/relationships/tags" Target="../tags/tag606.xml"/><Relationship Id="rId684" Type="http://schemas.openxmlformats.org/officeDocument/2006/relationships/tags" Target="../tags/tag690.xml"/><Relationship Id="rId337" Type="http://schemas.openxmlformats.org/officeDocument/2006/relationships/tags" Target="../tags/tag343.xml"/><Relationship Id="rId891" Type="http://schemas.openxmlformats.org/officeDocument/2006/relationships/tags" Target="../tags/tag897.xml"/><Relationship Id="rId905" Type="http://schemas.openxmlformats.org/officeDocument/2006/relationships/tags" Target="../tags/tag911.xml"/><Relationship Id="rId34" Type="http://schemas.openxmlformats.org/officeDocument/2006/relationships/tags" Target="../tags/tag40.xml"/><Relationship Id="rId544" Type="http://schemas.openxmlformats.org/officeDocument/2006/relationships/tags" Target="../tags/tag550.xml"/><Relationship Id="rId751" Type="http://schemas.openxmlformats.org/officeDocument/2006/relationships/tags" Target="../tags/tag757.xml"/><Relationship Id="rId849" Type="http://schemas.openxmlformats.org/officeDocument/2006/relationships/tags" Target="../tags/tag855.xml"/><Relationship Id="rId183" Type="http://schemas.openxmlformats.org/officeDocument/2006/relationships/tags" Target="../tags/tag189.xml"/><Relationship Id="rId390" Type="http://schemas.openxmlformats.org/officeDocument/2006/relationships/tags" Target="../tags/tag396.xml"/><Relationship Id="rId404" Type="http://schemas.openxmlformats.org/officeDocument/2006/relationships/tags" Target="../tags/tag410.xml"/><Relationship Id="rId611" Type="http://schemas.openxmlformats.org/officeDocument/2006/relationships/tags" Target="../tags/tag617.xml"/><Relationship Id="rId250" Type="http://schemas.openxmlformats.org/officeDocument/2006/relationships/tags" Target="../tags/tag256.xml"/><Relationship Id="rId488" Type="http://schemas.openxmlformats.org/officeDocument/2006/relationships/tags" Target="../tags/tag494.xml"/><Relationship Id="rId695" Type="http://schemas.openxmlformats.org/officeDocument/2006/relationships/tags" Target="../tags/tag701.xml"/><Relationship Id="rId709" Type="http://schemas.openxmlformats.org/officeDocument/2006/relationships/tags" Target="../tags/tag715.xml"/><Relationship Id="rId916" Type="http://schemas.openxmlformats.org/officeDocument/2006/relationships/tags" Target="../tags/tag922.xml"/><Relationship Id="rId45" Type="http://schemas.openxmlformats.org/officeDocument/2006/relationships/tags" Target="../tags/tag51.xml"/><Relationship Id="rId110" Type="http://schemas.openxmlformats.org/officeDocument/2006/relationships/tags" Target="../tags/tag116.xml"/><Relationship Id="rId348" Type="http://schemas.openxmlformats.org/officeDocument/2006/relationships/tags" Target="../tags/tag354.xml"/><Relationship Id="rId555" Type="http://schemas.openxmlformats.org/officeDocument/2006/relationships/tags" Target="../tags/tag561.xml"/><Relationship Id="rId762" Type="http://schemas.openxmlformats.org/officeDocument/2006/relationships/tags" Target="../tags/tag768.xml"/><Relationship Id="rId194" Type="http://schemas.openxmlformats.org/officeDocument/2006/relationships/tags" Target="../tags/tag200.xml"/><Relationship Id="rId208" Type="http://schemas.openxmlformats.org/officeDocument/2006/relationships/tags" Target="../tags/tag214.xml"/><Relationship Id="rId415" Type="http://schemas.openxmlformats.org/officeDocument/2006/relationships/tags" Target="../tags/tag421.xml"/><Relationship Id="rId622" Type="http://schemas.openxmlformats.org/officeDocument/2006/relationships/tags" Target="../tags/tag628.xml"/><Relationship Id="rId261" Type="http://schemas.openxmlformats.org/officeDocument/2006/relationships/tags" Target="../tags/tag267.xml"/><Relationship Id="rId499" Type="http://schemas.openxmlformats.org/officeDocument/2006/relationships/tags" Target="../tags/tag505.xml"/><Relationship Id="rId927" Type="http://schemas.openxmlformats.org/officeDocument/2006/relationships/tags" Target="../tags/tag933.xml"/><Relationship Id="rId56" Type="http://schemas.openxmlformats.org/officeDocument/2006/relationships/tags" Target="../tags/tag62.xml"/><Relationship Id="rId359" Type="http://schemas.openxmlformats.org/officeDocument/2006/relationships/tags" Target="../tags/tag365.xml"/><Relationship Id="rId566" Type="http://schemas.openxmlformats.org/officeDocument/2006/relationships/tags" Target="../tags/tag572.xml"/><Relationship Id="rId773" Type="http://schemas.openxmlformats.org/officeDocument/2006/relationships/tags" Target="../tags/tag779.xml"/><Relationship Id="rId121" Type="http://schemas.openxmlformats.org/officeDocument/2006/relationships/tags" Target="../tags/tag127.xml"/><Relationship Id="rId219" Type="http://schemas.openxmlformats.org/officeDocument/2006/relationships/tags" Target="../tags/tag225.xml"/><Relationship Id="rId426" Type="http://schemas.openxmlformats.org/officeDocument/2006/relationships/tags" Target="../tags/tag432.xml"/><Relationship Id="rId633" Type="http://schemas.openxmlformats.org/officeDocument/2006/relationships/tags" Target="../tags/tag639.xml"/><Relationship Id="rId840" Type="http://schemas.openxmlformats.org/officeDocument/2006/relationships/tags" Target="../tags/tag846.xml"/><Relationship Id="rId938" Type="http://schemas.openxmlformats.org/officeDocument/2006/relationships/tags" Target="../tags/tag944.xml"/><Relationship Id="rId67" Type="http://schemas.openxmlformats.org/officeDocument/2006/relationships/tags" Target="../tags/tag73.xml"/><Relationship Id="rId272" Type="http://schemas.openxmlformats.org/officeDocument/2006/relationships/tags" Target="../tags/tag278.xml"/><Relationship Id="rId577" Type="http://schemas.openxmlformats.org/officeDocument/2006/relationships/tags" Target="../tags/tag583.xml"/><Relationship Id="rId700" Type="http://schemas.openxmlformats.org/officeDocument/2006/relationships/tags" Target="../tags/tag706.xml"/><Relationship Id="rId132" Type="http://schemas.openxmlformats.org/officeDocument/2006/relationships/tags" Target="../tags/tag138.xml"/><Relationship Id="rId784" Type="http://schemas.openxmlformats.org/officeDocument/2006/relationships/tags" Target="../tags/tag790.xml"/><Relationship Id="rId437" Type="http://schemas.openxmlformats.org/officeDocument/2006/relationships/tags" Target="../tags/tag443.xml"/><Relationship Id="rId644" Type="http://schemas.openxmlformats.org/officeDocument/2006/relationships/tags" Target="../tags/tag650.xml"/><Relationship Id="rId851" Type="http://schemas.openxmlformats.org/officeDocument/2006/relationships/tags" Target="../tags/tag857.xml"/><Relationship Id="rId283" Type="http://schemas.openxmlformats.org/officeDocument/2006/relationships/tags" Target="../tags/tag289.xml"/><Relationship Id="rId490" Type="http://schemas.openxmlformats.org/officeDocument/2006/relationships/tags" Target="../tags/tag496.xml"/><Relationship Id="rId504" Type="http://schemas.openxmlformats.org/officeDocument/2006/relationships/tags" Target="../tags/tag510.xml"/><Relationship Id="rId711" Type="http://schemas.openxmlformats.org/officeDocument/2006/relationships/tags" Target="../tags/tag717.xml"/><Relationship Id="rId949" Type="http://schemas.openxmlformats.org/officeDocument/2006/relationships/tags" Target="../tags/tag955.xml"/><Relationship Id="rId78" Type="http://schemas.openxmlformats.org/officeDocument/2006/relationships/tags" Target="../tags/tag84.xml"/><Relationship Id="rId143" Type="http://schemas.openxmlformats.org/officeDocument/2006/relationships/tags" Target="../tags/tag149.xml"/><Relationship Id="rId350" Type="http://schemas.openxmlformats.org/officeDocument/2006/relationships/tags" Target="../tags/tag356.xml"/><Relationship Id="rId588" Type="http://schemas.openxmlformats.org/officeDocument/2006/relationships/tags" Target="../tags/tag594.xml"/><Relationship Id="rId795" Type="http://schemas.openxmlformats.org/officeDocument/2006/relationships/tags" Target="../tags/tag801.xml"/><Relationship Id="rId809" Type="http://schemas.openxmlformats.org/officeDocument/2006/relationships/tags" Target="../tags/tag815.xml"/><Relationship Id="rId9" Type="http://schemas.openxmlformats.org/officeDocument/2006/relationships/tags" Target="../tags/tag15.xml"/><Relationship Id="rId210" Type="http://schemas.openxmlformats.org/officeDocument/2006/relationships/tags" Target="../tags/tag216.xml"/><Relationship Id="rId448" Type="http://schemas.openxmlformats.org/officeDocument/2006/relationships/tags" Target="../tags/tag454.xml"/><Relationship Id="rId655" Type="http://schemas.openxmlformats.org/officeDocument/2006/relationships/tags" Target="../tags/tag661.xml"/><Relationship Id="rId862" Type="http://schemas.openxmlformats.org/officeDocument/2006/relationships/tags" Target="../tags/tag868.xml"/><Relationship Id="rId294" Type="http://schemas.openxmlformats.org/officeDocument/2006/relationships/tags" Target="../tags/tag300.xml"/><Relationship Id="rId308" Type="http://schemas.openxmlformats.org/officeDocument/2006/relationships/tags" Target="../tags/tag314.xml"/><Relationship Id="rId515" Type="http://schemas.openxmlformats.org/officeDocument/2006/relationships/tags" Target="../tags/tag521.xml"/><Relationship Id="rId722" Type="http://schemas.openxmlformats.org/officeDocument/2006/relationships/tags" Target="../tags/tag728.xml"/><Relationship Id="rId89" Type="http://schemas.openxmlformats.org/officeDocument/2006/relationships/tags" Target="../tags/tag95.xml"/><Relationship Id="rId154" Type="http://schemas.openxmlformats.org/officeDocument/2006/relationships/tags" Target="../tags/tag160.xml"/><Relationship Id="rId361" Type="http://schemas.openxmlformats.org/officeDocument/2006/relationships/tags" Target="../tags/tag367.xml"/><Relationship Id="rId599" Type="http://schemas.openxmlformats.org/officeDocument/2006/relationships/tags" Target="../tags/tag605.xml"/><Relationship Id="rId459" Type="http://schemas.openxmlformats.org/officeDocument/2006/relationships/tags" Target="../tags/tag465.xml"/><Relationship Id="rId666" Type="http://schemas.openxmlformats.org/officeDocument/2006/relationships/tags" Target="../tags/tag672.xml"/><Relationship Id="rId873" Type="http://schemas.openxmlformats.org/officeDocument/2006/relationships/tags" Target="../tags/tag87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981.xml"/><Relationship Id="rId7" Type="http://schemas.openxmlformats.org/officeDocument/2006/relationships/image" Target="../media/image39.png"/><Relationship Id="rId2" Type="http://schemas.openxmlformats.org/officeDocument/2006/relationships/tags" Target="../tags/tag980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jpeg"/><Relationship Id="rId18" Type="http://schemas.openxmlformats.org/officeDocument/2006/relationships/image" Target="../media/image55.jpeg"/><Relationship Id="rId26" Type="http://schemas.openxmlformats.org/officeDocument/2006/relationships/image" Target="../media/image63.gif"/><Relationship Id="rId3" Type="http://schemas.openxmlformats.org/officeDocument/2006/relationships/image" Target="../media/image40.jpeg"/><Relationship Id="rId21" Type="http://schemas.openxmlformats.org/officeDocument/2006/relationships/image" Target="../media/image58.png"/><Relationship Id="rId7" Type="http://schemas.openxmlformats.org/officeDocument/2006/relationships/image" Target="../media/image44.jpeg"/><Relationship Id="rId12" Type="http://schemas.openxmlformats.org/officeDocument/2006/relationships/image" Target="../media/image49.jpeg"/><Relationship Id="rId17" Type="http://schemas.openxmlformats.org/officeDocument/2006/relationships/image" Target="../media/image54.png"/><Relationship Id="rId25" Type="http://schemas.openxmlformats.org/officeDocument/2006/relationships/image" Target="../media/image62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53.jpeg"/><Relationship Id="rId20" Type="http://schemas.openxmlformats.org/officeDocument/2006/relationships/image" Target="../media/image57.jpeg"/><Relationship Id="rId29" Type="http://schemas.openxmlformats.org/officeDocument/2006/relationships/image" Target="../media/image6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3.jpeg"/><Relationship Id="rId11" Type="http://schemas.openxmlformats.org/officeDocument/2006/relationships/image" Target="../media/image48.gif"/><Relationship Id="rId24" Type="http://schemas.openxmlformats.org/officeDocument/2006/relationships/image" Target="../media/image61.jpeg"/><Relationship Id="rId5" Type="http://schemas.openxmlformats.org/officeDocument/2006/relationships/image" Target="../media/image42.gif"/><Relationship Id="rId15" Type="http://schemas.openxmlformats.org/officeDocument/2006/relationships/image" Target="../media/image52.jpeg"/><Relationship Id="rId23" Type="http://schemas.openxmlformats.org/officeDocument/2006/relationships/image" Target="../media/image60.jpeg"/><Relationship Id="rId28" Type="http://schemas.openxmlformats.org/officeDocument/2006/relationships/image" Target="../media/image65.jpeg"/><Relationship Id="rId10" Type="http://schemas.openxmlformats.org/officeDocument/2006/relationships/image" Target="../media/image47.jpeg"/><Relationship Id="rId19" Type="http://schemas.openxmlformats.org/officeDocument/2006/relationships/image" Target="../media/image56.jpeg"/><Relationship Id="rId4" Type="http://schemas.openxmlformats.org/officeDocument/2006/relationships/image" Target="../media/image41.jpeg"/><Relationship Id="rId9" Type="http://schemas.openxmlformats.org/officeDocument/2006/relationships/image" Target="../media/image46.jpeg"/><Relationship Id="rId14" Type="http://schemas.openxmlformats.org/officeDocument/2006/relationships/image" Target="../media/image51.jpeg"/><Relationship Id="rId22" Type="http://schemas.openxmlformats.org/officeDocument/2006/relationships/image" Target="../media/image59.jpeg"/><Relationship Id="rId27" Type="http://schemas.openxmlformats.org/officeDocument/2006/relationships/image" Target="../media/image64.gif"/><Relationship Id="rId30" Type="http://schemas.openxmlformats.org/officeDocument/2006/relationships/image" Target="../media/image6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2771801" y="2797557"/>
            <a:ext cx="5832648" cy="1728191"/>
          </a:xfrm>
        </p:spPr>
        <p:txBody>
          <a:bodyPr>
            <a:noAutofit/>
          </a:bodyPr>
          <a:lstStyle/>
          <a:p>
            <a:pPr fontAlgn="auto">
              <a:lnSpc>
                <a:spcPct val="150000"/>
              </a:lnSpc>
              <a:spcAft>
                <a:spcPts val="0"/>
              </a:spcAft>
              <a:defRPr/>
            </a:pPr>
            <a:r>
              <a:rPr lang="en-US" dirty="0" smtClean="0"/>
              <a:t>COOPERATION WITH CHINA &amp; ARAB COUNTRIES IN OIL &amp; GAS INDUSTRY</a:t>
            </a:r>
            <a:endParaRPr lang="fr-FR" sz="1350" dirty="0"/>
          </a:p>
        </p:txBody>
      </p:sp>
      <p:sp>
        <p:nvSpPr>
          <p:cNvPr id="5" name="Rectangle 4"/>
          <p:cNvSpPr/>
          <p:nvPr/>
        </p:nvSpPr>
        <p:spPr>
          <a:xfrm>
            <a:off x="2622514" y="5013176"/>
            <a:ext cx="6120680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xth session of the Arab-China </a:t>
            </a:r>
            <a:r>
              <a:rPr lang="en-US" sz="140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operation Conference </a:t>
            </a:r>
            <a:r>
              <a:rPr lang="en-US" sz="14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 Energy </a:t>
            </a:r>
            <a:endParaRPr lang="en-US" sz="1400" b="1" dirty="0" smtClean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350" b="1" dirty="0"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350" b="1" dirty="0" err="1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iro</a:t>
            </a:r>
            <a:r>
              <a:rPr lang="fr-FR" sz="135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fr-FR" sz="1350" b="1" dirty="0" err="1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vember</a:t>
            </a:r>
            <a:r>
              <a:rPr lang="fr-FR" sz="135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05</a:t>
            </a:r>
            <a:r>
              <a:rPr lang="fr-FR" sz="1350" b="1" baseline="300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</a:t>
            </a:r>
            <a:r>
              <a:rPr lang="fr-FR" sz="135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08</a:t>
            </a:r>
            <a:r>
              <a:rPr lang="fr-FR" sz="1350" b="1" baseline="30000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</a:t>
            </a:r>
            <a:r>
              <a:rPr lang="fr-FR" sz="1350" b="1" dirty="0" smtClean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2018</a:t>
            </a:r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4791049" y="2382059"/>
            <a:ext cx="1883080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ONATRACH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6002" y="267258"/>
            <a:ext cx="1290094" cy="18172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9361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Titre 1"/>
          <p:cNvSpPr txBox="1">
            <a:spLocks/>
          </p:cNvSpPr>
          <p:nvPr/>
        </p:nvSpPr>
        <p:spPr bwMode="auto">
          <a:xfrm>
            <a:off x="4074207" y="922186"/>
            <a:ext cx="454580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3862" tIns="31931" rIns="63862" bIns="3193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sz="1500" b="1" dirty="0">
                <a:solidFill>
                  <a:srgbClr val="000000"/>
                </a:solidFill>
                <a:cs typeface="Arial" panose="020B0604020202020204" pitchFamily="34" charset="0"/>
              </a:rPr>
              <a:t>Pipelines Network </a:t>
            </a:r>
            <a:r>
              <a:rPr lang="fr-FR" altLang="fr-FR" sz="1500" b="1" dirty="0" err="1">
                <a:solidFill>
                  <a:srgbClr val="000000"/>
                </a:solidFill>
                <a:cs typeface="Arial" panose="020B0604020202020204" pitchFamily="34" charset="0"/>
              </a:rPr>
              <a:t>Map</a:t>
            </a:r>
            <a:endParaRPr lang="fr-FR" altLang="fr-FR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11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5817394" y="5667375"/>
            <a:ext cx="1200150" cy="274638"/>
          </a:xfrm>
        </p:spPr>
        <p:txBody>
          <a:bodyPr/>
          <a:lstStyle/>
          <a:p>
            <a:pPr>
              <a:defRPr/>
            </a:pPr>
            <a:fld id="{368D7E89-4F65-4163-9C7A-507B25054F6C}" type="slidenum">
              <a:rPr lang="fr-FR"/>
              <a:pPr>
                <a:defRPr/>
              </a:pPr>
              <a:t>10</a:t>
            </a:fld>
            <a:endParaRPr lang="fr-FR" dirty="0"/>
          </a:p>
        </p:txBody>
      </p:sp>
      <p:grpSp>
        <p:nvGrpSpPr>
          <p:cNvPr id="41988" name="Groupe 3"/>
          <p:cNvGrpSpPr>
            <a:grpSpLocks/>
          </p:cNvGrpSpPr>
          <p:nvPr/>
        </p:nvGrpSpPr>
        <p:grpSpPr bwMode="auto">
          <a:xfrm>
            <a:off x="3883819" y="3482975"/>
            <a:ext cx="890588" cy="647700"/>
            <a:chOff x="3043825" y="3750171"/>
            <a:chExt cx="1584176" cy="863279"/>
          </a:xfrm>
        </p:grpSpPr>
        <p:sp>
          <p:nvSpPr>
            <p:cNvPr id="14" name="ZoneTexte 13"/>
            <p:cNvSpPr txBox="1"/>
            <p:nvPr/>
          </p:nvSpPr>
          <p:spPr>
            <a:xfrm>
              <a:off x="3043825" y="3750171"/>
              <a:ext cx="1584176" cy="67685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350" dirty="0" err="1">
                  <a:solidFill>
                    <a:prstClr val="black"/>
                  </a:solidFill>
                  <a:latin typeface="+mn-lt"/>
                </a:rPr>
                <a:t>Hassi</a:t>
              </a:r>
              <a:r>
                <a:rPr lang="fr-FR" sz="1350" dirty="0">
                  <a:solidFill>
                    <a:prstClr val="black"/>
                  </a:solidFill>
                  <a:latin typeface="+mn-lt"/>
                </a:rPr>
                <a:t> </a:t>
              </a:r>
              <a:r>
                <a:rPr lang="fr-FR" sz="1350" dirty="0" err="1">
                  <a:solidFill>
                    <a:prstClr val="black"/>
                  </a:solidFill>
                  <a:latin typeface="+mn-lt"/>
                </a:rPr>
                <a:t>R’mel</a:t>
              </a:r>
              <a:endParaRPr lang="fr-FR" sz="1350" dirty="0">
                <a:solidFill>
                  <a:prstClr val="black"/>
                </a:solidFill>
                <a:latin typeface="+mn-lt"/>
              </a:endParaRPr>
            </a:p>
          </p:txBody>
        </p:sp>
        <p:grpSp>
          <p:nvGrpSpPr>
            <p:cNvPr id="41999" name="Groupe 19"/>
            <p:cNvGrpSpPr>
              <a:grpSpLocks/>
            </p:cNvGrpSpPr>
            <p:nvPr/>
          </p:nvGrpSpPr>
          <p:grpSpPr bwMode="auto">
            <a:xfrm>
              <a:off x="3464625" y="4055439"/>
              <a:ext cx="902600" cy="558011"/>
              <a:chOff x="4165236" y="3687990"/>
              <a:chExt cx="715151" cy="451549"/>
            </a:xfrm>
          </p:grpSpPr>
          <p:pic>
            <p:nvPicPr>
              <p:cNvPr id="42000" name="Picture 48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88393" t="39037" r="2843" b="18073"/>
              <a:stretch>
                <a:fillRect/>
              </a:stretch>
            </p:blipFill>
            <p:spPr bwMode="auto">
              <a:xfrm>
                <a:off x="4350798" y="3687990"/>
                <a:ext cx="529589" cy="3390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ZoneTexte 21"/>
              <p:cNvSpPr txBox="1"/>
              <p:nvPr/>
            </p:nvSpPr>
            <p:spPr>
              <a:xfrm>
                <a:off x="4165758" y="3940924"/>
                <a:ext cx="706458" cy="198615"/>
              </a:xfrm>
              <a:prstGeom prst="rect">
                <a:avLst/>
              </a:prstGeom>
              <a:noFill/>
            </p:spPr>
            <p:txBody>
              <a:bodyPr lIns="0" tIns="0" rIns="0" bIns="0"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fr-FR" sz="1200" b="1" kern="0" dirty="0">
                    <a:solidFill>
                      <a:sysClr val="windowText" lastClr="000000"/>
                    </a:solidFill>
                    <a:latin typeface="+mn-lt"/>
                  </a:rPr>
                  <a:t>CNDG</a:t>
                </a:r>
                <a:endParaRPr lang="fr-FR" sz="750" b="1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</p:grpSp>
      </p:grpSp>
      <p:grpSp>
        <p:nvGrpSpPr>
          <p:cNvPr id="41989" name="Groupe 2"/>
          <p:cNvGrpSpPr>
            <a:grpSpLocks/>
          </p:cNvGrpSpPr>
          <p:nvPr/>
        </p:nvGrpSpPr>
        <p:grpSpPr bwMode="auto">
          <a:xfrm>
            <a:off x="5118499" y="3400425"/>
            <a:ext cx="1337072" cy="546100"/>
            <a:chOff x="5552856" y="4122152"/>
            <a:chExt cx="2376264" cy="729373"/>
          </a:xfrm>
        </p:grpSpPr>
        <p:sp>
          <p:nvSpPr>
            <p:cNvPr id="16" name="ZoneTexte 15"/>
            <p:cNvSpPr txBox="1"/>
            <p:nvPr/>
          </p:nvSpPr>
          <p:spPr>
            <a:xfrm>
              <a:off x="5552856" y="4122152"/>
              <a:ext cx="2376264" cy="67826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350" dirty="0" err="1">
                  <a:solidFill>
                    <a:prstClr val="black"/>
                  </a:solidFill>
                  <a:latin typeface="+mn-lt"/>
                </a:rPr>
                <a:t>Hassi</a:t>
              </a:r>
              <a:r>
                <a:rPr lang="fr-FR" sz="1350" dirty="0">
                  <a:solidFill>
                    <a:prstClr val="black"/>
                  </a:solidFill>
                  <a:latin typeface="+mn-lt"/>
                </a:rPr>
                <a:t> Messaoud</a:t>
              </a:r>
            </a:p>
          </p:txBody>
        </p:sp>
        <p:sp>
          <p:nvSpPr>
            <p:cNvPr id="24" name="Cylindre 23"/>
            <p:cNvSpPr/>
            <p:nvPr/>
          </p:nvSpPr>
          <p:spPr>
            <a:xfrm>
              <a:off x="6488127" y="4491079"/>
              <a:ext cx="577667" cy="360446"/>
            </a:xfrm>
            <a:prstGeom prst="can">
              <a:avLst/>
            </a:prstGeom>
            <a:solidFill>
              <a:srgbClr val="4BACC6"/>
            </a:solidFill>
            <a:ln w="25400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200" b="1" kern="0" dirty="0">
                  <a:solidFill>
                    <a:prstClr val="black"/>
                  </a:solidFill>
                  <a:latin typeface="+mn-lt"/>
                  <a:cs typeface="Arial" pitchFamily="34" charset="0"/>
                </a:rPr>
                <a:t>CDHL</a:t>
              </a:r>
            </a:p>
          </p:txBody>
        </p:sp>
      </p:grpSp>
      <p:sp>
        <p:nvSpPr>
          <p:cNvPr id="25" name="ZoneTexte 24"/>
          <p:cNvSpPr txBox="1"/>
          <p:nvPr/>
        </p:nvSpPr>
        <p:spPr>
          <a:xfrm>
            <a:off x="303779" y="5980645"/>
            <a:ext cx="266723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50" i="1" dirty="0">
                <a:solidFill>
                  <a:srgbClr val="000000"/>
                </a:solidFill>
                <a:latin typeface="+mn-lt"/>
              </a:rPr>
              <a:t>CDHL: Dispatching Center for </a:t>
            </a:r>
            <a:r>
              <a:rPr lang="fr-FR" sz="750" i="1" dirty="0" err="1">
                <a:solidFill>
                  <a:srgbClr val="000000"/>
                </a:solidFill>
                <a:latin typeface="+mn-lt"/>
              </a:rPr>
              <a:t>Liquid</a:t>
            </a:r>
            <a:r>
              <a:rPr lang="fr-FR" sz="750" i="1" dirty="0">
                <a:solidFill>
                  <a:srgbClr val="000000"/>
                </a:solidFill>
                <a:latin typeface="+mn-lt"/>
              </a:rPr>
              <a:t> </a:t>
            </a:r>
            <a:r>
              <a:rPr lang="fr-FR" sz="750" i="1" dirty="0" err="1">
                <a:solidFill>
                  <a:srgbClr val="000000"/>
                </a:solidFill>
                <a:latin typeface="+mn-lt"/>
              </a:rPr>
              <a:t>Hydrocarbons</a:t>
            </a:r>
            <a:r>
              <a:rPr lang="fr-FR" sz="750" i="1" dirty="0">
                <a:solidFill>
                  <a:srgbClr val="000000"/>
                </a:solidFill>
                <a:latin typeface="+mn-lt"/>
              </a:rPr>
              <a:t>.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50" i="1" dirty="0">
                <a:solidFill>
                  <a:srgbClr val="000000"/>
                </a:solidFill>
                <a:latin typeface="+mn-lt"/>
              </a:rPr>
              <a:t>CNDG: National Gas Dispatching Center</a:t>
            </a:r>
          </a:p>
        </p:txBody>
      </p:sp>
      <p:pic>
        <p:nvPicPr>
          <p:cNvPr id="41991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07390" y="1222905"/>
            <a:ext cx="5079440" cy="502390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242322" y="198876"/>
            <a:ext cx="58097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ONATRACH, an Extensive </a:t>
            </a:r>
            <a:r>
              <a:rPr lang="fr-FR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Pipeline Network</a:t>
            </a:r>
            <a:endParaRPr lang="fr-FR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289746" y="1268760"/>
            <a:ext cx="3455194" cy="486287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b="1" dirty="0">
                <a:latin typeface="+mn-lt"/>
              </a:rPr>
              <a:t>Extensive pipeline network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>
                <a:latin typeface="+mn-lt"/>
              </a:rPr>
              <a:t>Gaz, </a:t>
            </a:r>
            <a:r>
              <a:rPr lang="fr-FR" sz="1600" dirty="0" err="1">
                <a:latin typeface="+mn-lt"/>
              </a:rPr>
              <a:t>Oil</a:t>
            </a:r>
            <a:r>
              <a:rPr lang="fr-FR" sz="1600" dirty="0">
                <a:latin typeface="+mn-lt"/>
              </a:rPr>
              <a:t>, </a:t>
            </a:r>
            <a:r>
              <a:rPr lang="fr-FR" sz="1600" dirty="0" err="1">
                <a:latin typeface="+mn-lt"/>
              </a:rPr>
              <a:t>Condensates</a:t>
            </a:r>
            <a:r>
              <a:rPr lang="fr-FR" sz="1600" dirty="0">
                <a:latin typeface="+mn-lt"/>
              </a:rPr>
              <a:t> and LPG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>
                <a:latin typeface="+mn-lt"/>
              </a:rPr>
              <a:t>37 Pipelines over 22 </a:t>
            </a:r>
            <a:r>
              <a:rPr lang="fr-FR" sz="1600" dirty="0" err="1">
                <a:latin typeface="+mn-lt"/>
              </a:rPr>
              <a:t>systems</a:t>
            </a:r>
            <a:endParaRPr lang="fr-FR" sz="1600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>
                <a:latin typeface="+mn-lt"/>
              </a:rPr>
              <a:t>19 623 km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>
                <a:latin typeface="+mn-lt"/>
              </a:rPr>
              <a:t>82 </a:t>
            </a:r>
            <a:r>
              <a:rPr lang="fr-FR" sz="1600" dirty="0" err="1">
                <a:latin typeface="+mn-lt"/>
              </a:rPr>
              <a:t>pumping</a:t>
            </a:r>
            <a:r>
              <a:rPr lang="fr-FR" sz="1600" dirty="0">
                <a:latin typeface="+mn-lt"/>
              </a:rPr>
              <a:t> </a:t>
            </a:r>
            <a:r>
              <a:rPr lang="fr-FR" sz="1600" dirty="0" smtClean="0">
                <a:latin typeface="+mn-lt"/>
              </a:rPr>
              <a:t>stations,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 smtClean="0">
                <a:latin typeface="+mn-lt"/>
              </a:rPr>
              <a:t>353 machines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 smtClean="0">
                <a:latin typeface="+mn-lt"/>
              </a:rPr>
              <a:t>3,21 </a:t>
            </a:r>
            <a:r>
              <a:rPr lang="fr-FR" sz="1600" dirty="0">
                <a:latin typeface="+mn-lt"/>
              </a:rPr>
              <a:t>million tons </a:t>
            </a:r>
            <a:r>
              <a:rPr lang="fr-FR" sz="1600" dirty="0" err="1">
                <a:latin typeface="+mn-lt"/>
              </a:rPr>
              <a:t>storage</a:t>
            </a:r>
            <a:r>
              <a:rPr lang="fr-FR" sz="1600" dirty="0">
                <a:latin typeface="+mn-lt"/>
              </a:rPr>
              <a:t>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>
                <a:latin typeface="+mn-lt"/>
              </a:rPr>
              <a:t>364 Million </a:t>
            </a:r>
            <a:r>
              <a:rPr lang="fr-FR" sz="1600" dirty="0" err="1">
                <a:latin typeface="+mn-lt"/>
              </a:rPr>
              <a:t>toe</a:t>
            </a:r>
            <a:r>
              <a:rPr lang="fr-FR" sz="1600" dirty="0">
                <a:latin typeface="+mn-lt"/>
              </a:rPr>
              <a:t> transport </a:t>
            </a:r>
            <a:r>
              <a:rPr lang="fr-FR" sz="1600" dirty="0" err="1">
                <a:latin typeface="+mn-lt"/>
              </a:rPr>
              <a:t>capacity</a:t>
            </a:r>
            <a:endParaRPr lang="fr-FR" sz="1600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1600" dirty="0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b="1" dirty="0">
                <a:latin typeface="+mn-lt"/>
              </a:rPr>
              <a:t>2 Main Hubs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 err="1">
                <a:latin typeface="+mn-lt"/>
              </a:rPr>
              <a:t>Gas</a:t>
            </a:r>
            <a:r>
              <a:rPr lang="fr-FR" sz="1600" dirty="0">
                <a:latin typeface="+mn-lt"/>
              </a:rPr>
              <a:t> hub at </a:t>
            </a:r>
            <a:r>
              <a:rPr lang="fr-FR" sz="1600" dirty="0" err="1">
                <a:latin typeface="+mn-lt"/>
              </a:rPr>
              <a:t>Hassi</a:t>
            </a:r>
            <a:r>
              <a:rPr lang="fr-FR" sz="1600" dirty="0">
                <a:latin typeface="+mn-lt"/>
              </a:rPr>
              <a:t> </a:t>
            </a:r>
            <a:r>
              <a:rPr lang="fr-FR" sz="1600" dirty="0" err="1">
                <a:latin typeface="+mn-lt"/>
              </a:rPr>
              <a:t>R’Mel</a:t>
            </a:r>
            <a:r>
              <a:rPr lang="fr-FR" sz="1600" dirty="0">
                <a:latin typeface="+mn-lt"/>
              </a:rPr>
              <a:t>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 err="1">
                <a:latin typeface="+mn-lt"/>
              </a:rPr>
              <a:t>Oil</a:t>
            </a:r>
            <a:r>
              <a:rPr lang="fr-FR" sz="1600" dirty="0">
                <a:latin typeface="+mn-lt"/>
              </a:rPr>
              <a:t> hub at </a:t>
            </a:r>
            <a:r>
              <a:rPr lang="fr-FR" sz="1600" dirty="0" err="1">
                <a:latin typeface="+mn-lt"/>
              </a:rPr>
              <a:t>Hassi</a:t>
            </a:r>
            <a:r>
              <a:rPr lang="fr-FR" sz="1600" dirty="0">
                <a:latin typeface="+mn-lt"/>
              </a:rPr>
              <a:t> Messaoud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fr-FR" sz="1600" dirty="0"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600" b="1" dirty="0">
                <a:latin typeface="+mn-lt"/>
              </a:rPr>
              <a:t>3 international gaz export pipelines </a:t>
            </a:r>
            <a:r>
              <a:rPr lang="fr-FR" sz="1600" b="1" dirty="0" err="1">
                <a:latin typeface="+mn-lt"/>
              </a:rPr>
              <a:t>with</a:t>
            </a:r>
            <a:r>
              <a:rPr lang="fr-FR" sz="1600" b="1" dirty="0">
                <a:latin typeface="+mn-lt"/>
              </a:rPr>
              <a:t> 53 </a:t>
            </a:r>
            <a:r>
              <a:rPr lang="fr-FR" sz="1600" b="1" dirty="0" err="1">
                <a:latin typeface="+mn-lt"/>
              </a:rPr>
              <a:t>bcm</a:t>
            </a:r>
            <a:r>
              <a:rPr lang="fr-FR" sz="1600" b="1" dirty="0">
                <a:latin typeface="+mn-lt"/>
              </a:rPr>
              <a:t> total </a:t>
            </a:r>
            <a:r>
              <a:rPr lang="fr-FR" sz="1600" b="1" dirty="0" err="1">
                <a:latin typeface="+mn-lt"/>
              </a:rPr>
              <a:t>capacity</a:t>
            </a:r>
            <a:endParaRPr lang="fr-FR" sz="1600" b="1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>
                <a:latin typeface="+mn-lt"/>
              </a:rPr>
              <a:t>MEDGAZ to Spain 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>
                <a:latin typeface="+mn-lt"/>
              </a:rPr>
              <a:t>GPDF to Spain </a:t>
            </a:r>
            <a:r>
              <a:rPr lang="fr-FR" sz="1600" dirty="0" smtClean="0">
                <a:latin typeface="+mn-lt"/>
              </a:rPr>
              <a:t>via </a:t>
            </a:r>
            <a:r>
              <a:rPr lang="fr-FR" sz="1600" dirty="0" err="1" smtClean="0">
                <a:latin typeface="+mn-lt"/>
              </a:rPr>
              <a:t>Morocco</a:t>
            </a:r>
            <a:endParaRPr lang="fr-FR" sz="1600" dirty="0">
              <a:latin typeface="+mn-lt"/>
            </a:endParaRPr>
          </a:p>
          <a:p>
            <a:pPr marL="285750" indent="-28575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600" dirty="0">
                <a:latin typeface="+mn-lt"/>
              </a:rPr>
              <a:t>GEM to </a:t>
            </a:r>
            <a:r>
              <a:rPr lang="fr-FR" sz="1600" dirty="0" err="1" smtClean="0">
                <a:latin typeface="+mn-lt"/>
              </a:rPr>
              <a:t>Italy</a:t>
            </a:r>
            <a:r>
              <a:rPr lang="fr-FR" sz="1600" dirty="0" smtClean="0">
                <a:latin typeface="+mn-lt"/>
              </a:rPr>
              <a:t> via </a:t>
            </a:r>
            <a:r>
              <a:rPr lang="fr-FR" sz="1600" dirty="0" err="1" smtClean="0">
                <a:latin typeface="+mn-lt"/>
              </a:rPr>
              <a:t>Tunisia</a:t>
            </a:r>
            <a:r>
              <a:rPr lang="fr-FR" sz="1600" dirty="0" smtClean="0">
                <a:latin typeface="+mn-lt"/>
              </a:rPr>
              <a:t> </a:t>
            </a:r>
            <a:endParaRPr lang="fr-FR" sz="1600" dirty="0">
              <a:latin typeface="+mn-lt"/>
            </a:endParaRPr>
          </a:p>
        </p:txBody>
      </p:sp>
      <p:sp>
        <p:nvSpPr>
          <p:cNvPr id="41994" name="ZoneTexte 5"/>
          <p:cNvSpPr txBox="1">
            <a:spLocks noChangeArrowheads="1"/>
          </p:cNvSpPr>
          <p:nvPr/>
        </p:nvSpPr>
        <p:spPr bwMode="auto">
          <a:xfrm>
            <a:off x="5787035" y="3406736"/>
            <a:ext cx="10567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dirty="0">
                <a:solidFill>
                  <a:srgbClr val="FF0000"/>
                </a:solidFill>
              </a:rPr>
              <a:t>Gaz hub</a:t>
            </a:r>
          </a:p>
        </p:txBody>
      </p:sp>
      <p:sp>
        <p:nvSpPr>
          <p:cNvPr id="41995" name="ZoneTexte 34"/>
          <p:cNvSpPr txBox="1">
            <a:spLocks noChangeArrowheads="1"/>
          </p:cNvSpPr>
          <p:nvPr/>
        </p:nvSpPr>
        <p:spPr bwMode="auto">
          <a:xfrm>
            <a:off x="7308304" y="3222070"/>
            <a:ext cx="91563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dirty="0" err="1">
                <a:solidFill>
                  <a:srgbClr val="00B050"/>
                </a:solidFill>
              </a:rPr>
              <a:t>Oil</a:t>
            </a:r>
            <a:r>
              <a:rPr lang="fr-FR" altLang="fr-FR" dirty="0">
                <a:solidFill>
                  <a:srgbClr val="00B050"/>
                </a:solidFill>
              </a:rPr>
              <a:t> hub</a:t>
            </a:r>
          </a:p>
        </p:txBody>
      </p:sp>
      <p:sp>
        <p:nvSpPr>
          <p:cNvPr id="20" name="Espace réservé du numéro de diapositive 3"/>
          <p:cNvSpPr txBox="1">
            <a:spLocks/>
          </p:cNvSpPr>
          <p:nvPr/>
        </p:nvSpPr>
        <p:spPr>
          <a:xfrm>
            <a:off x="6786563" y="641351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kern="1200" smtClean="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4330D31-4995-49B9-86BD-656E33C59AFD}" type="slidenum">
              <a:rPr lang="fr-FR" smtClean="0"/>
              <a:pPr>
                <a:defRPr/>
              </a:pPr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70472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re 1"/>
          <p:cNvSpPr txBox="1">
            <a:spLocks/>
          </p:cNvSpPr>
          <p:nvPr/>
        </p:nvSpPr>
        <p:spPr bwMode="auto">
          <a:xfrm>
            <a:off x="209556" y="116632"/>
            <a:ext cx="8934444" cy="521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862" tIns="31931" rIns="63862" bIns="31931" anchor="ctr"/>
          <a:lstStyle/>
          <a:p>
            <a:pPr>
              <a:defRPr/>
            </a:pPr>
            <a:r>
              <a:rPr lang="fr-FR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SONATRACH, </a:t>
            </a:r>
            <a:r>
              <a:rPr lang="fr-FR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Important </a:t>
            </a:r>
            <a:r>
              <a:rPr lang="fr-FR" sz="20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Downstream</a:t>
            </a:r>
            <a:r>
              <a:rPr lang="fr-FR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 </a:t>
            </a:r>
            <a:r>
              <a:rPr lang="fr-FR" sz="20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Assets</a:t>
            </a:r>
            <a:endParaRPr lang="fr-FR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ea typeface="+mj-ea"/>
              <a:cs typeface="+mj-cs"/>
            </a:endParaRPr>
          </a:p>
        </p:txBody>
      </p:sp>
      <p:sp>
        <p:nvSpPr>
          <p:cNvPr id="44036" name="ZoneTexte 27"/>
          <p:cNvSpPr txBox="1">
            <a:spLocks noChangeArrowheads="1"/>
          </p:cNvSpPr>
          <p:nvPr/>
        </p:nvSpPr>
        <p:spPr bwMode="auto">
          <a:xfrm>
            <a:off x="191691" y="1125544"/>
            <a:ext cx="959643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sz="2000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LNG </a:t>
            </a:r>
            <a:r>
              <a:rPr lang="fr-FR" altLang="fr-FR" sz="1400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/>
            </a:r>
            <a:br>
              <a:rPr lang="fr-FR" altLang="fr-FR" sz="1400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fr-FR" altLang="fr-FR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6 mcm/y </a:t>
            </a:r>
            <a:endParaRPr lang="fr-FR" altLang="fr-FR" sz="1400" b="1" dirty="0">
              <a:solidFill>
                <a:srgbClr val="F07E28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eaLnBrk="1" hangingPunct="1"/>
            <a:r>
              <a:rPr lang="fr-FR" altLang="fr-FR" sz="1400" dirty="0" err="1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xisting</a:t>
            </a:r>
            <a:endParaRPr lang="fr-FR" altLang="fr-FR" sz="1400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4037" name="ZoneTexte 28"/>
          <p:cNvSpPr txBox="1">
            <a:spLocks noChangeArrowheads="1"/>
          </p:cNvSpPr>
          <p:nvPr/>
        </p:nvSpPr>
        <p:spPr bwMode="auto">
          <a:xfrm>
            <a:off x="196459" y="2220102"/>
            <a:ext cx="1010213" cy="263149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100" b="1" u="sng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L1Z</a:t>
            </a:r>
          </a:p>
          <a:p>
            <a:pPr eaLnBrk="1" hangingPunct="1"/>
            <a:r>
              <a:rPr lang="fr-FR" altLang="fr-FR" sz="1100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7,56 </a:t>
            </a:r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M</a:t>
            </a:r>
            <a:r>
              <a:rPr lang="fr-FR" altLang="fr-FR" sz="1100" baseline="300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 </a:t>
            </a:r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NL</a:t>
            </a:r>
          </a:p>
          <a:p>
            <a:pPr eaLnBrk="1" hangingPunct="1"/>
            <a:r>
              <a:rPr lang="fr-FR" altLang="fr-FR" sz="1100" dirty="0">
                <a:latin typeface="Arial Narrow" panose="020B0606020202030204" pitchFamily="34" charset="0"/>
                <a:cs typeface="Arial" panose="020B0604020202020204" pitchFamily="34" charset="0"/>
              </a:rPr>
              <a:t>1977</a:t>
            </a:r>
          </a:p>
          <a:p>
            <a:pPr eaLnBrk="1" hangingPunct="1"/>
            <a:endParaRPr lang="fr-FR" altLang="fr-FR" sz="11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b="1" u="sng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L2Z</a:t>
            </a:r>
          </a:p>
          <a:p>
            <a:pPr eaLnBrk="1" hangingPunct="1"/>
            <a:r>
              <a:rPr lang="fr-FR" altLang="fr-FR" sz="1100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7,82 </a:t>
            </a:r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M</a:t>
            </a:r>
            <a:r>
              <a:rPr lang="fr-FR" altLang="fr-FR" sz="1100" baseline="300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</a:t>
            </a:r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GNL</a:t>
            </a:r>
          </a:p>
          <a:p>
            <a:pPr eaLnBrk="1" hangingPunct="1"/>
            <a:r>
              <a:rPr lang="fr-FR" altLang="fr-FR" sz="1100" dirty="0">
                <a:latin typeface="Arial Narrow" panose="020B0606020202030204" pitchFamily="34" charset="0"/>
                <a:cs typeface="Arial" panose="020B0604020202020204" pitchFamily="34" charset="0"/>
              </a:rPr>
              <a:t>1981</a:t>
            </a:r>
          </a:p>
          <a:p>
            <a:pPr eaLnBrk="1" hangingPunct="1"/>
            <a:endParaRPr lang="fr-FR" altLang="fr-FR" sz="1100" u="sng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eaLnBrk="1" hangingPunct="1"/>
            <a:r>
              <a:rPr lang="fr-FR" altLang="fr-F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GL3Z</a:t>
            </a:r>
            <a:endParaRPr lang="fr-FR" altLang="fr-FR" sz="1100" b="1" u="sng" dirty="0">
              <a:solidFill>
                <a:srgbClr val="000000"/>
              </a:solidFill>
              <a:latin typeface="Arial Narrow" panose="020B0606020202030204" pitchFamily="34" charset="0"/>
            </a:endParaRPr>
          </a:p>
          <a:p>
            <a:pPr eaLnBrk="1" hangingPunct="1"/>
            <a:r>
              <a:rPr lang="fr-FR" altLang="fr-FR" sz="11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4,7 </a:t>
            </a:r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</a:rPr>
              <a:t>MT GNL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</a:rPr>
              <a:t>2013</a:t>
            </a:r>
          </a:p>
          <a:p>
            <a:pPr eaLnBrk="1" hangingPunct="1"/>
            <a:endParaRPr lang="fr-FR" altLang="fr-FR" sz="1100" dirty="0" smtClean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b="1" u="sng" dirty="0">
                <a:solidFill>
                  <a:srgbClr val="000000"/>
                </a:solidFill>
                <a:latin typeface="Arial Narrow" panose="020B0606020202030204" pitchFamily="34" charset="0"/>
              </a:rPr>
              <a:t>GL2K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</a:rPr>
              <a:t>4,5 MT GNL</a:t>
            </a:r>
          </a:p>
          <a:p>
            <a:pPr eaLnBrk="1" hangingPunct="1"/>
            <a:r>
              <a:rPr lang="fr-FR" altLang="fr-FR" sz="1100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2012</a:t>
            </a:r>
            <a:endParaRPr lang="fr-FR" altLang="fr-FR" sz="11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44038" name="ZoneTexte 29"/>
          <p:cNvSpPr txBox="1">
            <a:spLocks noChangeArrowheads="1"/>
          </p:cNvSpPr>
          <p:nvPr/>
        </p:nvSpPr>
        <p:spPr bwMode="auto">
          <a:xfrm>
            <a:off x="1247775" y="1119193"/>
            <a:ext cx="2159794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2000" b="1" dirty="0" err="1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efining</a:t>
            </a:r>
            <a:endParaRPr lang="fr-FR" altLang="fr-FR" sz="2000" b="1" dirty="0">
              <a:solidFill>
                <a:srgbClr val="F07E28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 eaLnBrk="1" hangingPunct="1"/>
            <a:r>
              <a:rPr lang="fr-FR" altLang="fr-FR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0 MT </a:t>
            </a:r>
            <a:r>
              <a:rPr lang="fr-FR" altLang="fr-FR" sz="1400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*          </a:t>
            </a:r>
            <a:r>
              <a:rPr lang="fr-FR" altLang="fr-FR" sz="1400" b="1" dirty="0" smtClean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</a:t>
            </a:r>
            <a:r>
              <a:rPr lang="fr-FR" altLang="fr-FR" sz="1400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… </a:t>
            </a:r>
            <a:r>
              <a:rPr lang="fr-FR" altLang="fr-FR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+5 MT</a:t>
            </a:r>
          </a:p>
          <a:p>
            <a:pPr eaLnBrk="1" hangingPunct="1"/>
            <a:r>
              <a:rPr lang="fr-FR" altLang="fr-FR" sz="1400" dirty="0" err="1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xisting</a:t>
            </a:r>
            <a:r>
              <a:rPr lang="fr-FR" altLang="fr-FR" sz="1400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 	             … &amp; New</a:t>
            </a:r>
          </a:p>
        </p:txBody>
      </p:sp>
      <p:sp>
        <p:nvSpPr>
          <p:cNvPr id="44039" name="ZoneTexte 30"/>
          <p:cNvSpPr txBox="1">
            <a:spLocks noChangeArrowheads="1"/>
          </p:cNvSpPr>
          <p:nvPr/>
        </p:nvSpPr>
        <p:spPr bwMode="auto">
          <a:xfrm>
            <a:off x="5095881" y="1136655"/>
            <a:ext cx="3634168" cy="800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fr-FR" altLang="fr-FR" b="1" dirty="0" err="1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etrochemicals</a:t>
            </a:r>
            <a:r>
              <a:rPr lang="fr-FR" altLang="fr-FR" sz="1400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/>
            </a:r>
            <a:br>
              <a:rPr lang="fr-FR" altLang="fr-FR" sz="1400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fr-FR" altLang="fr-FR" sz="1400" dirty="0" err="1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xisting</a:t>
            </a:r>
            <a:r>
              <a:rPr lang="fr-FR" altLang="fr-FR" sz="1400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	                       …&amp;New </a:t>
            </a:r>
          </a:p>
          <a:p>
            <a:r>
              <a:rPr lang="fr-FR" altLang="fr-FR" sz="1400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H </a:t>
            </a:r>
            <a:r>
              <a:rPr lang="fr-FR" altLang="fr-FR" sz="1400" dirty="0" err="1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own</a:t>
            </a:r>
            <a:r>
              <a:rPr lang="fr-FR" altLang="fr-FR" sz="1400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fr-FR" altLang="fr-FR" sz="1400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ffort		</a:t>
            </a:r>
            <a:r>
              <a:rPr lang="fr-FR" altLang="fr-FR" sz="1400" dirty="0" err="1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partnership</a:t>
            </a:r>
            <a:r>
              <a:rPr lang="fr-FR" altLang="fr-FR" sz="1400" dirty="0" smtClean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	</a:t>
            </a:r>
            <a:endParaRPr lang="fr-FR" altLang="fr-FR" sz="1400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32" name="Connecteur droit 31"/>
          <p:cNvCxnSpPr/>
          <p:nvPr/>
        </p:nvCxnSpPr>
        <p:spPr>
          <a:xfrm>
            <a:off x="1151335" y="1125538"/>
            <a:ext cx="0" cy="5256212"/>
          </a:xfrm>
          <a:prstGeom prst="line">
            <a:avLst/>
          </a:prstGeom>
          <a:ln>
            <a:solidFill>
              <a:srgbClr val="F081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041" name="ZoneTexte 32"/>
          <p:cNvSpPr txBox="1">
            <a:spLocks noChangeArrowheads="1"/>
          </p:cNvSpPr>
          <p:nvPr/>
        </p:nvSpPr>
        <p:spPr bwMode="auto">
          <a:xfrm>
            <a:off x="1276350" y="2220112"/>
            <a:ext cx="1069524" cy="415498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A1K</a:t>
            </a:r>
            <a:endParaRPr lang="fr-FR" altLang="fr-FR" sz="1100" b="1" u="sng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6,5 MT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980</a:t>
            </a:r>
          </a:p>
          <a:p>
            <a:pPr eaLnBrk="1" hangingPunct="1"/>
            <a:endParaRPr lang="fr-FR" altLang="fr-FR" sz="11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b="1" u="sng" dirty="0">
                <a:solidFill>
                  <a:srgbClr val="000000"/>
                </a:solidFill>
                <a:latin typeface="Arial Narrow" panose="020B0606020202030204" pitchFamily="34" charset="0"/>
              </a:rPr>
              <a:t>RA2K (NGL)</a:t>
            </a:r>
            <a:endParaRPr lang="fr-FR" altLang="fr-FR" sz="1100" b="1" u="sng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 MT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09</a:t>
            </a:r>
          </a:p>
          <a:p>
            <a:pPr eaLnBrk="1" hangingPunct="1"/>
            <a:endParaRPr lang="fr-FR" altLang="fr-FR" sz="11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A1G</a:t>
            </a:r>
            <a:endParaRPr lang="fr-FR" altLang="fr-FR" sz="1100" b="1" u="sng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6 MT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964</a:t>
            </a:r>
          </a:p>
          <a:p>
            <a:pPr eaLnBrk="1" hangingPunct="1"/>
            <a:endParaRPr lang="fr-FR" altLang="fr-FR" sz="11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b="1" u="sng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A1Z</a:t>
            </a:r>
            <a:endParaRPr lang="fr-FR" altLang="fr-FR" sz="11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8  MT 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973</a:t>
            </a:r>
          </a:p>
          <a:p>
            <a:pPr eaLnBrk="1" hangingPunct="1"/>
            <a:endParaRPr lang="fr-FR" altLang="fr-FR" sz="11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b="1" u="sng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HM2 </a:t>
            </a:r>
          </a:p>
          <a:p>
            <a:pPr eaLnBrk="1" hangingPunct="1"/>
            <a:r>
              <a:rPr lang="fr-FR" altLang="fr-FR" sz="1050" u="sng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fr-FR" altLang="fr-FR" sz="1050" dirty="0" err="1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Hassi</a:t>
            </a:r>
            <a:r>
              <a:rPr lang="fr-FR" altLang="fr-FR" sz="105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Messaoud</a:t>
            </a:r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,1 MT</a:t>
            </a:r>
          </a:p>
          <a:p>
            <a:pPr eaLnBrk="1" hangingPunct="1"/>
            <a:endParaRPr lang="fr-FR" altLang="fr-FR" sz="11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b="1" u="sng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A1D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Adrar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,6 MT</a:t>
            </a:r>
          </a:p>
          <a:p>
            <a:pPr eaLnBrk="1" hangingPunct="1"/>
            <a:endParaRPr lang="fr-FR" altLang="fr-FR" sz="11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4042" name="ZoneTexte 33"/>
          <p:cNvSpPr txBox="1">
            <a:spLocks noChangeArrowheads="1"/>
          </p:cNvSpPr>
          <p:nvPr/>
        </p:nvSpPr>
        <p:spPr bwMode="auto">
          <a:xfrm>
            <a:off x="3640932" y="1125549"/>
            <a:ext cx="1363116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LPG </a:t>
            </a:r>
            <a:r>
              <a:rPr lang="fr-FR" altLang="fr-FR" b="1" dirty="0" err="1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Separation</a:t>
            </a:r>
            <a:endParaRPr lang="fr-FR" altLang="fr-FR" b="1" dirty="0">
              <a:solidFill>
                <a:srgbClr val="F07E28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b="1" dirty="0">
                <a:solidFill>
                  <a:srgbClr val="F07E28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3 MT</a:t>
            </a:r>
          </a:p>
          <a:p>
            <a:pPr eaLnBrk="1" hangingPunct="1"/>
            <a:r>
              <a:rPr lang="fr-FR" altLang="fr-FR" sz="1400" dirty="0" err="1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Existing</a:t>
            </a:r>
            <a:endParaRPr lang="fr-FR" altLang="fr-FR" sz="1400" dirty="0">
              <a:solidFill>
                <a:srgbClr val="0070C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35" name="Connecteur droit 34"/>
          <p:cNvCxnSpPr/>
          <p:nvPr/>
        </p:nvCxnSpPr>
        <p:spPr>
          <a:xfrm>
            <a:off x="5095875" y="1125538"/>
            <a:ext cx="0" cy="5256212"/>
          </a:xfrm>
          <a:prstGeom prst="line">
            <a:avLst/>
          </a:prstGeom>
          <a:ln>
            <a:solidFill>
              <a:srgbClr val="F081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droit 35"/>
          <p:cNvCxnSpPr/>
          <p:nvPr/>
        </p:nvCxnSpPr>
        <p:spPr>
          <a:xfrm>
            <a:off x="3574256" y="1125538"/>
            <a:ext cx="0" cy="5256212"/>
          </a:xfrm>
          <a:prstGeom prst="line">
            <a:avLst/>
          </a:prstGeom>
          <a:ln>
            <a:solidFill>
              <a:srgbClr val="F081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045" name="ZoneTexte 37"/>
          <p:cNvSpPr txBox="1">
            <a:spLocks noChangeArrowheads="1"/>
          </p:cNvSpPr>
          <p:nvPr/>
        </p:nvSpPr>
        <p:spPr bwMode="auto">
          <a:xfrm>
            <a:off x="5157872" y="1936874"/>
            <a:ext cx="1212191" cy="417037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200" b="1" u="sng" dirty="0" err="1">
                <a:latin typeface="Arial Narrow" panose="020B0606020202030204" pitchFamily="34" charset="0"/>
                <a:cs typeface="Arial" panose="020B0604020202020204" pitchFamily="34" charset="0"/>
              </a:rPr>
              <a:t>Ethylene</a:t>
            </a:r>
            <a:endParaRPr lang="fr-FR" altLang="fr-FR" sz="1200" b="1" u="sng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Skikda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120 kT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1978</a:t>
            </a:r>
          </a:p>
          <a:p>
            <a:pPr eaLnBrk="1" hangingPunct="1"/>
            <a:endParaRPr lang="fr-FR" altLang="fr-FR" sz="400" b="1" u="sng" dirty="0" smtClean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b="1" u="sng" dirty="0" err="1" smtClean="0">
                <a:latin typeface="Arial Narrow" panose="020B0606020202030204" pitchFamily="34" charset="0"/>
                <a:cs typeface="Arial" panose="020B0604020202020204" pitchFamily="34" charset="0"/>
              </a:rPr>
              <a:t>Methanol</a:t>
            </a:r>
            <a:endParaRPr lang="fr-FR" altLang="fr-FR" sz="1200" b="1" u="sng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Arzew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124 kT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1976/78</a:t>
            </a:r>
          </a:p>
          <a:p>
            <a:pPr eaLnBrk="1" hangingPunct="1"/>
            <a:endParaRPr lang="fr-FR" altLang="fr-FR" sz="500" b="1" u="sng" dirty="0" smtClean="0">
              <a:latin typeface="Arial Narrow" panose="020B0606020202030204" pitchFamily="34" charset="0"/>
            </a:endParaRPr>
          </a:p>
          <a:p>
            <a:pPr eaLnBrk="1" hangingPunct="1"/>
            <a:r>
              <a:rPr lang="fr-FR" altLang="fr-FR" sz="1200" b="1" u="sng" dirty="0" smtClean="0">
                <a:latin typeface="Arial Narrow" panose="020B0606020202030204" pitchFamily="34" charset="0"/>
              </a:rPr>
              <a:t>HDPE</a:t>
            </a:r>
            <a:endParaRPr lang="fr-FR" altLang="fr-FR" sz="1200" b="1" u="sng" dirty="0">
              <a:latin typeface="Arial Narrow" panose="020B0606020202030204" pitchFamily="34" charset="0"/>
            </a:endParaRP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</a:rPr>
              <a:t>Skikda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</a:rPr>
              <a:t>130 kT</a:t>
            </a:r>
            <a:endParaRPr lang="fr-FR" altLang="fr-FR" sz="1200" u="sng" dirty="0">
              <a:latin typeface="Arial Narrow" panose="020B0606020202030204" pitchFamily="34" charset="0"/>
            </a:endParaRP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</a:rPr>
              <a:t>2005</a:t>
            </a:r>
          </a:p>
          <a:p>
            <a:pPr eaLnBrk="1" hangingPunct="1"/>
            <a:endParaRPr lang="fr-FR" altLang="fr-FR" sz="600" b="1" u="sng" dirty="0" smtClean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b="1" u="sng" dirty="0" smtClean="0">
                <a:latin typeface="Arial Narrow" panose="020B0606020202030204" pitchFamily="34" charset="0"/>
                <a:cs typeface="Arial" panose="020B0604020202020204" pitchFamily="34" charset="0"/>
              </a:rPr>
              <a:t>AOA</a:t>
            </a:r>
            <a:endParaRPr lang="fr-FR" altLang="fr-FR" sz="1200" b="1" u="sng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Arzew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Ammoniac 1,3 MT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Urée 2,3 MT</a:t>
            </a:r>
          </a:p>
          <a:p>
            <a:pPr eaLnBrk="1" hangingPunct="1"/>
            <a:endParaRPr lang="fr-FR" altLang="fr-FR" sz="700" b="1" u="sng" dirty="0" smtClean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b="1" u="sng" dirty="0" smtClean="0">
                <a:latin typeface="Arial Narrow" panose="020B0606020202030204" pitchFamily="34" charset="0"/>
                <a:cs typeface="Arial" panose="020B0604020202020204" pitchFamily="34" charset="0"/>
              </a:rPr>
              <a:t>SORFERT</a:t>
            </a:r>
            <a:endParaRPr lang="fr-FR" altLang="fr-FR" sz="1200" b="1" u="sng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Arzew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Ammoniac 1,5 MT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Urée 1,1 MT</a:t>
            </a:r>
          </a:p>
        </p:txBody>
      </p:sp>
      <p:sp>
        <p:nvSpPr>
          <p:cNvPr id="44046" name="ZoneTexte 38"/>
          <p:cNvSpPr txBox="1">
            <a:spLocks noChangeArrowheads="1"/>
          </p:cNvSpPr>
          <p:nvPr/>
        </p:nvSpPr>
        <p:spPr bwMode="auto">
          <a:xfrm>
            <a:off x="3674274" y="2220102"/>
            <a:ext cx="579005" cy="156966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200" b="1" u="sng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P1Z</a:t>
            </a:r>
          </a:p>
          <a:p>
            <a:pPr eaLnBrk="1" hangingPunct="1"/>
            <a:r>
              <a:rPr lang="fr-FR" altLang="fr-FR" sz="1200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9 </a:t>
            </a:r>
            <a:r>
              <a:rPr lang="fr-FR" altLang="fr-FR" sz="12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T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1983</a:t>
            </a:r>
          </a:p>
          <a:p>
            <a:pPr eaLnBrk="1" hangingPunct="1"/>
            <a:endParaRPr lang="fr-FR" altLang="fr-FR" sz="12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b="1" u="sng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GP2Z</a:t>
            </a:r>
          </a:p>
          <a:p>
            <a:pPr eaLnBrk="1" hangingPunct="1"/>
            <a:r>
              <a:rPr lang="fr-FR" altLang="fr-FR" sz="1200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6 </a:t>
            </a:r>
            <a:r>
              <a:rPr lang="fr-FR" altLang="fr-FR" sz="12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MT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1973</a:t>
            </a:r>
          </a:p>
          <a:p>
            <a:pPr eaLnBrk="1" hangingPunct="1"/>
            <a:endParaRPr lang="fr-FR" altLang="fr-FR" sz="12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4047" name="ZoneTexte 40"/>
          <p:cNvSpPr txBox="1">
            <a:spLocks noChangeArrowheads="1"/>
          </p:cNvSpPr>
          <p:nvPr/>
        </p:nvSpPr>
        <p:spPr bwMode="auto">
          <a:xfrm>
            <a:off x="0" y="6550253"/>
            <a:ext cx="340990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fr-FR" altLang="fr-FR" sz="800" i="1" dirty="0"/>
              <a:t>* </a:t>
            </a:r>
            <a:r>
              <a:rPr lang="fr-FR" altLang="fr-FR" sz="800" i="1" dirty="0" smtClean="0"/>
              <a:t> </a:t>
            </a:r>
            <a:r>
              <a:rPr lang="en-US" altLang="fr-FR" sz="800" i="1" dirty="0" smtClean="0"/>
              <a:t>Oil </a:t>
            </a:r>
            <a:r>
              <a:rPr lang="en-US" altLang="fr-FR" sz="800" i="1" dirty="0"/>
              <a:t>and </a:t>
            </a:r>
            <a:r>
              <a:rPr lang="en-US" altLang="fr-FR" sz="800" i="1" dirty="0" smtClean="0"/>
              <a:t>Condensate </a:t>
            </a:r>
            <a:r>
              <a:rPr lang="en-US" altLang="fr-FR" sz="800" i="1" dirty="0"/>
              <a:t>refining capacity after rehabilitations in progress</a:t>
            </a:r>
            <a:endParaRPr lang="fr-FR" altLang="fr-FR" sz="800" i="1" dirty="0"/>
          </a:p>
        </p:txBody>
      </p:sp>
      <p:sp>
        <p:nvSpPr>
          <p:cNvPr id="44048" name="ZoneTexte 41"/>
          <p:cNvSpPr txBox="1">
            <a:spLocks noChangeArrowheads="1"/>
          </p:cNvSpPr>
          <p:nvPr/>
        </p:nvSpPr>
        <p:spPr bwMode="auto">
          <a:xfrm>
            <a:off x="2378869" y="2220103"/>
            <a:ext cx="1053494" cy="144655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100" b="1" u="sng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+Fuel cracking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,5 MT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20</a:t>
            </a:r>
          </a:p>
          <a:p>
            <a:pPr eaLnBrk="1" hangingPunct="1"/>
            <a:endParaRPr lang="fr-FR" altLang="fr-FR" sz="11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100" b="1" u="sng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+ 2x Reforming 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,7 MT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20</a:t>
            </a:r>
          </a:p>
          <a:p>
            <a:pPr eaLnBrk="1" hangingPunct="1"/>
            <a:endParaRPr lang="fr-FR" altLang="fr-FR" sz="1100" dirty="0">
              <a:solidFill>
                <a:srgbClr val="00000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4049" name="ZoneTexte 43"/>
          <p:cNvSpPr txBox="1">
            <a:spLocks noChangeArrowheads="1"/>
          </p:cNvSpPr>
          <p:nvPr/>
        </p:nvSpPr>
        <p:spPr bwMode="auto">
          <a:xfrm>
            <a:off x="2347157" y="3620486"/>
            <a:ext cx="10374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100" b="1" u="sng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RHM3 (new)</a:t>
            </a:r>
          </a:p>
          <a:p>
            <a:pPr eaLnBrk="1" hangingPunct="1"/>
            <a:r>
              <a:rPr lang="fr-FR" altLang="fr-FR" sz="1100" dirty="0" err="1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Hassi</a:t>
            </a:r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Messaoud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 MT</a:t>
            </a:r>
          </a:p>
          <a:p>
            <a:pPr eaLnBrk="1" hangingPunct="1"/>
            <a:r>
              <a:rPr lang="fr-FR" altLang="fr-FR" sz="1100" dirty="0">
                <a:solidFill>
                  <a:srgbClr val="00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22</a:t>
            </a:r>
          </a:p>
        </p:txBody>
      </p:sp>
      <p:sp>
        <p:nvSpPr>
          <p:cNvPr id="44050" name="ZoneTexte 47"/>
          <p:cNvSpPr txBox="1">
            <a:spLocks noChangeArrowheads="1"/>
          </p:cNvSpPr>
          <p:nvPr/>
        </p:nvSpPr>
        <p:spPr bwMode="auto">
          <a:xfrm>
            <a:off x="6317284" y="1985974"/>
            <a:ext cx="1409360" cy="433965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200" b="1" u="sng" dirty="0">
                <a:latin typeface="Arial Narrow" panose="020B0606020202030204" pitchFamily="34" charset="0"/>
                <a:cs typeface="Arial" panose="020B0604020202020204" pitchFamily="34" charset="0"/>
              </a:rPr>
              <a:t>PDH/PP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Arzew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500 </a:t>
            </a:r>
            <a:r>
              <a:rPr lang="fr-FR" altLang="fr-FR" sz="1200" dirty="0" err="1">
                <a:latin typeface="Arial Narrow" panose="020B0606020202030204" pitchFamily="34" charset="0"/>
                <a:cs typeface="Arial" panose="020B0604020202020204" pitchFamily="34" charset="0"/>
              </a:rPr>
              <a:t>kt</a:t>
            </a:r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/y</a:t>
            </a:r>
          </a:p>
          <a:p>
            <a:pPr eaLnBrk="1" hangingPunct="1"/>
            <a:r>
              <a:rPr lang="fr-FR" altLang="fr-FR" sz="1200" dirty="0" err="1">
                <a:latin typeface="Arial Narrow" panose="020B0606020202030204" pitchFamily="34" charset="0"/>
                <a:cs typeface="Arial" panose="020B0604020202020204" pitchFamily="34" charset="0"/>
              </a:rPr>
              <a:t>Polypropylene</a:t>
            </a:r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eaLnBrk="1" hangingPunct="1"/>
            <a:endParaRPr lang="fr-FR" altLang="fr-FR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b="1" u="sng" dirty="0">
                <a:latin typeface="Arial Narrow" panose="020B0606020202030204" pitchFamily="34" charset="0"/>
                <a:cs typeface="Arial" panose="020B0604020202020204" pitchFamily="34" charset="0"/>
              </a:rPr>
              <a:t>Ethane/LPG Cracker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Arzew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1 Mt/y</a:t>
            </a:r>
          </a:p>
          <a:p>
            <a:pPr eaLnBrk="1" hangingPunct="1"/>
            <a:r>
              <a:rPr lang="fr-FR" altLang="fr-FR" sz="1200" dirty="0" err="1">
                <a:latin typeface="Arial Narrow" panose="020B0606020202030204" pitchFamily="34" charset="0"/>
                <a:cs typeface="Arial" panose="020B0604020202020204" pitchFamily="34" charset="0"/>
              </a:rPr>
              <a:t>Ethylene</a:t>
            </a:r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eaLnBrk="1" hangingPunct="1"/>
            <a:endParaRPr lang="fr-FR" altLang="fr-FR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b="1" u="sng" dirty="0" err="1">
                <a:latin typeface="Arial Narrow" panose="020B0606020202030204" pitchFamily="34" charset="0"/>
                <a:cs typeface="Arial" panose="020B0604020202020204" pitchFamily="34" charset="0"/>
              </a:rPr>
              <a:t>Methanol</a:t>
            </a:r>
            <a:endParaRPr lang="fr-FR" altLang="fr-FR" sz="1200" b="1" u="sng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Arzew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1 Mt/y</a:t>
            </a:r>
          </a:p>
          <a:p>
            <a:pPr eaLnBrk="1" hangingPunct="1"/>
            <a:r>
              <a:rPr lang="fr-FR" altLang="fr-FR" sz="1200" dirty="0" err="1">
                <a:latin typeface="Arial Narrow" panose="020B0606020202030204" pitchFamily="34" charset="0"/>
                <a:cs typeface="Arial" panose="020B0604020202020204" pitchFamily="34" charset="0"/>
              </a:rPr>
              <a:t>Methanol</a:t>
            </a:r>
            <a:endParaRPr lang="fr-FR" altLang="fr-FR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endParaRPr lang="fr-FR" altLang="fr-FR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b="1" u="sng" dirty="0">
                <a:latin typeface="Arial Narrow" panose="020B0606020202030204" pitchFamily="34" charset="0"/>
                <a:cs typeface="Arial" panose="020B0604020202020204" pitchFamily="34" charset="0"/>
              </a:rPr>
              <a:t>PTA/PET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Skikda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375 </a:t>
            </a:r>
            <a:r>
              <a:rPr lang="fr-FR" altLang="fr-FR" sz="1200" dirty="0" err="1">
                <a:latin typeface="Arial Narrow" panose="020B0606020202030204" pitchFamily="34" charset="0"/>
                <a:cs typeface="Arial" panose="020B0604020202020204" pitchFamily="34" charset="0"/>
              </a:rPr>
              <a:t>kt</a:t>
            </a:r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/y 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Polyesters </a:t>
            </a:r>
          </a:p>
          <a:p>
            <a:pPr eaLnBrk="1" hangingPunct="1"/>
            <a:endParaRPr lang="fr-FR" altLang="fr-FR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b="1" u="sng" dirty="0">
                <a:latin typeface="Arial Narrow" panose="020B0606020202030204" pitchFamily="34" charset="0"/>
                <a:cs typeface="Arial" panose="020B0604020202020204" pitchFamily="34" charset="0"/>
              </a:rPr>
              <a:t>Tires 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5 m/y</a:t>
            </a:r>
          </a:p>
          <a:p>
            <a:pPr eaLnBrk="1" hangingPunct="1"/>
            <a:endParaRPr lang="fr-FR" altLang="fr-FR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4051" name="ZoneTexte 48"/>
          <p:cNvSpPr txBox="1">
            <a:spLocks noChangeArrowheads="1"/>
          </p:cNvSpPr>
          <p:nvPr/>
        </p:nvSpPr>
        <p:spPr bwMode="auto">
          <a:xfrm>
            <a:off x="7668344" y="1975480"/>
            <a:ext cx="1224136" cy="2677656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200" b="1" u="sng" dirty="0">
                <a:latin typeface="Arial Narrow" panose="020B0606020202030204" pitchFamily="34" charset="0"/>
                <a:cs typeface="Arial" panose="020B0604020202020204" pitchFamily="34" charset="0"/>
              </a:rPr>
              <a:t>MTBE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Arzew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200 </a:t>
            </a:r>
            <a:r>
              <a:rPr lang="fr-FR" altLang="fr-FR" sz="1200" dirty="0" err="1">
                <a:latin typeface="Arial Narrow" panose="020B0606020202030204" pitchFamily="34" charset="0"/>
                <a:cs typeface="Arial" panose="020B0604020202020204" pitchFamily="34" charset="0"/>
              </a:rPr>
              <a:t>kt</a:t>
            </a:r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/y</a:t>
            </a:r>
          </a:p>
          <a:p>
            <a:pPr eaLnBrk="1" hangingPunct="1"/>
            <a:endParaRPr lang="fr-FR" altLang="fr-FR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fr-FR" altLang="fr-FR" sz="1200" b="1" u="sng" dirty="0">
                <a:latin typeface="Arial Narrow" panose="020B0606020202030204" pitchFamily="34" charset="0"/>
                <a:cs typeface="Arial" panose="020B0604020202020204" pitchFamily="34" charset="0"/>
              </a:rPr>
              <a:t>LAB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Skikda</a:t>
            </a:r>
          </a:p>
          <a:p>
            <a:pPr eaLnBrk="1" hangingPunct="1"/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100 </a:t>
            </a:r>
            <a:r>
              <a:rPr lang="fr-FR" altLang="fr-FR" sz="1200" dirty="0" err="1">
                <a:latin typeface="Arial Narrow" panose="020B0606020202030204" pitchFamily="34" charset="0"/>
                <a:cs typeface="Arial" panose="020B0604020202020204" pitchFamily="34" charset="0"/>
              </a:rPr>
              <a:t>kt</a:t>
            </a:r>
            <a:r>
              <a:rPr lang="fr-FR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/y</a:t>
            </a:r>
          </a:p>
          <a:p>
            <a:pPr eaLnBrk="1" hangingPunct="1"/>
            <a:endParaRPr lang="en-US" altLang="fr-FR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en-US" altLang="fr-FR" sz="1200" b="1" u="sng" dirty="0">
                <a:latin typeface="Arial Narrow" panose="020B0606020202030204" pitchFamily="34" charset="0"/>
                <a:cs typeface="Arial" panose="020B0604020202020204" pitchFamily="34" charset="0"/>
              </a:rPr>
              <a:t>Ethane/Naphtha </a:t>
            </a:r>
            <a:br>
              <a:rPr lang="en-US" altLang="fr-FR" sz="1200" b="1" u="sng" dirty="0"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en-US" altLang="fr-FR" sz="1200" b="1" u="sng" dirty="0" err="1">
                <a:latin typeface="Arial Narrow" panose="020B0606020202030204" pitchFamily="34" charset="0"/>
                <a:cs typeface="Arial" panose="020B0604020202020204" pitchFamily="34" charset="0"/>
              </a:rPr>
              <a:t>Vapo</a:t>
            </a:r>
            <a:r>
              <a:rPr lang="en-US" altLang="fr-FR" sz="1200" b="1" u="sng" dirty="0">
                <a:latin typeface="Arial Narrow" panose="020B0606020202030204" pitchFamily="34" charset="0"/>
                <a:cs typeface="Arial" panose="020B0604020202020204" pitchFamily="34" charset="0"/>
              </a:rPr>
              <a:t>-cracking </a:t>
            </a:r>
          </a:p>
          <a:p>
            <a:pPr eaLnBrk="1" hangingPunct="1"/>
            <a:r>
              <a:rPr lang="en-US" altLang="fr-FR" sz="1200" dirty="0" err="1">
                <a:latin typeface="Arial Narrow" panose="020B0606020202030204" pitchFamily="34" charset="0"/>
                <a:cs typeface="Arial" panose="020B0604020202020204" pitchFamily="34" charset="0"/>
              </a:rPr>
              <a:t>Skikda</a:t>
            </a:r>
            <a:r>
              <a:rPr lang="en-US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pPr eaLnBrk="1" hangingPunct="1"/>
            <a:r>
              <a:rPr lang="en-US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153 KT/y </a:t>
            </a:r>
          </a:p>
          <a:p>
            <a:pPr eaLnBrk="1" hangingPunct="1"/>
            <a:r>
              <a:rPr lang="en-US" altLang="fr-FR" sz="1200" dirty="0">
                <a:latin typeface="Arial Narrow" panose="020B0606020202030204" pitchFamily="34" charset="0"/>
                <a:cs typeface="Arial" panose="020B0604020202020204" pitchFamily="34" charset="0"/>
              </a:rPr>
              <a:t>Ethylene.</a:t>
            </a:r>
          </a:p>
          <a:p>
            <a:pPr eaLnBrk="1" hangingPunct="1"/>
            <a:endParaRPr lang="fr-FR" altLang="fr-FR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292179" y="1375721"/>
            <a:ext cx="1140184" cy="5002739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 err="1" smtClean="0">
              <a:solidFill>
                <a:schemeClr val="tx2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370063" y="1268017"/>
            <a:ext cx="2359986" cy="509664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 err="1" smtClean="0">
              <a:solidFill>
                <a:schemeClr val="tx2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436123" y="1134975"/>
            <a:ext cx="925253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600" u="sng" dirty="0" err="1" smtClean="0">
                <a:solidFill>
                  <a:srgbClr val="FF0000"/>
                </a:solidFill>
              </a:rPr>
              <a:t>Projects</a:t>
            </a:r>
            <a:endParaRPr lang="fr-FR" sz="1600" u="sng" dirty="0">
              <a:solidFill>
                <a:srgbClr val="FF0000"/>
              </a:solidFill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7146538" y="1078109"/>
            <a:ext cx="925253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600" u="sng" dirty="0" err="1" smtClean="0">
                <a:solidFill>
                  <a:srgbClr val="FF0000"/>
                </a:solidFill>
              </a:rPr>
              <a:t>Projects</a:t>
            </a:r>
            <a:endParaRPr lang="fr-FR" sz="1600" u="sng" dirty="0">
              <a:solidFill>
                <a:srgbClr val="FF0000"/>
              </a:solidFill>
            </a:endParaRPr>
          </a:p>
        </p:txBody>
      </p:sp>
      <p:sp>
        <p:nvSpPr>
          <p:cNvPr id="26" name="Titre 1"/>
          <p:cNvSpPr txBox="1">
            <a:spLocks/>
          </p:cNvSpPr>
          <p:nvPr/>
        </p:nvSpPr>
        <p:spPr bwMode="auto">
          <a:xfrm>
            <a:off x="159419" y="825682"/>
            <a:ext cx="8934444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862" tIns="31931" rIns="63862" bIns="31931" anchor="ctr"/>
          <a:lstStyle/>
          <a:p>
            <a:pPr>
              <a:defRPr/>
            </a:pPr>
            <a:r>
              <a:rPr lang="fr-FR" sz="1500" dirty="0" err="1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Liquefaction</a:t>
            </a:r>
            <a:r>
              <a:rPr lang="fr-FR" sz="1500" dirty="0" smtClean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 </a:t>
            </a:r>
            <a:r>
              <a:rPr lang="fr-FR" sz="1500" dirty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of Natural </a:t>
            </a:r>
            <a:r>
              <a:rPr lang="fr-FR" sz="1500" dirty="0" err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Gas</a:t>
            </a:r>
            <a:r>
              <a:rPr lang="fr-FR" sz="1500" dirty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, LPG </a:t>
            </a:r>
            <a:r>
              <a:rPr lang="fr-FR" sz="1500" dirty="0" err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Separation</a:t>
            </a:r>
            <a:r>
              <a:rPr lang="fr-FR" sz="1500" dirty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, </a:t>
            </a:r>
            <a:r>
              <a:rPr lang="fr-FR" sz="1500" dirty="0" err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Refining</a:t>
            </a:r>
            <a:r>
              <a:rPr lang="fr-FR" sz="1500" dirty="0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 and </a:t>
            </a:r>
            <a:r>
              <a:rPr lang="fr-FR" sz="1500" dirty="0" err="1">
                <a:solidFill>
                  <a:srgbClr val="000000"/>
                </a:solidFill>
                <a:latin typeface="Arial Narrow" panose="020B0606020202030204" pitchFamily="34" charset="0"/>
                <a:cs typeface="Arial" charset="0"/>
              </a:rPr>
              <a:t>Petrochemicals</a:t>
            </a:r>
            <a:endParaRPr lang="fr-FR" sz="1500" dirty="0">
              <a:solidFill>
                <a:srgbClr val="000000"/>
              </a:solidFill>
              <a:latin typeface="Arial Narrow" panose="020B0606020202030204" pitchFamily="34" charset="0"/>
              <a:cs typeface="Arial" charset="0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F5B5D8-74B3-4FD1-88D7-1C79C37A0425}" type="slidenum">
              <a:rPr lang="fr-FR" smtClean="0"/>
              <a:pPr>
                <a:defRPr/>
              </a:pPr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75375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e 5"/>
          <p:cNvGrpSpPr/>
          <p:nvPr/>
        </p:nvGrpSpPr>
        <p:grpSpPr>
          <a:xfrm>
            <a:off x="4283968" y="1052736"/>
            <a:ext cx="4552876" cy="2592313"/>
            <a:chOff x="395536" y="1628775"/>
            <a:chExt cx="8369300" cy="4454525"/>
          </a:xfrm>
        </p:grpSpPr>
        <p:sp>
          <p:nvSpPr>
            <p:cNvPr id="7" name="Freeform 3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2684711" y="4022725"/>
              <a:ext cx="38100" cy="28575"/>
            </a:xfrm>
            <a:custGeom>
              <a:avLst/>
              <a:gdLst>
                <a:gd name="T0" fmla="*/ 0 w 26"/>
                <a:gd name="T1" fmla="*/ 0 h 34"/>
                <a:gd name="T2" fmla="*/ 2147483647 w 26"/>
                <a:gd name="T3" fmla="*/ 2147483647 h 34"/>
                <a:gd name="T4" fmla="*/ 2147483647 w 26"/>
                <a:gd name="T5" fmla="*/ 2147483647 h 34"/>
                <a:gd name="T6" fmla="*/ 0 w 26"/>
                <a:gd name="T7" fmla="*/ 0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" h="34">
                  <a:moveTo>
                    <a:pt x="0" y="0"/>
                  </a:moveTo>
                  <a:lnTo>
                    <a:pt x="6" y="34"/>
                  </a:lnTo>
                  <a:lnTo>
                    <a:pt x="26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4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684711" y="4022725"/>
              <a:ext cx="38100" cy="28575"/>
            </a:xfrm>
            <a:custGeom>
              <a:avLst/>
              <a:gdLst>
                <a:gd name="T0" fmla="*/ 0 w 26"/>
                <a:gd name="T1" fmla="*/ 0 h 34"/>
                <a:gd name="T2" fmla="*/ 2147483647 w 26"/>
                <a:gd name="T3" fmla="*/ 2147483647 h 34"/>
                <a:gd name="T4" fmla="*/ 2147483647 w 26"/>
                <a:gd name="T5" fmla="*/ 2147483647 h 34"/>
                <a:gd name="T6" fmla="*/ 0 w 26"/>
                <a:gd name="T7" fmla="*/ 0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" h="34">
                  <a:moveTo>
                    <a:pt x="0" y="0"/>
                  </a:moveTo>
                  <a:lnTo>
                    <a:pt x="6" y="34"/>
                  </a:lnTo>
                  <a:lnTo>
                    <a:pt x="26" y="23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684711" y="4022725"/>
              <a:ext cx="38100" cy="28575"/>
            </a:xfrm>
            <a:custGeom>
              <a:avLst/>
              <a:gdLst>
                <a:gd name="T0" fmla="*/ 0 w 26"/>
                <a:gd name="T1" fmla="*/ 0 h 34"/>
                <a:gd name="T2" fmla="*/ 2147483647 w 26"/>
                <a:gd name="T3" fmla="*/ 2147483647 h 34"/>
                <a:gd name="T4" fmla="*/ 2147483647 w 26"/>
                <a:gd name="T5" fmla="*/ 2147483647 h 34"/>
                <a:gd name="T6" fmla="*/ 0 w 26"/>
                <a:gd name="T7" fmla="*/ 0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" h="34">
                  <a:moveTo>
                    <a:pt x="0" y="0"/>
                  </a:moveTo>
                  <a:lnTo>
                    <a:pt x="6" y="34"/>
                  </a:lnTo>
                  <a:lnTo>
                    <a:pt x="26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0" name="Freeform 6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2684711" y="4022725"/>
              <a:ext cx="38100" cy="28575"/>
            </a:xfrm>
            <a:custGeom>
              <a:avLst/>
              <a:gdLst>
                <a:gd name="T0" fmla="*/ 0 w 26"/>
                <a:gd name="T1" fmla="*/ 0 h 34"/>
                <a:gd name="T2" fmla="*/ 2147483647 w 26"/>
                <a:gd name="T3" fmla="*/ 2147483647 h 34"/>
                <a:gd name="T4" fmla="*/ 2147483647 w 26"/>
                <a:gd name="T5" fmla="*/ 2147483647 h 34"/>
                <a:gd name="T6" fmla="*/ 0 w 26"/>
                <a:gd name="T7" fmla="*/ 0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" h="34">
                  <a:moveTo>
                    <a:pt x="0" y="0"/>
                  </a:moveTo>
                  <a:lnTo>
                    <a:pt x="6" y="34"/>
                  </a:lnTo>
                  <a:lnTo>
                    <a:pt x="26" y="23"/>
                  </a:lnTo>
                  <a:lnTo>
                    <a:pt x="0" y="0"/>
                  </a:lnTo>
                </a:path>
              </a:pathLst>
            </a:custGeom>
            <a:solidFill>
              <a:schemeClr val="tx2"/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1" name="Freeform 7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5794623" y="3476625"/>
              <a:ext cx="311150" cy="254000"/>
            </a:xfrm>
            <a:custGeom>
              <a:avLst/>
              <a:gdLst>
                <a:gd name="T0" fmla="*/ 0 w 213"/>
                <a:gd name="T1" fmla="*/ 2147483647 h 321"/>
                <a:gd name="T2" fmla="*/ 0 w 213"/>
                <a:gd name="T3" fmla="*/ 2147483647 h 321"/>
                <a:gd name="T4" fmla="*/ 2147483647 w 213"/>
                <a:gd name="T5" fmla="*/ 2147483647 h 321"/>
                <a:gd name="T6" fmla="*/ 0 w 213"/>
                <a:gd name="T7" fmla="*/ 2147483647 h 321"/>
                <a:gd name="T8" fmla="*/ 2147483647 w 213"/>
                <a:gd name="T9" fmla="*/ 2147483647 h 321"/>
                <a:gd name="T10" fmla="*/ 2147483647 w 213"/>
                <a:gd name="T11" fmla="*/ 2147483647 h 321"/>
                <a:gd name="T12" fmla="*/ 2147483647 w 213"/>
                <a:gd name="T13" fmla="*/ 2147483647 h 321"/>
                <a:gd name="T14" fmla="*/ 2147483647 w 213"/>
                <a:gd name="T15" fmla="*/ 2147483647 h 321"/>
                <a:gd name="T16" fmla="*/ 2147483647 w 213"/>
                <a:gd name="T17" fmla="*/ 2147483647 h 321"/>
                <a:gd name="T18" fmla="*/ 2147483647 w 213"/>
                <a:gd name="T19" fmla="*/ 2147483647 h 321"/>
                <a:gd name="T20" fmla="*/ 2147483647 w 213"/>
                <a:gd name="T21" fmla="*/ 2147483647 h 321"/>
                <a:gd name="T22" fmla="*/ 2147483647 w 213"/>
                <a:gd name="T23" fmla="*/ 2147483647 h 321"/>
                <a:gd name="T24" fmla="*/ 2147483647 w 213"/>
                <a:gd name="T25" fmla="*/ 2147483647 h 321"/>
                <a:gd name="T26" fmla="*/ 2147483647 w 213"/>
                <a:gd name="T27" fmla="*/ 2147483647 h 321"/>
                <a:gd name="T28" fmla="*/ 2147483647 w 213"/>
                <a:gd name="T29" fmla="*/ 2147483647 h 321"/>
                <a:gd name="T30" fmla="*/ 2147483647 w 213"/>
                <a:gd name="T31" fmla="*/ 2147483647 h 321"/>
                <a:gd name="T32" fmla="*/ 2147483647 w 213"/>
                <a:gd name="T33" fmla="*/ 2147483647 h 321"/>
                <a:gd name="T34" fmla="*/ 2147483647 w 213"/>
                <a:gd name="T35" fmla="*/ 2147483647 h 321"/>
                <a:gd name="T36" fmla="*/ 2147483647 w 213"/>
                <a:gd name="T37" fmla="*/ 0 h 321"/>
                <a:gd name="T38" fmla="*/ 2147483647 w 213"/>
                <a:gd name="T39" fmla="*/ 2147483647 h 321"/>
                <a:gd name="T40" fmla="*/ 2147483647 w 213"/>
                <a:gd name="T41" fmla="*/ 2147483647 h 321"/>
                <a:gd name="T42" fmla="*/ 2147483647 w 213"/>
                <a:gd name="T43" fmla="*/ 2147483647 h 321"/>
                <a:gd name="T44" fmla="*/ 2147483647 w 213"/>
                <a:gd name="T45" fmla="*/ 2147483647 h 321"/>
                <a:gd name="T46" fmla="*/ 0 w 213"/>
                <a:gd name="T47" fmla="*/ 2147483647 h 3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3" h="321">
                  <a:moveTo>
                    <a:pt x="0" y="156"/>
                  </a:moveTo>
                  <a:lnTo>
                    <a:pt x="0" y="246"/>
                  </a:lnTo>
                  <a:lnTo>
                    <a:pt x="13" y="267"/>
                  </a:lnTo>
                  <a:lnTo>
                    <a:pt x="0" y="311"/>
                  </a:lnTo>
                  <a:lnTo>
                    <a:pt x="24" y="321"/>
                  </a:lnTo>
                  <a:lnTo>
                    <a:pt x="82" y="311"/>
                  </a:lnTo>
                  <a:lnTo>
                    <a:pt x="93" y="256"/>
                  </a:lnTo>
                  <a:lnTo>
                    <a:pt x="132" y="233"/>
                  </a:lnTo>
                  <a:lnTo>
                    <a:pt x="138" y="200"/>
                  </a:lnTo>
                  <a:lnTo>
                    <a:pt x="150" y="188"/>
                  </a:lnTo>
                  <a:lnTo>
                    <a:pt x="144" y="167"/>
                  </a:lnTo>
                  <a:lnTo>
                    <a:pt x="157" y="167"/>
                  </a:lnTo>
                  <a:lnTo>
                    <a:pt x="169" y="123"/>
                  </a:lnTo>
                  <a:lnTo>
                    <a:pt x="163" y="89"/>
                  </a:lnTo>
                  <a:lnTo>
                    <a:pt x="213" y="54"/>
                  </a:lnTo>
                  <a:lnTo>
                    <a:pt x="213" y="44"/>
                  </a:lnTo>
                  <a:lnTo>
                    <a:pt x="194" y="44"/>
                  </a:lnTo>
                  <a:lnTo>
                    <a:pt x="169" y="67"/>
                  </a:lnTo>
                  <a:lnTo>
                    <a:pt x="157" y="0"/>
                  </a:lnTo>
                  <a:lnTo>
                    <a:pt x="132" y="44"/>
                  </a:lnTo>
                  <a:lnTo>
                    <a:pt x="69" y="44"/>
                  </a:lnTo>
                  <a:lnTo>
                    <a:pt x="31" y="123"/>
                  </a:lnTo>
                  <a:lnTo>
                    <a:pt x="5" y="100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2" name="Freeform 8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794623" y="3476625"/>
              <a:ext cx="311150" cy="254000"/>
            </a:xfrm>
            <a:custGeom>
              <a:avLst/>
              <a:gdLst>
                <a:gd name="T0" fmla="*/ 0 w 213"/>
                <a:gd name="T1" fmla="*/ 2147483647 h 321"/>
                <a:gd name="T2" fmla="*/ 0 w 213"/>
                <a:gd name="T3" fmla="*/ 2147483647 h 321"/>
                <a:gd name="T4" fmla="*/ 2147483647 w 213"/>
                <a:gd name="T5" fmla="*/ 2147483647 h 321"/>
                <a:gd name="T6" fmla="*/ 0 w 213"/>
                <a:gd name="T7" fmla="*/ 2147483647 h 321"/>
                <a:gd name="T8" fmla="*/ 2147483647 w 213"/>
                <a:gd name="T9" fmla="*/ 2147483647 h 321"/>
                <a:gd name="T10" fmla="*/ 2147483647 w 213"/>
                <a:gd name="T11" fmla="*/ 2147483647 h 321"/>
                <a:gd name="T12" fmla="*/ 2147483647 w 213"/>
                <a:gd name="T13" fmla="*/ 2147483647 h 321"/>
                <a:gd name="T14" fmla="*/ 2147483647 w 213"/>
                <a:gd name="T15" fmla="*/ 2147483647 h 321"/>
                <a:gd name="T16" fmla="*/ 2147483647 w 213"/>
                <a:gd name="T17" fmla="*/ 2147483647 h 321"/>
                <a:gd name="T18" fmla="*/ 2147483647 w 213"/>
                <a:gd name="T19" fmla="*/ 2147483647 h 321"/>
                <a:gd name="T20" fmla="*/ 2147483647 w 213"/>
                <a:gd name="T21" fmla="*/ 2147483647 h 321"/>
                <a:gd name="T22" fmla="*/ 2147483647 w 213"/>
                <a:gd name="T23" fmla="*/ 2147483647 h 321"/>
                <a:gd name="T24" fmla="*/ 2147483647 w 213"/>
                <a:gd name="T25" fmla="*/ 2147483647 h 321"/>
                <a:gd name="T26" fmla="*/ 2147483647 w 213"/>
                <a:gd name="T27" fmla="*/ 2147483647 h 321"/>
                <a:gd name="T28" fmla="*/ 2147483647 w 213"/>
                <a:gd name="T29" fmla="*/ 2147483647 h 321"/>
                <a:gd name="T30" fmla="*/ 2147483647 w 213"/>
                <a:gd name="T31" fmla="*/ 2147483647 h 321"/>
                <a:gd name="T32" fmla="*/ 2147483647 w 213"/>
                <a:gd name="T33" fmla="*/ 2147483647 h 321"/>
                <a:gd name="T34" fmla="*/ 2147483647 w 213"/>
                <a:gd name="T35" fmla="*/ 2147483647 h 321"/>
                <a:gd name="T36" fmla="*/ 2147483647 w 213"/>
                <a:gd name="T37" fmla="*/ 0 h 321"/>
                <a:gd name="T38" fmla="*/ 2147483647 w 213"/>
                <a:gd name="T39" fmla="*/ 2147483647 h 321"/>
                <a:gd name="T40" fmla="*/ 2147483647 w 213"/>
                <a:gd name="T41" fmla="*/ 2147483647 h 321"/>
                <a:gd name="T42" fmla="*/ 2147483647 w 213"/>
                <a:gd name="T43" fmla="*/ 2147483647 h 321"/>
                <a:gd name="T44" fmla="*/ 2147483647 w 213"/>
                <a:gd name="T45" fmla="*/ 2147483647 h 321"/>
                <a:gd name="T46" fmla="*/ 0 w 213"/>
                <a:gd name="T47" fmla="*/ 2147483647 h 3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3" h="321">
                  <a:moveTo>
                    <a:pt x="0" y="156"/>
                  </a:moveTo>
                  <a:lnTo>
                    <a:pt x="0" y="246"/>
                  </a:lnTo>
                  <a:lnTo>
                    <a:pt x="13" y="267"/>
                  </a:lnTo>
                  <a:lnTo>
                    <a:pt x="0" y="311"/>
                  </a:lnTo>
                  <a:lnTo>
                    <a:pt x="24" y="321"/>
                  </a:lnTo>
                  <a:lnTo>
                    <a:pt x="82" y="311"/>
                  </a:lnTo>
                  <a:lnTo>
                    <a:pt x="93" y="256"/>
                  </a:lnTo>
                  <a:lnTo>
                    <a:pt x="132" y="233"/>
                  </a:lnTo>
                  <a:lnTo>
                    <a:pt x="138" y="200"/>
                  </a:lnTo>
                  <a:lnTo>
                    <a:pt x="150" y="188"/>
                  </a:lnTo>
                  <a:lnTo>
                    <a:pt x="144" y="167"/>
                  </a:lnTo>
                  <a:lnTo>
                    <a:pt x="157" y="167"/>
                  </a:lnTo>
                  <a:lnTo>
                    <a:pt x="169" y="123"/>
                  </a:lnTo>
                  <a:lnTo>
                    <a:pt x="163" y="89"/>
                  </a:lnTo>
                  <a:lnTo>
                    <a:pt x="213" y="54"/>
                  </a:lnTo>
                  <a:lnTo>
                    <a:pt x="213" y="44"/>
                  </a:lnTo>
                  <a:lnTo>
                    <a:pt x="194" y="44"/>
                  </a:lnTo>
                  <a:lnTo>
                    <a:pt x="169" y="67"/>
                  </a:lnTo>
                  <a:lnTo>
                    <a:pt x="157" y="0"/>
                  </a:lnTo>
                  <a:lnTo>
                    <a:pt x="132" y="44"/>
                  </a:lnTo>
                  <a:lnTo>
                    <a:pt x="69" y="44"/>
                  </a:lnTo>
                  <a:lnTo>
                    <a:pt x="31" y="123"/>
                  </a:lnTo>
                  <a:lnTo>
                    <a:pt x="5" y="100"/>
                  </a:lnTo>
                  <a:lnTo>
                    <a:pt x="0" y="1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5794623" y="3476625"/>
              <a:ext cx="311150" cy="254000"/>
            </a:xfrm>
            <a:custGeom>
              <a:avLst/>
              <a:gdLst>
                <a:gd name="T0" fmla="*/ 0 w 213"/>
                <a:gd name="T1" fmla="*/ 2147483647 h 321"/>
                <a:gd name="T2" fmla="*/ 0 w 213"/>
                <a:gd name="T3" fmla="*/ 2147483647 h 321"/>
                <a:gd name="T4" fmla="*/ 2147483647 w 213"/>
                <a:gd name="T5" fmla="*/ 2147483647 h 321"/>
                <a:gd name="T6" fmla="*/ 0 w 213"/>
                <a:gd name="T7" fmla="*/ 2147483647 h 321"/>
                <a:gd name="T8" fmla="*/ 2147483647 w 213"/>
                <a:gd name="T9" fmla="*/ 2147483647 h 321"/>
                <a:gd name="T10" fmla="*/ 2147483647 w 213"/>
                <a:gd name="T11" fmla="*/ 2147483647 h 321"/>
                <a:gd name="T12" fmla="*/ 2147483647 w 213"/>
                <a:gd name="T13" fmla="*/ 2147483647 h 321"/>
                <a:gd name="T14" fmla="*/ 2147483647 w 213"/>
                <a:gd name="T15" fmla="*/ 2147483647 h 321"/>
                <a:gd name="T16" fmla="*/ 2147483647 w 213"/>
                <a:gd name="T17" fmla="*/ 2147483647 h 321"/>
                <a:gd name="T18" fmla="*/ 2147483647 w 213"/>
                <a:gd name="T19" fmla="*/ 2147483647 h 321"/>
                <a:gd name="T20" fmla="*/ 2147483647 w 213"/>
                <a:gd name="T21" fmla="*/ 2147483647 h 321"/>
                <a:gd name="T22" fmla="*/ 2147483647 w 213"/>
                <a:gd name="T23" fmla="*/ 2147483647 h 321"/>
                <a:gd name="T24" fmla="*/ 2147483647 w 213"/>
                <a:gd name="T25" fmla="*/ 2147483647 h 321"/>
                <a:gd name="T26" fmla="*/ 2147483647 w 213"/>
                <a:gd name="T27" fmla="*/ 2147483647 h 321"/>
                <a:gd name="T28" fmla="*/ 2147483647 w 213"/>
                <a:gd name="T29" fmla="*/ 2147483647 h 321"/>
                <a:gd name="T30" fmla="*/ 2147483647 w 213"/>
                <a:gd name="T31" fmla="*/ 2147483647 h 321"/>
                <a:gd name="T32" fmla="*/ 2147483647 w 213"/>
                <a:gd name="T33" fmla="*/ 2147483647 h 321"/>
                <a:gd name="T34" fmla="*/ 2147483647 w 213"/>
                <a:gd name="T35" fmla="*/ 2147483647 h 321"/>
                <a:gd name="T36" fmla="*/ 2147483647 w 213"/>
                <a:gd name="T37" fmla="*/ 0 h 321"/>
                <a:gd name="T38" fmla="*/ 2147483647 w 213"/>
                <a:gd name="T39" fmla="*/ 2147483647 h 321"/>
                <a:gd name="T40" fmla="*/ 2147483647 w 213"/>
                <a:gd name="T41" fmla="*/ 2147483647 h 321"/>
                <a:gd name="T42" fmla="*/ 2147483647 w 213"/>
                <a:gd name="T43" fmla="*/ 2147483647 h 321"/>
                <a:gd name="T44" fmla="*/ 2147483647 w 213"/>
                <a:gd name="T45" fmla="*/ 2147483647 h 321"/>
                <a:gd name="T46" fmla="*/ 0 w 213"/>
                <a:gd name="T47" fmla="*/ 2147483647 h 3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3" h="321">
                  <a:moveTo>
                    <a:pt x="0" y="156"/>
                  </a:moveTo>
                  <a:lnTo>
                    <a:pt x="0" y="246"/>
                  </a:lnTo>
                  <a:lnTo>
                    <a:pt x="13" y="267"/>
                  </a:lnTo>
                  <a:lnTo>
                    <a:pt x="0" y="311"/>
                  </a:lnTo>
                  <a:lnTo>
                    <a:pt x="24" y="321"/>
                  </a:lnTo>
                  <a:lnTo>
                    <a:pt x="82" y="311"/>
                  </a:lnTo>
                  <a:lnTo>
                    <a:pt x="93" y="256"/>
                  </a:lnTo>
                  <a:lnTo>
                    <a:pt x="132" y="233"/>
                  </a:lnTo>
                  <a:lnTo>
                    <a:pt x="138" y="200"/>
                  </a:lnTo>
                  <a:lnTo>
                    <a:pt x="150" y="188"/>
                  </a:lnTo>
                  <a:lnTo>
                    <a:pt x="144" y="167"/>
                  </a:lnTo>
                  <a:lnTo>
                    <a:pt x="157" y="167"/>
                  </a:lnTo>
                  <a:lnTo>
                    <a:pt x="169" y="123"/>
                  </a:lnTo>
                  <a:lnTo>
                    <a:pt x="163" y="89"/>
                  </a:lnTo>
                  <a:lnTo>
                    <a:pt x="213" y="54"/>
                  </a:lnTo>
                  <a:lnTo>
                    <a:pt x="213" y="44"/>
                  </a:lnTo>
                  <a:lnTo>
                    <a:pt x="194" y="44"/>
                  </a:lnTo>
                  <a:lnTo>
                    <a:pt x="169" y="67"/>
                  </a:lnTo>
                  <a:lnTo>
                    <a:pt x="157" y="0"/>
                  </a:lnTo>
                  <a:lnTo>
                    <a:pt x="132" y="44"/>
                  </a:lnTo>
                  <a:lnTo>
                    <a:pt x="69" y="44"/>
                  </a:lnTo>
                  <a:lnTo>
                    <a:pt x="31" y="123"/>
                  </a:lnTo>
                  <a:lnTo>
                    <a:pt x="5" y="100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4" name="Freeform 10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5794623" y="3476625"/>
              <a:ext cx="311150" cy="254000"/>
            </a:xfrm>
            <a:custGeom>
              <a:avLst/>
              <a:gdLst>
                <a:gd name="T0" fmla="*/ 0 w 213"/>
                <a:gd name="T1" fmla="*/ 2147483647 h 321"/>
                <a:gd name="T2" fmla="*/ 0 w 213"/>
                <a:gd name="T3" fmla="*/ 2147483647 h 321"/>
                <a:gd name="T4" fmla="*/ 2147483647 w 213"/>
                <a:gd name="T5" fmla="*/ 2147483647 h 321"/>
                <a:gd name="T6" fmla="*/ 0 w 213"/>
                <a:gd name="T7" fmla="*/ 2147483647 h 321"/>
                <a:gd name="T8" fmla="*/ 2147483647 w 213"/>
                <a:gd name="T9" fmla="*/ 2147483647 h 321"/>
                <a:gd name="T10" fmla="*/ 2147483647 w 213"/>
                <a:gd name="T11" fmla="*/ 2147483647 h 321"/>
                <a:gd name="T12" fmla="*/ 2147483647 w 213"/>
                <a:gd name="T13" fmla="*/ 2147483647 h 321"/>
                <a:gd name="T14" fmla="*/ 2147483647 w 213"/>
                <a:gd name="T15" fmla="*/ 2147483647 h 321"/>
                <a:gd name="T16" fmla="*/ 2147483647 w 213"/>
                <a:gd name="T17" fmla="*/ 2147483647 h 321"/>
                <a:gd name="T18" fmla="*/ 2147483647 w 213"/>
                <a:gd name="T19" fmla="*/ 2147483647 h 321"/>
                <a:gd name="T20" fmla="*/ 2147483647 w 213"/>
                <a:gd name="T21" fmla="*/ 2147483647 h 321"/>
                <a:gd name="T22" fmla="*/ 2147483647 w 213"/>
                <a:gd name="T23" fmla="*/ 2147483647 h 321"/>
                <a:gd name="T24" fmla="*/ 2147483647 w 213"/>
                <a:gd name="T25" fmla="*/ 2147483647 h 321"/>
                <a:gd name="T26" fmla="*/ 2147483647 w 213"/>
                <a:gd name="T27" fmla="*/ 2147483647 h 321"/>
                <a:gd name="T28" fmla="*/ 2147483647 w 213"/>
                <a:gd name="T29" fmla="*/ 2147483647 h 321"/>
                <a:gd name="T30" fmla="*/ 2147483647 w 213"/>
                <a:gd name="T31" fmla="*/ 2147483647 h 321"/>
                <a:gd name="T32" fmla="*/ 2147483647 w 213"/>
                <a:gd name="T33" fmla="*/ 2147483647 h 321"/>
                <a:gd name="T34" fmla="*/ 2147483647 w 213"/>
                <a:gd name="T35" fmla="*/ 2147483647 h 321"/>
                <a:gd name="T36" fmla="*/ 2147483647 w 213"/>
                <a:gd name="T37" fmla="*/ 0 h 321"/>
                <a:gd name="T38" fmla="*/ 2147483647 w 213"/>
                <a:gd name="T39" fmla="*/ 2147483647 h 321"/>
                <a:gd name="T40" fmla="*/ 2147483647 w 213"/>
                <a:gd name="T41" fmla="*/ 2147483647 h 321"/>
                <a:gd name="T42" fmla="*/ 2147483647 w 213"/>
                <a:gd name="T43" fmla="*/ 2147483647 h 321"/>
                <a:gd name="T44" fmla="*/ 2147483647 w 213"/>
                <a:gd name="T45" fmla="*/ 2147483647 h 321"/>
                <a:gd name="T46" fmla="*/ 0 w 213"/>
                <a:gd name="T47" fmla="*/ 2147483647 h 3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3" h="321">
                  <a:moveTo>
                    <a:pt x="0" y="156"/>
                  </a:moveTo>
                  <a:lnTo>
                    <a:pt x="0" y="246"/>
                  </a:lnTo>
                  <a:lnTo>
                    <a:pt x="13" y="267"/>
                  </a:lnTo>
                  <a:lnTo>
                    <a:pt x="0" y="311"/>
                  </a:lnTo>
                  <a:lnTo>
                    <a:pt x="24" y="321"/>
                  </a:lnTo>
                  <a:lnTo>
                    <a:pt x="82" y="311"/>
                  </a:lnTo>
                  <a:lnTo>
                    <a:pt x="93" y="256"/>
                  </a:lnTo>
                  <a:lnTo>
                    <a:pt x="132" y="233"/>
                  </a:lnTo>
                  <a:lnTo>
                    <a:pt x="138" y="200"/>
                  </a:lnTo>
                  <a:lnTo>
                    <a:pt x="150" y="188"/>
                  </a:lnTo>
                  <a:lnTo>
                    <a:pt x="144" y="167"/>
                  </a:lnTo>
                  <a:lnTo>
                    <a:pt x="157" y="167"/>
                  </a:lnTo>
                  <a:lnTo>
                    <a:pt x="169" y="123"/>
                  </a:lnTo>
                  <a:lnTo>
                    <a:pt x="163" y="89"/>
                  </a:lnTo>
                  <a:lnTo>
                    <a:pt x="213" y="54"/>
                  </a:lnTo>
                  <a:lnTo>
                    <a:pt x="213" y="44"/>
                  </a:lnTo>
                  <a:lnTo>
                    <a:pt x="194" y="44"/>
                  </a:lnTo>
                  <a:lnTo>
                    <a:pt x="169" y="67"/>
                  </a:lnTo>
                  <a:lnTo>
                    <a:pt x="157" y="0"/>
                  </a:lnTo>
                  <a:lnTo>
                    <a:pt x="132" y="44"/>
                  </a:lnTo>
                  <a:lnTo>
                    <a:pt x="69" y="44"/>
                  </a:lnTo>
                  <a:lnTo>
                    <a:pt x="31" y="123"/>
                  </a:lnTo>
                  <a:lnTo>
                    <a:pt x="5" y="100"/>
                  </a:lnTo>
                  <a:lnTo>
                    <a:pt x="0" y="1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850061" y="3351213"/>
              <a:ext cx="36512" cy="90487"/>
            </a:xfrm>
            <a:custGeom>
              <a:avLst/>
              <a:gdLst>
                <a:gd name="T0" fmla="*/ 0 w 24"/>
                <a:gd name="T1" fmla="*/ 2147483647 h 113"/>
                <a:gd name="T2" fmla="*/ 0 w 24"/>
                <a:gd name="T3" fmla="*/ 2147483647 h 113"/>
                <a:gd name="T4" fmla="*/ 2147483647 w 24"/>
                <a:gd name="T5" fmla="*/ 0 h 113"/>
                <a:gd name="T6" fmla="*/ 2147483647 w 24"/>
                <a:gd name="T7" fmla="*/ 2147483647 h 113"/>
                <a:gd name="T8" fmla="*/ 2147483647 w 24"/>
                <a:gd name="T9" fmla="*/ 2147483647 h 113"/>
                <a:gd name="T10" fmla="*/ 0 w 24"/>
                <a:gd name="T11" fmla="*/ 2147483647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113">
                  <a:moveTo>
                    <a:pt x="0" y="90"/>
                  </a:moveTo>
                  <a:lnTo>
                    <a:pt x="0" y="34"/>
                  </a:lnTo>
                  <a:lnTo>
                    <a:pt x="13" y="0"/>
                  </a:lnTo>
                  <a:lnTo>
                    <a:pt x="24" y="69"/>
                  </a:lnTo>
                  <a:lnTo>
                    <a:pt x="13" y="113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850061" y="3351213"/>
              <a:ext cx="36512" cy="90487"/>
            </a:xfrm>
            <a:custGeom>
              <a:avLst/>
              <a:gdLst>
                <a:gd name="T0" fmla="*/ 0 w 24"/>
                <a:gd name="T1" fmla="*/ 2147483647 h 113"/>
                <a:gd name="T2" fmla="*/ 0 w 24"/>
                <a:gd name="T3" fmla="*/ 2147483647 h 113"/>
                <a:gd name="T4" fmla="*/ 2147483647 w 24"/>
                <a:gd name="T5" fmla="*/ 0 h 113"/>
                <a:gd name="T6" fmla="*/ 2147483647 w 24"/>
                <a:gd name="T7" fmla="*/ 2147483647 h 113"/>
                <a:gd name="T8" fmla="*/ 2147483647 w 24"/>
                <a:gd name="T9" fmla="*/ 2147483647 h 113"/>
                <a:gd name="T10" fmla="*/ 0 w 24"/>
                <a:gd name="T11" fmla="*/ 2147483647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113">
                  <a:moveTo>
                    <a:pt x="0" y="90"/>
                  </a:moveTo>
                  <a:lnTo>
                    <a:pt x="0" y="34"/>
                  </a:lnTo>
                  <a:lnTo>
                    <a:pt x="13" y="0"/>
                  </a:lnTo>
                  <a:lnTo>
                    <a:pt x="24" y="69"/>
                  </a:lnTo>
                  <a:lnTo>
                    <a:pt x="13" y="113"/>
                  </a:lnTo>
                  <a:lnTo>
                    <a:pt x="0" y="9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13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850061" y="3351213"/>
              <a:ext cx="36512" cy="90487"/>
            </a:xfrm>
            <a:custGeom>
              <a:avLst/>
              <a:gdLst>
                <a:gd name="T0" fmla="*/ 0 w 24"/>
                <a:gd name="T1" fmla="*/ 2147483647 h 113"/>
                <a:gd name="T2" fmla="*/ 0 w 24"/>
                <a:gd name="T3" fmla="*/ 2147483647 h 113"/>
                <a:gd name="T4" fmla="*/ 2147483647 w 24"/>
                <a:gd name="T5" fmla="*/ 0 h 113"/>
                <a:gd name="T6" fmla="*/ 2147483647 w 24"/>
                <a:gd name="T7" fmla="*/ 2147483647 h 113"/>
                <a:gd name="T8" fmla="*/ 2147483647 w 24"/>
                <a:gd name="T9" fmla="*/ 2147483647 h 113"/>
                <a:gd name="T10" fmla="*/ 0 w 24"/>
                <a:gd name="T11" fmla="*/ 2147483647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113">
                  <a:moveTo>
                    <a:pt x="0" y="90"/>
                  </a:moveTo>
                  <a:lnTo>
                    <a:pt x="0" y="34"/>
                  </a:lnTo>
                  <a:lnTo>
                    <a:pt x="13" y="0"/>
                  </a:lnTo>
                  <a:lnTo>
                    <a:pt x="24" y="69"/>
                  </a:lnTo>
                  <a:lnTo>
                    <a:pt x="13" y="113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850061" y="3351213"/>
              <a:ext cx="36512" cy="90487"/>
            </a:xfrm>
            <a:custGeom>
              <a:avLst/>
              <a:gdLst>
                <a:gd name="T0" fmla="*/ 0 w 24"/>
                <a:gd name="T1" fmla="*/ 2147483647 h 113"/>
                <a:gd name="T2" fmla="*/ 0 w 24"/>
                <a:gd name="T3" fmla="*/ 2147483647 h 113"/>
                <a:gd name="T4" fmla="*/ 2147483647 w 24"/>
                <a:gd name="T5" fmla="*/ 0 h 113"/>
                <a:gd name="T6" fmla="*/ 2147483647 w 24"/>
                <a:gd name="T7" fmla="*/ 2147483647 h 113"/>
                <a:gd name="T8" fmla="*/ 2147483647 w 24"/>
                <a:gd name="T9" fmla="*/ 2147483647 h 113"/>
                <a:gd name="T10" fmla="*/ 0 w 24"/>
                <a:gd name="T11" fmla="*/ 2147483647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113">
                  <a:moveTo>
                    <a:pt x="0" y="90"/>
                  </a:moveTo>
                  <a:lnTo>
                    <a:pt x="0" y="34"/>
                  </a:lnTo>
                  <a:lnTo>
                    <a:pt x="13" y="0"/>
                  </a:lnTo>
                  <a:lnTo>
                    <a:pt x="24" y="69"/>
                  </a:lnTo>
                  <a:lnTo>
                    <a:pt x="13" y="113"/>
                  </a:lnTo>
                  <a:lnTo>
                    <a:pt x="0" y="9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5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208711" y="3519488"/>
              <a:ext cx="468312" cy="496887"/>
            </a:xfrm>
            <a:custGeom>
              <a:avLst/>
              <a:gdLst>
                <a:gd name="T0" fmla="*/ 0 w 319"/>
                <a:gd name="T1" fmla="*/ 2147483647 h 624"/>
                <a:gd name="T2" fmla="*/ 2147483647 w 319"/>
                <a:gd name="T3" fmla="*/ 2147483647 h 624"/>
                <a:gd name="T4" fmla="*/ 2147483647 w 319"/>
                <a:gd name="T5" fmla="*/ 2147483647 h 624"/>
                <a:gd name="T6" fmla="*/ 2147483647 w 319"/>
                <a:gd name="T7" fmla="*/ 2147483647 h 624"/>
                <a:gd name="T8" fmla="*/ 2147483647 w 319"/>
                <a:gd name="T9" fmla="*/ 2147483647 h 624"/>
                <a:gd name="T10" fmla="*/ 2147483647 w 319"/>
                <a:gd name="T11" fmla="*/ 2147483647 h 624"/>
                <a:gd name="T12" fmla="*/ 2147483647 w 319"/>
                <a:gd name="T13" fmla="*/ 2147483647 h 624"/>
                <a:gd name="T14" fmla="*/ 2147483647 w 319"/>
                <a:gd name="T15" fmla="*/ 2147483647 h 624"/>
                <a:gd name="T16" fmla="*/ 2147483647 w 319"/>
                <a:gd name="T17" fmla="*/ 2147483647 h 624"/>
                <a:gd name="T18" fmla="*/ 2147483647 w 319"/>
                <a:gd name="T19" fmla="*/ 2147483647 h 624"/>
                <a:gd name="T20" fmla="*/ 2147483647 w 319"/>
                <a:gd name="T21" fmla="*/ 2147483647 h 624"/>
                <a:gd name="T22" fmla="*/ 2147483647 w 319"/>
                <a:gd name="T23" fmla="*/ 2147483647 h 624"/>
                <a:gd name="T24" fmla="*/ 2147483647 w 319"/>
                <a:gd name="T25" fmla="*/ 2147483647 h 624"/>
                <a:gd name="T26" fmla="*/ 2147483647 w 319"/>
                <a:gd name="T27" fmla="*/ 0 h 624"/>
                <a:gd name="T28" fmla="*/ 2147483647 w 319"/>
                <a:gd name="T29" fmla="*/ 2147483647 h 624"/>
                <a:gd name="T30" fmla="*/ 2147483647 w 319"/>
                <a:gd name="T31" fmla="*/ 2147483647 h 624"/>
                <a:gd name="T32" fmla="*/ 2147483647 w 319"/>
                <a:gd name="T33" fmla="*/ 2147483647 h 624"/>
                <a:gd name="T34" fmla="*/ 2147483647 w 319"/>
                <a:gd name="T35" fmla="*/ 2147483647 h 624"/>
                <a:gd name="T36" fmla="*/ 2147483647 w 319"/>
                <a:gd name="T37" fmla="*/ 2147483647 h 624"/>
                <a:gd name="T38" fmla="*/ 2147483647 w 319"/>
                <a:gd name="T39" fmla="*/ 2147483647 h 624"/>
                <a:gd name="T40" fmla="*/ 2147483647 w 319"/>
                <a:gd name="T41" fmla="*/ 2147483647 h 624"/>
                <a:gd name="T42" fmla="*/ 0 w 319"/>
                <a:gd name="T43" fmla="*/ 2147483647 h 62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19" h="624">
                  <a:moveTo>
                    <a:pt x="0" y="334"/>
                  </a:moveTo>
                  <a:lnTo>
                    <a:pt x="6" y="344"/>
                  </a:lnTo>
                  <a:lnTo>
                    <a:pt x="62" y="422"/>
                  </a:lnTo>
                  <a:lnTo>
                    <a:pt x="187" y="590"/>
                  </a:lnTo>
                  <a:lnTo>
                    <a:pt x="187" y="624"/>
                  </a:lnTo>
                  <a:lnTo>
                    <a:pt x="200" y="613"/>
                  </a:lnTo>
                  <a:lnTo>
                    <a:pt x="225" y="601"/>
                  </a:lnTo>
                  <a:lnTo>
                    <a:pt x="319" y="467"/>
                  </a:lnTo>
                  <a:lnTo>
                    <a:pt x="282" y="378"/>
                  </a:lnTo>
                  <a:lnTo>
                    <a:pt x="282" y="234"/>
                  </a:lnTo>
                  <a:lnTo>
                    <a:pt x="274" y="177"/>
                  </a:lnTo>
                  <a:lnTo>
                    <a:pt x="250" y="111"/>
                  </a:lnTo>
                  <a:lnTo>
                    <a:pt x="263" y="88"/>
                  </a:lnTo>
                  <a:lnTo>
                    <a:pt x="269" y="0"/>
                  </a:lnTo>
                  <a:lnTo>
                    <a:pt x="163" y="11"/>
                  </a:lnTo>
                  <a:lnTo>
                    <a:pt x="99" y="67"/>
                  </a:lnTo>
                  <a:lnTo>
                    <a:pt x="118" y="167"/>
                  </a:lnTo>
                  <a:lnTo>
                    <a:pt x="94" y="177"/>
                  </a:lnTo>
                  <a:lnTo>
                    <a:pt x="81" y="190"/>
                  </a:lnTo>
                  <a:lnTo>
                    <a:pt x="81" y="211"/>
                  </a:lnTo>
                  <a:lnTo>
                    <a:pt x="12" y="278"/>
                  </a:lnTo>
                  <a:lnTo>
                    <a:pt x="0" y="3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6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208711" y="3519488"/>
              <a:ext cx="468312" cy="496887"/>
            </a:xfrm>
            <a:custGeom>
              <a:avLst/>
              <a:gdLst>
                <a:gd name="T0" fmla="*/ 0 w 319"/>
                <a:gd name="T1" fmla="*/ 2147483647 h 624"/>
                <a:gd name="T2" fmla="*/ 2147483647 w 319"/>
                <a:gd name="T3" fmla="*/ 2147483647 h 624"/>
                <a:gd name="T4" fmla="*/ 2147483647 w 319"/>
                <a:gd name="T5" fmla="*/ 2147483647 h 624"/>
                <a:gd name="T6" fmla="*/ 2147483647 w 319"/>
                <a:gd name="T7" fmla="*/ 2147483647 h 624"/>
                <a:gd name="T8" fmla="*/ 2147483647 w 319"/>
                <a:gd name="T9" fmla="*/ 2147483647 h 624"/>
                <a:gd name="T10" fmla="*/ 2147483647 w 319"/>
                <a:gd name="T11" fmla="*/ 2147483647 h 624"/>
                <a:gd name="T12" fmla="*/ 2147483647 w 319"/>
                <a:gd name="T13" fmla="*/ 2147483647 h 624"/>
                <a:gd name="T14" fmla="*/ 2147483647 w 319"/>
                <a:gd name="T15" fmla="*/ 2147483647 h 624"/>
                <a:gd name="T16" fmla="*/ 2147483647 w 319"/>
                <a:gd name="T17" fmla="*/ 2147483647 h 624"/>
                <a:gd name="T18" fmla="*/ 2147483647 w 319"/>
                <a:gd name="T19" fmla="*/ 2147483647 h 624"/>
                <a:gd name="T20" fmla="*/ 2147483647 w 319"/>
                <a:gd name="T21" fmla="*/ 2147483647 h 624"/>
                <a:gd name="T22" fmla="*/ 2147483647 w 319"/>
                <a:gd name="T23" fmla="*/ 2147483647 h 624"/>
                <a:gd name="T24" fmla="*/ 2147483647 w 319"/>
                <a:gd name="T25" fmla="*/ 2147483647 h 624"/>
                <a:gd name="T26" fmla="*/ 2147483647 w 319"/>
                <a:gd name="T27" fmla="*/ 0 h 624"/>
                <a:gd name="T28" fmla="*/ 2147483647 w 319"/>
                <a:gd name="T29" fmla="*/ 2147483647 h 624"/>
                <a:gd name="T30" fmla="*/ 2147483647 w 319"/>
                <a:gd name="T31" fmla="*/ 2147483647 h 624"/>
                <a:gd name="T32" fmla="*/ 2147483647 w 319"/>
                <a:gd name="T33" fmla="*/ 2147483647 h 624"/>
                <a:gd name="T34" fmla="*/ 2147483647 w 319"/>
                <a:gd name="T35" fmla="*/ 2147483647 h 624"/>
                <a:gd name="T36" fmla="*/ 2147483647 w 319"/>
                <a:gd name="T37" fmla="*/ 2147483647 h 624"/>
                <a:gd name="T38" fmla="*/ 2147483647 w 319"/>
                <a:gd name="T39" fmla="*/ 2147483647 h 624"/>
                <a:gd name="T40" fmla="*/ 2147483647 w 319"/>
                <a:gd name="T41" fmla="*/ 2147483647 h 624"/>
                <a:gd name="T42" fmla="*/ 0 w 319"/>
                <a:gd name="T43" fmla="*/ 2147483647 h 62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19" h="624">
                  <a:moveTo>
                    <a:pt x="0" y="334"/>
                  </a:moveTo>
                  <a:lnTo>
                    <a:pt x="6" y="344"/>
                  </a:lnTo>
                  <a:lnTo>
                    <a:pt x="62" y="422"/>
                  </a:lnTo>
                  <a:lnTo>
                    <a:pt x="187" y="590"/>
                  </a:lnTo>
                  <a:lnTo>
                    <a:pt x="187" y="624"/>
                  </a:lnTo>
                  <a:lnTo>
                    <a:pt x="200" y="613"/>
                  </a:lnTo>
                  <a:lnTo>
                    <a:pt x="225" y="601"/>
                  </a:lnTo>
                  <a:lnTo>
                    <a:pt x="319" y="467"/>
                  </a:lnTo>
                  <a:lnTo>
                    <a:pt x="282" y="378"/>
                  </a:lnTo>
                  <a:lnTo>
                    <a:pt x="282" y="234"/>
                  </a:lnTo>
                  <a:lnTo>
                    <a:pt x="274" y="177"/>
                  </a:lnTo>
                  <a:lnTo>
                    <a:pt x="250" y="111"/>
                  </a:lnTo>
                  <a:lnTo>
                    <a:pt x="263" y="88"/>
                  </a:lnTo>
                  <a:lnTo>
                    <a:pt x="269" y="0"/>
                  </a:lnTo>
                  <a:lnTo>
                    <a:pt x="163" y="11"/>
                  </a:lnTo>
                  <a:lnTo>
                    <a:pt x="99" y="67"/>
                  </a:lnTo>
                  <a:lnTo>
                    <a:pt x="118" y="167"/>
                  </a:lnTo>
                  <a:lnTo>
                    <a:pt x="94" y="177"/>
                  </a:lnTo>
                  <a:lnTo>
                    <a:pt x="81" y="190"/>
                  </a:lnTo>
                  <a:lnTo>
                    <a:pt x="81" y="211"/>
                  </a:lnTo>
                  <a:lnTo>
                    <a:pt x="12" y="278"/>
                  </a:lnTo>
                  <a:lnTo>
                    <a:pt x="0" y="3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17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208711" y="3519488"/>
              <a:ext cx="468312" cy="496887"/>
            </a:xfrm>
            <a:custGeom>
              <a:avLst/>
              <a:gdLst>
                <a:gd name="T0" fmla="*/ 0 w 319"/>
                <a:gd name="T1" fmla="*/ 2147483647 h 624"/>
                <a:gd name="T2" fmla="*/ 2147483647 w 319"/>
                <a:gd name="T3" fmla="*/ 2147483647 h 624"/>
                <a:gd name="T4" fmla="*/ 2147483647 w 319"/>
                <a:gd name="T5" fmla="*/ 2147483647 h 624"/>
                <a:gd name="T6" fmla="*/ 2147483647 w 319"/>
                <a:gd name="T7" fmla="*/ 2147483647 h 624"/>
                <a:gd name="T8" fmla="*/ 2147483647 w 319"/>
                <a:gd name="T9" fmla="*/ 2147483647 h 624"/>
                <a:gd name="T10" fmla="*/ 2147483647 w 319"/>
                <a:gd name="T11" fmla="*/ 2147483647 h 624"/>
                <a:gd name="T12" fmla="*/ 2147483647 w 319"/>
                <a:gd name="T13" fmla="*/ 2147483647 h 624"/>
                <a:gd name="T14" fmla="*/ 2147483647 w 319"/>
                <a:gd name="T15" fmla="*/ 2147483647 h 624"/>
                <a:gd name="T16" fmla="*/ 2147483647 w 319"/>
                <a:gd name="T17" fmla="*/ 2147483647 h 624"/>
                <a:gd name="T18" fmla="*/ 2147483647 w 319"/>
                <a:gd name="T19" fmla="*/ 2147483647 h 624"/>
                <a:gd name="T20" fmla="*/ 2147483647 w 319"/>
                <a:gd name="T21" fmla="*/ 2147483647 h 624"/>
                <a:gd name="T22" fmla="*/ 2147483647 w 319"/>
                <a:gd name="T23" fmla="*/ 2147483647 h 624"/>
                <a:gd name="T24" fmla="*/ 2147483647 w 319"/>
                <a:gd name="T25" fmla="*/ 2147483647 h 624"/>
                <a:gd name="T26" fmla="*/ 2147483647 w 319"/>
                <a:gd name="T27" fmla="*/ 0 h 624"/>
                <a:gd name="T28" fmla="*/ 2147483647 w 319"/>
                <a:gd name="T29" fmla="*/ 2147483647 h 624"/>
                <a:gd name="T30" fmla="*/ 2147483647 w 319"/>
                <a:gd name="T31" fmla="*/ 2147483647 h 624"/>
                <a:gd name="T32" fmla="*/ 2147483647 w 319"/>
                <a:gd name="T33" fmla="*/ 2147483647 h 624"/>
                <a:gd name="T34" fmla="*/ 2147483647 w 319"/>
                <a:gd name="T35" fmla="*/ 2147483647 h 624"/>
                <a:gd name="T36" fmla="*/ 2147483647 w 319"/>
                <a:gd name="T37" fmla="*/ 2147483647 h 624"/>
                <a:gd name="T38" fmla="*/ 2147483647 w 319"/>
                <a:gd name="T39" fmla="*/ 2147483647 h 624"/>
                <a:gd name="T40" fmla="*/ 2147483647 w 319"/>
                <a:gd name="T41" fmla="*/ 2147483647 h 624"/>
                <a:gd name="T42" fmla="*/ 0 w 319"/>
                <a:gd name="T43" fmla="*/ 2147483647 h 62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19" h="624">
                  <a:moveTo>
                    <a:pt x="0" y="334"/>
                  </a:moveTo>
                  <a:lnTo>
                    <a:pt x="6" y="344"/>
                  </a:lnTo>
                  <a:lnTo>
                    <a:pt x="62" y="422"/>
                  </a:lnTo>
                  <a:lnTo>
                    <a:pt x="187" y="590"/>
                  </a:lnTo>
                  <a:lnTo>
                    <a:pt x="187" y="624"/>
                  </a:lnTo>
                  <a:lnTo>
                    <a:pt x="200" y="613"/>
                  </a:lnTo>
                  <a:lnTo>
                    <a:pt x="225" y="601"/>
                  </a:lnTo>
                  <a:lnTo>
                    <a:pt x="319" y="467"/>
                  </a:lnTo>
                  <a:lnTo>
                    <a:pt x="282" y="378"/>
                  </a:lnTo>
                  <a:lnTo>
                    <a:pt x="282" y="234"/>
                  </a:lnTo>
                  <a:lnTo>
                    <a:pt x="274" y="177"/>
                  </a:lnTo>
                  <a:lnTo>
                    <a:pt x="250" y="111"/>
                  </a:lnTo>
                  <a:lnTo>
                    <a:pt x="263" y="88"/>
                  </a:lnTo>
                  <a:lnTo>
                    <a:pt x="269" y="0"/>
                  </a:lnTo>
                  <a:lnTo>
                    <a:pt x="163" y="11"/>
                  </a:lnTo>
                  <a:lnTo>
                    <a:pt x="99" y="67"/>
                  </a:lnTo>
                  <a:lnTo>
                    <a:pt x="118" y="167"/>
                  </a:lnTo>
                  <a:lnTo>
                    <a:pt x="94" y="177"/>
                  </a:lnTo>
                  <a:lnTo>
                    <a:pt x="81" y="190"/>
                  </a:lnTo>
                  <a:lnTo>
                    <a:pt x="81" y="211"/>
                  </a:lnTo>
                  <a:lnTo>
                    <a:pt x="12" y="278"/>
                  </a:lnTo>
                  <a:lnTo>
                    <a:pt x="0" y="3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2" name="Freeform 18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208711" y="3519488"/>
              <a:ext cx="468312" cy="496887"/>
            </a:xfrm>
            <a:custGeom>
              <a:avLst/>
              <a:gdLst>
                <a:gd name="T0" fmla="*/ 0 w 319"/>
                <a:gd name="T1" fmla="*/ 2147483647 h 624"/>
                <a:gd name="T2" fmla="*/ 2147483647 w 319"/>
                <a:gd name="T3" fmla="*/ 2147483647 h 624"/>
                <a:gd name="T4" fmla="*/ 2147483647 w 319"/>
                <a:gd name="T5" fmla="*/ 2147483647 h 624"/>
                <a:gd name="T6" fmla="*/ 2147483647 w 319"/>
                <a:gd name="T7" fmla="*/ 2147483647 h 624"/>
                <a:gd name="T8" fmla="*/ 2147483647 w 319"/>
                <a:gd name="T9" fmla="*/ 2147483647 h 624"/>
                <a:gd name="T10" fmla="*/ 2147483647 w 319"/>
                <a:gd name="T11" fmla="*/ 2147483647 h 624"/>
                <a:gd name="T12" fmla="*/ 2147483647 w 319"/>
                <a:gd name="T13" fmla="*/ 2147483647 h 624"/>
                <a:gd name="T14" fmla="*/ 2147483647 w 319"/>
                <a:gd name="T15" fmla="*/ 2147483647 h 624"/>
                <a:gd name="T16" fmla="*/ 2147483647 w 319"/>
                <a:gd name="T17" fmla="*/ 2147483647 h 624"/>
                <a:gd name="T18" fmla="*/ 2147483647 w 319"/>
                <a:gd name="T19" fmla="*/ 2147483647 h 624"/>
                <a:gd name="T20" fmla="*/ 2147483647 w 319"/>
                <a:gd name="T21" fmla="*/ 2147483647 h 624"/>
                <a:gd name="T22" fmla="*/ 2147483647 w 319"/>
                <a:gd name="T23" fmla="*/ 2147483647 h 624"/>
                <a:gd name="T24" fmla="*/ 2147483647 w 319"/>
                <a:gd name="T25" fmla="*/ 2147483647 h 624"/>
                <a:gd name="T26" fmla="*/ 2147483647 w 319"/>
                <a:gd name="T27" fmla="*/ 0 h 624"/>
                <a:gd name="T28" fmla="*/ 2147483647 w 319"/>
                <a:gd name="T29" fmla="*/ 2147483647 h 624"/>
                <a:gd name="T30" fmla="*/ 2147483647 w 319"/>
                <a:gd name="T31" fmla="*/ 2147483647 h 624"/>
                <a:gd name="T32" fmla="*/ 2147483647 w 319"/>
                <a:gd name="T33" fmla="*/ 2147483647 h 624"/>
                <a:gd name="T34" fmla="*/ 2147483647 w 319"/>
                <a:gd name="T35" fmla="*/ 2147483647 h 624"/>
                <a:gd name="T36" fmla="*/ 2147483647 w 319"/>
                <a:gd name="T37" fmla="*/ 2147483647 h 624"/>
                <a:gd name="T38" fmla="*/ 2147483647 w 319"/>
                <a:gd name="T39" fmla="*/ 2147483647 h 624"/>
                <a:gd name="T40" fmla="*/ 2147483647 w 319"/>
                <a:gd name="T41" fmla="*/ 2147483647 h 624"/>
                <a:gd name="T42" fmla="*/ 0 w 319"/>
                <a:gd name="T43" fmla="*/ 2147483647 h 62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19" h="624">
                  <a:moveTo>
                    <a:pt x="0" y="334"/>
                  </a:moveTo>
                  <a:lnTo>
                    <a:pt x="6" y="344"/>
                  </a:lnTo>
                  <a:lnTo>
                    <a:pt x="62" y="422"/>
                  </a:lnTo>
                  <a:lnTo>
                    <a:pt x="187" y="590"/>
                  </a:lnTo>
                  <a:lnTo>
                    <a:pt x="187" y="624"/>
                  </a:lnTo>
                  <a:lnTo>
                    <a:pt x="200" y="613"/>
                  </a:lnTo>
                  <a:lnTo>
                    <a:pt x="225" y="601"/>
                  </a:lnTo>
                  <a:lnTo>
                    <a:pt x="319" y="467"/>
                  </a:lnTo>
                  <a:lnTo>
                    <a:pt x="282" y="378"/>
                  </a:lnTo>
                  <a:lnTo>
                    <a:pt x="282" y="234"/>
                  </a:lnTo>
                  <a:lnTo>
                    <a:pt x="274" y="177"/>
                  </a:lnTo>
                  <a:lnTo>
                    <a:pt x="250" y="111"/>
                  </a:lnTo>
                  <a:lnTo>
                    <a:pt x="263" y="88"/>
                  </a:lnTo>
                  <a:lnTo>
                    <a:pt x="269" y="0"/>
                  </a:lnTo>
                  <a:lnTo>
                    <a:pt x="163" y="11"/>
                  </a:lnTo>
                  <a:lnTo>
                    <a:pt x="99" y="67"/>
                  </a:lnTo>
                  <a:lnTo>
                    <a:pt x="118" y="167"/>
                  </a:lnTo>
                  <a:lnTo>
                    <a:pt x="94" y="177"/>
                  </a:lnTo>
                  <a:lnTo>
                    <a:pt x="81" y="190"/>
                  </a:lnTo>
                  <a:lnTo>
                    <a:pt x="81" y="211"/>
                  </a:lnTo>
                  <a:lnTo>
                    <a:pt x="12" y="278"/>
                  </a:lnTo>
                  <a:lnTo>
                    <a:pt x="0" y="334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3" name="Freeform 19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2546598" y="5056188"/>
              <a:ext cx="452438" cy="895350"/>
            </a:xfrm>
            <a:custGeom>
              <a:avLst/>
              <a:gdLst>
                <a:gd name="T0" fmla="*/ 0 w 308"/>
                <a:gd name="T1" fmla="*/ 2147483647 h 1127"/>
                <a:gd name="T2" fmla="*/ 2147483647 w 308"/>
                <a:gd name="T3" fmla="*/ 2147483647 h 1127"/>
                <a:gd name="T4" fmla="*/ 2147483647 w 308"/>
                <a:gd name="T5" fmla="*/ 2147483647 h 1127"/>
                <a:gd name="T6" fmla="*/ 2147483647 w 308"/>
                <a:gd name="T7" fmla="*/ 2147483647 h 1127"/>
                <a:gd name="T8" fmla="*/ 2147483647 w 308"/>
                <a:gd name="T9" fmla="*/ 2147483647 h 1127"/>
                <a:gd name="T10" fmla="*/ 2147483647 w 308"/>
                <a:gd name="T11" fmla="*/ 2147483647 h 1127"/>
                <a:gd name="T12" fmla="*/ 2147483647 w 308"/>
                <a:gd name="T13" fmla="*/ 2147483647 h 1127"/>
                <a:gd name="T14" fmla="*/ 2147483647 w 308"/>
                <a:gd name="T15" fmla="*/ 2147483647 h 1127"/>
                <a:gd name="T16" fmla="*/ 2147483647 w 308"/>
                <a:gd name="T17" fmla="*/ 2147483647 h 1127"/>
                <a:gd name="T18" fmla="*/ 2147483647 w 308"/>
                <a:gd name="T19" fmla="*/ 2147483647 h 1127"/>
                <a:gd name="T20" fmla="*/ 2147483647 w 308"/>
                <a:gd name="T21" fmla="*/ 2147483647 h 1127"/>
                <a:gd name="T22" fmla="*/ 2147483647 w 308"/>
                <a:gd name="T23" fmla="*/ 2147483647 h 1127"/>
                <a:gd name="T24" fmla="*/ 2147483647 w 308"/>
                <a:gd name="T25" fmla="*/ 2147483647 h 1127"/>
                <a:gd name="T26" fmla="*/ 2147483647 w 308"/>
                <a:gd name="T27" fmla="*/ 2147483647 h 1127"/>
                <a:gd name="T28" fmla="*/ 2147483647 w 308"/>
                <a:gd name="T29" fmla="*/ 2147483647 h 1127"/>
                <a:gd name="T30" fmla="*/ 2147483647 w 308"/>
                <a:gd name="T31" fmla="*/ 2147483647 h 1127"/>
                <a:gd name="T32" fmla="*/ 2147483647 w 308"/>
                <a:gd name="T33" fmla="*/ 2147483647 h 1127"/>
                <a:gd name="T34" fmla="*/ 2147483647 w 308"/>
                <a:gd name="T35" fmla="*/ 2147483647 h 1127"/>
                <a:gd name="T36" fmla="*/ 2147483647 w 308"/>
                <a:gd name="T37" fmla="*/ 2147483647 h 1127"/>
                <a:gd name="T38" fmla="*/ 2147483647 w 308"/>
                <a:gd name="T39" fmla="*/ 2147483647 h 1127"/>
                <a:gd name="T40" fmla="*/ 2147483647 w 308"/>
                <a:gd name="T41" fmla="*/ 2147483647 h 1127"/>
                <a:gd name="T42" fmla="*/ 2147483647 w 308"/>
                <a:gd name="T43" fmla="*/ 2147483647 h 1127"/>
                <a:gd name="T44" fmla="*/ 2147483647 w 308"/>
                <a:gd name="T45" fmla="*/ 2147483647 h 1127"/>
                <a:gd name="T46" fmla="*/ 2147483647 w 308"/>
                <a:gd name="T47" fmla="*/ 2147483647 h 1127"/>
                <a:gd name="T48" fmla="*/ 2147483647 w 308"/>
                <a:gd name="T49" fmla="*/ 2147483647 h 1127"/>
                <a:gd name="T50" fmla="*/ 2147483647 w 308"/>
                <a:gd name="T51" fmla="*/ 2147483647 h 1127"/>
                <a:gd name="T52" fmla="*/ 2147483647 w 308"/>
                <a:gd name="T53" fmla="*/ 2147483647 h 1127"/>
                <a:gd name="T54" fmla="*/ 2147483647 w 308"/>
                <a:gd name="T55" fmla="*/ 2147483647 h 1127"/>
                <a:gd name="T56" fmla="*/ 2147483647 w 308"/>
                <a:gd name="T57" fmla="*/ 2147483647 h 1127"/>
                <a:gd name="T58" fmla="*/ 2147483647 w 308"/>
                <a:gd name="T59" fmla="*/ 2147483647 h 1127"/>
                <a:gd name="T60" fmla="*/ 2147483647 w 308"/>
                <a:gd name="T61" fmla="*/ 2147483647 h 1127"/>
                <a:gd name="T62" fmla="*/ 2147483647 w 308"/>
                <a:gd name="T63" fmla="*/ 2147483647 h 1127"/>
                <a:gd name="T64" fmla="*/ 2147483647 w 308"/>
                <a:gd name="T65" fmla="*/ 2147483647 h 1127"/>
                <a:gd name="T66" fmla="*/ 2147483647 w 308"/>
                <a:gd name="T67" fmla="*/ 2147483647 h 1127"/>
                <a:gd name="T68" fmla="*/ 2147483647 w 308"/>
                <a:gd name="T69" fmla="*/ 0 h 1127"/>
                <a:gd name="T70" fmla="*/ 2147483647 w 308"/>
                <a:gd name="T71" fmla="*/ 2147483647 h 1127"/>
                <a:gd name="T72" fmla="*/ 2147483647 w 308"/>
                <a:gd name="T73" fmla="*/ 2147483647 h 1127"/>
                <a:gd name="T74" fmla="*/ 2147483647 w 308"/>
                <a:gd name="T75" fmla="*/ 2147483647 h 1127"/>
                <a:gd name="T76" fmla="*/ 2147483647 w 308"/>
                <a:gd name="T77" fmla="*/ 2147483647 h 1127"/>
                <a:gd name="T78" fmla="*/ 2147483647 w 308"/>
                <a:gd name="T79" fmla="*/ 2147483647 h 1127"/>
                <a:gd name="T80" fmla="*/ 2147483647 w 308"/>
                <a:gd name="T81" fmla="*/ 2147483647 h 1127"/>
                <a:gd name="T82" fmla="*/ 2147483647 w 308"/>
                <a:gd name="T83" fmla="*/ 2147483647 h 1127"/>
                <a:gd name="T84" fmla="*/ 2147483647 w 308"/>
                <a:gd name="T85" fmla="*/ 2147483647 h 1127"/>
                <a:gd name="T86" fmla="*/ 2147483647 w 308"/>
                <a:gd name="T87" fmla="*/ 2147483647 h 1127"/>
                <a:gd name="T88" fmla="*/ 2147483647 w 308"/>
                <a:gd name="T89" fmla="*/ 2147483647 h 1127"/>
                <a:gd name="T90" fmla="*/ 2147483647 w 308"/>
                <a:gd name="T91" fmla="*/ 2147483647 h 1127"/>
                <a:gd name="T92" fmla="*/ 2147483647 w 308"/>
                <a:gd name="T93" fmla="*/ 2147483647 h 1127"/>
                <a:gd name="T94" fmla="*/ 0 w 308"/>
                <a:gd name="T95" fmla="*/ 2147483647 h 11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08" h="1127">
                  <a:moveTo>
                    <a:pt x="0" y="1048"/>
                  </a:moveTo>
                  <a:lnTo>
                    <a:pt x="8" y="1070"/>
                  </a:lnTo>
                  <a:lnTo>
                    <a:pt x="20" y="1070"/>
                  </a:lnTo>
                  <a:lnTo>
                    <a:pt x="26" y="1127"/>
                  </a:lnTo>
                  <a:lnTo>
                    <a:pt x="82" y="1127"/>
                  </a:lnTo>
                  <a:lnTo>
                    <a:pt x="63" y="1104"/>
                  </a:lnTo>
                  <a:lnTo>
                    <a:pt x="76" y="1025"/>
                  </a:lnTo>
                  <a:lnTo>
                    <a:pt x="89" y="1048"/>
                  </a:lnTo>
                  <a:lnTo>
                    <a:pt x="119" y="937"/>
                  </a:lnTo>
                  <a:lnTo>
                    <a:pt x="95" y="870"/>
                  </a:lnTo>
                  <a:lnTo>
                    <a:pt x="127" y="837"/>
                  </a:lnTo>
                  <a:lnTo>
                    <a:pt x="132" y="782"/>
                  </a:lnTo>
                  <a:lnTo>
                    <a:pt x="145" y="758"/>
                  </a:lnTo>
                  <a:lnTo>
                    <a:pt x="132" y="747"/>
                  </a:lnTo>
                  <a:lnTo>
                    <a:pt x="158" y="747"/>
                  </a:lnTo>
                  <a:lnTo>
                    <a:pt x="151" y="724"/>
                  </a:lnTo>
                  <a:lnTo>
                    <a:pt x="138" y="735"/>
                  </a:lnTo>
                  <a:lnTo>
                    <a:pt x="132" y="714"/>
                  </a:lnTo>
                  <a:lnTo>
                    <a:pt x="132" y="680"/>
                  </a:lnTo>
                  <a:lnTo>
                    <a:pt x="169" y="680"/>
                  </a:lnTo>
                  <a:lnTo>
                    <a:pt x="177" y="601"/>
                  </a:lnTo>
                  <a:lnTo>
                    <a:pt x="245" y="580"/>
                  </a:lnTo>
                  <a:lnTo>
                    <a:pt x="264" y="524"/>
                  </a:lnTo>
                  <a:lnTo>
                    <a:pt x="239" y="424"/>
                  </a:lnTo>
                  <a:lnTo>
                    <a:pt x="252" y="290"/>
                  </a:lnTo>
                  <a:lnTo>
                    <a:pt x="308" y="180"/>
                  </a:lnTo>
                  <a:lnTo>
                    <a:pt x="308" y="134"/>
                  </a:lnTo>
                  <a:lnTo>
                    <a:pt x="294" y="134"/>
                  </a:lnTo>
                  <a:lnTo>
                    <a:pt x="276" y="190"/>
                  </a:lnTo>
                  <a:lnTo>
                    <a:pt x="239" y="180"/>
                  </a:lnTo>
                  <a:lnTo>
                    <a:pt x="245" y="123"/>
                  </a:lnTo>
                  <a:lnTo>
                    <a:pt x="169" y="23"/>
                  </a:lnTo>
                  <a:lnTo>
                    <a:pt x="145" y="13"/>
                  </a:lnTo>
                  <a:lnTo>
                    <a:pt x="145" y="34"/>
                  </a:lnTo>
                  <a:lnTo>
                    <a:pt x="114" y="0"/>
                  </a:lnTo>
                  <a:lnTo>
                    <a:pt x="100" y="34"/>
                  </a:lnTo>
                  <a:lnTo>
                    <a:pt x="95" y="79"/>
                  </a:lnTo>
                  <a:lnTo>
                    <a:pt x="82" y="88"/>
                  </a:lnTo>
                  <a:lnTo>
                    <a:pt x="82" y="167"/>
                  </a:lnTo>
                  <a:lnTo>
                    <a:pt x="63" y="211"/>
                  </a:lnTo>
                  <a:lnTo>
                    <a:pt x="44" y="324"/>
                  </a:lnTo>
                  <a:lnTo>
                    <a:pt x="58" y="434"/>
                  </a:lnTo>
                  <a:lnTo>
                    <a:pt x="39" y="513"/>
                  </a:lnTo>
                  <a:lnTo>
                    <a:pt x="26" y="735"/>
                  </a:lnTo>
                  <a:lnTo>
                    <a:pt x="32" y="826"/>
                  </a:lnTo>
                  <a:lnTo>
                    <a:pt x="26" y="826"/>
                  </a:lnTo>
                  <a:lnTo>
                    <a:pt x="26" y="891"/>
                  </a:lnTo>
                  <a:lnTo>
                    <a:pt x="0" y="104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4" name="Group 20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2546598" y="5056188"/>
              <a:ext cx="452438" cy="895350"/>
              <a:chOff x="1799" y="3003"/>
              <a:chExt cx="308" cy="564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35" name="Freeform 21"/>
              <p:cNvSpPr>
                <a:spLocks/>
              </p:cNvSpPr>
              <p:nvPr/>
            </p:nvSpPr>
            <p:spPr bwMode="auto">
              <a:xfrm>
                <a:off x="1799" y="3003"/>
                <a:ext cx="308" cy="564"/>
              </a:xfrm>
              <a:custGeom>
                <a:avLst/>
                <a:gdLst>
                  <a:gd name="T0" fmla="*/ 0 w 308"/>
                  <a:gd name="T1" fmla="*/ 1 h 1127"/>
                  <a:gd name="T2" fmla="*/ 8 w 308"/>
                  <a:gd name="T3" fmla="*/ 1 h 1127"/>
                  <a:gd name="T4" fmla="*/ 20 w 308"/>
                  <a:gd name="T5" fmla="*/ 1 h 1127"/>
                  <a:gd name="T6" fmla="*/ 26 w 308"/>
                  <a:gd name="T7" fmla="*/ 1 h 1127"/>
                  <a:gd name="T8" fmla="*/ 82 w 308"/>
                  <a:gd name="T9" fmla="*/ 1 h 1127"/>
                  <a:gd name="T10" fmla="*/ 63 w 308"/>
                  <a:gd name="T11" fmla="*/ 1 h 1127"/>
                  <a:gd name="T12" fmla="*/ 76 w 308"/>
                  <a:gd name="T13" fmla="*/ 1 h 1127"/>
                  <a:gd name="T14" fmla="*/ 89 w 308"/>
                  <a:gd name="T15" fmla="*/ 1 h 1127"/>
                  <a:gd name="T16" fmla="*/ 119 w 308"/>
                  <a:gd name="T17" fmla="*/ 1 h 1127"/>
                  <a:gd name="T18" fmla="*/ 95 w 308"/>
                  <a:gd name="T19" fmla="*/ 1 h 1127"/>
                  <a:gd name="T20" fmla="*/ 127 w 308"/>
                  <a:gd name="T21" fmla="*/ 1 h 1127"/>
                  <a:gd name="T22" fmla="*/ 132 w 308"/>
                  <a:gd name="T23" fmla="*/ 1 h 1127"/>
                  <a:gd name="T24" fmla="*/ 145 w 308"/>
                  <a:gd name="T25" fmla="*/ 1 h 1127"/>
                  <a:gd name="T26" fmla="*/ 132 w 308"/>
                  <a:gd name="T27" fmla="*/ 1 h 1127"/>
                  <a:gd name="T28" fmla="*/ 158 w 308"/>
                  <a:gd name="T29" fmla="*/ 1 h 1127"/>
                  <a:gd name="T30" fmla="*/ 151 w 308"/>
                  <a:gd name="T31" fmla="*/ 1 h 1127"/>
                  <a:gd name="T32" fmla="*/ 138 w 308"/>
                  <a:gd name="T33" fmla="*/ 1 h 1127"/>
                  <a:gd name="T34" fmla="*/ 132 w 308"/>
                  <a:gd name="T35" fmla="*/ 1 h 1127"/>
                  <a:gd name="T36" fmla="*/ 132 w 308"/>
                  <a:gd name="T37" fmla="*/ 1 h 1127"/>
                  <a:gd name="T38" fmla="*/ 169 w 308"/>
                  <a:gd name="T39" fmla="*/ 1 h 1127"/>
                  <a:gd name="T40" fmla="*/ 177 w 308"/>
                  <a:gd name="T41" fmla="*/ 1 h 1127"/>
                  <a:gd name="T42" fmla="*/ 245 w 308"/>
                  <a:gd name="T43" fmla="*/ 1 h 1127"/>
                  <a:gd name="T44" fmla="*/ 264 w 308"/>
                  <a:gd name="T45" fmla="*/ 1 h 1127"/>
                  <a:gd name="T46" fmla="*/ 239 w 308"/>
                  <a:gd name="T47" fmla="*/ 1 h 1127"/>
                  <a:gd name="T48" fmla="*/ 252 w 308"/>
                  <a:gd name="T49" fmla="*/ 1 h 1127"/>
                  <a:gd name="T50" fmla="*/ 308 w 308"/>
                  <a:gd name="T51" fmla="*/ 1 h 1127"/>
                  <a:gd name="T52" fmla="*/ 308 w 308"/>
                  <a:gd name="T53" fmla="*/ 1 h 1127"/>
                  <a:gd name="T54" fmla="*/ 294 w 308"/>
                  <a:gd name="T55" fmla="*/ 1 h 1127"/>
                  <a:gd name="T56" fmla="*/ 276 w 308"/>
                  <a:gd name="T57" fmla="*/ 1 h 1127"/>
                  <a:gd name="T58" fmla="*/ 239 w 308"/>
                  <a:gd name="T59" fmla="*/ 1 h 1127"/>
                  <a:gd name="T60" fmla="*/ 245 w 308"/>
                  <a:gd name="T61" fmla="*/ 1 h 1127"/>
                  <a:gd name="T62" fmla="*/ 169 w 308"/>
                  <a:gd name="T63" fmla="*/ 1 h 1127"/>
                  <a:gd name="T64" fmla="*/ 145 w 308"/>
                  <a:gd name="T65" fmla="*/ 1 h 1127"/>
                  <a:gd name="T66" fmla="*/ 145 w 308"/>
                  <a:gd name="T67" fmla="*/ 1 h 1127"/>
                  <a:gd name="T68" fmla="*/ 114 w 308"/>
                  <a:gd name="T69" fmla="*/ 0 h 1127"/>
                  <a:gd name="T70" fmla="*/ 100 w 308"/>
                  <a:gd name="T71" fmla="*/ 1 h 1127"/>
                  <a:gd name="T72" fmla="*/ 95 w 308"/>
                  <a:gd name="T73" fmla="*/ 1 h 1127"/>
                  <a:gd name="T74" fmla="*/ 82 w 308"/>
                  <a:gd name="T75" fmla="*/ 1 h 1127"/>
                  <a:gd name="T76" fmla="*/ 82 w 308"/>
                  <a:gd name="T77" fmla="*/ 1 h 1127"/>
                  <a:gd name="T78" fmla="*/ 63 w 308"/>
                  <a:gd name="T79" fmla="*/ 1 h 1127"/>
                  <a:gd name="T80" fmla="*/ 44 w 308"/>
                  <a:gd name="T81" fmla="*/ 1 h 1127"/>
                  <a:gd name="T82" fmla="*/ 58 w 308"/>
                  <a:gd name="T83" fmla="*/ 1 h 1127"/>
                  <a:gd name="T84" fmla="*/ 39 w 308"/>
                  <a:gd name="T85" fmla="*/ 1 h 1127"/>
                  <a:gd name="T86" fmla="*/ 26 w 308"/>
                  <a:gd name="T87" fmla="*/ 1 h 1127"/>
                  <a:gd name="T88" fmla="*/ 32 w 308"/>
                  <a:gd name="T89" fmla="*/ 1 h 1127"/>
                  <a:gd name="T90" fmla="*/ 26 w 308"/>
                  <a:gd name="T91" fmla="*/ 1 h 1127"/>
                  <a:gd name="T92" fmla="*/ 26 w 308"/>
                  <a:gd name="T93" fmla="*/ 1 h 1127"/>
                  <a:gd name="T94" fmla="*/ 0 w 308"/>
                  <a:gd name="T95" fmla="*/ 1 h 11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08" h="1127">
                    <a:moveTo>
                      <a:pt x="0" y="1048"/>
                    </a:moveTo>
                    <a:lnTo>
                      <a:pt x="8" y="1070"/>
                    </a:lnTo>
                    <a:lnTo>
                      <a:pt x="20" y="1070"/>
                    </a:lnTo>
                    <a:lnTo>
                      <a:pt x="26" y="1127"/>
                    </a:lnTo>
                    <a:lnTo>
                      <a:pt x="82" y="1127"/>
                    </a:lnTo>
                    <a:lnTo>
                      <a:pt x="63" y="1104"/>
                    </a:lnTo>
                    <a:lnTo>
                      <a:pt x="76" y="1025"/>
                    </a:lnTo>
                    <a:lnTo>
                      <a:pt x="89" y="1048"/>
                    </a:lnTo>
                    <a:lnTo>
                      <a:pt x="119" y="937"/>
                    </a:lnTo>
                    <a:lnTo>
                      <a:pt x="95" y="870"/>
                    </a:lnTo>
                    <a:lnTo>
                      <a:pt x="127" y="837"/>
                    </a:lnTo>
                    <a:lnTo>
                      <a:pt x="132" y="782"/>
                    </a:lnTo>
                    <a:lnTo>
                      <a:pt x="145" y="758"/>
                    </a:lnTo>
                    <a:lnTo>
                      <a:pt x="132" y="747"/>
                    </a:lnTo>
                    <a:lnTo>
                      <a:pt x="158" y="747"/>
                    </a:lnTo>
                    <a:lnTo>
                      <a:pt x="151" y="724"/>
                    </a:lnTo>
                    <a:lnTo>
                      <a:pt x="138" y="735"/>
                    </a:lnTo>
                    <a:lnTo>
                      <a:pt x="132" y="714"/>
                    </a:lnTo>
                    <a:lnTo>
                      <a:pt x="132" y="680"/>
                    </a:lnTo>
                    <a:lnTo>
                      <a:pt x="169" y="680"/>
                    </a:lnTo>
                    <a:lnTo>
                      <a:pt x="177" y="601"/>
                    </a:lnTo>
                    <a:lnTo>
                      <a:pt x="245" y="580"/>
                    </a:lnTo>
                    <a:lnTo>
                      <a:pt x="264" y="524"/>
                    </a:lnTo>
                    <a:lnTo>
                      <a:pt x="239" y="424"/>
                    </a:lnTo>
                    <a:lnTo>
                      <a:pt x="252" y="290"/>
                    </a:lnTo>
                    <a:lnTo>
                      <a:pt x="308" y="180"/>
                    </a:lnTo>
                    <a:lnTo>
                      <a:pt x="308" y="134"/>
                    </a:lnTo>
                    <a:lnTo>
                      <a:pt x="294" y="134"/>
                    </a:lnTo>
                    <a:lnTo>
                      <a:pt x="276" y="190"/>
                    </a:lnTo>
                    <a:lnTo>
                      <a:pt x="239" y="180"/>
                    </a:lnTo>
                    <a:lnTo>
                      <a:pt x="245" y="123"/>
                    </a:lnTo>
                    <a:lnTo>
                      <a:pt x="169" y="23"/>
                    </a:lnTo>
                    <a:lnTo>
                      <a:pt x="145" y="13"/>
                    </a:lnTo>
                    <a:lnTo>
                      <a:pt x="145" y="34"/>
                    </a:lnTo>
                    <a:lnTo>
                      <a:pt x="114" y="0"/>
                    </a:lnTo>
                    <a:lnTo>
                      <a:pt x="100" y="34"/>
                    </a:lnTo>
                    <a:lnTo>
                      <a:pt x="95" y="79"/>
                    </a:lnTo>
                    <a:lnTo>
                      <a:pt x="82" y="88"/>
                    </a:lnTo>
                    <a:lnTo>
                      <a:pt x="82" y="167"/>
                    </a:lnTo>
                    <a:lnTo>
                      <a:pt x="63" y="211"/>
                    </a:lnTo>
                    <a:lnTo>
                      <a:pt x="44" y="324"/>
                    </a:lnTo>
                    <a:lnTo>
                      <a:pt x="58" y="434"/>
                    </a:lnTo>
                    <a:lnTo>
                      <a:pt x="39" y="513"/>
                    </a:lnTo>
                    <a:lnTo>
                      <a:pt x="26" y="735"/>
                    </a:lnTo>
                    <a:lnTo>
                      <a:pt x="32" y="826"/>
                    </a:lnTo>
                    <a:lnTo>
                      <a:pt x="26" y="826"/>
                    </a:lnTo>
                    <a:lnTo>
                      <a:pt x="26" y="891"/>
                    </a:lnTo>
                    <a:lnTo>
                      <a:pt x="0" y="1048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36" name="Freeform 22"/>
              <p:cNvSpPr>
                <a:spLocks/>
              </p:cNvSpPr>
              <p:nvPr/>
            </p:nvSpPr>
            <p:spPr bwMode="auto">
              <a:xfrm>
                <a:off x="1799" y="3003"/>
                <a:ext cx="308" cy="564"/>
              </a:xfrm>
              <a:custGeom>
                <a:avLst/>
                <a:gdLst>
                  <a:gd name="T0" fmla="*/ 0 w 308"/>
                  <a:gd name="T1" fmla="*/ 1 h 1127"/>
                  <a:gd name="T2" fmla="*/ 8 w 308"/>
                  <a:gd name="T3" fmla="*/ 1 h 1127"/>
                  <a:gd name="T4" fmla="*/ 20 w 308"/>
                  <a:gd name="T5" fmla="*/ 1 h 1127"/>
                  <a:gd name="T6" fmla="*/ 26 w 308"/>
                  <a:gd name="T7" fmla="*/ 1 h 1127"/>
                  <a:gd name="T8" fmla="*/ 82 w 308"/>
                  <a:gd name="T9" fmla="*/ 1 h 1127"/>
                  <a:gd name="T10" fmla="*/ 63 w 308"/>
                  <a:gd name="T11" fmla="*/ 1 h 1127"/>
                  <a:gd name="T12" fmla="*/ 76 w 308"/>
                  <a:gd name="T13" fmla="*/ 1 h 1127"/>
                  <a:gd name="T14" fmla="*/ 89 w 308"/>
                  <a:gd name="T15" fmla="*/ 1 h 1127"/>
                  <a:gd name="T16" fmla="*/ 119 w 308"/>
                  <a:gd name="T17" fmla="*/ 1 h 1127"/>
                  <a:gd name="T18" fmla="*/ 95 w 308"/>
                  <a:gd name="T19" fmla="*/ 1 h 1127"/>
                  <a:gd name="T20" fmla="*/ 127 w 308"/>
                  <a:gd name="T21" fmla="*/ 1 h 1127"/>
                  <a:gd name="T22" fmla="*/ 132 w 308"/>
                  <a:gd name="T23" fmla="*/ 1 h 1127"/>
                  <a:gd name="T24" fmla="*/ 145 w 308"/>
                  <a:gd name="T25" fmla="*/ 1 h 1127"/>
                  <a:gd name="T26" fmla="*/ 132 w 308"/>
                  <a:gd name="T27" fmla="*/ 1 h 1127"/>
                  <a:gd name="T28" fmla="*/ 158 w 308"/>
                  <a:gd name="T29" fmla="*/ 1 h 1127"/>
                  <a:gd name="T30" fmla="*/ 151 w 308"/>
                  <a:gd name="T31" fmla="*/ 1 h 1127"/>
                  <a:gd name="T32" fmla="*/ 138 w 308"/>
                  <a:gd name="T33" fmla="*/ 1 h 1127"/>
                  <a:gd name="T34" fmla="*/ 132 w 308"/>
                  <a:gd name="T35" fmla="*/ 1 h 1127"/>
                  <a:gd name="T36" fmla="*/ 132 w 308"/>
                  <a:gd name="T37" fmla="*/ 1 h 1127"/>
                  <a:gd name="T38" fmla="*/ 169 w 308"/>
                  <a:gd name="T39" fmla="*/ 1 h 1127"/>
                  <a:gd name="T40" fmla="*/ 177 w 308"/>
                  <a:gd name="T41" fmla="*/ 1 h 1127"/>
                  <a:gd name="T42" fmla="*/ 245 w 308"/>
                  <a:gd name="T43" fmla="*/ 1 h 1127"/>
                  <a:gd name="T44" fmla="*/ 264 w 308"/>
                  <a:gd name="T45" fmla="*/ 1 h 1127"/>
                  <a:gd name="T46" fmla="*/ 239 w 308"/>
                  <a:gd name="T47" fmla="*/ 1 h 1127"/>
                  <a:gd name="T48" fmla="*/ 252 w 308"/>
                  <a:gd name="T49" fmla="*/ 1 h 1127"/>
                  <a:gd name="T50" fmla="*/ 308 w 308"/>
                  <a:gd name="T51" fmla="*/ 1 h 1127"/>
                  <a:gd name="T52" fmla="*/ 308 w 308"/>
                  <a:gd name="T53" fmla="*/ 1 h 1127"/>
                  <a:gd name="T54" fmla="*/ 294 w 308"/>
                  <a:gd name="T55" fmla="*/ 1 h 1127"/>
                  <a:gd name="T56" fmla="*/ 276 w 308"/>
                  <a:gd name="T57" fmla="*/ 1 h 1127"/>
                  <a:gd name="T58" fmla="*/ 239 w 308"/>
                  <a:gd name="T59" fmla="*/ 1 h 1127"/>
                  <a:gd name="T60" fmla="*/ 245 w 308"/>
                  <a:gd name="T61" fmla="*/ 1 h 1127"/>
                  <a:gd name="T62" fmla="*/ 169 w 308"/>
                  <a:gd name="T63" fmla="*/ 1 h 1127"/>
                  <a:gd name="T64" fmla="*/ 145 w 308"/>
                  <a:gd name="T65" fmla="*/ 1 h 1127"/>
                  <a:gd name="T66" fmla="*/ 145 w 308"/>
                  <a:gd name="T67" fmla="*/ 1 h 1127"/>
                  <a:gd name="T68" fmla="*/ 114 w 308"/>
                  <a:gd name="T69" fmla="*/ 0 h 1127"/>
                  <a:gd name="T70" fmla="*/ 100 w 308"/>
                  <a:gd name="T71" fmla="*/ 1 h 1127"/>
                  <a:gd name="T72" fmla="*/ 95 w 308"/>
                  <a:gd name="T73" fmla="*/ 1 h 1127"/>
                  <a:gd name="T74" fmla="*/ 82 w 308"/>
                  <a:gd name="T75" fmla="*/ 1 h 1127"/>
                  <a:gd name="T76" fmla="*/ 82 w 308"/>
                  <a:gd name="T77" fmla="*/ 1 h 1127"/>
                  <a:gd name="T78" fmla="*/ 63 w 308"/>
                  <a:gd name="T79" fmla="*/ 1 h 1127"/>
                  <a:gd name="T80" fmla="*/ 44 w 308"/>
                  <a:gd name="T81" fmla="*/ 1 h 1127"/>
                  <a:gd name="T82" fmla="*/ 58 w 308"/>
                  <a:gd name="T83" fmla="*/ 1 h 1127"/>
                  <a:gd name="T84" fmla="*/ 39 w 308"/>
                  <a:gd name="T85" fmla="*/ 1 h 1127"/>
                  <a:gd name="T86" fmla="*/ 26 w 308"/>
                  <a:gd name="T87" fmla="*/ 1 h 1127"/>
                  <a:gd name="T88" fmla="*/ 32 w 308"/>
                  <a:gd name="T89" fmla="*/ 1 h 1127"/>
                  <a:gd name="T90" fmla="*/ 26 w 308"/>
                  <a:gd name="T91" fmla="*/ 1 h 1127"/>
                  <a:gd name="T92" fmla="*/ 26 w 308"/>
                  <a:gd name="T93" fmla="*/ 1 h 1127"/>
                  <a:gd name="T94" fmla="*/ 0 w 308"/>
                  <a:gd name="T95" fmla="*/ 1 h 11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08" h="1127">
                    <a:moveTo>
                      <a:pt x="0" y="1048"/>
                    </a:moveTo>
                    <a:lnTo>
                      <a:pt x="8" y="1070"/>
                    </a:lnTo>
                    <a:lnTo>
                      <a:pt x="20" y="1070"/>
                    </a:lnTo>
                    <a:lnTo>
                      <a:pt x="26" y="1127"/>
                    </a:lnTo>
                    <a:lnTo>
                      <a:pt x="82" y="1127"/>
                    </a:lnTo>
                    <a:lnTo>
                      <a:pt x="63" y="1104"/>
                    </a:lnTo>
                    <a:lnTo>
                      <a:pt x="76" y="1025"/>
                    </a:lnTo>
                    <a:lnTo>
                      <a:pt x="89" y="1048"/>
                    </a:lnTo>
                    <a:lnTo>
                      <a:pt x="119" y="937"/>
                    </a:lnTo>
                    <a:lnTo>
                      <a:pt x="95" y="870"/>
                    </a:lnTo>
                    <a:lnTo>
                      <a:pt x="127" y="837"/>
                    </a:lnTo>
                    <a:lnTo>
                      <a:pt x="132" y="782"/>
                    </a:lnTo>
                    <a:lnTo>
                      <a:pt x="145" y="758"/>
                    </a:lnTo>
                    <a:lnTo>
                      <a:pt x="132" y="747"/>
                    </a:lnTo>
                    <a:lnTo>
                      <a:pt x="158" y="747"/>
                    </a:lnTo>
                    <a:lnTo>
                      <a:pt x="151" y="724"/>
                    </a:lnTo>
                    <a:lnTo>
                      <a:pt x="138" y="735"/>
                    </a:lnTo>
                    <a:lnTo>
                      <a:pt x="132" y="714"/>
                    </a:lnTo>
                    <a:lnTo>
                      <a:pt x="132" y="680"/>
                    </a:lnTo>
                    <a:lnTo>
                      <a:pt x="169" y="680"/>
                    </a:lnTo>
                    <a:lnTo>
                      <a:pt x="177" y="601"/>
                    </a:lnTo>
                    <a:lnTo>
                      <a:pt x="245" y="580"/>
                    </a:lnTo>
                    <a:lnTo>
                      <a:pt x="264" y="524"/>
                    </a:lnTo>
                    <a:lnTo>
                      <a:pt x="239" y="424"/>
                    </a:lnTo>
                    <a:lnTo>
                      <a:pt x="252" y="290"/>
                    </a:lnTo>
                    <a:lnTo>
                      <a:pt x="308" y="180"/>
                    </a:lnTo>
                    <a:lnTo>
                      <a:pt x="308" y="134"/>
                    </a:lnTo>
                    <a:lnTo>
                      <a:pt x="294" y="134"/>
                    </a:lnTo>
                    <a:lnTo>
                      <a:pt x="276" y="190"/>
                    </a:lnTo>
                    <a:lnTo>
                      <a:pt x="239" y="180"/>
                    </a:lnTo>
                    <a:lnTo>
                      <a:pt x="245" y="123"/>
                    </a:lnTo>
                    <a:lnTo>
                      <a:pt x="169" y="23"/>
                    </a:lnTo>
                    <a:lnTo>
                      <a:pt x="145" y="13"/>
                    </a:lnTo>
                    <a:lnTo>
                      <a:pt x="145" y="34"/>
                    </a:lnTo>
                    <a:lnTo>
                      <a:pt x="114" y="0"/>
                    </a:lnTo>
                    <a:lnTo>
                      <a:pt x="100" y="34"/>
                    </a:lnTo>
                    <a:lnTo>
                      <a:pt x="95" y="79"/>
                    </a:lnTo>
                    <a:lnTo>
                      <a:pt x="82" y="88"/>
                    </a:lnTo>
                    <a:lnTo>
                      <a:pt x="82" y="167"/>
                    </a:lnTo>
                    <a:lnTo>
                      <a:pt x="63" y="211"/>
                    </a:lnTo>
                    <a:lnTo>
                      <a:pt x="44" y="324"/>
                    </a:lnTo>
                    <a:lnTo>
                      <a:pt x="58" y="434"/>
                    </a:lnTo>
                    <a:lnTo>
                      <a:pt x="39" y="513"/>
                    </a:lnTo>
                    <a:lnTo>
                      <a:pt x="26" y="735"/>
                    </a:lnTo>
                    <a:lnTo>
                      <a:pt x="32" y="826"/>
                    </a:lnTo>
                    <a:lnTo>
                      <a:pt x="26" y="826"/>
                    </a:lnTo>
                    <a:lnTo>
                      <a:pt x="26" y="891"/>
                    </a:lnTo>
                    <a:lnTo>
                      <a:pt x="0" y="1048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5" name="Freeform 23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2546598" y="5056188"/>
              <a:ext cx="452438" cy="895350"/>
            </a:xfrm>
            <a:custGeom>
              <a:avLst/>
              <a:gdLst>
                <a:gd name="T0" fmla="*/ 0 w 308"/>
                <a:gd name="T1" fmla="*/ 2147483647 h 1127"/>
                <a:gd name="T2" fmla="*/ 2147483647 w 308"/>
                <a:gd name="T3" fmla="*/ 2147483647 h 1127"/>
                <a:gd name="T4" fmla="*/ 2147483647 w 308"/>
                <a:gd name="T5" fmla="*/ 2147483647 h 1127"/>
                <a:gd name="T6" fmla="*/ 2147483647 w 308"/>
                <a:gd name="T7" fmla="*/ 2147483647 h 1127"/>
                <a:gd name="T8" fmla="*/ 2147483647 w 308"/>
                <a:gd name="T9" fmla="*/ 2147483647 h 1127"/>
                <a:gd name="T10" fmla="*/ 2147483647 w 308"/>
                <a:gd name="T11" fmla="*/ 2147483647 h 1127"/>
                <a:gd name="T12" fmla="*/ 2147483647 w 308"/>
                <a:gd name="T13" fmla="*/ 2147483647 h 1127"/>
                <a:gd name="T14" fmla="*/ 2147483647 w 308"/>
                <a:gd name="T15" fmla="*/ 2147483647 h 1127"/>
                <a:gd name="T16" fmla="*/ 2147483647 w 308"/>
                <a:gd name="T17" fmla="*/ 2147483647 h 1127"/>
                <a:gd name="T18" fmla="*/ 2147483647 w 308"/>
                <a:gd name="T19" fmla="*/ 2147483647 h 1127"/>
                <a:gd name="T20" fmla="*/ 2147483647 w 308"/>
                <a:gd name="T21" fmla="*/ 2147483647 h 1127"/>
                <a:gd name="T22" fmla="*/ 2147483647 w 308"/>
                <a:gd name="T23" fmla="*/ 2147483647 h 1127"/>
                <a:gd name="T24" fmla="*/ 2147483647 w 308"/>
                <a:gd name="T25" fmla="*/ 2147483647 h 1127"/>
                <a:gd name="T26" fmla="*/ 2147483647 w 308"/>
                <a:gd name="T27" fmla="*/ 2147483647 h 1127"/>
                <a:gd name="T28" fmla="*/ 2147483647 w 308"/>
                <a:gd name="T29" fmla="*/ 2147483647 h 1127"/>
                <a:gd name="T30" fmla="*/ 2147483647 w 308"/>
                <a:gd name="T31" fmla="*/ 2147483647 h 1127"/>
                <a:gd name="T32" fmla="*/ 2147483647 w 308"/>
                <a:gd name="T33" fmla="*/ 2147483647 h 1127"/>
                <a:gd name="T34" fmla="*/ 2147483647 w 308"/>
                <a:gd name="T35" fmla="*/ 2147483647 h 1127"/>
                <a:gd name="T36" fmla="*/ 2147483647 w 308"/>
                <a:gd name="T37" fmla="*/ 2147483647 h 1127"/>
                <a:gd name="T38" fmla="*/ 2147483647 w 308"/>
                <a:gd name="T39" fmla="*/ 2147483647 h 1127"/>
                <a:gd name="T40" fmla="*/ 2147483647 w 308"/>
                <a:gd name="T41" fmla="*/ 2147483647 h 1127"/>
                <a:gd name="T42" fmla="*/ 2147483647 w 308"/>
                <a:gd name="T43" fmla="*/ 2147483647 h 1127"/>
                <a:gd name="T44" fmla="*/ 2147483647 w 308"/>
                <a:gd name="T45" fmla="*/ 2147483647 h 1127"/>
                <a:gd name="T46" fmla="*/ 2147483647 w 308"/>
                <a:gd name="T47" fmla="*/ 2147483647 h 1127"/>
                <a:gd name="T48" fmla="*/ 2147483647 w 308"/>
                <a:gd name="T49" fmla="*/ 2147483647 h 1127"/>
                <a:gd name="T50" fmla="*/ 2147483647 w 308"/>
                <a:gd name="T51" fmla="*/ 2147483647 h 1127"/>
                <a:gd name="T52" fmla="*/ 2147483647 w 308"/>
                <a:gd name="T53" fmla="*/ 2147483647 h 1127"/>
                <a:gd name="T54" fmla="*/ 2147483647 w 308"/>
                <a:gd name="T55" fmla="*/ 2147483647 h 1127"/>
                <a:gd name="T56" fmla="*/ 2147483647 w 308"/>
                <a:gd name="T57" fmla="*/ 2147483647 h 1127"/>
                <a:gd name="T58" fmla="*/ 2147483647 w 308"/>
                <a:gd name="T59" fmla="*/ 2147483647 h 1127"/>
                <a:gd name="T60" fmla="*/ 2147483647 w 308"/>
                <a:gd name="T61" fmla="*/ 2147483647 h 1127"/>
                <a:gd name="T62" fmla="*/ 2147483647 w 308"/>
                <a:gd name="T63" fmla="*/ 2147483647 h 1127"/>
                <a:gd name="T64" fmla="*/ 2147483647 w 308"/>
                <a:gd name="T65" fmla="*/ 2147483647 h 1127"/>
                <a:gd name="T66" fmla="*/ 2147483647 w 308"/>
                <a:gd name="T67" fmla="*/ 2147483647 h 1127"/>
                <a:gd name="T68" fmla="*/ 2147483647 w 308"/>
                <a:gd name="T69" fmla="*/ 0 h 1127"/>
                <a:gd name="T70" fmla="*/ 2147483647 w 308"/>
                <a:gd name="T71" fmla="*/ 2147483647 h 1127"/>
                <a:gd name="T72" fmla="*/ 2147483647 w 308"/>
                <a:gd name="T73" fmla="*/ 2147483647 h 1127"/>
                <a:gd name="T74" fmla="*/ 2147483647 w 308"/>
                <a:gd name="T75" fmla="*/ 2147483647 h 1127"/>
                <a:gd name="T76" fmla="*/ 2147483647 w 308"/>
                <a:gd name="T77" fmla="*/ 2147483647 h 1127"/>
                <a:gd name="T78" fmla="*/ 2147483647 w 308"/>
                <a:gd name="T79" fmla="*/ 2147483647 h 1127"/>
                <a:gd name="T80" fmla="*/ 2147483647 w 308"/>
                <a:gd name="T81" fmla="*/ 2147483647 h 1127"/>
                <a:gd name="T82" fmla="*/ 2147483647 w 308"/>
                <a:gd name="T83" fmla="*/ 2147483647 h 1127"/>
                <a:gd name="T84" fmla="*/ 2147483647 w 308"/>
                <a:gd name="T85" fmla="*/ 2147483647 h 1127"/>
                <a:gd name="T86" fmla="*/ 2147483647 w 308"/>
                <a:gd name="T87" fmla="*/ 2147483647 h 1127"/>
                <a:gd name="T88" fmla="*/ 2147483647 w 308"/>
                <a:gd name="T89" fmla="*/ 2147483647 h 1127"/>
                <a:gd name="T90" fmla="*/ 2147483647 w 308"/>
                <a:gd name="T91" fmla="*/ 2147483647 h 1127"/>
                <a:gd name="T92" fmla="*/ 2147483647 w 308"/>
                <a:gd name="T93" fmla="*/ 2147483647 h 1127"/>
                <a:gd name="T94" fmla="*/ 0 w 308"/>
                <a:gd name="T95" fmla="*/ 2147483647 h 11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08" h="1127">
                  <a:moveTo>
                    <a:pt x="0" y="1048"/>
                  </a:moveTo>
                  <a:lnTo>
                    <a:pt x="8" y="1070"/>
                  </a:lnTo>
                  <a:lnTo>
                    <a:pt x="20" y="1070"/>
                  </a:lnTo>
                  <a:lnTo>
                    <a:pt x="26" y="1127"/>
                  </a:lnTo>
                  <a:lnTo>
                    <a:pt x="82" y="1127"/>
                  </a:lnTo>
                  <a:lnTo>
                    <a:pt x="63" y="1104"/>
                  </a:lnTo>
                  <a:lnTo>
                    <a:pt x="76" y="1025"/>
                  </a:lnTo>
                  <a:lnTo>
                    <a:pt x="89" y="1048"/>
                  </a:lnTo>
                  <a:lnTo>
                    <a:pt x="119" y="937"/>
                  </a:lnTo>
                  <a:lnTo>
                    <a:pt x="95" y="870"/>
                  </a:lnTo>
                  <a:lnTo>
                    <a:pt x="127" y="837"/>
                  </a:lnTo>
                  <a:lnTo>
                    <a:pt x="132" y="782"/>
                  </a:lnTo>
                  <a:lnTo>
                    <a:pt x="145" y="758"/>
                  </a:lnTo>
                  <a:lnTo>
                    <a:pt x="132" y="747"/>
                  </a:lnTo>
                  <a:lnTo>
                    <a:pt x="158" y="747"/>
                  </a:lnTo>
                  <a:lnTo>
                    <a:pt x="151" y="724"/>
                  </a:lnTo>
                  <a:lnTo>
                    <a:pt x="138" y="735"/>
                  </a:lnTo>
                  <a:lnTo>
                    <a:pt x="132" y="714"/>
                  </a:lnTo>
                  <a:lnTo>
                    <a:pt x="132" y="680"/>
                  </a:lnTo>
                  <a:lnTo>
                    <a:pt x="169" y="680"/>
                  </a:lnTo>
                  <a:lnTo>
                    <a:pt x="177" y="601"/>
                  </a:lnTo>
                  <a:lnTo>
                    <a:pt x="245" y="580"/>
                  </a:lnTo>
                  <a:lnTo>
                    <a:pt x="264" y="524"/>
                  </a:lnTo>
                  <a:lnTo>
                    <a:pt x="239" y="424"/>
                  </a:lnTo>
                  <a:lnTo>
                    <a:pt x="252" y="290"/>
                  </a:lnTo>
                  <a:lnTo>
                    <a:pt x="308" y="180"/>
                  </a:lnTo>
                  <a:lnTo>
                    <a:pt x="308" y="134"/>
                  </a:lnTo>
                  <a:lnTo>
                    <a:pt x="294" y="134"/>
                  </a:lnTo>
                  <a:lnTo>
                    <a:pt x="276" y="190"/>
                  </a:lnTo>
                  <a:lnTo>
                    <a:pt x="239" y="180"/>
                  </a:lnTo>
                  <a:lnTo>
                    <a:pt x="245" y="123"/>
                  </a:lnTo>
                  <a:lnTo>
                    <a:pt x="169" y="23"/>
                  </a:lnTo>
                  <a:lnTo>
                    <a:pt x="145" y="13"/>
                  </a:lnTo>
                  <a:lnTo>
                    <a:pt x="145" y="34"/>
                  </a:lnTo>
                  <a:lnTo>
                    <a:pt x="114" y="0"/>
                  </a:lnTo>
                  <a:lnTo>
                    <a:pt x="100" y="34"/>
                  </a:lnTo>
                  <a:lnTo>
                    <a:pt x="95" y="79"/>
                  </a:lnTo>
                  <a:lnTo>
                    <a:pt x="82" y="88"/>
                  </a:lnTo>
                  <a:lnTo>
                    <a:pt x="82" y="167"/>
                  </a:lnTo>
                  <a:lnTo>
                    <a:pt x="63" y="211"/>
                  </a:lnTo>
                  <a:lnTo>
                    <a:pt x="44" y="324"/>
                  </a:lnTo>
                  <a:lnTo>
                    <a:pt x="58" y="434"/>
                  </a:lnTo>
                  <a:lnTo>
                    <a:pt x="39" y="513"/>
                  </a:lnTo>
                  <a:lnTo>
                    <a:pt x="26" y="735"/>
                  </a:lnTo>
                  <a:lnTo>
                    <a:pt x="32" y="826"/>
                  </a:lnTo>
                  <a:lnTo>
                    <a:pt x="26" y="826"/>
                  </a:lnTo>
                  <a:lnTo>
                    <a:pt x="26" y="891"/>
                  </a:lnTo>
                  <a:lnTo>
                    <a:pt x="0" y="104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6" name="Group 24"/>
            <p:cNvGrpSpPr>
              <a:grpSpLocks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2546598" y="5056188"/>
              <a:ext cx="452438" cy="895350"/>
              <a:chOff x="1799" y="3003"/>
              <a:chExt cx="308" cy="564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33" name="Freeform 25"/>
              <p:cNvSpPr>
                <a:spLocks/>
              </p:cNvSpPr>
              <p:nvPr/>
            </p:nvSpPr>
            <p:spPr bwMode="auto">
              <a:xfrm>
                <a:off x="1799" y="3003"/>
                <a:ext cx="308" cy="564"/>
              </a:xfrm>
              <a:custGeom>
                <a:avLst/>
                <a:gdLst>
                  <a:gd name="T0" fmla="*/ 0 w 308"/>
                  <a:gd name="T1" fmla="*/ 1 h 1127"/>
                  <a:gd name="T2" fmla="*/ 8 w 308"/>
                  <a:gd name="T3" fmla="*/ 1 h 1127"/>
                  <a:gd name="T4" fmla="*/ 20 w 308"/>
                  <a:gd name="T5" fmla="*/ 1 h 1127"/>
                  <a:gd name="T6" fmla="*/ 26 w 308"/>
                  <a:gd name="T7" fmla="*/ 1 h 1127"/>
                  <a:gd name="T8" fmla="*/ 82 w 308"/>
                  <a:gd name="T9" fmla="*/ 1 h 1127"/>
                  <a:gd name="T10" fmla="*/ 63 w 308"/>
                  <a:gd name="T11" fmla="*/ 1 h 1127"/>
                  <a:gd name="T12" fmla="*/ 76 w 308"/>
                  <a:gd name="T13" fmla="*/ 1 h 1127"/>
                  <a:gd name="T14" fmla="*/ 89 w 308"/>
                  <a:gd name="T15" fmla="*/ 1 h 1127"/>
                  <a:gd name="T16" fmla="*/ 119 w 308"/>
                  <a:gd name="T17" fmla="*/ 1 h 1127"/>
                  <a:gd name="T18" fmla="*/ 95 w 308"/>
                  <a:gd name="T19" fmla="*/ 1 h 1127"/>
                  <a:gd name="T20" fmla="*/ 127 w 308"/>
                  <a:gd name="T21" fmla="*/ 1 h 1127"/>
                  <a:gd name="T22" fmla="*/ 132 w 308"/>
                  <a:gd name="T23" fmla="*/ 1 h 1127"/>
                  <a:gd name="T24" fmla="*/ 145 w 308"/>
                  <a:gd name="T25" fmla="*/ 1 h 1127"/>
                  <a:gd name="T26" fmla="*/ 132 w 308"/>
                  <a:gd name="T27" fmla="*/ 1 h 1127"/>
                  <a:gd name="T28" fmla="*/ 158 w 308"/>
                  <a:gd name="T29" fmla="*/ 1 h 1127"/>
                  <a:gd name="T30" fmla="*/ 151 w 308"/>
                  <a:gd name="T31" fmla="*/ 1 h 1127"/>
                  <a:gd name="T32" fmla="*/ 138 w 308"/>
                  <a:gd name="T33" fmla="*/ 1 h 1127"/>
                  <a:gd name="T34" fmla="*/ 132 w 308"/>
                  <a:gd name="T35" fmla="*/ 1 h 1127"/>
                  <a:gd name="T36" fmla="*/ 132 w 308"/>
                  <a:gd name="T37" fmla="*/ 1 h 1127"/>
                  <a:gd name="T38" fmla="*/ 169 w 308"/>
                  <a:gd name="T39" fmla="*/ 1 h 1127"/>
                  <a:gd name="T40" fmla="*/ 177 w 308"/>
                  <a:gd name="T41" fmla="*/ 1 h 1127"/>
                  <a:gd name="T42" fmla="*/ 245 w 308"/>
                  <a:gd name="T43" fmla="*/ 1 h 1127"/>
                  <a:gd name="T44" fmla="*/ 264 w 308"/>
                  <a:gd name="T45" fmla="*/ 1 h 1127"/>
                  <a:gd name="T46" fmla="*/ 239 w 308"/>
                  <a:gd name="T47" fmla="*/ 1 h 1127"/>
                  <a:gd name="T48" fmla="*/ 252 w 308"/>
                  <a:gd name="T49" fmla="*/ 1 h 1127"/>
                  <a:gd name="T50" fmla="*/ 308 w 308"/>
                  <a:gd name="T51" fmla="*/ 1 h 1127"/>
                  <a:gd name="T52" fmla="*/ 308 w 308"/>
                  <a:gd name="T53" fmla="*/ 1 h 1127"/>
                  <a:gd name="T54" fmla="*/ 294 w 308"/>
                  <a:gd name="T55" fmla="*/ 1 h 1127"/>
                  <a:gd name="T56" fmla="*/ 276 w 308"/>
                  <a:gd name="T57" fmla="*/ 1 h 1127"/>
                  <a:gd name="T58" fmla="*/ 239 w 308"/>
                  <a:gd name="T59" fmla="*/ 1 h 1127"/>
                  <a:gd name="T60" fmla="*/ 245 w 308"/>
                  <a:gd name="T61" fmla="*/ 1 h 1127"/>
                  <a:gd name="T62" fmla="*/ 169 w 308"/>
                  <a:gd name="T63" fmla="*/ 1 h 1127"/>
                  <a:gd name="T64" fmla="*/ 145 w 308"/>
                  <a:gd name="T65" fmla="*/ 1 h 1127"/>
                  <a:gd name="T66" fmla="*/ 145 w 308"/>
                  <a:gd name="T67" fmla="*/ 1 h 1127"/>
                  <a:gd name="T68" fmla="*/ 114 w 308"/>
                  <a:gd name="T69" fmla="*/ 0 h 1127"/>
                  <a:gd name="T70" fmla="*/ 100 w 308"/>
                  <a:gd name="T71" fmla="*/ 1 h 1127"/>
                  <a:gd name="T72" fmla="*/ 95 w 308"/>
                  <a:gd name="T73" fmla="*/ 1 h 1127"/>
                  <a:gd name="T74" fmla="*/ 82 w 308"/>
                  <a:gd name="T75" fmla="*/ 1 h 1127"/>
                  <a:gd name="T76" fmla="*/ 82 w 308"/>
                  <a:gd name="T77" fmla="*/ 1 h 1127"/>
                  <a:gd name="T78" fmla="*/ 63 w 308"/>
                  <a:gd name="T79" fmla="*/ 1 h 1127"/>
                  <a:gd name="T80" fmla="*/ 44 w 308"/>
                  <a:gd name="T81" fmla="*/ 1 h 1127"/>
                  <a:gd name="T82" fmla="*/ 58 w 308"/>
                  <a:gd name="T83" fmla="*/ 1 h 1127"/>
                  <a:gd name="T84" fmla="*/ 39 w 308"/>
                  <a:gd name="T85" fmla="*/ 1 h 1127"/>
                  <a:gd name="T86" fmla="*/ 26 w 308"/>
                  <a:gd name="T87" fmla="*/ 1 h 1127"/>
                  <a:gd name="T88" fmla="*/ 32 w 308"/>
                  <a:gd name="T89" fmla="*/ 1 h 1127"/>
                  <a:gd name="T90" fmla="*/ 26 w 308"/>
                  <a:gd name="T91" fmla="*/ 1 h 1127"/>
                  <a:gd name="T92" fmla="*/ 26 w 308"/>
                  <a:gd name="T93" fmla="*/ 1 h 1127"/>
                  <a:gd name="T94" fmla="*/ 0 w 308"/>
                  <a:gd name="T95" fmla="*/ 1 h 11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08" h="1127">
                    <a:moveTo>
                      <a:pt x="0" y="1048"/>
                    </a:moveTo>
                    <a:lnTo>
                      <a:pt x="8" y="1070"/>
                    </a:lnTo>
                    <a:lnTo>
                      <a:pt x="20" y="1070"/>
                    </a:lnTo>
                    <a:lnTo>
                      <a:pt x="26" y="1127"/>
                    </a:lnTo>
                    <a:lnTo>
                      <a:pt x="82" y="1127"/>
                    </a:lnTo>
                    <a:lnTo>
                      <a:pt x="63" y="1104"/>
                    </a:lnTo>
                    <a:lnTo>
                      <a:pt x="76" y="1025"/>
                    </a:lnTo>
                    <a:lnTo>
                      <a:pt x="89" y="1048"/>
                    </a:lnTo>
                    <a:lnTo>
                      <a:pt x="119" y="937"/>
                    </a:lnTo>
                    <a:lnTo>
                      <a:pt x="95" y="870"/>
                    </a:lnTo>
                    <a:lnTo>
                      <a:pt x="127" y="837"/>
                    </a:lnTo>
                    <a:lnTo>
                      <a:pt x="132" y="782"/>
                    </a:lnTo>
                    <a:lnTo>
                      <a:pt x="145" y="758"/>
                    </a:lnTo>
                    <a:lnTo>
                      <a:pt x="132" y="747"/>
                    </a:lnTo>
                    <a:lnTo>
                      <a:pt x="158" y="747"/>
                    </a:lnTo>
                    <a:lnTo>
                      <a:pt x="151" y="724"/>
                    </a:lnTo>
                    <a:lnTo>
                      <a:pt x="138" y="735"/>
                    </a:lnTo>
                    <a:lnTo>
                      <a:pt x="132" y="714"/>
                    </a:lnTo>
                    <a:lnTo>
                      <a:pt x="132" y="680"/>
                    </a:lnTo>
                    <a:lnTo>
                      <a:pt x="169" y="680"/>
                    </a:lnTo>
                    <a:lnTo>
                      <a:pt x="177" y="601"/>
                    </a:lnTo>
                    <a:lnTo>
                      <a:pt x="245" y="580"/>
                    </a:lnTo>
                    <a:lnTo>
                      <a:pt x="264" y="524"/>
                    </a:lnTo>
                    <a:lnTo>
                      <a:pt x="239" y="424"/>
                    </a:lnTo>
                    <a:lnTo>
                      <a:pt x="252" y="290"/>
                    </a:lnTo>
                    <a:lnTo>
                      <a:pt x="308" y="180"/>
                    </a:lnTo>
                    <a:lnTo>
                      <a:pt x="308" y="134"/>
                    </a:lnTo>
                    <a:lnTo>
                      <a:pt x="294" y="134"/>
                    </a:lnTo>
                    <a:lnTo>
                      <a:pt x="276" y="190"/>
                    </a:lnTo>
                    <a:lnTo>
                      <a:pt x="239" y="180"/>
                    </a:lnTo>
                    <a:lnTo>
                      <a:pt x="245" y="123"/>
                    </a:lnTo>
                    <a:lnTo>
                      <a:pt x="169" y="23"/>
                    </a:lnTo>
                    <a:lnTo>
                      <a:pt x="145" y="13"/>
                    </a:lnTo>
                    <a:lnTo>
                      <a:pt x="145" y="34"/>
                    </a:lnTo>
                    <a:lnTo>
                      <a:pt x="114" y="0"/>
                    </a:lnTo>
                    <a:lnTo>
                      <a:pt x="100" y="34"/>
                    </a:lnTo>
                    <a:lnTo>
                      <a:pt x="95" y="79"/>
                    </a:lnTo>
                    <a:lnTo>
                      <a:pt x="82" y="88"/>
                    </a:lnTo>
                    <a:lnTo>
                      <a:pt x="82" y="167"/>
                    </a:lnTo>
                    <a:lnTo>
                      <a:pt x="63" y="211"/>
                    </a:lnTo>
                    <a:lnTo>
                      <a:pt x="44" y="324"/>
                    </a:lnTo>
                    <a:lnTo>
                      <a:pt x="58" y="434"/>
                    </a:lnTo>
                    <a:lnTo>
                      <a:pt x="39" y="513"/>
                    </a:lnTo>
                    <a:lnTo>
                      <a:pt x="26" y="735"/>
                    </a:lnTo>
                    <a:lnTo>
                      <a:pt x="32" y="826"/>
                    </a:lnTo>
                    <a:lnTo>
                      <a:pt x="26" y="826"/>
                    </a:lnTo>
                    <a:lnTo>
                      <a:pt x="26" y="891"/>
                    </a:lnTo>
                    <a:lnTo>
                      <a:pt x="0" y="1048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34" name="Freeform 26"/>
              <p:cNvSpPr>
                <a:spLocks/>
              </p:cNvSpPr>
              <p:nvPr/>
            </p:nvSpPr>
            <p:spPr bwMode="auto">
              <a:xfrm>
                <a:off x="1799" y="3003"/>
                <a:ext cx="308" cy="564"/>
              </a:xfrm>
              <a:custGeom>
                <a:avLst/>
                <a:gdLst>
                  <a:gd name="T0" fmla="*/ 0 w 308"/>
                  <a:gd name="T1" fmla="*/ 1 h 1127"/>
                  <a:gd name="T2" fmla="*/ 8 w 308"/>
                  <a:gd name="T3" fmla="*/ 1 h 1127"/>
                  <a:gd name="T4" fmla="*/ 20 w 308"/>
                  <a:gd name="T5" fmla="*/ 1 h 1127"/>
                  <a:gd name="T6" fmla="*/ 26 w 308"/>
                  <a:gd name="T7" fmla="*/ 1 h 1127"/>
                  <a:gd name="T8" fmla="*/ 82 w 308"/>
                  <a:gd name="T9" fmla="*/ 1 h 1127"/>
                  <a:gd name="T10" fmla="*/ 63 w 308"/>
                  <a:gd name="T11" fmla="*/ 1 h 1127"/>
                  <a:gd name="T12" fmla="*/ 76 w 308"/>
                  <a:gd name="T13" fmla="*/ 1 h 1127"/>
                  <a:gd name="T14" fmla="*/ 89 w 308"/>
                  <a:gd name="T15" fmla="*/ 1 h 1127"/>
                  <a:gd name="T16" fmla="*/ 119 w 308"/>
                  <a:gd name="T17" fmla="*/ 1 h 1127"/>
                  <a:gd name="T18" fmla="*/ 95 w 308"/>
                  <a:gd name="T19" fmla="*/ 1 h 1127"/>
                  <a:gd name="T20" fmla="*/ 127 w 308"/>
                  <a:gd name="T21" fmla="*/ 1 h 1127"/>
                  <a:gd name="T22" fmla="*/ 132 w 308"/>
                  <a:gd name="T23" fmla="*/ 1 h 1127"/>
                  <a:gd name="T24" fmla="*/ 145 w 308"/>
                  <a:gd name="T25" fmla="*/ 1 h 1127"/>
                  <a:gd name="T26" fmla="*/ 132 w 308"/>
                  <a:gd name="T27" fmla="*/ 1 h 1127"/>
                  <a:gd name="T28" fmla="*/ 158 w 308"/>
                  <a:gd name="T29" fmla="*/ 1 h 1127"/>
                  <a:gd name="T30" fmla="*/ 151 w 308"/>
                  <a:gd name="T31" fmla="*/ 1 h 1127"/>
                  <a:gd name="T32" fmla="*/ 138 w 308"/>
                  <a:gd name="T33" fmla="*/ 1 h 1127"/>
                  <a:gd name="T34" fmla="*/ 132 w 308"/>
                  <a:gd name="T35" fmla="*/ 1 h 1127"/>
                  <a:gd name="T36" fmla="*/ 132 w 308"/>
                  <a:gd name="T37" fmla="*/ 1 h 1127"/>
                  <a:gd name="T38" fmla="*/ 169 w 308"/>
                  <a:gd name="T39" fmla="*/ 1 h 1127"/>
                  <a:gd name="T40" fmla="*/ 177 w 308"/>
                  <a:gd name="T41" fmla="*/ 1 h 1127"/>
                  <a:gd name="T42" fmla="*/ 245 w 308"/>
                  <a:gd name="T43" fmla="*/ 1 h 1127"/>
                  <a:gd name="T44" fmla="*/ 264 w 308"/>
                  <a:gd name="T45" fmla="*/ 1 h 1127"/>
                  <a:gd name="T46" fmla="*/ 239 w 308"/>
                  <a:gd name="T47" fmla="*/ 1 h 1127"/>
                  <a:gd name="T48" fmla="*/ 252 w 308"/>
                  <a:gd name="T49" fmla="*/ 1 h 1127"/>
                  <a:gd name="T50" fmla="*/ 308 w 308"/>
                  <a:gd name="T51" fmla="*/ 1 h 1127"/>
                  <a:gd name="T52" fmla="*/ 308 w 308"/>
                  <a:gd name="T53" fmla="*/ 1 h 1127"/>
                  <a:gd name="T54" fmla="*/ 294 w 308"/>
                  <a:gd name="T55" fmla="*/ 1 h 1127"/>
                  <a:gd name="T56" fmla="*/ 276 w 308"/>
                  <a:gd name="T57" fmla="*/ 1 h 1127"/>
                  <a:gd name="T58" fmla="*/ 239 w 308"/>
                  <a:gd name="T59" fmla="*/ 1 h 1127"/>
                  <a:gd name="T60" fmla="*/ 245 w 308"/>
                  <a:gd name="T61" fmla="*/ 1 h 1127"/>
                  <a:gd name="T62" fmla="*/ 169 w 308"/>
                  <a:gd name="T63" fmla="*/ 1 h 1127"/>
                  <a:gd name="T64" fmla="*/ 145 w 308"/>
                  <a:gd name="T65" fmla="*/ 1 h 1127"/>
                  <a:gd name="T66" fmla="*/ 145 w 308"/>
                  <a:gd name="T67" fmla="*/ 1 h 1127"/>
                  <a:gd name="T68" fmla="*/ 114 w 308"/>
                  <a:gd name="T69" fmla="*/ 0 h 1127"/>
                  <a:gd name="T70" fmla="*/ 100 w 308"/>
                  <a:gd name="T71" fmla="*/ 1 h 1127"/>
                  <a:gd name="T72" fmla="*/ 95 w 308"/>
                  <a:gd name="T73" fmla="*/ 1 h 1127"/>
                  <a:gd name="T74" fmla="*/ 82 w 308"/>
                  <a:gd name="T75" fmla="*/ 1 h 1127"/>
                  <a:gd name="T76" fmla="*/ 82 w 308"/>
                  <a:gd name="T77" fmla="*/ 1 h 1127"/>
                  <a:gd name="T78" fmla="*/ 63 w 308"/>
                  <a:gd name="T79" fmla="*/ 1 h 1127"/>
                  <a:gd name="T80" fmla="*/ 44 w 308"/>
                  <a:gd name="T81" fmla="*/ 1 h 1127"/>
                  <a:gd name="T82" fmla="*/ 58 w 308"/>
                  <a:gd name="T83" fmla="*/ 1 h 1127"/>
                  <a:gd name="T84" fmla="*/ 39 w 308"/>
                  <a:gd name="T85" fmla="*/ 1 h 1127"/>
                  <a:gd name="T86" fmla="*/ 26 w 308"/>
                  <a:gd name="T87" fmla="*/ 1 h 1127"/>
                  <a:gd name="T88" fmla="*/ 32 w 308"/>
                  <a:gd name="T89" fmla="*/ 1 h 1127"/>
                  <a:gd name="T90" fmla="*/ 26 w 308"/>
                  <a:gd name="T91" fmla="*/ 1 h 1127"/>
                  <a:gd name="T92" fmla="*/ 26 w 308"/>
                  <a:gd name="T93" fmla="*/ 1 h 1127"/>
                  <a:gd name="T94" fmla="*/ 0 w 308"/>
                  <a:gd name="T95" fmla="*/ 1 h 11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08" h="1127">
                    <a:moveTo>
                      <a:pt x="0" y="1048"/>
                    </a:moveTo>
                    <a:lnTo>
                      <a:pt x="8" y="1070"/>
                    </a:lnTo>
                    <a:lnTo>
                      <a:pt x="20" y="1070"/>
                    </a:lnTo>
                    <a:lnTo>
                      <a:pt x="26" y="1127"/>
                    </a:lnTo>
                    <a:lnTo>
                      <a:pt x="82" y="1127"/>
                    </a:lnTo>
                    <a:lnTo>
                      <a:pt x="63" y="1104"/>
                    </a:lnTo>
                    <a:lnTo>
                      <a:pt x="76" y="1025"/>
                    </a:lnTo>
                    <a:lnTo>
                      <a:pt x="89" y="1048"/>
                    </a:lnTo>
                    <a:lnTo>
                      <a:pt x="119" y="937"/>
                    </a:lnTo>
                    <a:lnTo>
                      <a:pt x="95" y="870"/>
                    </a:lnTo>
                    <a:lnTo>
                      <a:pt x="127" y="837"/>
                    </a:lnTo>
                    <a:lnTo>
                      <a:pt x="132" y="782"/>
                    </a:lnTo>
                    <a:lnTo>
                      <a:pt x="145" y="758"/>
                    </a:lnTo>
                    <a:lnTo>
                      <a:pt x="132" y="747"/>
                    </a:lnTo>
                    <a:lnTo>
                      <a:pt x="158" y="747"/>
                    </a:lnTo>
                    <a:lnTo>
                      <a:pt x="151" y="724"/>
                    </a:lnTo>
                    <a:lnTo>
                      <a:pt x="138" y="735"/>
                    </a:lnTo>
                    <a:lnTo>
                      <a:pt x="132" y="714"/>
                    </a:lnTo>
                    <a:lnTo>
                      <a:pt x="132" y="680"/>
                    </a:lnTo>
                    <a:lnTo>
                      <a:pt x="169" y="680"/>
                    </a:lnTo>
                    <a:lnTo>
                      <a:pt x="177" y="601"/>
                    </a:lnTo>
                    <a:lnTo>
                      <a:pt x="245" y="580"/>
                    </a:lnTo>
                    <a:lnTo>
                      <a:pt x="264" y="524"/>
                    </a:lnTo>
                    <a:lnTo>
                      <a:pt x="239" y="424"/>
                    </a:lnTo>
                    <a:lnTo>
                      <a:pt x="252" y="290"/>
                    </a:lnTo>
                    <a:lnTo>
                      <a:pt x="308" y="180"/>
                    </a:lnTo>
                    <a:lnTo>
                      <a:pt x="308" y="134"/>
                    </a:lnTo>
                    <a:lnTo>
                      <a:pt x="294" y="134"/>
                    </a:lnTo>
                    <a:lnTo>
                      <a:pt x="276" y="190"/>
                    </a:lnTo>
                    <a:lnTo>
                      <a:pt x="239" y="180"/>
                    </a:lnTo>
                    <a:lnTo>
                      <a:pt x="245" y="123"/>
                    </a:lnTo>
                    <a:lnTo>
                      <a:pt x="169" y="23"/>
                    </a:lnTo>
                    <a:lnTo>
                      <a:pt x="145" y="13"/>
                    </a:lnTo>
                    <a:lnTo>
                      <a:pt x="145" y="34"/>
                    </a:lnTo>
                    <a:lnTo>
                      <a:pt x="114" y="0"/>
                    </a:lnTo>
                    <a:lnTo>
                      <a:pt x="100" y="34"/>
                    </a:lnTo>
                    <a:lnTo>
                      <a:pt x="95" y="79"/>
                    </a:lnTo>
                    <a:lnTo>
                      <a:pt x="82" y="88"/>
                    </a:lnTo>
                    <a:lnTo>
                      <a:pt x="82" y="167"/>
                    </a:lnTo>
                    <a:lnTo>
                      <a:pt x="63" y="211"/>
                    </a:lnTo>
                    <a:lnTo>
                      <a:pt x="44" y="324"/>
                    </a:lnTo>
                    <a:lnTo>
                      <a:pt x="58" y="434"/>
                    </a:lnTo>
                    <a:lnTo>
                      <a:pt x="39" y="513"/>
                    </a:lnTo>
                    <a:lnTo>
                      <a:pt x="26" y="735"/>
                    </a:lnTo>
                    <a:lnTo>
                      <a:pt x="32" y="826"/>
                    </a:lnTo>
                    <a:lnTo>
                      <a:pt x="26" y="826"/>
                    </a:lnTo>
                    <a:lnTo>
                      <a:pt x="26" y="891"/>
                    </a:lnTo>
                    <a:lnTo>
                      <a:pt x="0" y="1048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7" name="Freeform 27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2657723" y="5969000"/>
              <a:ext cx="76200" cy="77788"/>
            </a:xfrm>
            <a:custGeom>
              <a:avLst/>
              <a:gdLst>
                <a:gd name="T0" fmla="*/ 0 w 51"/>
                <a:gd name="T1" fmla="*/ 0 h 98"/>
                <a:gd name="T2" fmla="*/ 0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0 w 51"/>
                <a:gd name="T9" fmla="*/ 0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98">
                  <a:moveTo>
                    <a:pt x="0" y="0"/>
                  </a:moveTo>
                  <a:lnTo>
                    <a:pt x="0" y="98"/>
                  </a:lnTo>
                  <a:lnTo>
                    <a:pt x="51" y="89"/>
                  </a:lnTo>
                  <a:lnTo>
                    <a:pt x="13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8" name="Freeform 28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2657723" y="5969000"/>
              <a:ext cx="76200" cy="77788"/>
            </a:xfrm>
            <a:custGeom>
              <a:avLst/>
              <a:gdLst>
                <a:gd name="T0" fmla="*/ 0 w 51"/>
                <a:gd name="T1" fmla="*/ 0 h 98"/>
                <a:gd name="T2" fmla="*/ 0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0 w 51"/>
                <a:gd name="T9" fmla="*/ 0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98">
                  <a:moveTo>
                    <a:pt x="0" y="0"/>
                  </a:moveTo>
                  <a:lnTo>
                    <a:pt x="0" y="98"/>
                  </a:lnTo>
                  <a:lnTo>
                    <a:pt x="51" y="89"/>
                  </a:lnTo>
                  <a:lnTo>
                    <a:pt x="13" y="45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29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657723" y="5969000"/>
              <a:ext cx="76200" cy="77788"/>
            </a:xfrm>
            <a:custGeom>
              <a:avLst/>
              <a:gdLst>
                <a:gd name="T0" fmla="*/ 0 w 51"/>
                <a:gd name="T1" fmla="*/ 0 h 98"/>
                <a:gd name="T2" fmla="*/ 0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0 w 51"/>
                <a:gd name="T9" fmla="*/ 0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98">
                  <a:moveTo>
                    <a:pt x="0" y="0"/>
                  </a:moveTo>
                  <a:lnTo>
                    <a:pt x="0" y="98"/>
                  </a:lnTo>
                  <a:lnTo>
                    <a:pt x="51" y="89"/>
                  </a:lnTo>
                  <a:lnTo>
                    <a:pt x="13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30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2657723" y="5969000"/>
              <a:ext cx="76200" cy="77788"/>
            </a:xfrm>
            <a:custGeom>
              <a:avLst/>
              <a:gdLst>
                <a:gd name="T0" fmla="*/ 0 w 51"/>
                <a:gd name="T1" fmla="*/ 0 h 98"/>
                <a:gd name="T2" fmla="*/ 0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0 w 51"/>
                <a:gd name="T9" fmla="*/ 0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98">
                  <a:moveTo>
                    <a:pt x="0" y="0"/>
                  </a:moveTo>
                  <a:lnTo>
                    <a:pt x="0" y="98"/>
                  </a:lnTo>
                  <a:lnTo>
                    <a:pt x="51" y="89"/>
                  </a:lnTo>
                  <a:lnTo>
                    <a:pt x="13" y="45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1" name="Freeform 31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6985248" y="4775200"/>
              <a:ext cx="927100" cy="769938"/>
            </a:xfrm>
            <a:custGeom>
              <a:avLst/>
              <a:gdLst>
                <a:gd name="T0" fmla="*/ 2147483647 w 632"/>
                <a:gd name="T1" fmla="*/ 2147483647 h 969"/>
                <a:gd name="T2" fmla="*/ 2147483647 w 632"/>
                <a:gd name="T3" fmla="*/ 2147483647 h 969"/>
                <a:gd name="T4" fmla="*/ 2147483647 w 632"/>
                <a:gd name="T5" fmla="*/ 2147483647 h 969"/>
                <a:gd name="T6" fmla="*/ 2147483647 w 632"/>
                <a:gd name="T7" fmla="*/ 2147483647 h 969"/>
                <a:gd name="T8" fmla="*/ 2147483647 w 632"/>
                <a:gd name="T9" fmla="*/ 2147483647 h 969"/>
                <a:gd name="T10" fmla="*/ 2147483647 w 632"/>
                <a:gd name="T11" fmla="*/ 2147483647 h 969"/>
                <a:gd name="T12" fmla="*/ 2147483647 w 632"/>
                <a:gd name="T13" fmla="*/ 2147483647 h 969"/>
                <a:gd name="T14" fmla="*/ 2147483647 w 632"/>
                <a:gd name="T15" fmla="*/ 2147483647 h 969"/>
                <a:gd name="T16" fmla="*/ 2147483647 w 632"/>
                <a:gd name="T17" fmla="*/ 2147483647 h 969"/>
                <a:gd name="T18" fmla="*/ 2147483647 w 632"/>
                <a:gd name="T19" fmla="*/ 2147483647 h 969"/>
                <a:gd name="T20" fmla="*/ 2147483647 w 632"/>
                <a:gd name="T21" fmla="*/ 2147483647 h 969"/>
                <a:gd name="T22" fmla="*/ 2147483647 w 632"/>
                <a:gd name="T23" fmla="*/ 2147483647 h 969"/>
                <a:gd name="T24" fmla="*/ 2147483647 w 632"/>
                <a:gd name="T25" fmla="*/ 2147483647 h 969"/>
                <a:gd name="T26" fmla="*/ 2147483647 w 632"/>
                <a:gd name="T27" fmla="*/ 2147483647 h 969"/>
                <a:gd name="T28" fmla="*/ 2147483647 w 632"/>
                <a:gd name="T29" fmla="*/ 2147483647 h 969"/>
                <a:gd name="T30" fmla="*/ 2147483647 w 632"/>
                <a:gd name="T31" fmla="*/ 2147483647 h 969"/>
                <a:gd name="T32" fmla="*/ 2147483647 w 632"/>
                <a:gd name="T33" fmla="*/ 2147483647 h 969"/>
                <a:gd name="T34" fmla="*/ 2147483647 w 632"/>
                <a:gd name="T35" fmla="*/ 2147483647 h 969"/>
                <a:gd name="T36" fmla="*/ 2147483647 w 632"/>
                <a:gd name="T37" fmla="*/ 2147483647 h 969"/>
                <a:gd name="T38" fmla="*/ 2147483647 w 632"/>
                <a:gd name="T39" fmla="*/ 2147483647 h 969"/>
                <a:gd name="T40" fmla="*/ 2147483647 w 632"/>
                <a:gd name="T41" fmla="*/ 2147483647 h 969"/>
                <a:gd name="T42" fmla="*/ 2147483647 w 632"/>
                <a:gd name="T43" fmla="*/ 2147483647 h 969"/>
                <a:gd name="T44" fmla="*/ 2147483647 w 632"/>
                <a:gd name="T45" fmla="*/ 2147483647 h 969"/>
                <a:gd name="T46" fmla="*/ 2147483647 w 632"/>
                <a:gd name="T47" fmla="*/ 2147483647 h 969"/>
                <a:gd name="T48" fmla="*/ 2147483647 w 632"/>
                <a:gd name="T49" fmla="*/ 2147483647 h 969"/>
                <a:gd name="T50" fmla="*/ 2147483647 w 632"/>
                <a:gd name="T51" fmla="*/ 2147483647 h 969"/>
                <a:gd name="T52" fmla="*/ 2147483647 w 632"/>
                <a:gd name="T53" fmla="*/ 2147483647 h 969"/>
                <a:gd name="T54" fmla="*/ 2147483647 w 632"/>
                <a:gd name="T55" fmla="*/ 2147483647 h 969"/>
                <a:gd name="T56" fmla="*/ 2147483647 w 632"/>
                <a:gd name="T57" fmla="*/ 2147483647 h 969"/>
                <a:gd name="T58" fmla="*/ 2147483647 w 632"/>
                <a:gd name="T59" fmla="*/ 2147483647 h 969"/>
                <a:gd name="T60" fmla="*/ 2147483647 w 632"/>
                <a:gd name="T61" fmla="*/ 2147483647 h 969"/>
                <a:gd name="T62" fmla="*/ 2147483647 w 632"/>
                <a:gd name="T63" fmla="*/ 2147483647 h 969"/>
                <a:gd name="T64" fmla="*/ 2147483647 w 632"/>
                <a:gd name="T65" fmla="*/ 2147483647 h 9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632" h="969">
                  <a:moveTo>
                    <a:pt x="0" y="501"/>
                  </a:moveTo>
                  <a:lnTo>
                    <a:pt x="14" y="512"/>
                  </a:lnTo>
                  <a:lnTo>
                    <a:pt x="6" y="489"/>
                  </a:lnTo>
                  <a:lnTo>
                    <a:pt x="19" y="501"/>
                  </a:lnTo>
                  <a:lnTo>
                    <a:pt x="6" y="443"/>
                  </a:lnTo>
                  <a:lnTo>
                    <a:pt x="14" y="368"/>
                  </a:lnTo>
                  <a:lnTo>
                    <a:pt x="19" y="389"/>
                  </a:lnTo>
                  <a:lnTo>
                    <a:pt x="57" y="322"/>
                  </a:lnTo>
                  <a:lnTo>
                    <a:pt x="120" y="278"/>
                  </a:lnTo>
                  <a:lnTo>
                    <a:pt x="144" y="234"/>
                  </a:lnTo>
                  <a:lnTo>
                    <a:pt x="144" y="199"/>
                  </a:lnTo>
                  <a:lnTo>
                    <a:pt x="151" y="176"/>
                  </a:lnTo>
                  <a:lnTo>
                    <a:pt x="163" y="211"/>
                  </a:lnTo>
                  <a:lnTo>
                    <a:pt x="163" y="176"/>
                  </a:lnTo>
                  <a:lnTo>
                    <a:pt x="175" y="188"/>
                  </a:lnTo>
                  <a:lnTo>
                    <a:pt x="175" y="155"/>
                  </a:lnTo>
                  <a:lnTo>
                    <a:pt x="201" y="99"/>
                  </a:lnTo>
                  <a:lnTo>
                    <a:pt x="226" y="111"/>
                  </a:lnTo>
                  <a:lnTo>
                    <a:pt x="232" y="155"/>
                  </a:lnTo>
                  <a:lnTo>
                    <a:pt x="239" y="132"/>
                  </a:lnTo>
                  <a:lnTo>
                    <a:pt x="258" y="144"/>
                  </a:lnTo>
                  <a:lnTo>
                    <a:pt x="250" y="111"/>
                  </a:lnTo>
                  <a:lnTo>
                    <a:pt x="270" y="67"/>
                  </a:lnTo>
                  <a:lnTo>
                    <a:pt x="308" y="44"/>
                  </a:lnTo>
                  <a:lnTo>
                    <a:pt x="295" y="9"/>
                  </a:lnTo>
                  <a:lnTo>
                    <a:pt x="364" y="53"/>
                  </a:lnTo>
                  <a:lnTo>
                    <a:pt x="350" y="132"/>
                  </a:lnTo>
                  <a:lnTo>
                    <a:pt x="419" y="222"/>
                  </a:lnTo>
                  <a:lnTo>
                    <a:pt x="438" y="188"/>
                  </a:lnTo>
                  <a:lnTo>
                    <a:pt x="445" y="44"/>
                  </a:lnTo>
                  <a:lnTo>
                    <a:pt x="464" y="0"/>
                  </a:lnTo>
                  <a:lnTo>
                    <a:pt x="476" y="111"/>
                  </a:lnTo>
                  <a:lnTo>
                    <a:pt x="502" y="132"/>
                  </a:lnTo>
                  <a:lnTo>
                    <a:pt x="520" y="266"/>
                  </a:lnTo>
                  <a:lnTo>
                    <a:pt x="558" y="311"/>
                  </a:lnTo>
                  <a:lnTo>
                    <a:pt x="570" y="389"/>
                  </a:lnTo>
                  <a:lnTo>
                    <a:pt x="583" y="378"/>
                  </a:lnTo>
                  <a:lnTo>
                    <a:pt x="589" y="422"/>
                  </a:lnTo>
                  <a:lnTo>
                    <a:pt x="620" y="478"/>
                  </a:lnTo>
                  <a:lnTo>
                    <a:pt x="632" y="580"/>
                  </a:lnTo>
                  <a:lnTo>
                    <a:pt x="620" y="679"/>
                  </a:lnTo>
                  <a:lnTo>
                    <a:pt x="594" y="768"/>
                  </a:lnTo>
                  <a:lnTo>
                    <a:pt x="576" y="912"/>
                  </a:lnTo>
                  <a:lnTo>
                    <a:pt x="539" y="925"/>
                  </a:lnTo>
                  <a:lnTo>
                    <a:pt x="520" y="946"/>
                  </a:lnTo>
                  <a:lnTo>
                    <a:pt x="520" y="969"/>
                  </a:lnTo>
                  <a:lnTo>
                    <a:pt x="495" y="912"/>
                  </a:lnTo>
                  <a:lnTo>
                    <a:pt x="476" y="958"/>
                  </a:lnTo>
                  <a:lnTo>
                    <a:pt x="445" y="935"/>
                  </a:lnTo>
                  <a:lnTo>
                    <a:pt x="419" y="902"/>
                  </a:lnTo>
                  <a:lnTo>
                    <a:pt x="407" y="823"/>
                  </a:lnTo>
                  <a:lnTo>
                    <a:pt x="388" y="835"/>
                  </a:lnTo>
                  <a:lnTo>
                    <a:pt x="388" y="789"/>
                  </a:lnTo>
                  <a:lnTo>
                    <a:pt x="383" y="823"/>
                  </a:lnTo>
                  <a:lnTo>
                    <a:pt x="369" y="823"/>
                  </a:lnTo>
                  <a:lnTo>
                    <a:pt x="383" y="724"/>
                  </a:lnTo>
                  <a:lnTo>
                    <a:pt x="358" y="812"/>
                  </a:lnTo>
                  <a:lnTo>
                    <a:pt x="345" y="802"/>
                  </a:lnTo>
                  <a:lnTo>
                    <a:pt x="332" y="724"/>
                  </a:lnTo>
                  <a:lnTo>
                    <a:pt x="282" y="689"/>
                  </a:lnTo>
                  <a:lnTo>
                    <a:pt x="201" y="724"/>
                  </a:lnTo>
                  <a:lnTo>
                    <a:pt x="163" y="768"/>
                  </a:lnTo>
                  <a:lnTo>
                    <a:pt x="107" y="779"/>
                  </a:lnTo>
                  <a:lnTo>
                    <a:pt x="75" y="823"/>
                  </a:lnTo>
                  <a:lnTo>
                    <a:pt x="32" y="789"/>
                  </a:lnTo>
                  <a:lnTo>
                    <a:pt x="45" y="689"/>
                  </a:lnTo>
                  <a:lnTo>
                    <a:pt x="0" y="50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2" name="Group 32"/>
            <p:cNvGrpSpPr>
              <a:grpSpLocks/>
            </p:cNvGrpSpPr>
            <p:nvPr>
              <p:custDataLst>
                <p:tags r:id="rId26"/>
              </p:custDataLst>
            </p:nvPr>
          </p:nvGrpSpPr>
          <p:grpSpPr bwMode="auto">
            <a:xfrm>
              <a:off x="6985248" y="4775200"/>
              <a:ext cx="927100" cy="769938"/>
              <a:chOff x="4702" y="2826"/>
              <a:chExt cx="632" cy="48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31" name="Freeform 33"/>
              <p:cNvSpPr>
                <a:spLocks/>
              </p:cNvSpPr>
              <p:nvPr/>
            </p:nvSpPr>
            <p:spPr bwMode="auto">
              <a:xfrm>
                <a:off x="4702" y="2826"/>
                <a:ext cx="632" cy="485"/>
              </a:xfrm>
              <a:custGeom>
                <a:avLst/>
                <a:gdLst>
                  <a:gd name="T0" fmla="*/ 14 w 632"/>
                  <a:gd name="T1" fmla="*/ 1 h 969"/>
                  <a:gd name="T2" fmla="*/ 19 w 632"/>
                  <a:gd name="T3" fmla="*/ 1 h 969"/>
                  <a:gd name="T4" fmla="*/ 14 w 632"/>
                  <a:gd name="T5" fmla="*/ 1 h 969"/>
                  <a:gd name="T6" fmla="*/ 57 w 632"/>
                  <a:gd name="T7" fmla="*/ 1 h 969"/>
                  <a:gd name="T8" fmla="*/ 144 w 632"/>
                  <a:gd name="T9" fmla="*/ 1 h 969"/>
                  <a:gd name="T10" fmla="*/ 151 w 632"/>
                  <a:gd name="T11" fmla="*/ 1 h 969"/>
                  <a:gd name="T12" fmla="*/ 163 w 632"/>
                  <a:gd name="T13" fmla="*/ 1 h 969"/>
                  <a:gd name="T14" fmla="*/ 175 w 632"/>
                  <a:gd name="T15" fmla="*/ 1 h 969"/>
                  <a:gd name="T16" fmla="*/ 226 w 632"/>
                  <a:gd name="T17" fmla="*/ 1 h 969"/>
                  <a:gd name="T18" fmla="*/ 239 w 632"/>
                  <a:gd name="T19" fmla="*/ 1 h 969"/>
                  <a:gd name="T20" fmla="*/ 250 w 632"/>
                  <a:gd name="T21" fmla="*/ 1 h 969"/>
                  <a:gd name="T22" fmla="*/ 308 w 632"/>
                  <a:gd name="T23" fmla="*/ 1 h 969"/>
                  <a:gd name="T24" fmla="*/ 364 w 632"/>
                  <a:gd name="T25" fmla="*/ 1 h 969"/>
                  <a:gd name="T26" fmla="*/ 419 w 632"/>
                  <a:gd name="T27" fmla="*/ 1 h 969"/>
                  <a:gd name="T28" fmla="*/ 445 w 632"/>
                  <a:gd name="T29" fmla="*/ 1 h 969"/>
                  <a:gd name="T30" fmla="*/ 476 w 632"/>
                  <a:gd name="T31" fmla="*/ 1 h 969"/>
                  <a:gd name="T32" fmla="*/ 520 w 632"/>
                  <a:gd name="T33" fmla="*/ 1 h 969"/>
                  <a:gd name="T34" fmla="*/ 570 w 632"/>
                  <a:gd name="T35" fmla="*/ 1 h 969"/>
                  <a:gd name="T36" fmla="*/ 589 w 632"/>
                  <a:gd name="T37" fmla="*/ 1 h 969"/>
                  <a:gd name="T38" fmla="*/ 632 w 632"/>
                  <a:gd name="T39" fmla="*/ 1 h 969"/>
                  <a:gd name="T40" fmla="*/ 594 w 632"/>
                  <a:gd name="T41" fmla="*/ 1 h 969"/>
                  <a:gd name="T42" fmla="*/ 539 w 632"/>
                  <a:gd name="T43" fmla="*/ 1 h 969"/>
                  <a:gd name="T44" fmla="*/ 520 w 632"/>
                  <a:gd name="T45" fmla="*/ 1 h 969"/>
                  <a:gd name="T46" fmla="*/ 476 w 632"/>
                  <a:gd name="T47" fmla="*/ 1 h 969"/>
                  <a:gd name="T48" fmla="*/ 419 w 632"/>
                  <a:gd name="T49" fmla="*/ 1 h 969"/>
                  <a:gd name="T50" fmla="*/ 388 w 632"/>
                  <a:gd name="T51" fmla="*/ 1 h 969"/>
                  <a:gd name="T52" fmla="*/ 383 w 632"/>
                  <a:gd name="T53" fmla="*/ 1 h 969"/>
                  <a:gd name="T54" fmla="*/ 383 w 632"/>
                  <a:gd name="T55" fmla="*/ 1 h 969"/>
                  <a:gd name="T56" fmla="*/ 345 w 632"/>
                  <a:gd name="T57" fmla="*/ 1 h 969"/>
                  <a:gd name="T58" fmla="*/ 282 w 632"/>
                  <a:gd name="T59" fmla="*/ 1 h 969"/>
                  <a:gd name="T60" fmla="*/ 163 w 632"/>
                  <a:gd name="T61" fmla="*/ 1 h 969"/>
                  <a:gd name="T62" fmla="*/ 75 w 632"/>
                  <a:gd name="T63" fmla="*/ 1 h 969"/>
                  <a:gd name="T64" fmla="*/ 45 w 632"/>
                  <a:gd name="T65" fmla="*/ 1 h 96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32" h="969">
                    <a:moveTo>
                      <a:pt x="0" y="501"/>
                    </a:moveTo>
                    <a:lnTo>
                      <a:pt x="14" y="512"/>
                    </a:lnTo>
                    <a:lnTo>
                      <a:pt x="6" y="489"/>
                    </a:lnTo>
                    <a:lnTo>
                      <a:pt x="19" y="501"/>
                    </a:lnTo>
                    <a:lnTo>
                      <a:pt x="6" y="443"/>
                    </a:lnTo>
                    <a:lnTo>
                      <a:pt x="14" y="368"/>
                    </a:lnTo>
                    <a:lnTo>
                      <a:pt x="19" y="389"/>
                    </a:lnTo>
                    <a:lnTo>
                      <a:pt x="57" y="322"/>
                    </a:lnTo>
                    <a:lnTo>
                      <a:pt x="120" y="278"/>
                    </a:lnTo>
                    <a:lnTo>
                      <a:pt x="144" y="234"/>
                    </a:lnTo>
                    <a:lnTo>
                      <a:pt x="144" y="199"/>
                    </a:lnTo>
                    <a:lnTo>
                      <a:pt x="151" y="176"/>
                    </a:lnTo>
                    <a:lnTo>
                      <a:pt x="163" y="211"/>
                    </a:lnTo>
                    <a:lnTo>
                      <a:pt x="163" y="176"/>
                    </a:lnTo>
                    <a:lnTo>
                      <a:pt x="175" y="188"/>
                    </a:lnTo>
                    <a:lnTo>
                      <a:pt x="175" y="155"/>
                    </a:lnTo>
                    <a:lnTo>
                      <a:pt x="201" y="99"/>
                    </a:lnTo>
                    <a:lnTo>
                      <a:pt x="226" y="111"/>
                    </a:lnTo>
                    <a:lnTo>
                      <a:pt x="232" y="155"/>
                    </a:lnTo>
                    <a:lnTo>
                      <a:pt x="239" y="132"/>
                    </a:lnTo>
                    <a:lnTo>
                      <a:pt x="258" y="144"/>
                    </a:lnTo>
                    <a:lnTo>
                      <a:pt x="250" y="111"/>
                    </a:lnTo>
                    <a:lnTo>
                      <a:pt x="270" y="67"/>
                    </a:lnTo>
                    <a:lnTo>
                      <a:pt x="308" y="44"/>
                    </a:lnTo>
                    <a:lnTo>
                      <a:pt x="295" y="9"/>
                    </a:lnTo>
                    <a:lnTo>
                      <a:pt x="364" y="53"/>
                    </a:lnTo>
                    <a:lnTo>
                      <a:pt x="350" y="132"/>
                    </a:lnTo>
                    <a:lnTo>
                      <a:pt x="419" y="222"/>
                    </a:lnTo>
                    <a:lnTo>
                      <a:pt x="438" y="188"/>
                    </a:lnTo>
                    <a:lnTo>
                      <a:pt x="445" y="44"/>
                    </a:lnTo>
                    <a:lnTo>
                      <a:pt x="464" y="0"/>
                    </a:lnTo>
                    <a:lnTo>
                      <a:pt x="476" y="111"/>
                    </a:lnTo>
                    <a:lnTo>
                      <a:pt x="502" y="132"/>
                    </a:lnTo>
                    <a:lnTo>
                      <a:pt x="520" y="266"/>
                    </a:lnTo>
                    <a:lnTo>
                      <a:pt x="558" y="311"/>
                    </a:lnTo>
                    <a:lnTo>
                      <a:pt x="570" y="389"/>
                    </a:lnTo>
                    <a:lnTo>
                      <a:pt x="583" y="378"/>
                    </a:lnTo>
                    <a:lnTo>
                      <a:pt x="589" y="422"/>
                    </a:lnTo>
                    <a:lnTo>
                      <a:pt x="620" y="478"/>
                    </a:lnTo>
                    <a:lnTo>
                      <a:pt x="632" y="580"/>
                    </a:lnTo>
                    <a:lnTo>
                      <a:pt x="620" y="679"/>
                    </a:lnTo>
                    <a:lnTo>
                      <a:pt x="594" y="768"/>
                    </a:lnTo>
                    <a:lnTo>
                      <a:pt x="576" y="912"/>
                    </a:lnTo>
                    <a:lnTo>
                      <a:pt x="539" y="925"/>
                    </a:lnTo>
                    <a:lnTo>
                      <a:pt x="520" y="946"/>
                    </a:lnTo>
                    <a:lnTo>
                      <a:pt x="520" y="969"/>
                    </a:lnTo>
                    <a:lnTo>
                      <a:pt x="495" y="912"/>
                    </a:lnTo>
                    <a:lnTo>
                      <a:pt x="476" y="958"/>
                    </a:lnTo>
                    <a:lnTo>
                      <a:pt x="445" y="935"/>
                    </a:lnTo>
                    <a:lnTo>
                      <a:pt x="419" y="902"/>
                    </a:lnTo>
                    <a:lnTo>
                      <a:pt x="407" y="823"/>
                    </a:lnTo>
                    <a:lnTo>
                      <a:pt x="388" y="835"/>
                    </a:lnTo>
                    <a:lnTo>
                      <a:pt x="388" y="789"/>
                    </a:lnTo>
                    <a:lnTo>
                      <a:pt x="383" y="823"/>
                    </a:lnTo>
                    <a:lnTo>
                      <a:pt x="369" y="823"/>
                    </a:lnTo>
                    <a:lnTo>
                      <a:pt x="383" y="724"/>
                    </a:lnTo>
                    <a:lnTo>
                      <a:pt x="358" y="812"/>
                    </a:lnTo>
                    <a:lnTo>
                      <a:pt x="345" y="802"/>
                    </a:lnTo>
                    <a:lnTo>
                      <a:pt x="332" y="724"/>
                    </a:lnTo>
                    <a:lnTo>
                      <a:pt x="282" y="689"/>
                    </a:lnTo>
                    <a:lnTo>
                      <a:pt x="201" y="724"/>
                    </a:lnTo>
                    <a:lnTo>
                      <a:pt x="163" y="768"/>
                    </a:lnTo>
                    <a:lnTo>
                      <a:pt x="107" y="779"/>
                    </a:lnTo>
                    <a:lnTo>
                      <a:pt x="75" y="823"/>
                    </a:lnTo>
                    <a:lnTo>
                      <a:pt x="32" y="789"/>
                    </a:lnTo>
                    <a:lnTo>
                      <a:pt x="45" y="689"/>
                    </a:lnTo>
                    <a:lnTo>
                      <a:pt x="0" y="501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32" name="Freeform 34"/>
              <p:cNvSpPr>
                <a:spLocks/>
              </p:cNvSpPr>
              <p:nvPr/>
            </p:nvSpPr>
            <p:spPr bwMode="auto">
              <a:xfrm>
                <a:off x="4702" y="2826"/>
                <a:ext cx="632" cy="485"/>
              </a:xfrm>
              <a:custGeom>
                <a:avLst/>
                <a:gdLst>
                  <a:gd name="T0" fmla="*/ 14 w 632"/>
                  <a:gd name="T1" fmla="*/ 1 h 969"/>
                  <a:gd name="T2" fmla="*/ 19 w 632"/>
                  <a:gd name="T3" fmla="*/ 1 h 969"/>
                  <a:gd name="T4" fmla="*/ 14 w 632"/>
                  <a:gd name="T5" fmla="*/ 1 h 969"/>
                  <a:gd name="T6" fmla="*/ 57 w 632"/>
                  <a:gd name="T7" fmla="*/ 1 h 969"/>
                  <a:gd name="T8" fmla="*/ 144 w 632"/>
                  <a:gd name="T9" fmla="*/ 1 h 969"/>
                  <a:gd name="T10" fmla="*/ 151 w 632"/>
                  <a:gd name="T11" fmla="*/ 1 h 969"/>
                  <a:gd name="T12" fmla="*/ 163 w 632"/>
                  <a:gd name="T13" fmla="*/ 1 h 969"/>
                  <a:gd name="T14" fmla="*/ 175 w 632"/>
                  <a:gd name="T15" fmla="*/ 1 h 969"/>
                  <a:gd name="T16" fmla="*/ 226 w 632"/>
                  <a:gd name="T17" fmla="*/ 1 h 969"/>
                  <a:gd name="T18" fmla="*/ 239 w 632"/>
                  <a:gd name="T19" fmla="*/ 1 h 969"/>
                  <a:gd name="T20" fmla="*/ 250 w 632"/>
                  <a:gd name="T21" fmla="*/ 1 h 969"/>
                  <a:gd name="T22" fmla="*/ 308 w 632"/>
                  <a:gd name="T23" fmla="*/ 1 h 969"/>
                  <a:gd name="T24" fmla="*/ 364 w 632"/>
                  <a:gd name="T25" fmla="*/ 1 h 969"/>
                  <a:gd name="T26" fmla="*/ 419 w 632"/>
                  <a:gd name="T27" fmla="*/ 1 h 969"/>
                  <a:gd name="T28" fmla="*/ 445 w 632"/>
                  <a:gd name="T29" fmla="*/ 1 h 969"/>
                  <a:gd name="T30" fmla="*/ 476 w 632"/>
                  <a:gd name="T31" fmla="*/ 1 h 969"/>
                  <a:gd name="T32" fmla="*/ 520 w 632"/>
                  <a:gd name="T33" fmla="*/ 1 h 969"/>
                  <a:gd name="T34" fmla="*/ 570 w 632"/>
                  <a:gd name="T35" fmla="*/ 1 h 969"/>
                  <a:gd name="T36" fmla="*/ 589 w 632"/>
                  <a:gd name="T37" fmla="*/ 1 h 969"/>
                  <a:gd name="T38" fmla="*/ 632 w 632"/>
                  <a:gd name="T39" fmla="*/ 1 h 969"/>
                  <a:gd name="T40" fmla="*/ 594 w 632"/>
                  <a:gd name="T41" fmla="*/ 1 h 969"/>
                  <a:gd name="T42" fmla="*/ 539 w 632"/>
                  <a:gd name="T43" fmla="*/ 1 h 969"/>
                  <a:gd name="T44" fmla="*/ 520 w 632"/>
                  <a:gd name="T45" fmla="*/ 1 h 969"/>
                  <a:gd name="T46" fmla="*/ 476 w 632"/>
                  <a:gd name="T47" fmla="*/ 1 h 969"/>
                  <a:gd name="T48" fmla="*/ 419 w 632"/>
                  <a:gd name="T49" fmla="*/ 1 h 969"/>
                  <a:gd name="T50" fmla="*/ 388 w 632"/>
                  <a:gd name="T51" fmla="*/ 1 h 969"/>
                  <a:gd name="T52" fmla="*/ 383 w 632"/>
                  <a:gd name="T53" fmla="*/ 1 h 969"/>
                  <a:gd name="T54" fmla="*/ 383 w 632"/>
                  <a:gd name="T55" fmla="*/ 1 h 969"/>
                  <a:gd name="T56" fmla="*/ 345 w 632"/>
                  <a:gd name="T57" fmla="*/ 1 h 969"/>
                  <a:gd name="T58" fmla="*/ 282 w 632"/>
                  <a:gd name="T59" fmla="*/ 1 h 969"/>
                  <a:gd name="T60" fmla="*/ 163 w 632"/>
                  <a:gd name="T61" fmla="*/ 1 h 969"/>
                  <a:gd name="T62" fmla="*/ 75 w 632"/>
                  <a:gd name="T63" fmla="*/ 1 h 969"/>
                  <a:gd name="T64" fmla="*/ 45 w 632"/>
                  <a:gd name="T65" fmla="*/ 1 h 96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32" h="969">
                    <a:moveTo>
                      <a:pt x="0" y="501"/>
                    </a:moveTo>
                    <a:lnTo>
                      <a:pt x="14" y="512"/>
                    </a:lnTo>
                    <a:lnTo>
                      <a:pt x="6" y="489"/>
                    </a:lnTo>
                    <a:lnTo>
                      <a:pt x="19" y="501"/>
                    </a:lnTo>
                    <a:lnTo>
                      <a:pt x="6" y="443"/>
                    </a:lnTo>
                    <a:lnTo>
                      <a:pt x="14" y="368"/>
                    </a:lnTo>
                    <a:lnTo>
                      <a:pt x="19" y="389"/>
                    </a:lnTo>
                    <a:lnTo>
                      <a:pt x="57" y="322"/>
                    </a:lnTo>
                    <a:lnTo>
                      <a:pt x="120" y="278"/>
                    </a:lnTo>
                    <a:lnTo>
                      <a:pt x="144" y="234"/>
                    </a:lnTo>
                    <a:lnTo>
                      <a:pt x="144" y="199"/>
                    </a:lnTo>
                    <a:lnTo>
                      <a:pt x="151" y="176"/>
                    </a:lnTo>
                    <a:lnTo>
                      <a:pt x="163" y="211"/>
                    </a:lnTo>
                    <a:lnTo>
                      <a:pt x="163" y="176"/>
                    </a:lnTo>
                    <a:lnTo>
                      <a:pt x="175" y="188"/>
                    </a:lnTo>
                    <a:lnTo>
                      <a:pt x="175" y="155"/>
                    </a:lnTo>
                    <a:lnTo>
                      <a:pt x="201" y="99"/>
                    </a:lnTo>
                    <a:lnTo>
                      <a:pt x="226" y="111"/>
                    </a:lnTo>
                    <a:lnTo>
                      <a:pt x="232" y="155"/>
                    </a:lnTo>
                    <a:lnTo>
                      <a:pt x="239" y="132"/>
                    </a:lnTo>
                    <a:lnTo>
                      <a:pt x="258" y="144"/>
                    </a:lnTo>
                    <a:lnTo>
                      <a:pt x="250" y="111"/>
                    </a:lnTo>
                    <a:lnTo>
                      <a:pt x="270" y="67"/>
                    </a:lnTo>
                    <a:lnTo>
                      <a:pt x="308" y="44"/>
                    </a:lnTo>
                    <a:lnTo>
                      <a:pt x="295" y="9"/>
                    </a:lnTo>
                    <a:lnTo>
                      <a:pt x="364" y="53"/>
                    </a:lnTo>
                    <a:lnTo>
                      <a:pt x="350" y="132"/>
                    </a:lnTo>
                    <a:lnTo>
                      <a:pt x="419" y="222"/>
                    </a:lnTo>
                    <a:lnTo>
                      <a:pt x="438" y="188"/>
                    </a:lnTo>
                    <a:lnTo>
                      <a:pt x="445" y="44"/>
                    </a:lnTo>
                    <a:lnTo>
                      <a:pt x="464" y="0"/>
                    </a:lnTo>
                    <a:lnTo>
                      <a:pt x="476" y="111"/>
                    </a:lnTo>
                    <a:lnTo>
                      <a:pt x="502" y="132"/>
                    </a:lnTo>
                    <a:lnTo>
                      <a:pt x="520" y="266"/>
                    </a:lnTo>
                    <a:lnTo>
                      <a:pt x="558" y="311"/>
                    </a:lnTo>
                    <a:lnTo>
                      <a:pt x="570" y="389"/>
                    </a:lnTo>
                    <a:lnTo>
                      <a:pt x="583" y="378"/>
                    </a:lnTo>
                    <a:lnTo>
                      <a:pt x="589" y="422"/>
                    </a:lnTo>
                    <a:lnTo>
                      <a:pt x="620" y="478"/>
                    </a:lnTo>
                    <a:lnTo>
                      <a:pt x="632" y="580"/>
                    </a:lnTo>
                    <a:lnTo>
                      <a:pt x="620" y="679"/>
                    </a:lnTo>
                    <a:lnTo>
                      <a:pt x="594" y="768"/>
                    </a:lnTo>
                    <a:lnTo>
                      <a:pt x="576" y="912"/>
                    </a:lnTo>
                    <a:lnTo>
                      <a:pt x="539" y="925"/>
                    </a:lnTo>
                    <a:lnTo>
                      <a:pt x="520" y="946"/>
                    </a:lnTo>
                    <a:lnTo>
                      <a:pt x="520" y="969"/>
                    </a:lnTo>
                    <a:lnTo>
                      <a:pt x="495" y="912"/>
                    </a:lnTo>
                    <a:lnTo>
                      <a:pt x="476" y="958"/>
                    </a:lnTo>
                    <a:lnTo>
                      <a:pt x="445" y="935"/>
                    </a:lnTo>
                    <a:lnTo>
                      <a:pt x="419" y="902"/>
                    </a:lnTo>
                    <a:lnTo>
                      <a:pt x="407" y="823"/>
                    </a:lnTo>
                    <a:lnTo>
                      <a:pt x="388" y="835"/>
                    </a:lnTo>
                    <a:lnTo>
                      <a:pt x="388" y="789"/>
                    </a:lnTo>
                    <a:lnTo>
                      <a:pt x="383" y="823"/>
                    </a:lnTo>
                    <a:lnTo>
                      <a:pt x="369" y="823"/>
                    </a:lnTo>
                    <a:lnTo>
                      <a:pt x="383" y="724"/>
                    </a:lnTo>
                    <a:lnTo>
                      <a:pt x="358" y="812"/>
                    </a:lnTo>
                    <a:lnTo>
                      <a:pt x="345" y="802"/>
                    </a:lnTo>
                    <a:lnTo>
                      <a:pt x="332" y="724"/>
                    </a:lnTo>
                    <a:lnTo>
                      <a:pt x="282" y="689"/>
                    </a:lnTo>
                    <a:lnTo>
                      <a:pt x="201" y="724"/>
                    </a:lnTo>
                    <a:lnTo>
                      <a:pt x="163" y="768"/>
                    </a:lnTo>
                    <a:lnTo>
                      <a:pt x="107" y="779"/>
                    </a:lnTo>
                    <a:lnTo>
                      <a:pt x="75" y="823"/>
                    </a:lnTo>
                    <a:lnTo>
                      <a:pt x="32" y="789"/>
                    </a:lnTo>
                    <a:lnTo>
                      <a:pt x="45" y="689"/>
                    </a:lnTo>
                    <a:lnTo>
                      <a:pt x="0" y="501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3" name="Freeform 35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6985248" y="4775200"/>
              <a:ext cx="927100" cy="769938"/>
            </a:xfrm>
            <a:custGeom>
              <a:avLst/>
              <a:gdLst>
                <a:gd name="T0" fmla="*/ 2147483647 w 632"/>
                <a:gd name="T1" fmla="*/ 2147483647 h 969"/>
                <a:gd name="T2" fmla="*/ 2147483647 w 632"/>
                <a:gd name="T3" fmla="*/ 2147483647 h 969"/>
                <a:gd name="T4" fmla="*/ 2147483647 w 632"/>
                <a:gd name="T5" fmla="*/ 2147483647 h 969"/>
                <a:gd name="T6" fmla="*/ 2147483647 w 632"/>
                <a:gd name="T7" fmla="*/ 2147483647 h 969"/>
                <a:gd name="T8" fmla="*/ 2147483647 w 632"/>
                <a:gd name="T9" fmla="*/ 2147483647 h 969"/>
                <a:gd name="T10" fmla="*/ 2147483647 w 632"/>
                <a:gd name="T11" fmla="*/ 2147483647 h 969"/>
                <a:gd name="T12" fmla="*/ 2147483647 w 632"/>
                <a:gd name="T13" fmla="*/ 2147483647 h 969"/>
                <a:gd name="T14" fmla="*/ 2147483647 w 632"/>
                <a:gd name="T15" fmla="*/ 2147483647 h 969"/>
                <a:gd name="T16" fmla="*/ 2147483647 w 632"/>
                <a:gd name="T17" fmla="*/ 2147483647 h 969"/>
                <a:gd name="T18" fmla="*/ 2147483647 w 632"/>
                <a:gd name="T19" fmla="*/ 2147483647 h 969"/>
                <a:gd name="T20" fmla="*/ 2147483647 w 632"/>
                <a:gd name="T21" fmla="*/ 2147483647 h 969"/>
                <a:gd name="T22" fmla="*/ 2147483647 w 632"/>
                <a:gd name="T23" fmla="*/ 2147483647 h 969"/>
                <a:gd name="T24" fmla="*/ 2147483647 w 632"/>
                <a:gd name="T25" fmla="*/ 2147483647 h 969"/>
                <a:gd name="T26" fmla="*/ 2147483647 w 632"/>
                <a:gd name="T27" fmla="*/ 2147483647 h 969"/>
                <a:gd name="T28" fmla="*/ 2147483647 w 632"/>
                <a:gd name="T29" fmla="*/ 2147483647 h 969"/>
                <a:gd name="T30" fmla="*/ 2147483647 w 632"/>
                <a:gd name="T31" fmla="*/ 2147483647 h 969"/>
                <a:gd name="T32" fmla="*/ 2147483647 w 632"/>
                <a:gd name="T33" fmla="*/ 2147483647 h 969"/>
                <a:gd name="T34" fmla="*/ 2147483647 w 632"/>
                <a:gd name="T35" fmla="*/ 2147483647 h 969"/>
                <a:gd name="T36" fmla="*/ 2147483647 w 632"/>
                <a:gd name="T37" fmla="*/ 2147483647 h 969"/>
                <a:gd name="T38" fmla="*/ 2147483647 w 632"/>
                <a:gd name="T39" fmla="*/ 2147483647 h 969"/>
                <a:gd name="T40" fmla="*/ 2147483647 w 632"/>
                <a:gd name="T41" fmla="*/ 2147483647 h 969"/>
                <a:gd name="T42" fmla="*/ 2147483647 w 632"/>
                <a:gd name="T43" fmla="*/ 2147483647 h 969"/>
                <a:gd name="T44" fmla="*/ 2147483647 w 632"/>
                <a:gd name="T45" fmla="*/ 2147483647 h 969"/>
                <a:gd name="T46" fmla="*/ 2147483647 w 632"/>
                <a:gd name="T47" fmla="*/ 2147483647 h 969"/>
                <a:gd name="T48" fmla="*/ 2147483647 w 632"/>
                <a:gd name="T49" fmla="*/ 2147483647 h 969"/>
                <a:gd name="T50" fmla="*/ 2147483647 w 632"/>
                <a:gd name="T51" fmla="*/ 2147483647 h 969"/>
                <a:gd name="T52" fmla="*/ 2147483647 w 632"/>
                <a:gd name="T53" fmla="*/ 2147483647 h 969"/>
                <a:gd name="T54" fmla="*/ 2147483647 w 632"/>
                <a:gd name="T55" fmla="*/ 2147483647 h 969"/>
                <a:gd name="T56" fmla="*/ 2147483647 w 632"/>
                <a:gd name="T57" fmla="*/ 2147483647 h 969"/>
                <a:gd name="T58" fmla="*/ 2147483647 w 632"/>
                <a:gd name="T59" fmla="*/ 2147483647 h 969"/>
                <a:gd name="T60" fmla="*/ 2147483647 w 632"/>
                <a:gd name="T61" fmla="*/ 2147483647 h 969"/>
                <a:gd name="T62" fmla="*/ 2147483647 w 632"/>
                <a:gd name="T63" fmla="*/ 2147483647 h 969"/>
                <a:gd name="T64" fmla="*/ 2147483647 w 632"/>
                <a:gd name="T65" fmla="*/ 2147483647 h 9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632" h="969">
                  <a:moveTo>
                    <a:pt x="0" y="501"/>
                  </a:moveTo>
                  <a:lnTo>
                    <a:pt x="14" y="512"/>
                  </a:lnTo>
                  <a:lnTo>
                    <a:pt x="6" y="489"/>
                  </a:lnTo>
                  <a:lnTo>
                    <a:pt x="19" y="501"/>
                  </a:lnTo>
                  <a:lnTo>
                    <a:pt x="6" y="443"/>
                  </a:lnTo>
                  <a:lnTo>
                    <a:pt x="14" y="368"/>
                  </a:lnTo>
                  <a:lnTo>
                    <a:pt x="19" y="389"/>
                  </a:lnTo>
                  <a:lnTo>
                    <a:pt x="57" y="322"/>
                  </a:lnTo>
                  <a:lnTo>
                    <a:pt x="120" y="278"/>
                  </a:lnTo>
                  <a:lnTo>
                    <a:pt x="144" y="234"/>
                  </a:lnTo>
                  <a:lnTo>
                    <a:pt x="144" y="199"/>
                  </a:lnTo>
                  <a:lnTo>
                    <a:pt x="151" y="176"/>
                  </a:lnTo>
                  <a:lnTo>
                    <a:pt x="163" y="211"/>
                  </a:lnTo>
                  <a:lnTo>
                    <a:pt x="163" y="176"/>
                  </a:lnTo>
                  <a:lnTo>
                    <a:pt x="175" y="188"/>
                  </a:lnTo>
                  <a:lnTo>
                    <a:pt x="175" y="155"/>
                  </a:lnTo>
                  <a:lnTo>
                    <a:pt x="201" y="99"/>
                  </a:lnTo>
                  <a:lnTo>
                    <a:pt x="226" y="111"/>
                  </a:lnTo>
                  <a:lnTo>
                    <a:pt x="232" y="155"/>
                  </a:lnTo>
                  <a:lnTo>
                    <a:pt x="239" y="132"/>
                  </a:lnTo>
                  <a:lnTo>
                    <a:pt x="258" y="144"/>
                  </a:lnTo>
                  <a:lnTo>
                    <a:pt x="250" y="111"/>
                  </a:lnTo>
                  <a:lnTo>
                    <a:pt x="270" y="67"/>
                  </a:lnTo>
                  <a:lnTo>
                    <a:pt x="308" y="44"/>
                  </a:lnTo>
                  <a:lnTo>
                    <a:pt x="295" y="9"/>
                  </a:lnTo>
                  <a:lnTo>
                    <a:pt x="364" y="53"/>
                  </a:lnTo>
                  <a:lnTo>
                    <a:pt x="350" y="132"/>
                  </a:lnTo>
                  <a:lnTo>
                    <a:pt x="419" y="222"/>
                  </a:lnTo>
                  <a:lnTo>
                    <a:pt x="438" y="188"/>
                  </a:lnTo>
                  <a:lnTo>
                    <a:pt x="445" y="44"/>
                  </a:lnTo>
                  <a:lnTo>
                    <a:pt x="464" y="0"/>
                  </a:lnTo>
                  <a:lnTo>
                    <a:pt x="476" y="111"/>
                  </a:lnTo>
                  <a:lnTo>
                    <a:pt x="502" y="132"/>
                  </a:lnTo>
                  <a:lnTo>
                    <a:pt x="520" y="266"/>
                  </a:lnTo>
                  <a:lnTo>
                    <a:pt x="558" y="311"/>
                  </a:lnTo>
                  <a:lnTo>
                    <a:pt x="570" y="389"/>
                  </a:lnTo>
                  <a:lnTo>
                    <a:pt x="583" y="378"/>
                  </a:lnTo>
                  <a:lnTo>
                    <a:pt x="589" y="422"/>
                  </a:lnTo>
                  <a:lnTo>
                    <a:pt x="620" y="478"/>
                  </a:lnTo>
                  <a:lnTo>
                    <a:pt x="632" y="580"/>
                  </a:lnTo>
                  <a:lnTo>
                    <a:pt x="620" y="679"/>
                  </a:lnTo>
                  <a:lnTo>
                    <a:pt x="594" y="768"/>
                  </a:lnTo>
                  <a:lnTo>
                    <a:pt x="576" y="912"/>
                  </a:lnTo>
                  <a:lnTo>
                    <a:pt x="539" y="925"/>
                  </a:lnTo>
                  <a:lnTo>
                    <a:pt x="520" y="946"/>
                  </a:lnTo>
                  <a:lnTo>
                    <a:pt x="520" y="969"/>
                  </a:lnTo>
                  <a:lnTo>
                    <a:pt x="495" y="912"/>
                  </a:lnTo>
                  <a:lnTo>
                    <a:pt x="476" y="958"/>
                  </a:lnTo>
                  <a:lnTo>
                    <a:pt x="445" y="935"/>
                  </a:lnTo>
                  <a:lnTo>
                    <a:pt x="419" y="902"/>
                  </a:lnTo>
                  <a:lnTo>
                    <a:pt x="407" y="823"/>
                  </a:lnTo>
                  <a:lnTo>
                    <a:pt x="388" y="835"/>
                  </a:lnTo>
                  <a:lnTo>
                    <a:pt x="388" y="789"/>
                  </a:lnTo>
                  <a:lnTo>
                    <a:pt x="383" y="823"/>
                  </a:lnTo>
                  <a:lnTo>
                    <a:pt x="369" y="823"/>
                  </a:lnTo>
                  <a:lnTo>
                    <a:pt x="383" y="724"/>
                  </a:lnTo>
                  <a:lnTo>
                    <a:pt x="358" y="812"/>
                  </a:lnTo>
                  <a:lnTo>
                    <a:pt x="345" y="802"/>
                  </a:lnTo>
                  <a:lnTo>
                    <a:pt x="332" y="724"/>
                  </a:lnTo>
                  <a:lnTo>
                    <a:pt x="282" y="689"/>
                  </a:lnTo>
                  <a:lnTo>
                    <a:pt x="201" y="724"/>
                  </a:lnTo>
                  <a:lnTo>
                    <a:pt x="163" y="768"/>
                  </a:lnTo>
                  <a:lnTo>
                    <a:pt x="107" y="779"/>
                  </a:lnTo>
                  <a:lnTo>
                    <a:pt x="75" y="823"/>
                  </a:lnTo>
                  <a:lnTo>
                    <a:pt x="32" y="789"/>
                  </a:lnTo>
                  <a:lnTo>
                    <a:pt x="45" y="689"/>
                  </a:lnTo>
                  <a:lnTo>
                    <a:pt x="0" y="50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4" name="Group 36"/>
            <p:cNvGrpSpPr>
              <a:grpSpLocks/>
            </p:cNvGrpSpPr>
            <p:nvPr>
              <p:custDataLst>
                <p:tags r:id="rId28"/>
              </p:custDataLst>
            </p:nvPr>
          </p:nvGrpSpPr>
          <p:grpSpPr bwMode="auto">
            <a:xfrm>
              <a:off x="6985248" y="4775200"/>
              <a:ext cx="927100" cy="769938"/>
              <a:chOff x="4702" y="2826"/>
              <a:chExt cx="632" cy="48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29" name="Freeform 37"/>
              <p:cNvSpPr>
                <a:spLocks/>
              </p:cNvSpPr>
              <p:nvPr/>
            </p:nvSpPr>
            <p:spPr bwMode="auto">
              <a:xfrm>
                <a:off x="4702" y="2826"/>
                <a:ext cx="632" cy="485"/>
              </a:xfrm>
              <a:custGeom>
                <a:avLst/>
                <a:gdLst>
                  <a:gd name="T0" fmla="*/ 14 w 632"/>
                  <a:gd name="T1" fmla="*/ 1 h 969"/>
                  <a:gd name="T2" fmla="*/ 19 w 632"/>
                  <a:gd name="T3" fmla="*/ 1 h 969"/>
                  <a:gd name="T4" fmla="*/ 14 w 632"/>
                  <a:gd name="T5" fmla="*/ 1 h 969"/>
                  <a:gd name="T6" fmla="*/ 57 w 632"/>
                  <a:gd name="T7" fmla="*/ 1 h 969"/>
                  <a:gd name="T8" fmla="*/ 144 w 632"/>
                  <a:gd name="T9" fmla="*/ 1 h 969"/>
                  <a:gd name="T10" fmla="*/ 151 w 632"/>
                  <a:gd name="T11" fmla="*/ 1 h 969"/>
                  <a:gd name="T12" fmla="*/ 163 w 632"/>
                  <a:gd name="T13" fmla="*/ 1 h 969"/>
                  <a:gd name="T14" fmla="*/ 175 w 632"/>
                  <a:gd name="T15" fmla="*/ 1 h 969"/>
                  <a:gd name="T16" fmla="*/ 226 w 632"/>
                  <a:gd name="T17" fmla="*/ 1 h 969"/>
                  <a:gd name="T18" fmla="*/ 239 w 632"/>
                  <a:gd name="T19" fmla="*/ 1 h 969"/>
                  <a:gd name="T20" fmla="*/ 250 w 632"/>
                  <a:gd name="T21" fmla="*/ 1 h 969"/>
                  <a:gd name="T22" fmla="*/ 308 w 632"/>
                  <a:gd name="T23" fmla="*/ 1 h 969"/>
                  <a:gd name="T24" fmla="*/ 364 w 632"/>
                  <a:gd name="T25" fmla="*/ 1 h 969"/>
                  <a:gd name="T26" fmla="*/ 419 w 632"/>
                  <a:gd name="T27" fmla="*/ 1 h 969"/>
                  <a:gd name="T28" fmla="*/ 445 w 632"/>
                  <a:gd name="T29" fmla="*/ 1 h 969"/>
                  <a:gd name="T30" fmla="*/ 476 w 632"/>
                  <a:gd name="T31" fmla="*/ 1 h 969"/>
                  <a:gd name="T32" fmla="*/ 520 w 632"/>
                  <a:gd name="T33" fmla="*/ 1 h 969"/>
                  <a:gd name="T34" fmla="*/ 570 w 632"/>
                  <a:gd name="T35" fmla="*/ 1 h 969"/>
                  <a:gd name="T36" fmla="*/ 589 w 632"/>
                  <a:gd name="T37" fmla="*/ 1 h 969"/>
                  <a:gd name="T38" fmla="*/ 632 w 632"/>
                  <a:gd name="T39" fmla="*/ 1 h 969"/>
                  <a:gd name="T40" fmla="*/ 594 w 632"/>
                  <a:gd name="T41" fmla="*/ 1 h 969"/>
                  <a:gd name="T42" fmla="*/ 539 w 632"/>
                  <a:gd name="T43" fmla="*/ 1 h 969"/>
                  <a:gd name="T44" fmla="*/ 520 w 632"/>
                  <a:gd name="T45" fmla="*/ 1 h 969"/>
                  <a:gd name="T46" fmla="*/ 476 w 632"/>
                  <a:gd name="T47" fmla="*/ 1 h 969"/>
                  <a:gd name="T48" fmla="*/ 419 w 632"/>
                  <a:gd name="T49" fmla="*/ 1 h 969"/>
                  <a:gd name="T50" fmla="*/ 388 w 632"/>
                  <a:gd name="T51" fmla="*/ 1 h 969"/>
                  <a:gd name="T52" fmla="*/ 383 w 632"/>
                  <a:gd name="T53" fmla="*/ 1 h 969"/>
                  <a:gd name="T54" fmla="*/ 383 w 632"/>
                  <a:gd name="T55" fmla="*/ 1 h 969"/>
                  <a:gd name="T56" fmla="*/ 345 w 632"/>
                  <a:gd name="T57" fmla="*/ 1 h 969"/>
                  <a:gd name="T58" fmla="*/ 282 w 632"/>
                  <a:gd name="T59" fmla="*/ 1 h 969"/>
                  <a:gd name="T60" fmla="*/ 163 w 632"/>
                  <a:gd name="T61" fmla="*/ 1 h 969"/>
                  <a:gd name="T62" fmla="*/ 75 w 632"/>
                  <a:gd name="T63" fmla="*/ 1 h 969"/>
                  <a:gd name="T64" fmla="*/ 45 w 632"/>
                  <a:gd name="T65" fmla="*/ 1 h 96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32" h="969">
                    <a:moveTo>
                      <a:pt x="0" y="501"/>
                    </a:moveTo>
                    <a:lnTo>
                      <a:pt x="14" y="512"/>
                    </a:lnTo>
                    <a:lnTo>
                      <a:pt x="6" y="489"/>
                    </a:lnTo>
                    <a:lnTo>
                      <a:pt x="19" y="501"/>
                    </a:lnTo>
                    <a:lnTo>
                      <a:pt x="6" y="443"/>
                    </a:lnTo>
                    <a:lnTo>
                      <a:pt x="14" y="368"/>
                    </a:lnTo>
                    <a:lnTo>
                      <a:pt x="19" y="389"/>
                    </a:lnTo>
                    <a:lnTo>
                      <a:pt x="57" y="322"/>
                    </a:lnTo>
                    <a:lnTo>
                      <a:pt x="120" y="278"/>
                    </a:lnTo>
                    <a:lnTo>
                      <a:pt x="144" y="234"/>
                    </a:lnTo>
                    <a:lnTo>
                      <a:pt x="144" y="199"/>
                    </a:lnTo>
                    <a:lnTo>
                      <a:pt x="151" y="176"/>
                    </a:lnTo>
                    <a:lnTo>
                      <a:pt x="163" y="211"/>
                    </a:lnTo>
                    <a:lnTo>
                      <a:pt x="163" y="176"/>
                    </a:lnTo>
                    <a:lnTo>
                      <a:pt x="175" y="188"/>
                    </a:lnTo>
                    <a:lnTo>
                      <a:pt x="175" y="155"/>
                    </a:lnTo>
                    <a:lnTo>
                      <a:pt x="201" y="99"/>
                    </a:lnTo>
                    <a:lnTo>
                      <a:pt x="226" y="111"/>
                    </a:lnTo>
                    <a:lnTo>
                      <a:pt x="232" y="155"/>
                    </a:lnTo>
                    <a:lnTo>
                      <a:pt x="239" y="132"/>
                    </a:lnTo>
                    <a:lnTo>
                      <a:pt x="258" y="144"/>
                    </a:lnTo>
                    <a:lnTo>
                      <a:pt x="250" y="111"/>
                    </a:lnTo>
                    <a:lnTo>
                      <a:pt x="270" y="67"/>
                    </a:lnTo>
                    <a:lnTo>
                      <a:pt x="308" y="44"/>
                    </a:lnTo>
                    <a:lnTo>
                      <a:pt x="295" y="9"/>
                    </a:lnTo>
                    <a:lnTo>
                      <a:pt x="364" y="53"/>
                    </a:lnTo>
                    <a:lnTo>
                      <a:pt x="350" y="132"/>
                    </a:lnTo>
                    <a:lnTo>
                      <a:pt x="419" y="222"/>
                    </a:lnTo>
                    <a:lnTo>
                      <a:pt x="438" y="188"/>
                    </a:lnTo>
                    <a:lnTo>
                      <a:pt x="445" y="44"/>
                    </a:lnTo>
                    <a:lnTo>
                      <a:pt x="464" y="0"/>
                    </a:lnTo>
                    <a:lnTo>
                      <a:pt x="476" y="111"/>
                    </a:lnTo>
                    <a:lnTo>
                      <a:pt x="502" y="132"/>
                    </a:lnTo>
                    <a:lnTo>
                      <a:pt x="520" y="266"/>
                    </a:lnTo>
                    <a:lnTo>
                      <a:pt x="558" y="311"/>
                    </a:lnTo>
                    <a:lnTo>
                      <a:pt x="570" y="389"/>
                    </a:lnTo>
                    <a:lnTo>
                      <a:pt x="583" y="378"/>
                    </a:lnTo>
                    <a:lnTo>
                      <a:pt x="589" y="422"/>
                    </a:lnTo>
                    <a:lnTo>
                      <a:pt x="620" y="478"/>
                    </a:lnTo>
                    <a:lnTo>
                      <a:pt x="632" y="580"/>
                    </a:lnTo>
                    <a:lnTo>
                      <a:pt x="620" y="679"/>
                    </a:lnTo>
                    <a:lnTo>
                      <a:pt x="594" y="768"/>
                    </a:lnTo>
                    <a:lnTo>
                      <a:pt x="576" y="912"/>
                    </a:lnTo>
                    <a:lnTo>
                      <a:pt x="539" y="925"/>
                    </a:lnTo>
                    <a:lnTo>
                      <a:pt x="520" y="946"/>
                    </a:lnTo>
                    <a:lnTo>
                      <a:pt x="520" y="969"/>
                    </a:lnTo>
                    <a:lnTo>
                      <a:pt x="495" y="912"/>
                    </a:lnTo>
                    <a:lnTo>
                      <a:pt x="476" y="958"/>
                    </a:lnTo>
                    <a:lnTo>
                      <a:pt x="445" y="935"/>
                    </a:lnTo>
                    <a:lnTo>
                      <a:pt x="419" y="902"/>
                    </a:lnTo>
                    <a:lnTo>
                      <a:pt x="407" y="823"/>
                    </a:lnTo>
                    <a:lnTo>
                      <a:pt x="388" y="835"/>
                    </a:lnTo>
                    <a:lnTo>
                      <a:pt x="388" y="789"/>
                    </a:lnTo>
                    <a:lnTo>
                      <a:pt x="383" y="823"/>
                    </a:lnTo>
                    <a:lnTo>
                      <a:pt x="369" y="823"/>
                    </a:lnTo>
                    <a:lnTo>
                      <a:pt x="383" y="724"/>
                    </a:lnTo>
                    <a:lnTo>
                      <a:pt x="358" y="812"/>
                    </a:lnTo>
                    <a:lnTo>
                      <a:pt x="345" y="802"/>
                    </a:lnTo>
                    <a:lnTo>
                      <a:pt x="332" y="724"/>
                    </a:lnTo>
                    <a:lnTo>
                      <a:pt x="282" y="689"/>
                    </a:lnTo>
                    <a:lnTo>
                      <a:pt x="201" y="724"/>
                    </a:lnTo>
                    <a:lnTo>
                      <a:pt x="163" y="768"/>
                    </a:lnTo>
                    <a:lnTo>
                      <a:pt x="107" y="779"/>
                    </a:lnTo>
                    <a:lnTo>
                      <a:pt x="75" y="823"/>
                    </a:lnTo>
                    <a:lnTo>
                      <a:pt x="32" y="789"/>
                    </a:lnTo>
                    <a:lnTo>
                      <a:pt x="45" y="689"/>
                    </a:lnTo>
                    <a:lnTo>
                      <a:pt x="0" y="501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30" name="Freeform 38"/>
              <p:cNvSpPr>
                <a:spLocks/>
              </p:cNvSpPr>
              <p:nvPr/>
            </p:nvSpPr>
            <p:spPr bwMode="auto">
              <a:xfrm>
                <a:off x="4702" y="2826"/>
                <a:ext cx="632" cy="485"/>
              </a:xfrm>
              <a:custGeom>
                <a:avLst/>
                <a:gdLst>
                  <a:gd name="T0" fmla="*/ 14 w 632"/>
                  <a:gd name="T1" fmla="*/ 1 h 969"/>
                  <a:gd name="T2" fmla="*/ 19 w 632"/>
                  <a:gd name="T3" fmla="*/ 1 h 969"/>
                  <a:gd name="T4" fmla="*/ 14 w 632"/>
                  <a:gd name="T5" fmla="*/ 1 h 969"/>
                  <a:gd name="T6" fmla="*/ 57 w 632"/>
                  <a:gd name="T7" fmla="*/ 1 h 969"/>
                  <a:gd name="T8" fmla="*/ 144 w 632"/>
                  <a:gd name="T9" fmla="*/ 1 h 969"/>
                  <a:gd name="T10" fmla="*/ 151 w 632"/>
                  <a:gd name="T11" fmla="*/ 1 h 969"/>
                  <a:gd name="T12" fmla="*/ 163 w 632"/>
                  <a:gd name="T13" fmla="*/ 1 h 969"/>
                  <a:gd name="T14" fmla="*/ 175 w 632"/>
                  <a:gd name="T15" fmla="*/ 1 h 969"/>
                  <a:gd name="T16" fmla="*/ 226 w 632"/>
                  <a:gd name="T17" fmla="*/ 1 h 969"/>
                  <a:gd name="T18" fmla="*/ 239 w 632"/>
                  <a:gd name="T19" fmla="*/ 1 h 969"/>
                  <a:gd name="T20" fmla="*/ 250 w 632"/>
                  <a:gd name="T21" fmla="*/ 1 h 969"/>
                  <a:gd name="T22" fmla="*/ 308 w 632"/>
                  <a:gd name="T23" fmla="*/ 1 h 969"/>
                  <a:gd name="T24" fmla="*/ 364 w 632"/>
                  <a:gd name="T25" fmla="*/ 1 h 969"/>
                  <a:gd name="T26" fmla="*/ 419 w 632"/>
                  <a:gd name="T27" fmla="*/ 1 h 969"/>
                  <a:gd name="T28" fmla="*/ 445 w 632"/>
                  <a:gd name="T29" fmla="*/ 1 h 969"/>
                  <a:gd name="T30" fmla="*/ 476 w 632"/>
                  <a:gd name="T31" fmla="*/ 1 h 969"/>
                  <a:gd name="T32" fmla="*/ 520 w 632"/>
                  <a:gd name="T33" fmla="*/ 1 h 969"/>
                  <a:gd name="T34" fmla="*/ 570 w 632"/>
                  <a:gd name="T35" fmla="*/ 1 h 969"/>
                  <a:gd name="T36" fmla="*/ 589 w 632"/>
                  <a:gd name="T37" fmla="*/ 1 h 969"/>
                  <a:gd name="T38" fmla="*/ 632 w 632"/>
                  <a:gd name="T39" fmla="*/ 1 h 969"/>
                  <a:gd name="T40" fmla="*/ 594 w 632"/>
                  <a:gd name="T41" fmla="*/ 1 h 969"/>
                  <a:gd name="T42" fmla="*/ 539 w 632"/>
                  <a:gd name="T43" fmla="*/ 1 h 969"/>
                  <a:gd name="T44" fmla="*/ 520 w 632"/>
                  <a:gd name="T45" fmla="*/ 1 h 969"/>
                  <a:gd name="T46" fmla="*/ 476 w 632"/>
                  <a:gd name="T47" fmla="*/ 1 h 969"/>
                  <a:gd name="T48" fmla="*/ 419 w 632"/>
                  <a:gd name="T49" fmla="*/ 1 h 969"/>
                  <a:gd name="T50" fmla="*/ 388 w 632"/>
                  <a:gd name="T51" fmla="*/ 1 h 969"/>
                  <a:gd name="T52" fmla="*/ 383 w 632"/>
                  <a:gd name="T53" fmla="*/ 1 h 969"/>
                  <a:gd name="T54" fmla="*/ 383 w 632"/>
                  <a:gd name="T55" fmla="*/ 1 h 969"/>
                  <a:gd name="T56" fmla="*/ 345 w 632"/>
                  <a:gd name="T57" fmla="*/ 1 h 969"/>
                  <a:gd name="T58" fmla="*/ 282 w 632"/>
                  <a:gd name="T59" fmla="*/ 1 h 969"/>
                  <a:gd name="T60" fmla="*/ 163 w 632"/>
                  <a:gd name="T61" fmla="*/ 1 h 969"/>
                  <a:gd name="T62" fmla="*/ 75 w 632"/>
                  <a:gd name="T63" fmla="*/ 1 h 969"/>
                  <a:gd name="T64" fmla="*/ 45 w 632"/>
                  <a:gd name="T65" fmla="*/ 1 h 96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32" h="969">
                    <a:moveTo>
                      <a:pt x="0" y="501"/>
                    </a:moveTo>
                    <a:lnTo>
                      <a:pt x="14" y="512"/>
                    </a:lnTo>
                    <a:lnTo>
                      <a:pt x="6" y="489"/>
                    </a:lnTo>
                    <a:lnTo>
                      <a:pt x="19" y="501"/>
                    </a:lnTo>
                    <a:lnTo>
                      <a:pt x="6" y="443"/>
                    </a:lnTo>
                    <a:lnTo>
                      <a:pt x="14" y="368"/>
                    </a:lnTo>
                    <a:lnTo>
                      <a:pt x="19" y="389"/>
                    </a:lnTo>
                    <a:lnTo>
                      <a:pt x="57" y="322"/>
                    </a:lnTo>
                    <a:lnTo>
                      <a:pt x="120" y="278"/>
                    </a:lnTo>
                    <a:lnTo>
                      <a:pt x="144" y="234"/>
                    </a:lnTo>
                    <a:lnTo>
                      <a:pt x="144" y="199"/>
                    </a:lnTo>
                    <a:lnTo>
                      <a:pt x="151" y="176"/>
                    </a:lnTo>
                    <a:lnTo>
                      <a:pt x="163" y="211"/>
                    </a:lnTo>
                    <a:lnTo>
                      <a:pt x="163" y="176"/>
                    </a:lnTo>
                    <a:lnTo>
                      <a:pt x="175" y="188"/>
                    </a:lnTo>
                    <a:lnTo>
                      <a:pt x="175" y="155"/>
                    </a:lnTo>
                    <a:lnTo>
                      <a:pt x="201" y="99"/>
                    </a:lnTo>
                    <a:lnTo>
                      <a:pt x="226" y="111"/>
                    </a:lnTo>
                    <a:lnTo>
                      <a:pt x="232" y="155"/>
                    </a:lnTo>
                    <a:lnTo>
                      <a:pt x="239" y="132"/>
                    </a:lnTo>
                    <a:lnTo>
                      <a:pt x="258" y="144"/>
                    </a:lnTo>
                    <a:lnTo>
                      <a:pt x="250" y="111"/>
                    </a:lnTo>
                    <a:lnTo>
                      <a:pt x="270" y="67"/>
                    </a:lnTo>
                    <a:lnTo>
                      <a:pt x="308" y="44"/>
                    </a:lnTo>
                    <a:lnTo>
                      <a:pt x="295" y="9"/>
                    </a:lnTo>
                    <a:lnTo>
                      <a:pt x="364" y="53"/>
                    </a:lnTo>
                    <a:lnTo>
                      <a:pt x="350" y="132"/>
                    </a:lnTo>
                    <a:lnTo>
                      <a:pt x="419" y="222"/>
                    </a:lnTo>
                    <a:lnTo>
                      <a:pt x="438" y="188"/>
                    </a:lnTo>
                    <a:lnTo>
                      <a:pt x="445" y="44"/>
                    </a:lnTo>
                    <a:lnTo>
                      <a:pt x="464" y="0"/>
                    </a:lnTo>
                    <a:lnTo>
                      <a:pt x="476" y="111"/>
                    </a:lnTo>
                    <a:lnTo>
                      <a:pt x="502" y="132"/>
                    </a:lnTo>
                    <a:lnTo>
                      <a:pt x="520" y="266"/>
                    </a:lnTo>
                    <a:lnTo>
                      <a:pt x="558" y="311"/>
                    </a:lnTo>
                    <a:lnTo>
                      <a:pt x="570" y="389"/>
                    </a:lnTo>
                    <a:lnTo>
                      <a:pt x="583" y="378"/>
                    </a:lnTo>
                    <a:lnTo>
                      <a:pt x="589" y="422"/>
                    </a:lnTo>
                    <a:lnTo>
                      <a:pt x="620" y="478"/>
                    </a:lnTo>
                    <a:lnTo>
                      <a:pt x="632" y="580"/>
                    </a:lnTo>
                    <a:lnTo>
                      <a:pt x="620" y="679"/>
                    </a:lnTo>
                    <a:lnTo>
                      <a:pt x="594" y="768"/>
                    </a:lnTo>
                    <a:lnTo>
                      <a:pt x="576" y="912"/>
                    </a:lnTo>
                    <a:lnTo>
                      <a:pt x="539" y="925"/>
                    </a:lnTo>
                    <a:lnTo>
                      <a:pt x="520" y="946"/>
                    </a:lnTo>
                    <a:lnTo>
                      <a:pt x="520" y="969"/>
                    </a:lnTo>
                    <a:lnTo>
                      <a:pt x="495" y="912"/>
                    </a:lnTo>
                    <a:lnTo>
                      <a:pt x="476" y="958"/>
                    </a:lnTo>
                    <a:lnTo>
                      <a:pt x="445" y="935"/>
                    </a:lnTo>
                    <a:lnTo>
                      <a:pt x="419" y="902"/>
                    </a:lnTo>
                    <a:lnTo>
                      <a:pt x="407" y="823"/>
                    </a:lnTo>
                    <a:lnTo>
                      <a:pt x="388" y="835"/>
                    </a:lnTo>
                    <a:lnTo>
                      <a:pt x="388" y="789"/>
                    </a:lnTo>
                    <a:lnTo>
                      <a:pt x="383" y="823"/>
                    </a:lnTo>
                    <a:lnTo>
                      <a:pt x="369" y="823"/>
                    </a:lnTo>
                    <a:lnTo>
                      <a:pt x="383" y="724"/>
                    </a:lnTo>
                    <a:lnTo>
                      <a:pt x="358" y="812"/>
                    </a:lnTo>
                    <a:lnTo>
                      <a:pt x="345" y="802"/>
                    </a:lnTo>
                    <a:lnTo>
                      <a:pt x="332" y="724"/>
                    </a:lnTo>
                    <a:lnTo>
                      <a:pt x="282" y="689"/>
                    </a:lnTo>
                    <a:lnTo>
                      <a:pt x="201" y="724"/>
                    </a:lnTo>
                    <a:lnTo>
                      <a:pt x="163" y="768"/>
                    </a:lnTo>
                    <a:lnTo>
                      <a:pt x="107" y="779"/>
                    </a:lnTo>
                    <a:lnTo>
                      <a:pt x="75" y="823"/>
                    </a:lnTo>
                    <a:lnTo>
                      <a:pt x="32" y="789"/>
                    </a:lnTo>
                    <a:lnTo>
                      <a:pt x="45" y="689"/>
                    </a:lnTo>
                    <a:lnTo>
                      <a:pt x="0" y="501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5" name="Freeform 39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7710736" y="5589588"/>
              <a:ext cx="71437" cy="87312"/>
            </a:xfrm>
            <a:custGeom>
              <a:avLst/>
              <a:gdLst>
                <a:gd name="T0" fmla="*/ 0 w 49"/>
                <a:gd name="T1" fmla="*/ 2147483647 h 112"/>
                <a:gd name="T2" fmla="*/ 0 w 49"/>
                <a:gd name="T3" fmla="*/ 0 h 112"/>
                <a:gd name="T4" fmla="*/ 2147483647 w 49"/>
                <a:gd name="T5" fmla="*/ 2147483647 h 112"/>
                <a:gd name="T6" fmla="*/ 2147483647 w 49"/>
                <a:gd name="T7" fmla="*/ 0 h 112"/>
                <a:gd name="T8" fmla="*/ 2147483647 w 49"/>
                <a:gd name="T9" fmla="*/ 2147483647 h 112"/>
                <a:gd name="T10" fmla="*/ 2147483647 w 49"/>
                <a:gd name="T11" fmla="*/ 2147483647 h 112"/>
                <a:gd name="T12" fmla="*/ 2147483647 w 49"/>
                <a:gd name="T13" fmla="*/ 2147483647 h 112"/>
                <a:gd name="T14" fmla="*/ 2147483647 w 49"/>
                <a:gd name="T15" fmla="*/ 2147483647 h 112"/>
                <a:gd name="T16" fmla="*/ 0 w 49"/>
                <a:gd name="T17" fmla="*/ 2147483647 h 1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112">
                  <a:moveTo>
                    <a:pt x="0" y="21"/>
                  </a:moveTo>
                  <a:lnTo>
                    <a:pt x="0" y="0"/>
                  </a:lnTo>
                  <a:lnTo>
                    <a:pt x="24" y="12"/>
                  </a:lnTo>
                  <a:lnTo>
                    <a:pt x="49" y="0"/>
                  </a:lnTo>
                  <a:lnTo>
                    <a:pt x="49" y="21"/>
                  </a:lnTo>
                  <a:lnTo>
                    <a:pt x="49" y="56"/>
                  </a:lnTo>
                  <a:lnTo>
                    <a:pt x="31" y="112"/>
                  </a:lnTo>
                  <a:lnTo>
                    <a:pt x="19" y="10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6" name="Group 40"/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7710736" y="5589588"/>
              <a:ext cx="71437" cy="87312"/>
              <a:chOff x="5197" y="3339"/>
              <a:chExt cx="49" cy="5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27" name="Freeform 41"/>
              <p:cNvSpPr>
                <a:spLocks/>
              </p:cNvSpPr>
              <p:nvPr/>
            </p:nvSpPr>
            <p:spPr bwMode="auto">
              <a:xfrm>
                <a:off x="5197" y="3339"/>
                <a:ext cx="49" cy="55"/>
              </a:xfrm>
              <a:custGeom>
                <a:avLst/>
                <a:gdLst>
                  <a:gd name="T0" fmla="*/ 0 w 49"/>
                  <a:gd name="T1" fmla="*/ 0 h 112"/>
                  <a:gd name="T2" fmla="*/ 0 w 49"/>
                  <a:gd name="T3" fmla="*/ 0 h 112"/>
                  <a:gd name="T4" fmla="*/ 24 w 49"/>
                  <a:gd name="T5" fmla="*/ 0 h 112"/>
                  <a:gd name="T6" fmla="*/ 49 w 49"/>
                  <a:gd name="T7" fmla="*/ 0 h 112"/>
                  <a:gd name="T8" fmla="*/ 49 w 49"/>
                  <a:gd name="T9" fmla="*/ 0 h 112"/>
                  <a:gd name="T10" fmla="*/ 49 w 49"/>
                  <a:gd name="T11" fmla="*/ 0 h 112"/>
                  <a:gd name="T12" fmla="*/ 31 w 49"/>
                  <a:gd name="T13" fmla="*/ 0 h 112"/>
                  <a:gd name="T14" fmla="*/ 19 w 49"/>
                  <a:gd name="T15" fmla="*/ 0 h 112"/>
                  <a:gd name="T16" fmla="*/ 0 w 49"/>
                  <a:gd name="T17" fmla="*/ 0 h 1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112">
                    <a:moveTo>
                      <a:pt x="0" y="21"/>
                    </a:moveTo>
                    <a:lnTo>
                      <a:pt x="0" y="0"/>
                    </a:lnTo>
                    <a:lnTo>
                      <a:pt x="24" y="12"/>
                    </a:lnTo>
                    <a:lnTo>
                      <a:pt x="49" y="0"/>
                    </a:lnTo>
                    <a:lnTo>
                      <a:pt x="49" y="21"/>
                    </a:lnTo>
                    <a:lnTo>
                      <a:pt x="49" y="56"/>
                    </a:lnTo>
                    <a:lnTo>
                      <a:pt x="31" y="112"/>
                    </a:lnTo>
                    <a:lnTo>
                      <a:pt x="19" y="10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28" name="Freeform 42"/>
              <p:cNvSpPr>
                <a:spLocks/>
              </p:cNvSpPr>
              <p:nvPr/>
            </p:nvSpPr>
            <p:spPr bwMode="auto">
              <a:xfrm>
                <a:off x="5197" y="3339"/>
                <a:ext cx="49" cy="55"/>
              </a:xfrm>
              <a:custGeom>
                <a:avLst/>
                <a:gdLst>
                  <a:gd name="T0" fmla="*/ 0 w 49"/>
                  <a:gd name="T1" fmla="*/ 0 h 112"/>
                  <a:gd name="T2" fmla="*/ 0 w 49"/>
                  <a:gd name="T3" fmla="*/ 0 h 112"/>
                  <a:gd name="T4" fmla="*/ 24 w 49"/>
                  <a:gd name="T5" fmla="*/ 0 h 112"/>
                  <a:gd name="T6" fmla="*/ 49 w 49"/>
                  <a:gd name="T7" fmla="*/ 0 h 112"/>
                  <a:gd name="T8" fmla="*/ 49 w 49"/>
                  <a:gd name="T9" fmla="*/ 0 h 112"/>
                  <a:gd name="T10" fmla="*/ 49 w 49"/>
                  <a:gd name="T11" fmla="*/ 0 h 112"/>
                  <a:gd name="T12" fmla="*/ 31 w 49"/>
                  <a:gd name="T13" fmla="*/ 0 h 112"/>
                  <a:gd name="T14" fmla="*/ 19 w 49"/>
                  <a:gd name="T15" fmla="*/ 0 h 112"/>
                  <a:gd name="T16" fmla="*/ 0 w 49"/>
                  <a:gd name="T17" fmla="*/ 0 h 1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112">
                    <a:moveTo>
                      <a:pt x="0" y="21"/>
                    </a:moveTo>
                    <a:lnTo>
                      <a:pt x="0" y="0"/>
                    </a:lnTo>
                    <a:lnTo>
                      <a:pt x="24" y="12"/>
                    </a:lnTo>
                    <a:lnTo>
                      <a:pt x="49" y="0"/>
                    </a:lnTo>
                    <a:lnTo>
                      <a:pt x="49" y="21"/>
                    </a:lnTo>
                    <a:lnTo>
                      <a:pt x="49" y="56"/>
                    </a:lnTo>
                    <a:lnTo>
                      <a:pt x="31" y="112"/>
                    </a:lnTo>
                    <a:lnTo>
                      <a:pt x="19" y="100"/>
                    </a:lnTo>
                    <a:lnTo>
                      <a:pt x="0" y="21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7" name="Freeform 43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7710736" y="5589588"/>
              <a:ext cx="71437" cy="87312"/>
            </a:xfrm>
            <a:custGeom>
              <a:avLst/>
              <a:gdLst>
                <a:gd name="T0" fmla="*/ 0 w 49"/>
                <a:gd name="T1" fmla="*/ 2147483647 h 112"/>
                <a:gd name="T2" fmla="*/ 0 w 49"/>
                <a:gd name="T3" fmla="*/ 0 h 112"/>
                <a:gd name="T4" fmla="*/ 2147483647 w 49"/>
                <a:gd name="T5" fmla="*/ 2147483647 h 112"/>
                <a:gd name="T6" fmla="*/ 2147483647 w 49"/>
                <a:gd name="T7" fmla="*/ 0 h 112"/>
                <a:gd name="T8" fmla="*/ 2147483647 w 49"/>
                <a:gd name="T9" fmla="*/ 2147483647 h 112"/>
                <a:gd name="T10" fmla="*/ 2147483647 w 49"/>
                <a:gd name="T11" fmla="*/ 2147483647 h 112"/>
                <a:gd name="T12" fmla="*/ 2147483647 w 49"/>
                <a:gd name="T13" fmla="*/ 2147483647 h 112"/>
                <a:gd name="T14" fmla="*/ 2147483647 w 49"/>
                <a:gd name="T15" fmla="*/ 2147483647 h 112"/>
                <a:gd name="T16" fmla="*/ 0 w 49"/>
                <a:gd name="T17" fmla="*/ 2147483647 h 1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112">
                  <a:moveTo>
                    <a:pt x="0" y="21"/>
                  </a:moveTo>
                  <a:lnTo>
                    <a:pt x="0" y="0"/>
                  </a:lnTo>
                  <a:lnTo>
                    <a:pt x="24" y="12"/>
                  </a:lnTo>
                  <a:lnTo>
                    <a:pt x="49" y="0"/>
                  </a:lnTo>
                  <a:lnTo>
                    <a:pt x="49" y="21"/>
                  </a:lnTo>
                  <a:lnTo>
                    <a:pt x="49" y="56"/>
                  </a:lnTo>
                  <a:lnTo>
                    <a:pt x="31" y="112"/>
                  </a:lnTo>
                  <a:lnTo>
                    <a:pt x="19" y="10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8" name="Group 44"/>
            <p:cNvGrpSpPr>
              <a:grpSpLocks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7710736" y="5589588"/>
              <a:ext cx="71437" cy="87312"/>
              <a:chOff x="5197" y="3339"/>
              <a:chExt cx="49" cy="5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25" name="Freeform 45"/>
              <p:cNvSpPr>
                <a:spLocks/>
              </p:cNvSpPr>
              <p:nvPr/>
            </p:nvSpPr>
            <p:spPr bwMode="auto">
              <a:xfrm>
                <a:off x="5197" y="3339"/>
                <a:ext cx="49" cy="55"/>
              </a:xfrm>
              <a:custGeom>
                <a:avLst/>
                <a:gdLst>
                  <a:gd name="T0" fmla="*/ 0 w 49"/>
                  <a:gd name="T1" fmla="*/ 0 h 112"/>
                  <a:gd name="T2" fmla="*/ 0 w 49"/>
                  <a:gd name="T3" fmla="*/ 0 h 112"/>
                  <a:gd name="T4" fmla="*/ 24 w 49"/>
                  <a:gd name="T5" fmla="*/ 0 h 112"/>
                  <a:gd name="T6" fmla="*/ 49 w 49"/>
                  <a:gd name="T7" fmla="*/ 0 h 112"/>
                  <a:gd name="T8" fmla="*/ 49 w 49"/>
                  <a:gd name="T9" fmla="*/ 0 h 112"/>
                  <a:gd name="T10" fmla="*/ 49 w 49"/>
                  <a:gd name="T11" fmla="*/ 0 h 112"/>
                  <a:gd name="T12" fmla="*/ 31 w 49"/>
                  <a:gd name="T13" fmla="*/ 0 h 112"/>
                  <a:gd name="T14" fmla="*/ 19 w 49"/>
                  <a:gd name="T15" fmla="*/ 0 h 112"/>
                  <a:gd name="T16" fmla="*/ 0 w 49"/>
                  <a:gd name="T17" fmla="*/ 0 h 1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112">
                    <a:moveTo>
                      <a:pt x="0" y="21"/>
                    </a:moveTo>
                    <a:lnTo>
                      <a:pt x="0" y="0"/>
                    </a:lnTo>
                    <a:lnTo>
                      <a:pt x="24" y="12"/>
                    </a:lnTo>
                    <a:lnTo>
                      <a:pt x="49" y="0"/>
                    </a:lnTo>
                    <a:lnTo>
                      <a:pt x="49" y="21"/>
                    </a:lnTo>
                    <a:lnTo>
                      <a:pt x="49" y="56"/>
                    </a:lnTo>
                    <a:lnTo>
                      <a:pt x="31" y="112"/>
                    </a:lnTo>
                    <a:lnTo>
                      <a:pt x="19" y="10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26" name="Freeform 46"/>
              <p:cNvSpPr>
                <a:spLocks/>
              </p:cNvSpPr>
              <p:nvPr/>
            </p:nvSpPr>
            <p:spPr bwMode="auto">
              <a:xfrm>
                <a:off x="5197" y="3339"/>
                <a:ext cx="49" cy="55"/>
              </a:xfrm>
              <a:custGeom>
                <a:avLst/>
                <a:gdLst>
                  <a:gd name="T0" fmla="*/ 0 w 49"/>
                  <a:gd name="T1" fmla="*/ 0 h 112"/>
                  <a:gd name="T2" fmla="*/ 0 w 49"/>
                  <a:gd name="T3" fmla="*/ 0 h 112"/>
                  <a:gd name="T4" fmla="*/ 24 w 49"/>
                  <a:gd name="T5" fmla="*/ 0 h 112"/>
                  <a:gd name="T6" fmla="*/ 49 w 49"/>
                  <a:gd name="T7" fmla="*/ 0 h 112"/>
                  <a:gd name="T8" fmla="*/ 49 w 49"/>
                  <a:gd name="T9" fmla="*/ 0 h 112"/>
                  <a:gd name="T10" fmla="*/ 49 w 49"/>
                  <a:gd name="T11" fmla="*/ 0 h 112"/>
                  <a:gd name="T12" fmla="*/ 31 w 49"/>
                  <a:gd name="T13" fmla="*/ 0 h 112"/>
                  <a:gd name="T14" fmla="*/ 19 w 49"/>
                  <a:gd name="T15" fmla="*/ 0 h 112"/>
                  <a:gd name="T16" fmla="*/ 0 w 49"/>
                  <a:gd name="T17" fmla="*/ 0 h 1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112">
                    <a:moveTo>
                      <a:pt x="0" y="21"/>
                    </a:moveTo>
                    <a:lnTo>
                      <a:pt x="0" y="0"/>
                    </a:lnTo>
                    <a:lnTo>
                      <a:pt x="24" y="12"/>
                    </a:lnTo>
                    <a:lnTo>
                      <a:pt x="49" y="0"/>
                    </a:lnTo>
                    <a:lnTo>
                      <a:pt x="49" y="21"/>
                    </a:lnTo>
                    <a:lnTo>
                      <a:pt x="49" y="56"/>
                    </a:lnTo>
                    <a:lnTo>
                      <a:pt x="31" y="112"/>
                    </a:lnTo>
                    <a:lnTo>
                      <a:pt x="19" y="100"/>
                    </a:lnTo>
                    <a:lnTo>
                      <a:pt x="0" y="21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9" name="Freeform 47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4621461" y="3157538"/>
              <a:ext cx="174625" cy="71437"/>
            </a:xfrm>
            <a:custGeom>
              <a:avLst/>
              <a:gdLst>
                <a:gd name="T0" fmla="*/ 0 w 119"/>
                <a:gd name="T1" fmla="*/ 2147483647 h 90"/>
                <a:gd name="T2" fmla="*/ 2147483647 w 119"/>
                <a:gd name="T3" fmla="*/ 2147483647 h 90"/>
                <a:gd name="T4" fmla="*/ 2147483647 w 119"/>
                <a:gd name="T5" fmla="*/ 2147483647 h 90"/>
                <a:gd name="T6" fmla="*/ 2147483647 w 119"/>
                <a:gd name="T7" fmla="*/ 2147483647 h 90"/>
                <a:gd name="T8" fmla="*/ 2147483647 w 119"/>
                <a:gd name="T9" fmla="*/ 2147483647 h 90"/>
                <a:gd name="T10" fmla="*/ 2147483647 w 119"/>
                <a:gd name="T11" fmla="*/ 2147483647 h 90"/>
                <a:gd name="T12" fmla="*/ 2147483647 w 119"/>
                <a:gd name="T13" fmla="*/ 2147483647 h 90"/>
                <a:gd name="T14" fmla="*/ 2147483647 w 119"/>
                <a:gd name="T15" fmla="*/ 2147483647 h 90"/>
                <a:gd name="T16" fmla="*/ 2147483647 w 119"/>
                <a:gd name="T17" fmla="*/ 0 h 90"/>
                <a:gd name="T18" fmla="*/ 2147483647 w 119"/>
                <a:gd name="T19" fmla="*/ 0 h 90"/>
                <a:gd name="T20" fmla="*/ 2147483647 w 119"/>
                <a:gd name="T21" fmla="*/ 2147483647 h 90"/>
                <a:gd name="T22" fmla="*/ 0 w 119"/>
                <a:gd name="T23" fmla="*/ 2147483647 h 9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19" h="90">
                  <a:moveTo>
                    <a:pt x="0" y="56"/>
                  </a:moveTo>
                  <a:lnTo>
                    <a:pt x="5" y="56"/>
                  </a:lnTo>
                  <a:lnTo>
                    <a:pt x="5" y="79"/>
                  </a:lnTo>
                  <a:lnTo>
                    <a:pt x="18" y="79"/>
                  </a:lnTo>
                  <a:lnTo>
                    <a:pt x="37" y="67"/>
                  </a:lnTo>
                  <a:lnTo>
                    <a:pt x="69" y="90"/>
                  </a:lnTo>
                  <a:lnTo>
                    <a:pt x="106" y="79"/>
                  </a:lnTo>
                  <a:lnTo>
                    <a:pt x="119" y="23"/>
                  </a:lnTo>
                  <a:lnTo>
                    <a:pt x="111" y="0"/>
                  </a:lnTo>
                  <a:lnTo>
                    <a:pt x="69" y="0"/>
                  </a:lnTo>
                  <a:lnTo>
                    <a:pt x="50" y="5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0" name="Group 48"/>
            <p:cNvGrpSpPr>
              <a:grpSpLocks/>
            </p:cNvGrpSpPr>
            <p:nvPr>
              <p:custDataLst>
                <p:tags r:id="rId34"/>
              </p:custDataLst>
            </p:nvPr>
          </p:nvGrpSpPr>
          <p:grpSpPr bwMode="auto">
            <a:xfrm>
              <a:off x="4621461" y="3157538"/>
              <a:ext cx="174625" cy="71437"/>
              <a:chOff x="3089" y="1807"/>
              <a:chExt cx="119" cy="4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23" name="Freeform 49"/>
              <p:cNvSpPr>
                <a:spLocks/>
              </p:cNvSpPr>
              <p:nvPr/>
            </p:nvSpPr>
            <p:spPr bwMode="auto">
              <a:xfrm>
                <a:off x="3089" y="1807"/>
                <a:ext cx="119" cy="45"/>
              </a:xfrm>
              <a:custGeom>
                <a:avLst/>
                <a:gdLst>
                  <a:gd name="T0" fmla="*/ 0 w 119"/>
                  <a:gd name="T1" fmla="*/ 1 h 90"/>
                  <a:gd name="T2" fmla="*/ 5 w 119"/>
                  <a:gd name="T3" fmla="*/ 1 h 90"/>
                  <a:gd name="T4" fmla="*/ 5 w 119"/>
                  <a:gd name="T5" fmla="*/ 1 h 90"/>
                  <a:gd name="T6" fmla="*/ 18 w 119"/>
                  <a:gd name="T7" fmla="*/ 1 h 90"/>
                  <a:gd name="T8" fmla="*/ 37 w 119"/>
                  <a:gd name="T9" fmla="*/ 1 h 90"/>
                  <a:gd name="T10" fmla="*/ 69 w 119"/>
                  <a:gd name="T11" fmla="*/ 1 h 90"/>
                  <a:gd name="T12" fmla="*/ 106 w 119"/>
                  <a:gd name="T13" fmla="*/ 1 h 90"/>
                  <a:gd name="T14" fmla="*/ 119 w 119"/>
                  <a:gd name="T15" fmla="*/ 1 h 90"/>
                  <a:gd name="T16" fmla="*/ 111 w 119"/>
                  <a:gd name="T17" fmla="*/ 0 h 90"/>
                  <a:gd name="T18" fmla="*/ 69 w 119"/>
                  <a:gd name="T19" fmla="*/ 0 h 90"/>
                  <a:gd name="T20" fmla="*/ 50 w 119"/>
                  <a:gd name="T21" fmla="*/ 1 h 90"/>
                  <a:gd name="T22" fmla="*/ 0 w 119"/>
                  <a:gd name="T23" fmla="*/ 1 h 9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19" h="90">
                    <a:moveTo>
                      <a:pt x="0" y="56"/>
                    </a:moveTo>
                    <a:lnTo>
                      <a:pt x="5" y="56"/>
                    </a:lnTo>
                    <a:lnTo>
                      <a:pt x="5" y="79"/>
                    </a:lnTo>
                    <a:lnTo>
                      <a:pt x="18" y="79"/>
                    </a:lnTo>
                    <a:lnTo>
                      <a:pt x="37" y="67"/>
                    </a:lnTo>
                    <a:lnTo>
                      <a:pt x="69" y="90"/>
                    </a:lnTo>
                    <a:lnTo>
                      <a:pt x="106" y="79"/>
                    </a:lnTo>
                    <a:lnTo>
                      <a:pt x="119" y="23"/>
                    </a:lnTo>
                    <a:lnTo>
                      <a:pt x="111" y="0"/>
                    </a:lnTo>
                    <a:lnTo>
                      <a:pt x="69" y="0"/>
                    </a:lnTo>
                    <a:lnTo>
                      <a:pt x="50" y="56"/>
                    </a:lnTo>
                    <a:lnTo>
                      <a:pt x="0" y="56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24" name="Freeform 50"/>
              <p:cNvSpPr>
                <a:spLocks/>
              </p:cNvSpPr>
              <p:nvPr/>
            </p:nvSpPr>
            <p:spPr bwMode="auto">
              <a:xfrm>
                <a:off x="3089" y="1807"/>
                <a:ext cx="119" cy="45"/>
              </a:xfrm>
              <a:custGeom>
                <a:avLst/>
                <a:gdLst>
                  <a:gd name="T0" fmla="*/ 0 w 119"/>
                  <a:gd name="T1" fmla="*/ 1 h 90"/>
                  <a:gd name="T2" fmla="*/ 5 w 119"/>
                  <a:gd name="T3" fmla="*/ 1 h 90"/>
                  <a:gd name="T4" fmla="*/ 5 w 119"/>
                  <a:gd name="T5" fmla="*/ 1 h 90"/>
                  <a:gd name="T6" fmla="*/ 18 w 119"/>
                  <a:gd name="T7" fmla="*/ 1 h 90"/>
                  <a:gd name="T8" fmla="*/ 37 w 119"/>
                  <a:gd name="T9" fmla="*/ 1 h 90"/>
                  <a:gd name="T10" fmla="*/ 69 w 119"/>
                  <a:gd name="T11" fmla="*/ 1 h 90"/>
                  <a:gd name="T12" fmla="*/ 106 w 119"/>
                  <a:gd name="T13" fmla="*/ 1 h 90"/>
                  <a:gd name="T14" fmla="*/ 119 w 119"/>
                  <a:gd name="T15" fmla="*/ 1 h 90"/>
                  <a:gd name="T16" fmla="*/ 111 w 119"/>
                  <a:gd name="T17" fmla="*/ 0 h 90"/>
                  <a:gd name="T18" fmla="*/ 69 w 119"/>
                  <a:gd name="T19" fmla="*/ 0 h 90"/>
                  <a:gd name="T20" fmla="*/ 50 w 119"/>
                  <a:gd name="T21" fmla="*/ 1 h 90"/>
                  <a:gd name="T22" fmla="*/ 0 w 119"/>
                  <a:gd name="T23" fmla="*/ 1 h 9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19" h="90">
                    <a:moveTo>
                      <a:pt x="0" y="56"/>
                    </a:moveTo>
                    <a:lnTo>
                      <a:pt x="5" y="56"/>
                    </a:lnTo>
                    <a:lnTo>
                      <a:pt x="5" y="79"/>
                    </a:lnTo>
                    <a:lnTo>
                      <a:pt x="18" y="79"/>
                    </a:lnTo>
                    <a:lnTo>
                      <a:pt x="37" y="67"/>
                    </a:lnTo>
                    <a:lnTo>
                      <a:pt x="69" y="90"/>
                    </a:lnTo>
                    <a:lnTo>
                      <a:pt x="106" y="79"/>
                    </a:lnTo>
                    <a:lnTo>
                      <a:pt x="119" y="23"/>
                    </a:lnTo>
                    <a:lnTo>
                      <a:pt x="111" y="0"/>
                    </a:lnTo>
                    <a:lnTo>
                      <a:pt x="69" y="0"/>
                    </a:lnTo>
                    <a:lnTo>
                      <a:pt x="50" y="56"/>
                    </a:lnTo>
                    <a:lnTo>
                      <a:pt x="0" y="56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Freeform 51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4621461" y="3157538"/>
              <a:ext cx="174625" cy="71437"/>
            </a:xfrm>
            <a:custGeom>
              <a:avLst/>
              <a:gdLst>
                <a:gd name="T0" fmla="*/ 0 w 119"/>
                <a:gd name="T1" fmla="*/ 2147483647 h 90"/>
                <a:gd name="T2" fmla="*/ 2147483647 w 119"/>
                <a:gd name="T3" fmla="*/ 2147483647 h 90"/>
                <a:gd name="T4" fmla="*/ 2147483647 w 119"/>
                <a:gd name="T5" fmla="*/ 2147483647 h 90"/>
                <a:gd name="T6" fmla="*/ 2147483647 w 119"/>
                <a:gd name="T7" fmla="*/ 2147483647 h 90"/>
                <a:gd name="T8" fmla="*/ 2147483647 w 119"/>
                <a:gd name="T9" fmla="*/ 2147483647 h 90"/>
                <a:gd name="T10" fmla="*/ 2147483647 w 119"/>
                <a:gd name="T11" fmla="*/ 2147483647 h 90"/>
                <a:gd name="T12" fmla="*/ 2147483647 w 119"/>
                <a:gd name="T13" fmla="*/ 2147483647 h 90"/>
                <a:gd name="T14" fmla="*/ 2147483647 w 119"/>
                <a:gd name="T15" fmla="*/ 2147483647 h 90"/>
                <a:gd name="T16" fmla="*/ 2147483647 w 119"/>
                <a:gd name="T17" fmla="*/ 0 h 90"/>
                <a:gd name="T18" fmla="*/ 2147483647 w 119"/>
                <a:gd name="T19" fmla="*/ 0 h 90"/>
                <a:gd name="T20" fmla="*/ 2147483647 w 119"/>
                <a:gd name="T21" fmla="*/ 2147483647 h 90"/>
                <a:gd name="T22" fmla="*/ 0 w 119"/>
                <a:gd name="T23" fmla="*/ 2147483647 h 9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19" h="90">
                  <a:moveTo>
                    <a:pt x="0" y="56"/>
                  </a:moveTo>
                  <a:lnTo>
                    <a:pt x="5" y="56"/>
                  </a:lnTo>
                  <a:lnTo>
                    <a:pt x="5" y="79"/>
                  </a:lnTo>
                  <a:lnTo>
                    <a:pt x="18" y="79"/>
                  </a:lnTo>
                  <a:lnTo>
                    <a:pt x="37" y="67"/>
                  </a:lnTo>
                  <a:lnTo>
                    <a:pt x="69" y="90"/>
                  </a:lnTo>
                  <a:lnTo>
                    <a:pt x="106" y="79"/>
                  </a:lnTo>
                  <a:lnTo>
                    <a:pt x="119" y="23"/>
                  </a:lnTo>
                  <a:lnTo>
                    <a:pt x="111" y="0"/>
                  </a:lnTo>
                  <a:lnTo>
                    <a:pt x="69" y="0"/>
                  </a:lnTo>
                  <a:lnTo>
                    <a:pt x="50" y="5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2" name="Group 52"/>
            <p:cNvGrpSpPr>
              <a:grpSpLocks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4621461" y="3157538"/>
              <a:ext cx="174625" cy="71437"/>
              <a:chOff x="3089" y="1807"/>
              <a:chExt cx="119" cy="45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121" name="Freeform 53"/>
              <p:cNvSpPr>
                <a:spLocks/>
              </p:cNvSpPr>
              <p:nvPr/>
            </p:nvSpPr>
            <p:spPr bwMode="auto">
              <a:xfrm>
                <a:off x="3089" y="1807"/>
                <a:ext cx="119" cy="45"/>
              </a:xfrm>
              <a:custGeom>
                <a:avLst/>
                <a:gdLst>
                  <a:gd name="T0" fmla="*/ 0 w 119"/>
                  <a:gd name="T1" fmla="*/ 1 h 90"/>
                  <a:gd name="T2" fmla="*/ 5 w 119"/>
                  <a:gd name="T3" fmla="*/ 1 h 90"/>
                  <a:gd name="T4" fmla="*/ 5 w 119"/>
                  <a:gd name="T5" fmla="*/ 1 h 90"/>
                  <a:gd name="T6" fmla="*/ 18 w 119"/>
                  <a:gd name="T7" fmla="*/ 1 h 90"/>
                  <a:gd name="T8" fmla="*/ 37 w 119"/>
                  <a:gd name="T9" fmla="*/ 1 h 90"/>
                  <a:gd name="T10" fmla="*/ 69 w 119"/>
                  <a:gd name="T11" fmla="*/ 1 h 90"/>
                  <a:gd name="T12" fmla="*/ 106 w 119"/>
                  <a:gd name="T13" fmla="*/ 1 h 90"/>
                  <a:gd name="T14" fmla="*/ 119 w 119"/>
                  <a:gd name="T15" fmla="*/ 1 h 90"/>
                  <a:gd name="T16" fmla="*/ 111 w 119"/>
                  <a:gd name="T17" fmla="*/ 0 h 90"/>
                  <a:gd name="T18" fmla="*/ 69 w 119"/>
                  <a:gd name="T19" fmla="*/ 0 h 90"/>
                  <a:gd name="T20" fmla="*/ 50 w 119"/>
                  <a:gd name="T21" fmla="*/ 1 h 90"/>
                  <a:gd name="T22" fmla="*/ 0 w 119"/>
                  <a:gd name="T23" fmla="*/ 1 h 9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19" h="90">
                    <a:moveTo>
                      <a:pt x="0" y="56"/>
                    </a:moveTo>
                    <a:lnTo>
                      <a:pt x="5" y="56"/>
                    </a:lnTo>
                    <a:lnTo>
                      <a:pt x="5" y="79"/>
                    </a:lnTo>
                    <a:lnTo>
                      <a:pt x="18" y="79"/>
                    </a:lnTo>
                    <a:lnTo>
                      <a:pt x="37" y="67"/>
                    </a:lnTo>
                    <a:lnTo>
                      <a:pt x="69" y="90"/>
                    </a:lnTo>
                    <a:lnTo>
                      <a:pt x="106" y="79"/>
                    </a:lnTo>
                    <a:lnTo>
                      <a:pt x="119" y="23"/>
                    </a:lnTo>
                    <a:lnTo>
                      <a:pt x="111" y="0"/>
                    </a:lnTo>
                    <a:lnTo>
                      <a:pt x="69" y="0"/>
                    </a:lnTo>
                    <a:lnTo>
                      <a:pt x="50" y="56"/>
                    </a:lnTo>
                    <a:lnTo>
                      <a:pt x="0" y="56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22" name="Freeform 54"/>
              <p:cNvSpPr>
                <a:spLocks/>
              </p:cNvSpPr>
              <p:nvPr/>
            </p:nvSpPr>
            <p:spPr bwMode="auto">
              <a:xfrm>
                <a:off x="3089" y="1807"/>
                <a:ext cx="119" cy="45"/>
              </a:xfrm>
              <a:custGeom>
                <a:avLst/>
                <a:gdLst>
                  <a:gd name="T0" fmla="*/ 0 w 119"/>
                  <a:gd name="T1" fmla="*/ 1 h 90"/>
                  <a:gd name="T2" fmla="*/ 5 w 119"/>
                  <a:gd name="T3" fmla="*/ 1 h 90"/>
                  <a:gd name="T4" fmla="*/ 5 w 119"/>
                  <a:gd name="T5" fmla="*/ 1 h 90"/>
                  <a:gd name="T6" fmla="*/ 18 w 119"/>
                  <a:gd name="T7" fmla="*/ 1 h 90"/>
                  <a:gd name="T8" fmla="*/ 37 w 119"/>
                  <a:gd name="T9" fmla="*/ 1 h 90"/>
                  <a:gd name="T10" fmla="*/ 69 w 119"/>
                  <a:gd name="T11" fmla="*/ 1 h 90"/>
                  <a:gd name="T12" fmla="*/ 106 w 119"/>
                  <a:gd name="T13" fmla="*/ 1 h 90"/>
                  <a:gd name="T14" fmla="*/ 119 w 119"/>
                  <a:gd name="T15" fmla="*/ 1 h 90"/>
                  <a:gd name="T16" fmla="*/ 111 w 119"/>
                  <a:gd name="T17" fmla="*/ 0 h 90"/>
                  <a:gd name="T18" fmla="*/ 69 w 119"/>
                  <a:gd name="T19" fmla="*/ 0 h 90"/>
                  <a:gd name="T20" fmla="*/ 50 w 119"/>
                  <a:gd name="T21" fmla="*/ 1 h 90"/>
                  <a:gd name="T22" fmla="*/ 0 w 119"/>
                  <a:gd name="T23" fmla="*/ 1 h 9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19" h="90">
                    <a:moveTo>
                      <a:pt x="0" y="56"/>
                    </a:moveTo>
                    <a:lnTo>
                      <a:pt x="5" y="56"/>
                    </a:lnTo>
                    <a:lnTo>
                      <a:pt x="5" y="79"/>
                    </a:lnTo>
                    <a:lnTo>
                      <a:pt x="18" y="79"/>
                    </a:lnTo>
                    <a:lnTo>
                      <a:pt x="37" y="67"/>
                    </a:lnTo>
                    <a:lnTo>
                      <a:pt x="69" y="90"/>
                    </a:lnTo>
                    <a:lnTo>
                      <a:pt x="106" y="79"/>
                    </a:lnTo>
                    <a:lnTo>
                      <a:pt x="119" y="23"/>
                    </a:lnTo>
                    <a:lnTo>
                      <a:pt x="111" y="0"/>
                    </a:lnTo>
                    <a:lnTo>
                      <a:pt x="69" y="0"/>
                    </a:lnTo>
                    <a:lnTo>
                      <a:pt x="50" y="56"/>
                    </a:lnTo>
                    <a:lnTo>
                      <a:pt x="0" y="56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3" name="Freeform 55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6410573" y="3811588"/>
              <a:ext cx="107950" cy="149225"/>
            </a:xfrm>
            <a:custGeom>
              <a:avLst/>
              <a:gdLst>
                <a:gd name="T0" fmla="*/ 0 w 74"/>
                <a:gd name="T1" fmla="*/ 2147483647 h 188"/>
                <a:gd name="T2" fmla="*/ 2147483647 w 74"/>
                <a:gd name="T3" fmla="*/ 2147483647 h 188"/>
                <a:gd name="T4" fmla="*/ 2147483647 w 74"/>
                <a:gd name="T5" fmla="*/ 2147483647 h 188"/>
                <a:gd name="T6" fmla="*/ 2147483647 w 74"/>
                <a:gd name="T7" fmla="*/ 2147483647 h 188"/>
                <a:gd name="T8" fmla="*/ 2147483647 w 74"/>
                <a:gd name="T9" fmla="*/ 2147483647 h 188"/>
                <a:gd name="T10" fmla="*/ 2147483647 w 74"/>
                <a:gd name="T11" fmla="*/ 2147483647 h 188"/>
                <a:gd name="T12" fmla="*/ 2147483647 w 74"/>
                <a:gd name="T13" fmla="*/ 2147483647 h 188"/>
                <a:gd name="T14" fmla="*/ 2147483647 w 74"/>
                <a:gd name="T15" fmla="*/ 2147483647 h 188"/>
                <a:gd name="T16" fmla="*/ 2147483647 w 74"/>
                <a:gd name="T17" fmla="*/ 2147483647 h 188"/>
                <a:gd name="T18" fmla="*/ 2147483647 w 74"/>
                <a:gd name="T19" fmla="*/ 2147483647 h 188"/>
                <a:gd name="T20" fmla="*/ 2147483647 w 74"/>
                <a:gd name="T21" fmla="*/ 2147483647 h 188"/>
                <a:gd name="T22" fmla="*/ 2147483647 w 74"/>
                <a:gd name="T23" fmla="*/ 2147483647 h 188"/>
                <a:gd name="T24" fmla="*/ 2147483647 w 74"/>
                <a:gd name="T25" fmla="*/ 2147483647 h 188"/>
                <a:gd name="T26" fmla="*/ 2147483647 w 74"/>
                <a:gd name="T27" fmla="*/ 0 h 188"/>
                <a:gd name="T28" fmla="*/ 2147483647 w 74"/>
                <a:gd name="T29" fmla="*/ 2147483647 h 188"/>
                <a:gd name="T30" fmla="*/ 2147483647 w 74"/>
                <a:gd name="T31" fmla="*/ 2147483647 h 188"/>
                <a:gd name="T32" fmla="*/ 0 w 74"/>
                <a:gd name="T33" fmla="*/ 2147483647 h 1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4" h="188">
                  <a:moveTo>
                    <a:pt x="0" y="55"/>
                  </a:moveTo>
                  <a:lnTo>
                    <a:pt x="13" y="78"/>
                  </a:lnTo>
                  <a:lnTo>
                    <a:pt x="18" y="167"/>
                  </a:lnTo>
                  <a:lnTo>
                    <a:pt x="37" y="155"/>
                  </a:lnTo>
                  <a:lnTo>
                    <a:pt x="49" y="123"/>
                  </a:lnTo>
                  <a:lnTo>
                    <a:pt x="62" y="134"/>
                  </a:lnTo>
                  <a:lnTo>
                    <a:pt x="68" y="188"/>
                  </a:lnTo>
                  <a:lnTo>
                    <a:pt x="74" y="155"/>
                  </a:lnTo>
                  <a:lnTo>
                    <a:pt x="68" y="90"/>
                  </a:lnTo>
                  <a:lnTo>
                    <a:pt x="62" y="123"/>
                  </a:lnTo>
                  <a:lnTo>
                    <a:pt x="49" y="90"/>
                  </a:lnTo>
                  <a:lnTo>
                    <a:pt x="68" y="46"/>
                  </a:lnTo>
                  <a:lnTo>
                    <a:pt x="30" y="46"/>
                  </a:lnTo>
                  <a:lnTo>
                    <a:pt x="13" y="0"/>
                  </a:lnTo>
                  <a:lnTo>
                    <a:pt x="6" y="23"/>
                  </a:lnTo>
                  <a:lnTo>
                    <a:pt x="13" y="46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4" name="Group 56"/>
            <p:cNvGrpSpPr>
              <a:grpSpLocks/>
            </p:cNvGrpSpPr>
            <p:nvPr>
              <p:custDataLst>
                <p:tags r:id="rId38"/>
              </p:custDataLst>
            </p:nvPr>
          </p:nvGrpSpPr>
          <p:grpSpPr bwMode="auto">
            <a:xfrm>
              <a:off x="6410573" y="3811588"/>
              <a:ext cx="107950" cy="149225"/>
              <a:chOff x="4309" y="2219"/>
              <a:chExt cx="74" cy="94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19" name="Freeform 57"/>
              <p:cNvSpPr>
                <a:spLocks/>
              </p:cNvSpPr>
              <p:nvPr/>
            </p:nvSpPr>
            <p:spPr bwMode="auto">
              <a:xfrm>
                <a:off x="4309" y="2219"/>
                <a:ext cx="74" cy="94"/>
              </a:xfrm>
              <a:custGeom>
                <a:avLst/>
                <a:gdLst>
                  <a:gd name="T0" fmla="*/ 0 w 74"/>
                  <a:gd name="T1" fmla="*/ 1 h 188"/>
                  <a:gd name="T2" fmla="*/ 13 w 74"/>
                  <a:gd name="T3" fmla="*/ 1 h 188"/>
                  <a:gd name="T4" fmla="*/ 18 w 74"/>
                  <a:gd name="T5" fmla="*/ 1 h 188"/>
                  <a:gd name="T6" fmla="*/ 37 w 74"/>
                  <a:gd name="T7" fmla="*/ 1 h 188"/>
                  <a:gd name="T8" fmla="*/ 49 w 74"/>
                  <a:gd name="T9" fmla="*/ 1 h 188"/>
                  <a:gd name="T10" fmla="*/ 62 w 74"/>
                  <a:gd name="T11" fmla="*/ 1 h 188"/>
                  <a:gd name="T12" fmla="*/ 68 w 74"/>
                  <a:gd name="T13" fmla="*/ 1 h 188"/>
                  <a:gd name="T14" fmla="*/ 74 w 74"/>
                  <a:gd name="T15" fmla="*/ 1 h 188"/>
                  <a:gd name="T16" fmla="*/ 68 w 74"/>
                  <a:gd name="T17" fmla="*/ 1 h 188"/>
                  <a:gd name="T18" fmla="*/ 62 w 74"/>
                  <a:gd name="T19" fmla="*/ 1 h 188"/>
                  <a:gd name="T20" fmla="*/ 49 w 74"/>
                  <a:gd name="T21" fmla="*/ 1 h 188"/>
                  <a:gd name="T22" fmla="*/ 68 w 74"/>
                  <a:gd name="T23" fmla="*/ 1 h 188"/>
                  <a:gd name="T24" fmla="*/ 30 w 74"/>
                  <a:gd name="T25" fmla="*/ 1 h 188"/>
                  <a:gd name="T26" fmla="*/ 13 w 74"/>
                  <a:gd name="T27" fmla="*/ 0 h 188"/>
                  <a:gd name="T28" fmla="*/ 6 w 74"/>
                  <a:gd name="T29" fmla="*/ 1 h 188"/>
                  <a:gd name="T30" fmla="*/ 13 w 74"/>
                  <a:gd name="T31" fmla="*/ 1 h 188"/>
                  <a:gd name="T32" fmla="*/ 0 w 74"/>
                  <a:gd name="T33" fmla="*/ 1 h 1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4" h="188">
                    <a:moveTo>
                      <a:pt x="0" y="55"/>
                    </a:moveTo>
                    <a:lnTo>
                      <a:pt x="13" y="78"/>
                    </a:lnTo>
                    <a:lnTo>
                      <a:pt x="18" y="167"/>
                    </a:lnTo>
                    <a:lnTo>
                      <a:pt x="37" y="155"/>
                    </a:lnTo>
                    <a:lnTo>
                      <a:pt x="49" y="123"/>
                    </a:lnTo>
                    <a:lnTo>
                      <a:pt x="62" y="134"/>
                    </a:lnTo>
                    <a:lnTo>
                      <a:pt x="68" y="188"/>
                    </a:lnTo>
                    <a:lnTo>
                      <a:pt x="74" y="155"/>
                    </a:lnTo>
                    <a:lnTo>
                      <a:pt x="68" y="90"/>
                    </a:lnTo>
                    <a:lnTo>
                      <a:pt x="62" y="123"/>
                    </a:lnTo>
                    <a:lnTo>
                      <a:pt x="49" y="90"/>
                    </a:lnTo>
                    <a:lnTo>
                      <a:pt x="68" y="46"/>
                    </a:lnTo>
                    <a:lnTo>
                      <a:pt x="30" y="46"/>
                    </a:lnTo>
                    <a:lnTo>
                      <a:pt x="13" y="0"/>
                    </a:lnTo>
                    <a:lnTo>
                      <a:pt x="6" y="23"/>
                    </a:lnTo>
                    <a:lnTo>
                      <a:pt x="13" y="46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20" name="Freeform 58"/>
              <p:cNvSpPr>
                <a:spLocks/>
              </p:cNvSpPr>
              <p:nvPr/>
            </p:nvSpPr>
            <p:spPr bwMode="auto">
              <a:xfrm>
                <a:off x="4309" y="2219"/>
                <a:ext cx="74" cy="94"/>
              </a:xfrm>
              <a:custGeom>
                <a:avLst/>
                <a:gdLst>
                  <a:gd name="T0" fmla="*/ 0 w 74"/>
                  <a:gd name="T1" fmla="*/ 1 h 188"/>
                  <a:gd name="T2" fmla="*/ 13 w 74"/>
                  <a:gd name="T3" fmla="*/ 1 h 188"/>
                  <a:gd name="T4" fmla="*/ 18 w 74"/>
                  <a:gd name="T5" fmla="*/ 1 h 188"/>
                  <a:gd name="T6" fmla="*/ 37 w 74"/>
                  <a:gd name="T7" fmla="*/ 1 h 188"/>
                  <a:gd name="T8" fmla="*/ 49 w 74"/>
                  <a:gd name="T9" fmla="*/ 1 h 188"/>
                  <a:gd name="T10" fmla="*/ 62 w 74"/>
                  <a:gd name="T11" fmla="*/ 1 h 188"/>
                  <a:gd name="T12" fmla="*/ 68 w 74"/>
                  <a:gd name="T13" fmla="*/ 1 h 188"/>
                  <a:gd name="T14" fmla="*/ 74 w 74"/>
                  <a:gd name="T15" fmla="*/ 1 h 188"/>
                  <a:gd name="T16" fmla="*/ 68 w 74"/>
                  <a:gd name="T17" fmla="*/ 1 h 188"/>
                  <a:gd name="T18" fmla="*/ 62 w 74"/>
                  <a:gd name="T19" fmla="*/ 1 h 188"/>
                  <a:gd name="T20" fmla="*/ 49 w 74"/>
                  <a:gd name="T21" fmla="*/ 1 h 188"/>
                  <a:gd name="T22" fmla="*/ 68 w 74"/>
                  <a:gd name="T23" fmla="*/ 1 h 188"/>
                  <a:gd name="T24" fmla="*/ 30 w 74"/>
                  <a:gd name="T25" fmla="*/ 1 h 188"/>
                  <a:gd name="T26" fmla="*/ 13 w 74"/>
                  <a:gd name="T27" fmla="*/ 0 h 188"/>
                  <a:gd name="T28" fmla="*/ 6 w 74"/>
                  <a:gd name="T29" fmla="*/ 1 h 188"/>
                  <a:gd name="T30" fmla="*/ 13 w 74"/>
                  <a:gd name="T31" fmla="*/ 1 h 188"/>
                  <a:gd name="T32" fmla="*/ 0 w 74"/>
                  <a:gd name="T33" fmla="*/ 1 h 1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4" h="188">
                    <a:moveTo>
                      <a:pt x="0" y="55"/>
                    </a:moveTo>
                    <a:lnTo>
                      <a:pt x="13" y="78"/>
                    </a:lnTo>
                    <a:lnTo>
                      <a:pt x="18" y="167"/>
                    </a:lnTo>
                    <a:lnTo>
                      <a:pt x="37" y="155"/>
                    </a:lnTo>
                    <a:lnTo>
                      <a:pt x="49" y="123"/>
                    </a:lnTo>
                    <a:lnTo>
                      <a:pt x="62" y="134"/>
                    </a:lnTo>
                    <a:lnTo>
                      <a:pt x="68" y="188"/>
                    </a:lnTo>
                    <a:lnTo>
                      <a:pt x="74" y="155"/>
                    </a:lnTo>
                    <a:lnTo>
                      <a:pt x="68" y="90"/>
                    </a:lnTo>
                    <a:lnTo>
                      <a:pt x="62" y="123"/>
                    </a:lnTo>
                    <a:lnTo>
                      <a:pt x="49" y="90"/>
                    </a:lnTo>
                    <a:lnTo>
                      <a:pt x="68" y="46"/>
                    </a:lnTo>
                    <a:lnTo>
                      <a:pt x="30" y="46"/>
                    </a:lnTo>
                    <a:lnTo>
                      <a:pt x="13" y="0"/>
                    </a:lnTo>
                    <a:lnTo>
                      <a:pt x="6" y="23"/>
                    </a:lnTo>
                    <a:lnTo>
                      <a:pt x="13" y="46"/>
                    </a:lnTo>
                    <a:lnTo>
                      <a:pt x="0" y="55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5" name="Freeform 59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6410573" y="3811588"/>
              <a:ext cx="107950" cy="149225"/>
            </a:xfrm>
            <a:custGeom>
              <a:avLst/>
              <a:gdLst>
                <a:gd name="T0" fmla="*/ 0 w 74"/>
                <a:gd name="T1" fmla="*/ 2147483647 h 188"/>
                <a:gd name="T2" fmla="*/ 2147483647 w 74"/>
                <a:gd name="T3" fmla="*/ 2147483647 h 188"/>
                <a:gd name="T4" fmla="*/ 2147483647 w 74"/>
                <a:gd name="T5" fmla="*/ 2147483647 h 188"/>
                <a:gd name="T6" fmla="*/ 2147483647 w 74"/>
                <a:gd name="T7" fmla="*/ 2147483647 h 188"/>
                <a:gd name="T8" fmla="*/ 2147483647 w 74"/>
                <a:gd name="T9" fmla="*/ 2147483647 h 188"/>
                <a:gd name="T10" fmla="*/ 2147483647 w 74"/>
                <a:gd name="T11" fmla="*/ 2147483647 h 188"/>
                <a:gd name="T12" fmla="*/ 2147483647 w 74"/>
                <a:gd name="T13" fmla="*/ 2147483647 h 188"/>
                <a:gd name="T14" fmla="*/ 2147483647 w 74"/>
                <a:gd name="T15" fmla="*/ 2147483647 h 188"/>
                <a:gd name="T16" fmla="*/ 2147483647 w 74"/>
                <a:gd name="T17" fmla="*/ 2147483647 h 188"/>
                <a:gd name="T18" fmla="*/ 2147483647 w 74"/>
                <a:gd name="T19" fmla="*/ 2147483647 h 188"/>
                <a:gd name="T20" fmla="*/ 2147483647 w 74"/>
                <a:gd name="T21" fmla="*/ 2147483647 h 188"/>
                <a:gd name="T22" fmla="*/ 2147483647 w 74"/>
                <a:gd name="T23" fmla="*/ 2147483647 h 188"/>
                <a:gd name="T24" fmla="*/ 2147483647 w 74"/>
                <a:gd name="T25" fmla="*/ 2147483647 h 188"/>
                <a:gd name="T26" fmla="*/ 2147483647 w 74"/>
                <a:gd name="T27" fmla="*/ 0 h 188"/>
                <a:gd name="T28" fmla="*/ 2147483647 w 74"/>
                <a:gd name="T29" fmla="*/ 2147483647 h 188"/>
                <a:gd name="T30" fmla="*/ 2147483647 w 74"/>
                <a:gd name="T31" fmla="*/ 2147483647 h 188"/>
                <a:gd name="T32" fmla="*/ 0 w 74"/>
                <a:gd name="T33" fmla="*/ 2147483647 h 1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4" h="188">
                  <a:moveTo>
                    <a:pt x="0" y="55"/>
                  </a:moveTo>
                  <a:lnTo>
                    <a:pt x="13" y="78"/>
                  </a:lnTo>
                  <a:lnTo>
                    <a:pt x="18" y="167"/>
                  </a:lnTo>
                  <a:lnTo>
                    <a:pt x="37" y="155"/>
                  </a:lnTo>
                  <a:lnTo>
                    <a:pt x="49" y="123"/>
                  </a:lnTo>
                  <a:lnTo>
                    <a:pt x="62" y="134"/>
                  </a:lnTo>
                  <a:lnTo>
                    <a:pt x="68" y="188"/>
                  </a:lnTo>
                  <a:lnTo>
                    <a:pt x="74" y="155"/>
                  </a:lnTo>
                  <a:lnTo>
                    <a:pt x="68" y="90"/>
                  </a:lnTo>
                  <a:lnTo>
                    <a:pt x="62" y="123"/>
                  </a:lnTo>
                  <a:lnTo>
                    <a:pt x="49" y="90"/>
                  </a:lnTo>
                  <a:lnTo>
                    <a:pt x="68" y="46"/>
                  </a:lnTo>
                  <a:lnTo>
                    <a:pt x="30" y="46"/>
                  </a:lnTo>
                  <a:lnTo>
                    <a:pt x="13" y="0"/>
                  </a:lnTo>
                  <a:lnTo>
                    <a:pt x="6" y="23"/>
                  </a:lnTo>
                  <a:lnTo>
                    <a:pt x="13" y="46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6" name="Group 60"/>
            <p:cNvGrpSpPr>
              <a:grpSpLocks/>
            </p:cNvGrpSpPr>
            <p:nvPr>
              <p:custDataLst>
                <p:tags r:id="rId40"/>
              </p:custDataLst>
            </p:nvPr>
          </p:nvGrpSpPr>
          <p:grpSpPr bwMode="auto">
            <a:xfrm>
              <a:off x="6410573" y="3811588"/>
              <a:ext cx="107950" cy="149225"/>
              <a:chOff x="4309" y="2219"/>
              <a:chExt cx="74" cy="94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17" name="Freeform 61"/>
              <p:cNvSpPr>
                <a:spLocks/>
              </p:cNvSpPr>
              <p:nvPr/>
            </p:nvSpPr>
            <p:spPr bwMode="auto">
              <a:xfrm>
                <a:off x="4309" y="2219"/>
                <a:ext cx="74" cy="94"/>
              </a:xfrm>
              <a:custGeom>
                <a:avLst/>
                <a:gdLst>
                  <a:gd name="T0" fmla="*/ 0 w 74"/>
                  <a:gd name="T1" fmla="*/ 1 h 188"/>
                  <a:gd name="T2" fmla="*/ 13 w 74"/>
                  <a:gd name="T3" fmla="*/ 1 h 188"/>
                  <a:gd name="T4" fmla="*/ 18 w 74"/>
                  <a:gd name="T5" fmla="*/ 1 h 188"/>
                  <a:gd name="T6" fmla="*/ 37 w 74"/>
                  <a:gd name="T7" fmla="*/ 1 h 188"/>
                  <a:gd name="T8" fmla="*/ 49 w 74"/>
                  <a:gd name="T9" fmla="*/ 1 h 188"/>
                  <a:gd name="T10" fmla="*/ 62 w 74"/>
                  <a:gd name="T11" fmla="*/ 1 h 188"/>
                  <a:gd name="T12" fmla="*/ 68 w 74"/>
                  <a:gd name="T13" fmla="*/ 1 h 188"/>
                  <a:gd name="T14" fmla="*/ 74 w 74"/>
                  <a:gd name="T15" fmla="*/ 1 h 188"/>
                  <a:gd name="T16" fmla="*/ 68 w 74"/>
                  <a:gd name="T17" fmla="*/ 1 h 188"/>
                  <a:gd name="T18" fmla="*/ 62 w 74"/>
                  <a:gd name="T19" fmla="*/ 1 h 188"/>
                  <a:gd name="T20" fmla="*/ 49 w 74"/>
                  <a:gd name="T21" fmla="*/ 1 h 188"/>
                  <a:gd name="T22" fmla="*/ 68 w 74"/>
                  <a:gd name="T23" fmla="*/ 1 h 188"/>
                  <a:gd name="T24" fmla="*/ 30 w 74"/>
                  <a:gd name="T25" fmla="*/ 1 h 188"/>
                  <a:gd name="T26" fmla="*/ 13 w 74"/>
                  <a:gd name="T27" fmla="*/ 0 h 188"/>
                  <a:gd name="T28" fmla="*/ 6 w 74"/>
                  <a:gd name="T29" fmla="*/ 1 h 188"/>
                  <a:gd name="T30" fmla="*/ 13 w 74"/>
                  <a:gd name="T31" fmla="*/ 1 h 188"/>
                  <a:gd name="T32" fmla="*/ 0 w 74"/>
                  <a:gd name="T33" fmla="*/ 1 h 1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4" h="188">
                    <a:moveTo>
                      <a:pt x="0" y="55"/>
                    </a:moveTo>
                    <a:lnTo>
                      <a:pt x="13" y="78"/>
                    </a:lnTo>
                    <a:lnTo>
                      <a:pt x="18" y="167"/>
                    </a:lnTo>
                    <a:lnTo>
                      <a:pt x="37" y="155"/>
                    </a:lnTo>
                    <a:lnTo>
                      <a:pt x="49" y="123"/>
                    </a:lnTo>
                    <a:lnTo>
                      <a:pt x="62" y="134"/>
                    </a:lnTo>
                    <a:lnTo>
                      <a:pt x="68" y="188"/>
                    </a:lnTo>
                    <a:lnTo>
                      <a:pt x="74" y="155"/>
                    </a:lnTo>
                    <a:lnTo>
                      <a:pt x="68" y="90"/>
                    </a:lnTo>
                    <a:lnTo>
                      <a:pt x="62" y="123"/>
                    </a:lnTo>
                    <a:lnTo>
                      <a:pt x="49" y="90"/>
                    </a:lnTo>
                    <a:lnTo>
                      <a:pt x="68" y="46"/>
                    </a:lnTo>
                    <a:lnTo>
                      <a:pt x="30" y="46"/>
                    </a:lnTo>
                    <a:lnTo>
                      <a:pt x="13" y="0"/>
                    </a:lnTo>
                    <a:lnTo>
                      <a:pt x="6" y="23"/>
                    </a:lnTo>
                    <a:lnTo>
                      <a:pt x="13" y="46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18" name="Freeform 62"/>
              <p:cNvSpPr>
                <a:spLocks/>
              </p:cNvSpPr>
              <p:nvPr/>
            </p:nvSpPr>
            <p:spPr bwMode="auto">
              <a:xfrm>
                <a:off x="4309" y="2219"/>
                <a:ext cx="74" cy="94"/>
              </a:xfrm>
              <a:custGeom>
                <a:avLst/>
                <a:gdLst>
                  <a:gd name="T0" fmla="*/ 0 w 74"/>
                  <a:gd name="T1" fmla="*/ 1 h 188"/>
                  <a:gd name="T2" fmla="*/ 13 w 74"/>
                  <a:gd name="T3" fmla="*/ 1 h 188"/>
                  <a:gd name="T4" fmla="*/ 18 w 74"/>
                  <a:gd name="T5" fmla="*/ 1 h 188"/>
                  <a:gd name="T6" fmla="*/ 37 w 74"/>
                  <a:gd name="T7" fmla="*/ 1 h 188"/>
                  <a:gd name="T8" fmla="*/ 49 w 74"/>
                  <a:gd name="T9" fmla="*/ 1 h 188"/>
                  <a:gd name="T10" fmla="*/ 62 w 74"/>
                  <a:gd name="T11" fmla="*/ 1 h 188"/>
                  <a:gd name="T12" fmla="*/ 68 w 74"/>
                  <a:gd name="T13" fmla="*/ 1 h 188"/>
                  <a:gd name="T14" fmla="*/ 74 w 74"/>
                  <a:gd name="T15" fmla="*/ 1 h 188"/>
                  <a:gd name="T16" fmla="*/ 68 w 74"/>
                  <a:gd name="T17" fmla="*/ 1 h 188"/>
                  <a:gd name="T18" fmla="*/ 62 w 74"/>
                  <a:gd name="T19" fmla="*/ 1 h 188"/>
                  <a:gd name="T20" fmla="*/ 49 w 74"/>
                  <a:gd name="T21" fmla="*/ 1 h 188"/>
                  <a:gd name="T22" fmla="*/ 68 w 74"/>
                  <a:gd name="T23" fmla="*/ 1 h 188"/>
                  <a:gd name="T24" fmla="*/ 30 w 74"/>
                  <a:gd name="T25" fmla="*/ 1 h 188"/>
                  <a:gd name="T26" fmla="*/ 13 w 74"/>
                  <a:gd name="T27" fmla="*/ 0 h 188"/>
                  <a:gd name="T28" fmla="*/ 6 w 74"/>
                  <a:gd name="T29" fmla="*/ 1 h 188"/>
                  <a:gd name="T30" fmla="*/ 13 w 74"/>
                  <a:gd name="T31" fmla="*/ 1 h 188"/>
                  <a:gd name="T32" fmla="*/ 0 w 74"/>
                  <a:gd name="T33" fmla="*/ 1 h 1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4" h="188">
                    <a:moveTo>
                      <a:pt x="0" y="55"/>
                    </a:moveTo>
                    <a:lnTo>
                      <a:pt x="13" y="78"/>
                    </a:lnTo>
                    <a:lnTo>
                      <a:pt x="18" y="167"/>
                    </a:lnTo>
                    <a:lnTo>
                      <a:pt x="37" y="155"/>
                    </a:lnTo>
                    <a:lnTo>
                      <a:pt x="49" y="123"/>
                    </a:lnTo>
                    <a:lnTo>
                      <a:pt x="62" y="134"/>
                    </a:lnTo>
                    <a:lnTo>
                      <a:pt x="68" y="188"/>
                    </a:lnTo>
                    <a:lnTo>
                      <a:pt x="74" y="155"/>
                    </a:lnTo>
                    <a:lnTo>
                      <a:pt x="68" y="90"/>
                    </a:lnTo>
                    <a:lnTo>
                      <a:pt x="62" y="123"/>
                    </a:lnTo>
                    <a:lnTo>
                      <a:pt x="49" y="90"/>
                    </a:lnTo>
                    <a:lnTo>
                      <a:pt x="68" y="46"/>
                    </a:lnTo>
                    <a:lnTo>
                      <a:pt x="30" y="46"/>
                    </a:lnTo>
                    <a:lnTo>
                      <a:pt x="13" y="0"/>
                    </a:lnTo>
                    <a:lnTo>
                      <a:pt x="6" y="23"/>
                    </a:lnTo>
                    <a:lnTo>
                      <a:pt x="13" y="46"/>
                    </a:lnTo>
                    <a:lnTo>
                      <a:pt x="0" y="55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7" name="Freeform 63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4475411" y="3068638"/>
              <a:ext cx="73025" cy="63500"/>
            </a:xfrm>
            <a:custGeom>
              <a:avLst/>
              <a:gdLst>
                <a:gd name="T0" fmla="*/ 0 w 50"/>
                <a:gd name="T1" fmla="*/ 2147483647 h 79"/>
                <a:gd name="T2" fmla="*/ 2147483647 w 50"/>
                <a:gd name="T3" fmla="*/ 2147483647 h 79"/>
                <a:gd name="T4" fmla="*/ 2147483647 w 50"/>
                <a:gd name="T5" fmla="*/ 0 h 79"/>
                <a:gd name="T6" fmla="*/ 2147483647 w 50"/>
                <a:gd name="T7" fmla="*/ 2147483647 h 79"/>
                <a:gd name="T8" fmla="*/ 2147483647 w 50"/>
                <a:gd name="T9" fmla="*/ 2147483647 h 79"/>
                <a:gd name="T10" fmla="*/ 2147483647 w 50"/>
                <a:gd name="T11" fmla="*/ 2147483647 h 79"/>
                <a:gd name="T12" fmla="*/ 0 w 50"/>
                <a:gd name="T13" fmla="*/ 2147483647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79">
                  <a:moveTo>
                    <a:pt x="0" y="10"/>
                  </a:moveTo>
                  <a:lnTo>
                    <a:pt x="12" y="10"/>
                  </a:lnTo>
                  <a:lnTo>
                    <a:pt x="31" y="0"/>
                  </a:lnTo>
                  <a:lnTo>
                    <a:pt x="50" y="35"/>
                  </a:lnTo>
                  <a:lnTo>
                    <a:pt x="50" y="56"/>
                  </a:lnTo>
                  <a:lnTo>
                    <a:pt x="43" y="79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8" name="Freeform 64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4475411" y="3068638"/>
              <a:ext cx="73025" cy="63500"/>
            </a:xfrm>
            <a:custGeom>
              <a:avLst/>
              <a:gdLst>
                <a:gd name="T0" fmla="*/ 0 w 50"/>
                <a:gd name="T1" fmla="*/ 2147483647 h 79"/>
                <a:gd name="T2" fmla="*/ 2147483647 w 50"/>
                <a:gd name="T3" fmla="*/ 2147483647 h 79"/>
                <a:gd name="T4" fmla="*/ 2147483647 w 50"/>
                <a:gd name="T5" fmla="*/ 0 h 79"/>
                <a:gd name="T6" fmla="*/ 2147483647 w 50"/>
                <a:gd name="T7" fmla="*/ 2147483647 h 79"/>
                <a:gd name="T8" fmla="*/ 2147483647 w 50"/>
                <a:gd name="T9" fmla="*/ 2147483647 h 79"/>
                <a:gd name="T10" fmla="*/ 2147483647 w 50"/>
                <a:gd name="T11" fmla="*/ 2147483647 h 79"/>
                <a:gd name="T12" fmla="*/ 0 w 50"/>
                <a:gd name="T13" fmla="*/ 2147483647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79">
                  <a:moveTo>
                    <a:pt x="0" y="10"/>
                  </a:moveTo>
                  <a:lnTo>
                    <a:pt x="12" y="10"/>
                  </a:lnTo>
                  <a:lnTo>
                    <a:pt x="31" y="0"/>
                  </a:lnTo>
                  <a:lnTo>
                    <a:pt x="50" y="35"/>
                  </a:lnTo>
                  <a:lnTo>
                    <a:pt x="50" y="56"/>
                  </a:lnTo>
                  <a:lnTo>
                    <a:pt x="43" y="79"/>
                  </a:lnTo>
                  <a:lnTo>
                    <a:pt x="0" y="1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9" name="Freeform 65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475411" y="3068638"/>
              <a:ext cx="73025" cy="63500"/>
            </a:xfrm>
            <a:custGeom>
              <a:avLst/>
              <a:gdLst>
                <a:gd name="T0" fmla="*/ 0 w 50"/>
                <a:gd name="T1" fmla="*/ 2147483647 h 79"/>
                <a:gd name="T2" fmla="*/ 2147483647 w 50"/>
                <a:gd name="T3" fmla="*/ 2147483647 h 79"/>
                <a:gd name="T4" fmla="*/ 2147483647 w 50"/>
                <a:gd name="T5" fmla="*/ 0 h 79"/>
                <a:gd name="T6" fmla="*/ 2147483647 w 50"/>
                <a:gd name="T7" fmla="*/ 2147483647 h 79"/>
                <a:gd name="T8" fmla="*/ 2147483647 w 50"/>
                <a:gd name="T9" fmla="*/ 2147483647 h 79"/>
                <a:gd name="T10" fmla="*/ 2147483647 w 50"/>
                <a:gd name="T11" fmla="*/ 2147483647 h 79"/>
                <a:gd name="T12" fmla="*/ 0 w 50"/>
                <a:gd name="T13" fmla="*/ 2147483647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79">
                  <a:moveTo>
                    <a:pt x="0" y="10"/>
                  </a:moveTo>
                  <a:lnTo>
                    <a:pt x="12" y="10"/>
                  </a:lnTo>
                  <a:lnTo>
                    <a:pt x="31" y="0"/>
                  </a:lnTo>
                  <a:lnTo>
                    <a:pt x="50" y="35"/>
                  </a:lnTo>
                  <a:lnTo>
                    <a:pt x="50" y="56"/>
                  </a:lnTo>
                  <a:lnTo>
                    <a:pt x="43" y="79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0" name="Freeform 66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4475411" y="3068638"/>
              <a:ext cx="73025" cy="63500"/>
            </a:xfrm>
            <a:custGeom>
              <a:avLst/>
              <a:gdLst>
                <a:gd name="T0" fmla="*/ 0 w 50"/>
                <a:gd name="T1" fmla="*/ 2147483647 h 79"/>
                <a:gd name="T2" fmla="*/ 2147483647 w 50"/>
                <a:gd name="T3" fmla="*/ 2147483647 h 79"/>
                <a:gd name="T4" fmla="*/ 2147483647 w 50"/>
                <a:gd name="T5" fmla="*/ 0 h 79"/>
                <a:gd name="T6" fmla="*/ 2147483647 w 50"/>
                <a:gd name="T7" fmla="*/ 2147483647 h 79"/>
                <a:gd name="T8" fmla="*/ 2147483647 w 50"/>
                <a:gd name="T9" fmla="*/ 2147483647 h 79"/>
                <a:gd name="T10" fmla="*/ 2147483647 w 50"/>
                <a:gd name="T11" fmla="*/ 2147483647 h 79"/>
                <a:gd name="T12" fmla="*/ 0 w 50"/>
                <a:gd name="T13" fmla="*/ 2147483647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79">
                  <a:moveTo>
                    <a:pt x="0" y="10"/>
                  </a:moveTo>
                  <a:lnTo>
                    <a:pt x="12" y="10"/>
                  </a:lnTo>
                  <a:lnTo>
                    <a:pt x="31" y="0"/>
                  </a:lnTo>
                  <a:lnTo>
                    <a:pt x="50" y="35"/>
                  </a:lnTo>
                  <a:lnTo>
                    <a:pt x="50" y="56"/>
                  </a:lnTo>
                  <a:lnTo>
                    <a:pt x="43" y="79"/>
                  </a:lnTo>
                  <a:lnTo>
                    <a:pt x="0" y="1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1" name="Freeform 67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6435973" y="3767138"/>
              <a:ext cx="65088" cy="46037"/>
            </a:xfrm>
            <a:custGeom>
              <a:avLst/>
              <a:gdLst>
                <a:gd name="T0" fmla="*/ 0 w 44"/>
                <a:gd name="T1" fmla="*/ 2147483647 h 58"/>
                <a:gd name="T2" fmla="*/ 2147483647 w 44"/>
                <a:gd name="T3" fmla="*/ 2147483647 h 58"/>
                <a:gd name="T4" fmla="*/ 2147483647 w 44"/>
                <a:gd name="T5" fmla="*/ 2147483647 h 58"/>
                <a:gd name="T6" fmla="*/ 2147483647 w 44"/>
                <a:gd name="T7" fmla="*/ 2147483647 h 58"/>
                <a:gd name="T8" fmla="*/ 2147483647 w 44"/>
                <a:gd name="T9" fmla="*/ 0 h 58"/>
                <a:gd name="T10" fmla="*/ 0 w 44"/>
                <a:gd name="T11" fmla="*/ 2147483647 h 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58">
                  <a:moveTo>
                    <a:pt x="0" y="33"/>
                  </a:moveTo>
                  <a:lnTo>
                    <a:pt x="7" y="58"/>
                  </a:lnTo>
                  <a:lnTo>
                    <a:pt x="44" y="46"/>
                  </a:lnTo>
                  <a:lnTo>
                    <a:pt x="44" y="12"/>
                  </a:lnTo>
                  <a:lnTo>
                    <a:pt x="12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2" name="Freeform 68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6435973" y="3767138"/>
              <a:ext cx="65088" cy="46037"/>
            </a:xfrm>
            <a:custGeom>
              <a:avLst/>
              <a:gdLst>
                <a:gd name="T0" fmla="*/ 0 w 44"/>
                <a:gd name="T1" fmla="*/ 2147483647 h 58"/>
                <a:gd name="T2" fmla="*/ 2147483647 w 44"/>
                <a:gd name="T3" fmla="*/ 2147483647 h 58"/>
                <a:gd name="T4" fmla="*/ 2147483647 w 44"/>
                <a:gd name="T5" fmla="*/ 2147483647 h 58"/>
                <a:gd name="T6" fmla="*/ 2147483647 w 44"/>
                <a:gd name="T7" fmla="*/ 2147483647 h 58"/>
                <a:gd name="T8" fmla="*/ 2147483647 w 44"/>
                <a:gd name="T9" fmla="*/ 0 h 58"/>
                <a:gd name="T10" fmla="*/ 0 w 44"/>
                <a:gd name="T11" fmla="*/ 2147483647 h 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58">
                  <a:moveTo>
                    <a:pt x="0" y="33"/>
                  </a:moveTo>
                  <a:lnTo>
                    <a:pt x="7" y="58"/>
                  </a:lnTo>
                  <a:lnTo>
                    <a:pt x="44" y="46"/>
                  </a:lnTo>
                  <a:lnTo>
                    <a:pt x="44" y="12"/>
                  </a:lnTo>
                  <a:lnTo>
                    <a:pt x="12" y="0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3" name="Freeform 69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6435973" y="3767138"/>
              <a:ext cx="65088" cy="46037"/>
            </a:xfrm>
            <a:custGeom>
              <a:avLst/>
              <a:gdLst>
                <a:gd name="T0" fmla="*/ 0 w 44"/>
                <a:gd name="T1" fmla="*/ 2147483647 h 58"/>
                <a:gd name="T2" fmla="*/ 2147483647 w 44"/>
                <a:gd name="T3" fmla="*/ 2147483647 h 58"/>
                <a:gd name="T4" fmla="*/ 2147483647 w 44"/>
                <a:gd name="T5" fmla="*/ 2147483647 h 58"/>
                <a:gd name="T6" fmla="*/ 2147483647 w 44"/>
                <a:gd name="T7" fmla="*/ 2147483647 h 58"/>
                <a:gd name="T8" fmla="*/ 2147483647 w 44"/>
                <a:gd name="T9" fmla="*/ 0 h 58"/>
                <a:gd name="T10" fmla="*/ 0 w 44"/>
                <a:gd name="T11" fmla="*/ 2147483647 h 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58">
                  <a:moveTo>
                    <a:pt x="0" y="33"/>
                  </a:moveTo>
                  <a:lnTo>
                    <a:pt x="7" y="58"/>
                  </a:lnTo>
                  <a:lnTo>
                    <a:pt x="44" y="46"/>
                  </a:lnTo>
                  <a:lnTo>
                    <a:pt x="44" y="12"/>
                  </a:lnTo>
                  <a:lnTo>
                    <a:pt x="12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4" name="Freeform 70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6435973" y="3767138"/>
              <a:ext cx="65088" cy="46037"/>
            </a:xfrm>
            <a:custGeom>
              <a:avLst/>
              <a:gdLst>
                <a:gd name="T0" fmla="*/ 0 w 44"/>
                <a:gd name="T1" fmla="*/ 2147483647 h 58"/>
                <a:gd name="T2" fmla="*/ 2147483647 w 44"/>
                <a:gd name="T3" fmla="*/ 2147483647 h 58"/>
                <a:gd name="T4" fmla="*/ 2147483647 w 44"/>
                <a:gd name="T5" fmla="*/ 2147483647 h 58"/>
                <a:gd name="T6" fmla="*/ 2147483647 w 44"/>
                <a:gd name="T7" fmla="*/ 2147483647 h 58"/>
                <a:gd name="T8" fmla="*/ 2147483647 w 44"/>
                <a:gd name="T9" fmla="*/ 0 h 58"/>
                <a:gd name="T10" fmla="*/ 0 w 44"/>
                <a:gd name="T11" fmla="*/ 2147483647 h 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58">
                  <a:moveTo>
                    <a:pt x="0" y="33"/>
                  </a:moveTo>
                  <a:lnTo>
                    <a:pt x="7" y="58"/>
                  </a:lnTo>
                  <a:lnTo>
                    <a:pt x="44" y="46"/>
                  </a:lnTo>
                  <a:lnTo>
                    <a:pt x="44" y="12"/>
                  </a:lnTo>
                  <a:lnTo>
                    <a:pt x="12" y="0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5" name="Freeform 71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2632323" y="4740275"/>
              <a:ext cx="273050" cy="344488"/>
            </a:xfrm>
            <a:custGeom>
              <a:avLst/>
              <a:gdLst>
                <a:gd name="T0" fmla="*/ 0 w 187"/>
                <a:gd name="T1" fmla="*/ 2147483647 h 434"/>
                <a:gd name="T2" fmla="*/ 2147483647 w 187"/>
                <a:gd name="T3" fmla="*/ 2147483647 h 434"/>
                <a:gd name="T4" fmla="*/ 2147483647 w 187"/>
                <a:gd name="T5" fmla="*/ 2147483647 h 434"/>
                <a:gd name="T6" fmla="*/ 2147483647 w 187"/>
                <a:gd name="T7" fmla="*/ 2147483647 h 434"/>
                <a:gd name="T8" fmla="*/ 2147483647 w 187"/>
                <a:gd name="T9" fmla="*/ 2147483647 h 434"/>
                <a:gd name="T10" fmla="*/ 2147483647 w 187"/>
                <a:gd name="T11" fmla="*/ 2147483647 h 434"/>
                <a:gd name="T12" fmla="*/ 2147483647 w 187"/>
                <a:gd name="T13" fmla="*/ 2147483647 h 434"/>
                <a:gd name="T14" fmla="*/ 2147483647 w 187"/>
                <a:gd name="T15" fmla="*/ 2147483647 h 434"/>
                <a:gd name="T16" fmla="*/ 2147483647 w 187"/>
                <a:gd name="T17" fmla="*/ 2147483647 h 434"/>
                <a:gd name="T18" fmla="*/ 2147483647 w 187"/>
                <a:gd name="T19" fmla="*/ 2147483647 h 434"/>
                <a:gd name="T20" fmla="*/ 2147483647 w 187"/>
                <a:gd name="T21" fmla="*/ 2147483647 h 434"/>
                <a:gd name="T22" fmla="*/ 2147483647 w 187"/>
                <a:gd name="T23" fmla="*/ 2147483647 h 434"/>
                <a:gd name="T24" fmla="*/ 2147483647 w 187"/>
                <a:gd name="T25" fmla="*/ 2147483647 h 434"/>
                <a:gd name="T26" fmla="*/ 2147483647 w 187"/>
                <a:gd name="T27" fmla="*/ 2147483647 h 434"/>
                <a:gd name="T28" fmla="*/ 2147483647 w 187"/>
                <a:gd name="T29" fmla="*/ 2147483647 h 434"/>
                <a:gd name="T30" fmla="*/ 2147483647 w 187"/>
                <a:gd name="T31" fmla="*/ 2147483647 h 434"/>
                <a:gd name="T32" fmla="*/ 2147483647 w 187"/>
                <a:gd name="T33" fmla="*/ 2147483647 h 434"/>
                <a:gd name="T34" fmla="*/ 2147483647 w 187"/>
                <a:gd name="T35" fmla="*/ 2147483647 h 434"/>
                <a:gd name="T36" fmla="*/ 2147483647 w 187"/>
                <a:gd name="T37" fmla="*/ 2147483647 h 434"/>
                <a:gd name="T38" fmla="*/ 2147483647 w 187"/>
                <a:gd name="T39" fmla="*/ 2147483647 h 434"/>
                <a:gd name="T40" fmla="*/ 2147483647 w 187"/>
                <a:gd name="T41" fmla="*/ 2147483647 h 434"/>
                <a:gd name="T42" fmla="*/ 2147483647 w 187"/>
                <a:gd name="T43" fmla="*/ 0 h 434"/>
                <a:gd name="T44" fmla="*/ 2147483647 w 187"/>
                <a:gd name="T45" fmla="*/ 2147483647 h 434"/>
                <a:gd name="T46" fmla="*/ 0 w 187"/>
                <a:gd name="T47" fmla="*/ 2147483647 h 4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87" h="434">
                  <a:moveTo>
                    <a:pt x="0" y="45"/>
                  </a:moveTo>
                  <a:lnTo>
                    <a:pt x="18" y="89"/>
                  </a:lnTo>
                  <a:lnTo>
                    <a:pt x="6" y="189"/>
                  </a:lnTo>
                  <a:lnTo>
                    <a:pt x="18" y="200"/>
                  </a:lnTo>
                  <a:lnTo>
                    <a:pt x="11" y="223"/>
                  </a:lnTo>
                  <a:lnTo>
                    <a:pt x="6" y="256"/>
                  </a:lnTo>
                  <a:lnTo>
                    <a:pt x="18" y="311"/>
                  </a:lnTo>
                  <a:lnTo>
                    <a:pt x="31" y="434"/>
                  </a:lnTo>
                  <a:lnTo>
                    <a:pt x="37" y="434"/>
                  </a:lnTo>
                  <a:lnTo>
                    <a:pt x="56" y="400"/>
                  </a:lnTo>
                  <a:lnTo>
                    <a:pt x="87" y="434"/>
                  </a:lnTo>
                  <a:lnTo>
                    <a:pt x="87" y="413"/>
                  </a:lnTo>
                  <a:lnTo>
                    <a:pt x="112" y="423"/>
                  </a:lnTo>
                  <a:lnTo>
                    <a:pt x="119" y="335"/>
                  </a:lnTo>
                  <a:lnTo>
                    <a:pt x="169" y="311"/>
                  </a:lnTo>
                  <a:lnTo>
                    <a:pt x="181" y="346"/>
                  </a:lnTo>
                  <a:lnTo>
                    <a:pt x="187" y="279"/>
                  </a:lnTo>
                  <a:lnTo>
                    <a:pt x="181" y="223"/>
                  </a:lnTo>
                  <a:lnTo>
                    <a:pt x="149" y="223"/>
                  </a:lnTo>
                  <a:lnTo>
                    <a:pt x="144" y="133"/>
                  </a:lnTo>
                  <a:lnTo>
                    <a:pt x="75" y="79"/>
                  </a:lnTo>
                  <a:lnTo>
                    <a:pt x="69" y="0"/>
                  </a:lnTo>
                  <a:lnTo>
                    <a:pt x="25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56" name="Group 72"/>
            <p:cNvGrpSpPr>
              <a:grpSpLocks/>
            </p:cNvGrpSpPr>
            <p:nvPr>
              <p:custDataLst>
                <p:tags r:id="rId50"/>
              </p:custDataLst>
            </p:nvPr>
          </p:nvGrpSpPr>
          <p:grpSpPr bwMode="auto">
            <a:xfrm>
              <a:off x="2632323" y="4740275"/>
              <a:ext cx="273050" cy="344488"/>
              <a:chOff x="1857" y="2804"/>
              <a:chExt cx="187" cy="21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15" name="Freeform 73"/>
              <p:cNvSpPr>
                <a:spLocks/>
              </p:cNvSpPr>
              <p:nvPr/>
            </p:nvSpPr>
            <p:spPr bwMode="auto">
              <a:xfrm>
                <a:off x="1857" y="2804"/>
                <a:ext cx="187" cy="217"/>
              </a:xfrm>
              <a:custGeom>
                <a:avLst/>
                <a:gdLst>
                  <a:gd name="T0" fmla="*/ 0 w 187"/>
                  <a:gd name="T1" fmla="*/ 1 h 434"/>
                  <a:gd name="T2" fmla="*/ 18 w 187"/>
                  <a:gd name="T3" fmla="*/ 1 h 434"/>
                  <a:gd name="T4" fmla="*/ 6 w 187"/>
                  <a:gd name="T5" fmla="*/ 1 h 434"/>
                  <a:gd name="T6" fmla="*/ 18 w 187"/>
                  <a:gd name="T7" fmla="*/ 1 h 434"/>
                  <a:gd name="T8" fmla="*/ 11 w 187"/>
                  <a:gd name="T9" fmla="*/ 1 h 434"/>
                  <a:gd name="T10" fmla="*/ 6 w 187"/>
                  <a:gd name="T11" fmla="*/ 1 h 434"/>
                  <a:gd name="T12" fmla="*/ 18 w 187"/>
                  <a:gd name="T13" fmla="*/ 1 h 434"/>
                  <a:gd name="T14" fmla="*/ 31 w 187"/>
                  <a:gd name="T15" fmla="*/ 1 h 434"/>
                  <a:gd name="T16" fmla="*/ 37 w 187"/>
                  <a:gd name="T17" fmla="*/ 1 h 434"/>
                  <a:gd name="T18" fmla="*/ 56 w 187"/>
                  <a:gd name="T19" fmla="*/ 1 h 434"/>
                  <a:gd name="T20" fmla="*/ 87 w 187"/>
                  <a:gd name="T21" fmla="*/ 1 h 434"/>
                  <a:gd name="T22" fmla="*/ 87 w 187"/>
                  <a:gd name="T23" fmla="*/ 1 h 434"/>
                  <a:gd name="T24" fmla="*/ 112 w 187"/>
                  <a:gd name="T25" fmla="*/ 1 h 434"/>
                  <a:gd name="T26" fmla="*/ 119 w 187"/>
                  <a:gd name="T27" fmla="*/ 1 h 434"/>
                  <a:gd name="T28" fmla="*/ 169 w 187"/>
                  <a:gd name="T29" fmla="*/ 1 h 434"/>
                  <a:gd name="T30" fmla="*/ 181 w 187"/>
                  <a:gd name="T31" fmla="*/ 1 h 434"/>
                  <a:gd name="T32" fmla="*/ 187 w 187"/>
                  <a:gd name="T33" fmla="*/ 1 h 434"/>
                  <a:gd name="T34" fmla="*/ 181 w 187"/>
                  <a:gd name="T35" fmla="*/ 1 h 434"/>
                  <a:gd name="T36" fmla="*/ 149 w 187"/>
                  <a:gd name="T37" fmla="*/ 1 h 434"/>
                  <a:gd name="T38" fmla="*/ 144 w 187"/>
                  <a:gd name="T39" fmla="*/ 1 h 434"/>
                  <a:gd name="T40" fmla="*/ 75 w 187"/>
                  <a:gd name="T41" fmla="*/ 1 h 434"/>
                  <a:gd name="T42" fmla="*/ 69 w 187"/>
                  <a:gd name="T43" fmla="*/ 0 h 434"/>
                  <a:gd name="T44" fmla="*/ 25 w 187"/>
                  <a:gd name="T45" fmla="*/ 1 h 434"/>
                  <a:gd name="T46" fmla="*/ 0 w 187"/>
                  <a:gd name="T47" fmla="*/ 1 h 43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87" h="434">
                    <a:moveTo>
                      <a:pt x="0" y="45"/>
                    </a:moveTo>
                    <a:lnTo>
                      <a:pt x="18" y="89"/>
                    </a:lnTo>
                    <a:lnTo>
                      <a:pt x="6" y="189"/>
                    </a:lnTo>
                    <a:lnTo>
                      <a:pt x="18" y="200"/>
                    </a:lnTo>
                    <a:lnTo>
                      <a:pt x="11" y="223"/>
                    </a:lnTo>
                    <a:lnTo>
                      <a:pt x="6" y="256"/>
                    </a:lnTo>
                    <a:lnTo>
                      <a:pt x="18" y="311"/>
                    </a:lnTo>
                    <a:lnTo>
                      <a:pt x="31" y="434"/>
                    </a:lnTo>
                    <a:lnTo>
                      <a:pt x="37" y="434"/>
                    </a:lnTo>
                    <a:lnTo>
                      <a:pt x="56" y="400"/>
                    </a:lnTo>
                    <a:lnTo>
                      <a:pt x="87" y="434"/>
                    </a:lnTo>
                    <a:lnTo>
                      <a:pt x="87" y="413"/>
                    </a:lnTo>
                    <a:lnTo>
                      <a:pt x="112" y="423"/>
                    </a:lnTo>
                    <a:lnTo>
                      <a:pt x="119" y="335"/>
                    </a:lnTo>
                    <a:lnTo>
                      <a:pt x="169" y="311"/>
                    </a:lnTo>
                    <a:lnTo>
                      <a:pt x="181" y="346"/>
                    </a:lnTo>
                    <a:lnTo>
                      <a:pt x="187" y="279"/>
                    </a:lnTo>
                    <a:lnTo>
                      <a:pt x="181" y="223"/>
                    </a:lnTo>
                    <a:lnTo>
                      <a:pt x="149" y="223"/>
                    </a:lnTo>
                    <a:lnTo>
                      <a:pt x="144" y="133"/>
                    </a:lnTo>
                    <a:lnTo>
                      <a:pt x="75" y="79"/>
                    </a:lnTo>
                    <a:lnTo>
                      <a:pt x="69" y="0"/>
                    </a:lnTo>
                    <a:lnTo>
                      <a:pt x="25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16" name="Freeform 74"/>
              <p:cNvSpPr>
                <a:spLocks/>
              </p:cNvSpPr>
              <p:nvPr/>
            </p:nvSpPr>
            <p:spPr bwMode="auto">
              <a:xfrm>
                <a:off x="1857" y="2804"/>
                <a:ext cx="187" cy="217"/>
              </a:xfrm>
              <a:custGeom>
                <a:avLst/>
                <a:gdLst>
                  <a:gd name="T0" fmla="*/ 0 w 187"/>
                  <a:gd name="T1" fmla="*/ 1 h 434"/>
                  <a:gd name="T2" fmla="*/ 18 w 187"/>
                  <a:gd name="T3" fmla="*/ 1 h 434"/>
                  <a:gd name="T4" fmla="*/ 6 w 187"/>
                  <a:gd name="T5" fmla="*/ 1 h 434"/>
                  <a:gd name="T6" fmla="*/ 18 w 187"/>
                  <a:gd name="T7" fmla="*/ 1 h 434"/>
                  <a:gd name="T8" fmla="*/ 11 w 187"/>
                  <a:gd name="T9" fmla="*/ 1 h 434"/>
                  <a:gd name="T10" fmla="*/ 6 w 187"/>
                  <a:gd name="T11" fmla="*/ 1 h 434"/>
                  <a:gd name="T12" fmla="*/ 18 w 187"/>
                  <a:gd name="T13" fmla="*/ 1 h 434"/>
                  <a:gd name="T14" fmla="*/ 31 w 187"/>
                  <a:gd name="T15" fmla="*/ 1 h 434"/>
                  <a:gd name="T16" fmla="*/ 37 w 187"/>
                  <a:gd name="T17" fmla="*/ 1 h 434"/>
                  <a:gd name="T18" fmla="*/ 56 w 187"/>
                  <a:gd name="T19" fmla="*/ 1 h 434"/>
                  <a:gd name="T20" fmla="*/ 87 w 187"/>
                  <a:gd name="T21" fmla="*/ 1 h 434"/>
                  <a:gd name="T22" fmla="*/ 87 w 187"/>
                  <a:gd name="T23" fmla="*/ 1 h 434"/>
                  <a:gd name="T24" fmla="*/ 112 w 187"/>
                  <a:gd name="T25" fmla="*/ 1 h 434"/>
                  <a:gd name="T26" fmla="*/ 119 w 187"/>
                  <a:gd name="T27" fmla="*/ 1 h 434"/>
                  <a:gd name="T28" fmla="*/ 169 w 187"/>
                  <a:gd name="T29" fmla="*/ 1 h 434"/>
                  <a:gd name="T30" fmla="*/ 181 w 187"/>
                  <a:gd name="T31" fmla="*/ 1 h 434"/>
                  <a:gd name="T32" fmla="*/ 187 w 187"/>
                  <a:gd name="T33" fmla="*/ 1 h 434"/>
                  <a:gd name="T34" fmla="*/ 181 w 187"/>
                  <a:gd name="T35" fmla="*/ 1 h 434"/>
                  <a:gd name="T36" fmla="*/ 149 w 187"/>
                  <a:gd name="T37" fmla="*/ 1 h 434"/>
                  <a:gd name="T38" fmla="*/ 144 w 187"/>
                  <a:gd name="T39" fmla="*/ 1 h 434"/>
                  <a:gd name="T40" fmla="*/ 75 w 187"/>
                  <a:gd name="T41" fmla="*/ 1 h 434"/>
                  <a:gd name="T42" fmla="*/ 69 w 187"/>
                  <a:gd name="T43" fmla="*/ 0 h 434"/>
                  <a:gd name="T44" fmla="*/ 25 w 187"/>
                  <a:gd name="T45" fmla="*/ 1 h 434"/>
                  <a:gd name="T46" fmla="*/ 0 w 187"/>
                  <a:gd name="T47" fmla="*/ 1 h 43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87" h="434">
                    <a:moveTo>
                      <a:pt x="0" y="45"/>
                    </a:moveTo>
                    <a:lnTo>
                      <a:pt x="18" y="89"/>
                    </a:lnTo>
                    <a:lnTo>
                      <a:pt x="6" y="189"/>
                    </a:lnTo>
                    <a:lnTo>
                      <a:pt x="18" y="200"/>
                    </a:lnTo>
                    <a:lnTo>
                      <a:pt x="11" y="223"/>
                    </a:lnTo>
                    <a:lnTo>
                      <a:pt x="6" y="256"/>
                    </a:lnTo>
                    <a:lnTo>
                      <a:pt x="18" y="311"/>
                    </a:lnTo>
                    <a:lnTo>
                      <a:pt x="31" y="434"/>
                    </a:lnTo>
                    <a:lnTo>
                      <a:pt x="37" y="434"/>
                    </a:lnTo>
                    <a:lnTo>
                      <a:pt x="56" y="400"/>
                    </a:lnTo>
                    <a:lnTo>
                      <a:pt x="87" y="434"/>
                    </a:lnTo>
                    <a:lnTo>
                      <a:pt x="87" y="413"/>
                    </a:lnTo>
                    <a:lnTo>
                      <a:pt x="112" y="423"/>
                    </a:lnTo>
                    <a:lnTo>
                      <a:pt x="119" y="335"/>
                    </a:lnTo>
                    <a:lnTo>
                      <a:pt x="169" y="311"/>
                    </a:lnTo>
                    <a:lnTo>
                      <a:pt x="181" y="346"/>
                    </a:lnTo>
                    <a:lnTo>
                      <a:pt x="187" y="279"/>
                    </a:lnTo>
                    <a:lnTo>
                      <a:pt x="181" y="223"/>
                    </a:lnTo>
                    <a:lnTo>
                      <a:pt x="149" y="223"/>
                    </a:lnTo>
                    <a:lnTo>
                      <a:pt x="144" y="133"/>
                    </a:lnTo>
                    <a:lnTo>
                      <a:pt x="75" y="79"/>
                    </a:lnTo>
                    <a:lnTo>
                      <a:pt x="69" y="0"/>
                    </a:lnTo>
                    <a:lnTo>
                      <a:pt x="25" y="45"/>
                    </a:lnTo>
                    <a:lnTo>
                      <a:pt x="0" y="45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7" name="Freeform 75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2632323" y="4740275"/>
              <a:ext cx="273050" cy="344488"/>
            </a:xfrm>
            <a:custGeom>
              <a:avLst/>
              <a:gdLst>
                <a:gd name="T0" fmla="*/ 0 w 187"/>
                <a:gd name="T1" fmla="*/ 2147483647 h 434"/>
                <a:gd name="T2" fmla="*/ 2147483647 w 187"/>
                <a:gd name="T3" fmla="*/ 2147483647 h 434"/>
                <a:gd name="T4" fmla="*/ 2147483647 w 187"/>
                <a:gd name="T5" fmla="*/ 2147483647 h 434"/>
                <a:gd name="T6" fmla="*/ 2147483647 w 187"/>
                <a:gd name="T7" fmla="*/ 2147483647 h 434"/>
                <a:gd name="T8" fmla="*/ 2147483647 w 187"/>
                <a:gd name="T9" fmla="*/ 2147483647 h 434"/>
                <a:gd name="T10" fmla="*/ 2147483647 w 187"/>
                <a:gd name="T11" fmla="*/ 2147483647 h 434"/>
                <a:gd name="T12" fmla="*/ 2147483647 w 187"/>
                <a:gd name="T13" fmla="*/ 2147483647 h 434"/>
                <a:gd name="T14" fmla="*/ 2147483647 w 187"/>
                <a:gd name="T15" fmla="*/ 2147483647 h 434"/>
                <a:gd name="T16" fmla="*/ 2147483647 w 187"/>
                <a:gd name="T17" fmla="*/ 2147483647 h 434"/>
                <a:gd name="T18" fmla="*/ 2147483647 w 187"/>
                <a:gd name="T19" fmla="*/ 2147483647 h 434"/>
                <a:gd name="T20" fmla="*/ 2147483647 w 187"/>
                <a:gd name="T21" fmla="*/ 2147483647 h 434"/>
                <a:gd name="T22" fmla="*/ 2147483647 w 187"/>
                <a:gd name="T23" fmla="*/ 2147483647 h 434"/>
                <a:gd name="T24" fmla="*/ 2147483647 w 187"/>
                <a:gd name="T25" fmla="*/ 2147483647 h 434"/>
                <a:gd name="T26" fmla="*/ 2147483647 w 187"/>
                <a:gd name="T27" fmla="*/ 2147483647 h 434"/>
                <a:gd name="T28" fmla="*/ 2147483647 w 187"/>
                <a:gd name="T29" fmla="*/ 2147483647 h 434"/>
                <a:gd name="T30" fmla="*/ 2147483647 w 187"/>
                <a:gd name="T31" fmla="*/ 2147483647 h 434"/>
                <a:gd name="T32" fmla="*/ 2147483647 w 187"/>
                <a:gd name="T33" fmla="*/ 2147483647 h 434"/>
                <a:gd name="T34" fmla="*/ 2147483647 w 187"/>
                <a:gd name="T35" fmla="*/ 2147483647 h 434"/>
                <a:gd name="T36" fmla="*/ 2147483647 w 187"/>
                <a:gd name="T37" fmla="*/ 2147483647 h 434"/>
                <a:gd name="T38" fmla="*/ 2147483647 w 187"/>
                <a:gd name="T39" fmla="*/ 2147483647 h 434"/>
                <a:gd name="T40" fmla="*/ 2147483647 w 187"/>
                <a:gd name="T41" fmla="*/ 2147483647 h 434"/>
                <a:gd name="T42" fmla="*/ 2147483647 w 187"/>
                <a:gd name="T43" fmla="*/ 0 h 434"/>
                <a:gd name="T44" fmla="*/ 2147483647 w 187"/>
                <a:gd name="T45" fmla="*/ 2147483647 h 434"/>
                <a:gd name="T46" fmla="*/ 0 w 187"/>
                <a:gd name="T47" fmla="*/ 2147483647 h 4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87" h="434">
                  <a:moveTo>
                    <a:pt x="0" y="45"/>
                  </a:moveTo>
                  <a:lnTo>
                    <a:pt x="18" y="89"/>
                  </a:lnTo>
                  <a:lnTo>
                    <a:pt x="6" y="189"/>
                  </a:lnTo>
                  <a:lnTo>
                    <a:pt x="18" y="200"/>
                  </a:lnTo>
                  <a:lnTo>
                    <a:pt x="11" y="223"/>
                  </a:lnTo>
                  <a:lnTo>
                    <a:pt x="6" y="256"/>
                  </a:lnTo>
                  <a:lnTo>
                    <a:pt x="18" y="311"/>
                  </a:lnTo>
                  <a:lnTo>
                    <a:pt x="31" y="434"/>
                  </a:lnTo>
                  <a:lnTo>
                    <a:pt x="37" y="434"/>
                  </a:lnTo>
                  <a:lnTo>
                    <a:pt x="56" y="400"/>
                  </a:lnTo>
                  <a:lnTo>
                    <a:pt x="87" y="434"/>
                  </a:lnTo>
                  <a:lnTo>
                    <a:pt x="87" y="413"/>
                  </a:lnTo>
                  <a:lnTo>
                    <a:pt x="112" y="423"/>
                  </a:lnTo>
                  <a:lnTo>
                    <a:pt x="119" y="335"/>
                  </a:lnTo>
                  <a:lnTo>
                    <a:pt x="169" y="311"/>
                  </a:lnTo>
                  <a:lnTo>
                    <a:pt x="181" y="346"/>
                  </a:lnTo>
                  <a:lnTo>
                    <a:pt x="187" y="279"/>
                  </a:lnTo>
                  <a:lnTo>
                    <a:pt x="181" y="223"/>
                  </a:lnTo>
                  <a:lnTo>
                    <a:pt x="149" y="223"/>
                  </a:lnTo>
                  <a:lnTo>
                    <a:pt x="144" y="133"/>
                  </a:lnTo>
                  <a:lnTo>
                    <a:pt x="75" y="79"/>
                  </a:lnTo>
                  <a:lnTo>
                    <a:pt x="69" y="0"/>
                  </a:lnTo>
                  <a:lnTo>
                    <a:pt x="25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58" name="Group 76"/>
            <p:cNvGrpSpPr>
              <a:grpSpLocks/>
            </p:cNvGrpSpPr>
            <p:nvPr>
              <p:custDataLst>
                <p:tags r:id="rId52"/>
              </p:custDataLst>
            </p:nvPr>
          </p:nvGrpSpPr>
          <p:grpSpPr bwMode="auto">
            <a:xfrm>
              <a:off x="2632323" y="4740275"/>
              <a:ext cx="273050" cy="344488"/>
              <a:chOff x="1857" y="2804"/>
              <a:chExt cx="187" cy="21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13" name="Freeform 77"/>
              <p:cNvSpPr>
                <a:spLocks/>
              </p:cNvSpPr>
              <p:nvPr/>
            </p:nvSpPr>
            <p:spPr bwMode="auto">
              <a:xfrm>
                <a:off x="1857" y="2804"/>
                <a:ext cx="187" cy="217"/>
              </a:xfrm>
              <a:custGeom>
                <a:avLst/>
                <a:gdLst>
                  <a:gd name="T0" fmla="*/ 0 w 187"/>
                  <a:gd name="T1" fmla="*/ 1 h 434"/>
                  <a:gd name="T2" fmla="*/ 18 w 187"/>
                  <a:gd name="T3" fmla="*/ 1 h 434"/>
                  <a:gd name="T4" fmla="*/ 6 w 187"/>
                  <a:gd name="T5" fmla="*/ 1 h 434"/>
                  <a:gd name="T6" fmla="*/ 18 w 187"/>
                  <a:gd name="T7" fmla="*/ 1 h 434"/>
                  <a:gd name="T8" fmla="*/ 11 w 187"/>
                  <a:gd name="T9" fmla="*/ 1 h 434"/>
                  <a:gd name="T10" fmla="*/ 6 w 187"/>
                  <a:gd name="T11" fmla="*/ 1 h 434"/>
                  <a:gd name="T12" fmla="*/ 18 w 187"/>
                  <a:gd name="T13" fmla="*/ 1 h 434"/>
                  <a:gd name="T14" fmla="*/ 31 w 187"/>
                  <a:gd name="T15" fmla="*/ 1 h 434"/>
                  <a:gd name="T16" fmla="*/ 37 w 187"/>
                  <a:gd name="T17" fmla="*/ 1 h 434"/>
                  <a:gd name="T18" fmla="*/ 56 w 187"/>
                  <a:gd name="T19" fmla="*/ 1 h 434"/>
                  <a:gd name="T20" fmla="*/ 87 w 187"/>
                  <a:gd name="T21" fmla="*/ 1 h 434"/>
                  <a:gd name="T22" fmla="*/ 87 w 187"/>
                  <a:gd name="T23" fmla="*/ 1 h 434"/>
                  <a:gd name="T24" fmla="*/ 112 w 187"/>
                  <a:gd name="T25" fmla="*/ 1 h 434"/>
                  <a:gd name="T26" fmla="*/ 119 w 187"/>
                  <a:gd name="T27" fmla="*/ 1 h 434"/>
                  <a:gd name="T28" fmla="*/ 169 w 187"/>
                  <a:gd name="T29" fmla="*/ 1 h 434"/>
                  <a:gd name="T30" fmla="*/ 181 w 187"/>
                  <a:gd name="T31" fmla="*/ 1 h 434"/>
                  <a:gd name="T32" fmla="*/ 187 w 187"/>
                  <a:gd name="T33" fmla="*/ 1 h 434"/>
                  <a:gd name="T34" fmla="*/ 181 w 187"/>
                  <a:gd name="T35" fmla="*/ 1 h 434"/>
                  <a:gd name="T36" fmla="*/ 149 w 187"/>
                  <a:gd name="T37" fmla="*/ 1 h 434"/>
                  <a:gd name="T38" fmla="*/ 144 w 187"/>
                  <a:gd name="T39" fmla="*/ 1 h 434"/>
                  <a:gd name="T40" fmla="*/ 75 w 187"/>
                  <a:gd name="T41" fmla="*/ 1 h 434"/>
                  <a:gd name="T42" fmla="*/ 69 w 187"/>
                  <a:gd name="T43" fmla="*/ 0 h 434"/>
                  <a:gd name="T44" fmla="*/ 25 w 187"/>
                  <a:gd name="T45" fmla="*/ 1 h 434"/>
                  <a:gd name="T46" fmla="*/ 0 w 187"/>
                  <a:gd name="T47" fmla="*/ 1 h 43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87" h="434">
                    <a:moveTo>
                      <a:pt x="0" y="45"/>
                    </a:moveTo>
                    <a:lnTo>
                      <a:pt x="18" y="89"/>
                    </a:lnTo>
                    <a:lnTo>
                      <a:pt x="6" y="189"/>
                    </a:lnTo>
                    <a:lnTo>
                      <a:pt x="18" y="200"/>
                    </a:lnTo>
                    <a:lnTo>
                      <a:pt x="11" y="223"/>
                    </a:lnTo>
                    <a:lnTo>
                      <a:pt x="6" y="256"/>
                    </a:lnTo>
                    <a:lnTo>
                      <a:pt x="18" y="311"/>
                    </a:lnTo>
                    <a:lnTo>
                      <a:pt x="31" y="434"/>
                    </a:lnTo>
                    <a:lnTo>
                      <a:pt x="37" y="434"/>
                    </a:lnTo>
                    <a:lnTo>
                      <a:pt x="56" y="400"/>
                    </a:lnTo>
                    <a:lnTo>
                      <a:pt x="87" y="434"/>
                    </a:lnTo>
                    <a:lnTo>
                      <a:pt x="87" y="413"/>
                    </a:lnTo>
                    <a:lnTo>
                      <a:pt x="112" y="423"/>
                    </a:lnTo>
                    <a:lnTo>
                      <a:pt x="119" y="335"/>
                    </a:lnTo>
                    <a:lnTo>
                      <a:pt x="169" y="311"/>
                    </a:lnTo>
                    <a:lnTo>
                      <a:pt x="181" y="346"/>
                    </a:lnTo>
                    <a:lnTo>
                      <a:pt x="187" y="279"/>
                    </a:lnTo>
                    <a:lnTo>
                      <a:pt x="181" y="223"/>
                    </a:lnTo>
                    <a:lnTo>
                      <a:pt x="149" y="223"/>
                    </a:lnTo>
                    <a:lnTo>
                      <a:pt x="144" y="133"/>
                    </a:lnTo>
                    <a:lnTo>
                      <a:pt x="75" y="79"/>
                    </a:lnTo>
                    <a:lnTo>
                      <a:pt x="69" y="0"/>
                    </a:lnTo>
                    <a:lnTo>
                      <a:pt x="25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14" name="Freeform 78"/>
              <p:cNvSpPr>
                <a:spLocks/>
              </p:cNvSpPr>
              <p:nvPr/>
            </p:nvSpPr>
            <p:spPr bwMode="auto">
              <a:xfrm>
                <a:off x="1857" y="2804"/>
                <a:ext cx="187" cy="217"/>
              </a:xfrm>
              <a:custGeom>
                <a:avLst/>
                <a:gdLst>
                  <a:gd name="T0" fmla="*/ 0 w 187"/>
                  <a:gd name="T1" fmla="*/ 1 h 434"/>
                  <a:gd name="T2" fmla="*/ 18 w 187"/>
                  <a:gd name="T3" fmla="*/ 1 h 434"/>
                  <a:gd name="T4" fmla="*/ 6 w 187"/>
                  <a:gd name="T5" fmla="*/ 1 h 434"/>
                  <a:gd name="T6" fmla="*/ 18 w 187"/>
                  <a:gd name="T7" fmla="*/ 1 h 434"/>
                  <a:gd name="T8" fmla="*/ 11 w 187"/>
                  <a:gd name="T9" fmla="*/ 1 h 434"/>
                  <a:gd name="T10" fmla="*/ 6 w 187"/>
                  <a:gd name="T11" fmla="*/ 1 h 434"/>
                  <a:gd name="T12" fmla="*/ 18 w 187"/>
                  <a:gd name="T13" fmla="*/ 1 h 434"/>
                  <a:gd name="T14" fmla="*/ 31 w 187"/>
                  <a:gd name="T15" fmla="*/ 1 h 434"/>
                  <a:gd name="T16" fmla="*/ 37 w 187"/>
                  <a:gd name="T17" fmla="*/ 1 h 434"/>
                  <a:gd name="T18" fmla="*/ 56 w 187"/>
                  <a:gd name="T19" fmla="*/ 1 h 434"/>
                  <a:gd name="T20" fmla="*/ 87 w 187"/>
                  <a:gd name="T21" fmla="*/ 1 h 434"/>
                  <a:gd name="T22" fmla="*/ 87 w 187"/>
                  <a:gd name="T23" fmla="*/ 1 h 434"/>
                  <a:gd name="T24" fmla="*/ 112 w 187"/>
                  <a:gd name="T25" fmla="*/ 1 h 434"/>
                  <a:gd name="T26" fmla="*/ 119 w 187"/>
                  <a:gd name="T27" fmla="*/ 1 h 434"/>
                  <a:gd name="T28" fmla="*/ 169 w 187"/>
                  <a:gd name="T29" fmla="*/ 1 h 434"/>
                  <a:gd name="T30" fmla="*/ 181 w 187"/>
                  <a:gd name="T31" fmla="*/ 1 h 434"/>
                  <a:gd name="T32" fmla="*/ 187 w 187"/>
                  <a:gd name="T33" fmla="*/ 1 h 434"/>
                  <a:gd name="T34" fmla="*/ 181 w 187"/>
                  <a:gd name="T35" fmla="*/ 1 h 434"/>
                  <a:gd name="T36" fmla="*/ 149 w 187"/>
                  <a:gd name="T37" fmla="*/ 1 h 434"/>
                  <a:gd name="T38" fmla="*/ 144 w 187"/>
                  <a:gd name="T39" fmla="*/ 1 h 434"/>
                  <a:gd name="T40" fmla="*/ 75 w 187"/>
                  <a:gd name="T41" fmla="*/ 1 h 434"/>
                  <a:gd name="T42" fmla="*/ 69 w 187"/>
                  <a:gd name="T43" fmla="*/ 0 h 434"/>
                  <a:gd name="T44" fmla="*/ 25 w 187"/>
                  <a:gd name="T45" fmla="*/ 1 h 434"/>
                  <a:gd name="T46" fmla="*/ 0 w 187"/>
                  <a:gd name="T47" fmla="*/ 1 h 43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87" h="434">
                    <a:moveTo>
                      <a:pt x="0" y="45"/>
                    </a:moveTo>
                    <a:lnTo>
                      <a:pt x="18" y="89"/>
                    </a:lnTo>
                    <a:lnTo>
                      <a:pt x="6" y="189"/>
                    </a:lnTo>
                    <a:lnTo>
                      <a:pt x="18" y="200"/>
                    </a:lnTo>
                    <a:lnTo>
                      <a:pt x="11" y="223"/>
                    </a:lnTo>
                    <a:lnTo>
                      <a:pt x="6" y="256"/>
                    </a:lnTo>
                    <a:lnTo>
                      <a:pt x="18" y="311"/>
                    </a:lnTo>
                    <a:lnTo>
                      <a:pt x="31" y="434"/>
                    </a:lnTo>
                    <a:lnTo>
                      <a:pt x="37" y="434"/>
                    </a:lnTo>
                    <a:lnTo>
                      <a:pt x="56" y="400"/>
                    </a:lnTo>
                    <a:lnTo>
                      <a:pt x="87" y="434"/>
                    </a:lnTo>
                    <a:lnTo>
                      <a:pt x="87" y="413"/>
                    </a:lnTo>
                    <a:lnTo>
                      <a:pt x="112" y="423"/>
                    </a:lnTo>
                    <a:lnTo>
                      <a:pt x="119" y="335"/>
                    </a:lnTo>
                    <a:lnTo>
                      <a:pt x="169" y="311"/>
                    </a:lnTo>
                    <a:lnTo>
                      <a:pt x="181" y="346"/>
                    </a:lnTo>
                    <a:lnTo>
                      <a:pt x="187" y="279"/>
                    </a:lnTo>
                    <a:lnTo>
                      <a:pt x="181" y="223"/>
                    </a:lnTo>
                    <a:lnTo>
                      <a:pt x="149" y="223"/>
                    </a:lnTo>
                    <a:lnTo>
                      <a:pt x="144" y="133"/>
                    </a:lnTo>
                    <a:lnTo>
                      <a:pt x="75" y="79"/>
                    </a:lnTo>
                    <a:lnTo>
                      <a:pt x="69" y="0"/>
                    </a:lnTo>
                    <a:lnTo>
                      <a:pt x="25" y="45"/>
                    </a:lnTo>
                    <a:lnTo>
                      <a:pt x="0" y="45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9" name="Freeform 79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2540248" y="4367213"/>
              <a:ext cx="889000" cy="1017587"/>
            </a:xfrm>
            <a:custGeom>
              <a:avLst/>
              <a:gdLst>
                <a:gd name="T0" fmla="*/ 2147483647 w 607"/>
                <a:gd name="T1" fmla="*/ 2147483647 h 1281"/>
                <a:gd name="T2" fmla="*/ 2147483647 w 607"/>
                <a:gd name="T3" fmla="*/ 2147483647 h 1281"/>
                <a:gd name="T4" fmla="*/ 2147483647 w 607"/>
                <a:gd name="T5" fmla="*/ 2147483647 h 1281"/>
                <a:gd name="T6" fmla="*/ 2147483647 w 607"/>
                <a:gd name="T7" fmla="*/ 2147483647 h 1281"/>
                <a:gd name="T8" fmla="*/ 2147483647 w 607"/>
                <a:gd name="T9" fmla="*/ 2147483647 h 1281"/>
                <a:gd name="T10" fmla="*/ 2147483647 w 607"/>
                <a:gd name="T11" fmla="*/ 2147483647 h 1281"/>
                <a:gd name="T12" fmla="*/ 2147483647 w 607"/>
                <a:gd name="T13" fmla="*/ 2147483647 h 1281"/>
                <a:gd name="T14" fmla="*/ 2147483647 w 607"/>
                <a:gd name="T15" fmla="*/ 2147483647 h 1281"/>
                <a:gd name="T16" fmla="*/ 2147483647 w 607"/>
                <a:gd name="T17" fmla="*/ 2147483647 h 1281"/>
                <a:gd name="T18" fmla="*/ 2147483647 w 607"/>
                <a:gd name="T19" fmla="*/ 2147483647 h 1281"/>
                <a:gd name="T20" fmla="*/ 2147483647 w 607"/>
                <a:gd name="T21" fmla="*/ 2147483647 h 1281"/>
                <a:gd name="T22" fmla="*/ 2147483647 w 607"/>
                <a:gd name="T23" fmla="*/ 2147483647 h 1281"/>
                <a:gd name="T24" fmla="*/ 2147483647 w 607"/>
                <a:gd name="T25" fmla="*/ 2147483647 h 1281"/>
                <a:gd name="T26" fmla="*/ 2147483647 w 607"/>
                <a:gd name="T27" fmla="*/ 2147483647 h 1281"/>
                <a:gd name="T28" fmla="*/ 2147483647 w 607"/>
                <a:gd name="T29" fmla="*/ 2147483647 h 1281"/>
                <a:gd name="T30" fmla="*/ 2147483647 w 607"/>
                <a:gd name="T31" fmla="*/ 2147483647 h 1281"/>
                <a:gd name="T32" fmla="*/ 2147483647 w 607"/>
                <a:gd name="T33" fmla="*/ 2147483647 h 1281"/>
                <a:gd name="T34" fmla="*/ 2147483647 w 607"/>
                <a:gd name="T35" fmla="*/ 2147483647 h 1281"/>
                <a:gd name="T36" fmla="*/ 2147483647 w 607"/>
                <a:gd name="T37" fmla="*/ 2147483647 h 1281"/>
                <a:gd name="T38" fmla="*/ 2147483647 w 607"/>
                <a:gd name="T39" fmla="*/ 2147483647 h 1281"/>
                <a:gd name="T40" fmla="*/ 2147483647 w 607"/>
                <a:gd name="T41" fmla="*/ 2147483647 h 1281"/>
                <a:gd name="T42" fmla="*/ 2147483647 w 607"/>
                <a:gd name="T43" fmla="*/ 2147483647 h 1281"/>
                <a:gd name="T44" fmla="*/ 2147483647 w 607"/>
                <a:gd name="T45" fmla="*/ 2147483647 h 1281"/>
                <a:gd name="T46" fmla="*/ 2147483647 w 607"/>
                <a:gd name="T47" fmla="*/ 2147483647 h 1281"/>
                <a:gd name="T48" fmla="*/ 2147483647 w 607"/>
                <a:gd name="T49" fmla="*/ 2147483647 h 1281"/>
                <a:gd name="T50" fmla="*/ 2147483647 w 607"/>
                <a:gd name="T51" fmla="*/ 2147483647 h 1281"/>
                <a:gd name="T52" fmla="*/ 2147483647 w 607"/>
                <a:gd name="T53" fmla="*/ 2147483647 h 1281"/>
                <a:gd name="T54" fmla="*/ 2147483647 w 607"/>
                <a:gd name="T55" fmla="*/ 0 h 1281"/>
                <a:gd name="T56" fmla="*/ 2147483647 w 607"/>
                <a:gd name="T57" fmla="*/ 2147483647 h 1281"/>
                <a:gd name="T58" fmla="*/ 2147483647 w 607"/>
                <a:gd name="T59" fmla="*/ 2147483647 h 1281"/>
                <a:gd name="T60" fmla="*/ 2147483647 w 607"/>
                <a:gd name="T61" fmla="*/ 2147483647 h 1281"/>
                <a:gd name="T62" fmla="*/ 2147483647 w 607"/>
                <a:gd name="T63" fmla="*/ 2147483647 h 1281"/>
                <a:gd name="T64" fmla="*/ 2147483647 w 607"/>
                <a:gd name="T65" fmla="*/ 2147483647 h 1281"/>
                <a:gd name="T66" fmla="*/ 2147483647 w 607"/>
                <a:gd name="T67" fmla="*/ 2147483647 h 1281"/>
                <a:gd name="T68" fmla="*/ 0 w 607"/>
                <a:gd name="T69" fmla="*/ 2147483647 h 12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607" h="1281">
                  <a:moveTo>
                    <a:pt x="0" y="399"/>
                  </a:moveTo>
                  <a:lnTo>
                    <a:pt x="19" y="468"/>
                  </a:lnTo>
                  <a:lnTo>
                    <a:pt x="38" y="478"/>
                  </a:lnTo>
                  <a:lnTo>
                    <a:pt x="55" y="457"/>
                  </a:lnTo>
                  <a:lnTo>
                    <a:pt x="55" y="513"/>
                  </a:lnTo>
                  <a:lnTo>
                    <a:pt x="69" y="513"/>
                  </a:lnTo>
                  <a:lnTo>
                    <a:pt x="88" y="513"/>
                  </a:lnTo>
                  <a:lnTo>
                    <a:pt x="132" y="468"/>
                  </a:lnTo>
                  <a:lnTo>
                    <a:pt x="138" y="545"/>
                  </a:lnTo>
                  <a:lnTo>
                    <a:pt x="207" y="601"/>
                  </a:lnTo>
                  <a:lnTo>
                    <a:pt x="212" y="689"/>
                  </a:lnTo>
                  <a:lnTo>
                    <a:pt x="244" y="689"/>
                  </a:lnTo>
                  <a:lnTo>
                    <a:pt x="250" y="747"/>
                  </a:lnTo>
                  <a:lnTo>
                    <a:pt x="250" y="812"/>
                  </a:lnTo>
                  <a:lnTo>
                    <a:pt x="250" y="879"/>
                  </a:lnTo>
                  <a:lnTo>
                    <a:pt x="281" y="891"/>
                  </a:lnTo>
                  <a:lnTo>
                    <a:pt x="288" y="935"/>
                  </a:lnTo>
                  <a:lnTo>
                    <a:pt x="299" y="947"/>
                  </a:lnTo>
                  <a:lnTo>
                    <a:pt x="299" y="1000"/>
                  </a:lnTo>
                  <a:lnTo>
                    <a:pt x="313" y="1000"/>
                  </a:lnTo>
                  <a:lnTo>
                    <a:pt x="313" y="1046"/>
                  </a:lnTo>
                  <a:lnTo>
                    <a:pt x="257" y="1158"/>
                  </a:lnTo>
                  <a:lnTo>
                    <a:pt x="263" y="1146"/>
                  </a:lnTo>
                  <a:lnTo>
                    <a:pt x="313" y="1214"/>
                  </a:lnTo>
                  <a:lnTo>
                    <a:pt x="319" y="1246"/>
                  </a:lnTo>
                  <a:lnTo>
                    <a:pt x="319" y="1281"/>
                  </a:lnTo>
                  <a:lnTo>
                    <a:pt x="394" y="1093"/>
                  </a:lnTo>
                  <a:lnTo>
                    <a:pt x="394" y="991"/>
                  </a:lnTo>
                  <a:lnTo>
                    <a:pt x="457" y="902"/>
                  </a:lnTo>
                  <a:lnTo>
                    <a:pt x="494" y="902"/>
                  </a:lnTo>
                  <a:lnTo>
                    <a:pt x="506" y="879"/>
                  </a:lnTo>
                  <a:lnTo>
                    <a:pt x="538" y="724"/>
                  </a:lnTo>
                  <a:lnTo>
                    <a:pt x="538" y="580"/>
                  </a:lnTo>
                  <a:lnTo>
                    <a:pt x="601" y="445"/>
                  </a:lnTo>
                  <a:lnTo>
                    <a:pt x="607" y="390"/>
                  </a:lnTo>
                  <a:lnTo>
                    <a:pt x="601" y="334"/>
                  </a:lnTo>
                  <a:lnTo>
                    <a:pt x="569" y="324"/>
                  </a:lnTo>
                  <a:lnTo>
                    <a:pt x="532" y="267"/>
                  </a:lnTo>
                  <a:lnTo>
                    <a:pt x="457" y="246"/>
                  </a:lnTo>
                  <a:lnTo>
                    <a:pt x="450" y="211"/>
                  </a:lnTo>
                  <a:lnTo>
                    <a:pt x="419" y="190"/>
                  </a:lnTo>
                  <a:lnTo>
                    <a:pt x="400" y="190"/>
                  </a:lnTo>
                  <a:lnTo>
                    <a:pt x="382" y="246"/>
                  </a:lnTo>
                  <a:lnTo>
                    <a:pt x="382" y="223"/>
                  </a:lnTo>
                  <a:lnTo>
                    <a:pt x="350" y="234"/>
                  </a:lnTo>
                  <a:lnTo>
                    <a:pt x="363" y="223"/>
                  </a:lnTo>
                  <a:lnTo>
                    <a:pt x="350" y="178"/>
                  </a:lnTo>
                  <a:lnTo>
                    <a:pt x="375" y="111"/>
                  </a:lnTo>
                  <a:lnTo>
                    <a:pt x="350" y="34"/>
                  </a:lnTo>
                  <a:lnTo>
                    <a:pt x="325" y="100"/>
                  </a:lnTo>
                  <a:lnTo>
                    <a:pt x="299" y="88"/>
                  </a:lnTo>
                  <a:lnTo>
                    <a:pt x="269" y="100"/>
                  </a:lnTo>
                  <a:lnTo>
                    <a:pt x="225" y="123"/>
                  </a:lnTo>
                  <a:lnTo>
                    <a:pt x="219" y="78"/>
                  </a:lnTo>
                  <a:lnTo>
                    <a:pt x="219" y="23"/>
                  </a:lnTo>
                  <a:lnTo>
                    <a:pt x="207" y="0"/>
                  </a:lnTo>
                  <a:lnTo>
                    <a:pt x="169" y="34"/>
                  </a:lnTo>
                  <a:lnTo>
                    <a:pt x="143" y="23"/>
                  </a:lnTo>
                  <a:lnTo>
                    <a:pt x="150" y="88"/>
                  </a:lnTo>
                  <a:lnTo>
                    <a:pt x="163" y="88"/>
                  </a:lnTo>
                  <a:lnTo>
                    <a:pt x="125" y="146"/>
                  </a:lnTo>
                  <a:lnTo>
                    <a:pt x="113" y="123"/>
                  </a:lnTo>
                  <a:lnTo>
                    <a:pt x="100" y="100"/>
                  </a:lnTo>
                  <a:lnTo>
                    <a:pt x="63" y="111"/>
                  </a:lnTo>
                  <a:lnTo>
                    <a:pt x="74" y="146"/>
                  </a:lnTo>
                  <a:lnTo>
                    <a:pt x="63" y="146"/>
                  </a:lnTo>
                  <a:lnTo>
                    <a:pt x="69" y="201"/>
                  </a:lnTo>
                  <a:lnTo>
                    <a:pt x="63" y="301"/>
                  </a:lnTo>
                  <a:lnTo>
                    <a:pt x="25" y="324"/>
                  </a:lnTo>
                  <a:lnTo>
                    <a:pt x="0" y="3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0" name="Group 80"/>
            <p:cNvGrpSpPr>
              <a:grpSpLocks/>
            </p:cNvGrpSpPr>
            <p:nvPr>
              <p:custDataLst>
                <p:tags r:id="rId54"/>
              </p:custDataLst>
            </p:nvPr>
          </p:nvGrpSpPr>
          <p:grpSpPr bwMode="auto">
            <a:xfrm>
              <a:off x="2540248" y="4367213"/>
              <a:ext cx="889000" cy="1017587"/>
              <a:chOff x="1794" y="2569"/>
              <a:chExt cx="607" cy="641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11" name="Freeform 81"/>
              <p:cNvSpPr>
                <a:spLocks/>
              </p:cNvSpPr>
              <p:nvPr/>
            </p:nvSpPr>
            <p:spPr bwMode="auto">
              <a:xfrm>
                <a:off x="1794" y="2569"/>
                <a:ext cx="607" cy="641"/>
              </a:xfrm>
              <a:custGeom>
                <a:avLst/>
                <a:gdLst>
                  <a:gd name="T0" fmla="*/ 19 w 607"/>
                  <a:gd name="T1" fmla="*/ 1 h 1281"/>
                  <a:gd name="T2" fmla="*/ 55 w 607"/>
                  <a:gd name="T3" fmla="*/ 1 h 1281"/>
                  <a:gd name="T4" fmla="*/ 69 w 607"/>
                  <a:gd name="T5" fmla="*/ 1 h 1281"/>
                  <a:gd name="T6" fmla="*/ 132 w 607"/>
                  <a:gd name="T7" fmla="*/ 1 h 1281"/>
                  <a:gd name="T8" fmla="*/ 207 w 607"/>
                  <a:gd name="T9" fmla="*/ 1 h 1281"/>
                  <a:gd name="T10" fmla="*/ 244 w 607"/>
                  <a:gd name="T11" fmla="*/ 1 h 1281"/>
                  <a:gd name="T12" fmla="*/ 250 w 607"/>
                  <a:gd name="T13" fmla="*/ 1 h 1281"/>
                  <a:gd name="T14" fmla="*/ 281 w 607"/>
                  <a:gd name="T15" fmla="*/ 1 h 1281"/>
                  <a:gd name="T16" fmla="*/ 299 w 607"/>
                  <a:gd name="T17" fmla="*/ 1 h 1281"/>
                  <a:gd name="T18" fmla="*/ 313 w 607"/>
                  <a:gd name="T19" fmla="*/ 1 h 1281"/>
                  <a:gd name="T20" fmla="*/ 257 w 607"/>
                  <a:gd name="T21" fmla="*/ 1 h 1281"/>
                  <a:gd name="T22" fmla="*/ 313 w 607"/>
                  <a:gd name="T23" fmla="*/ 1 h 1281"/>
                  <a:gd name="T24" fmla="*/ 319 w 607"/>
                  <a:gd name="T25" fmla="*/ 1 h 1281"/>
                  <a:gd name="T26" fmla="*/ 394 w 607"/>
                  <a:gd name="T27" fmla="*/ 1 h 1281"/>
                  <a:gd name="T28" fmla="*/ 494 w 607"/>
                  <a:gd name="T29" fmla="*/ 1 h 1281"/>
                  <a:gd name="T30" fmla="*/ 538 w 607"/>
                  <a:gd name="T31" fmla="*/ 1 h 1281"/>
                  <a:gd name="T32" fmla="*/ 601 w 607"/>
                  <a:gd name="T33" fmla="*/ 1 h 1281"/>
                  <a:gd name="T34" fmla="*/ 601 w 607"/>
                  <a:gd name="T35" fmla="*/ 1 h 1281"/>
                  <a:gd name="T36" fmla="*/ 532 w 607"/>
                  <a:gd name="T37" fmla="*/ 1 h 1281"/>
                  <a:gd name="T38" fmla="*/ 450 w 607"/>
                  <a:gd name="T39" fmla="*/ 1 h 1281"/>
                  <a:gd name="T40" fmla="*/ 400 w 607"/>
                  <a:gd name="T41" fmla="*/ 1 h 1281"/>
                  <a:gd name="T42" fmla="*/ 382 w 607"/>
                  <a:gd name="T43" fmla="*/ 1 h 1281"/>
                  <a:gd name="T44" fmla="*/ 363 w 607"/>
                  <a:gd name="T45" fmla="*/ 1 h 1281"/>
                  <a:gd name="T46" fmla="*/ 375 w 607"/>
                  <a:gd name="T47" fmla="*/ 1 h 1281"/>
                  <a:gd name="T48" fmla="*/ 325 w 607"/>
                  <a:gd name="T49" fmla="*/ 1 h 1281"/>
                  <a:gd name="T50" fmla="*/ 269 w 607"/>
                  <a:gd name="T51" fmla="*/ 1 h 1281"/>
                  <a:gd name="T52" fmla="*/ 219 w 607"/>
                  <a:gd name="T53" fmla="*/ 1 h 1281"/>
                  <a:gd name="T54" fmla="*/ 207 w 607"/>
                  <a:gd name="T55" fmla="*/ 0 h 1281"/>
                  <a:gd name="T56" fmla="*/ 143 w 607"/>
                  <a:gd name="T57" fmla="*/ 1 h 1281"/>
                  <a:gd name="T58" fmla="*/ 163 w 607"/>
                  <a:gd name="T59" fmla="*/ 1 h 1281"/>
                  <a:gd name="T60" fmla="*/ 113 w 607"/>
                  <a:gd name="T61" fmla="*/ 1 h 1281"/>
                  <a:gd name="T62" fmla="*/ 63 w 607"/>
                  <a:gd name="T63" fmla="*/ 1 h 1281"/>
                  <a:gd name="T64" fmla="*/ 63 w 607"/>
                  <a:gd name="T65" fmla="*/ 1 h 1281"/>
                  <a:gd name="T66" fmla="*/ 63 w 607"/>
                  <a:gd name="T67" fmla="*/ 1 h 1281"/>
                  <a:gd name="T68" fmla="*/ 0 w 607"/>
                  <a:gd name="T69" fmla="*/ 1 h 128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07" h="1281">
                    <a:moveTo>
                      <a:pt x="0" y="399"/>
                    </a:moveTo>
                    <a:lnTo>
                      <a:pt x="19" y="468"/>
                    </a:lnTo>
                    <a:lnTo>
                      <a:pt x="38" y="478"/>
                    </a:lnTo>
                    <a:lnTo>
                      <a:pt x="55" y="457"/>
                    </a:lnTo>
                    <a:lnTo>
                      <a:pt x="55" y="513"/>
                    </a:lnTo>
                    <a:lnTo>
                      <a:pt x="69" y="513"/>
                    </a:lnTo>
                    <a:lnTo>
                      <a:pt x="88" y="513"/>
                    </a:lnTo>
                    <a:lnTo>
                      <a:pt x="132" y="468"/>
                    </a:lnTo>
                    <a:lnTo>
                      <a:pt x="138" y="545"/>
                    </a:lnTo>
                    <a:lnTo>
                      <a:pt x="207" y="601"/>
                    </a:lnTo>
                    <a:lnTo>
                      <a:pt x="212" y="689"/>
                    </a:lnTo>
                    <a:lnTo>
                      <a:pt x="244" y="689"/>
                    </a:lnTo>
                    <a:lnTo>
                      <a:pt x="250" y="747"/>
                    </a:lnTo>
                    <a:lnTo>
                      <a:pt x="250" y="812"/>
                    </a:lnTo>
                    <a:lnTo>
                      <a:pt x="250" y="879"/>
                    </a:lnTo>
                    <a:lnTo>
                      <a:pt x="281" y="891"/>
                    </a:lnTo>
                    <a:lnTo>
                      <a:pt x="288" y="935"/>
                    </a:lnTo>
                    <a:lnTo>
                      <a:pt x="299" y="947"/>
                    </a:lnTo>
                    <a:lnTo>
                      <a:pt x="299" y="1000"/>
                    </a:lnTo>
                    <a:lnTo>
                      <a:pt x="313" y="1000"/>
                    </a:lnTo>
                    <a:lnTo>
                      <a:pt x="313" y="1046"/>
                    </a:lnTo>
                    <a:lnTo>
                      <a:pt x="257" y="1158"/>
                    </a:lnTo>
                    <a:lnTo>
                      <a:pt x="263" y="1146"/>
                    </a:lnTo>
                    <a:lnTo>
                      <a:pt x="313" y="1214"/>
                    </a:lnTo>
                    <a:lnTo>
                      <a:pt x="319" y="1246"/>
                    </a:lnTo>
                    <a:lnTo>
                      <a:pt x="319" y="1281"/>
                    </a:lnTo>
                    <a:lnTo>
                      <a:pt x="394" y="1093"/>
                    </a:lnTo>
                    <a:lnTo>
                      <a:pt x="394" y="991"/>
                    </a:lnTo>
                    <a:lnTo>
                      <a:pt x="457" y="902"/>
                    </a:lnTo>
                    <a:lnTo>
                      <a:pt x="494" y="902"/>
                    </a:lnTo>
                    <a:lnTo>
                      <a:pt x="506" y="879"/>
                    </a:lnTo>
                    <a:lnTo>
                      <a:pt x="538" y="724"/>
                    </a:lnTo>
                    <a:lnTo>
                      <a:pt x="538" y="580"/>
                    </a:lnTo>
                    <a:lnTo>
                      <a:pt x="601" y="445"/>
                    </a:lnTo>
                    <a:lnTo>
                      <a:pt x="607" y="390"/>
                    </a:lnTo>
                    <a:lnTo>
                      <a:pt x="601" y="334"/>
                    </a:lnTo>
                    <a:lnTo>
                      <a:pt x="569" y="324"/>
                    </a:lnTo>
                    <a:lnTo>
                      <a:pt x="532" y="267"/>
                    </a:lnTo>
                    <a:lnTo>
                      <a:pt x="457" y="246"/>
                    </a:lnTo>
                    <a:lnTo>
                      <a:pt x="450" y="211"/>
                    </a:lnTo>
                    <a:lnTo>
                      <a:pt x="419" y="190"/>
                    </a:lnTo>
                    <a:lnTo>
                      <a:pt x="400" y="190"/>
                    </a:lnTo>
                    <a:lnTo>
                      <a:pt x="382" y="246"/>
                    </a:lnTo>
                    <a:lnTo>
                      <a:pt x="382" y="223"/>
                    </a:lnTo>
                    <a:lnTo>
                      <a:pt x="350" y="234"/>
                    </a:lnTo>
                    <a:lnTo>
                      <a:pt x="363" y="223"/>
                    </a:lnTo>
                    <a:lnTo>
                      <a:pt x="350" y="178"/>
                    </a:lnTo>
                    <a:lnTo>
                      <a:pt x="375" y="111"/>
                    </a:lnTo>
                    <a:lnTo>
                      <a:pt x="350" y="34"/>
                    </a:lnTo>
                    <a:lnTo>
                      <a:pt x="325" y="100"/>
                    </a:lnTo>
                    <a:lnTo>
                      <a:pt x="299" y="88"/>
                    </a:lnTo>
                    <a:lnTo>
                      <a:pt x="269" y="100"/>
                    </a:lnTo>
                    <a:lnTo>
                      <a:pt x="225" y="123"/>
                    </a:lnTo>
                    <a:lnTo>
                      <a:pt x="219" y="78"/>
                    </a:lnTo>
                    <a:lnTo>
                      <a:pt x="219" y="23"/>
                    </a:lnTo>
                    <a:lnTo>
                      <a:pt x="207" y="0"/>
                    </a:lnTo>
                    <a:lnTo>
                      <a:pt x="169" y="34"/>
                    </a:lnTo>
                    <a:lnTo>
                      <a:pt x="143" y="23"/>
                    </a:lnTo>
                    <a:lnTo>
                      <a:pt x="150" y="88"/>
                    </a:lnTo>
                    <a:lnTo>
                      <a:pt x="163" y="88"/>
                    </a:lnTo>
                    <a:lnTo>
                      <a:pt x="125" y="146"/>
                    </a:lnTo>
                    <a:lnTo>
                      <a:pt x="113" y="123"/>
                    </a:lnTo>
                    <a:lnTo>
                      <a:pt x="100" y="100"/>
                    </a:lnTo>
                    <a:lnTo>
                      <a:pt x="63" y="111"/>
                    </a:lnTo>
                    <a:lnTo>
                      <a:pt x="74" y="146"/>
                    </a:lnTo>
                    <a:lnTo>
                      <a:pt x="63" y="146"/>
                    </a:lnTo>
                    <a:lnTo>
                      <a:pt x="69" y="201"/>
                    </a:lnTo>
                    <a:lnTo>
                      <a:pt x="63" y="301"/>
                    </a:lnTo>
                    <a:lnTo>
                      <a:pt x="25" y="324"/>
                    </a:lnTo>
                    <a:lnTo>
                      <a:pt x="0" y="399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12" name="Freeform 82"/>
              <p:cNvSpPr>
                <a:spLocks/>
              </p:cNvSpPr>
              <p:nvPr/>
            </p:nvSpPr>
            <p:spPr bwMode="auto">
              <a:xfrm>
                <a:off x="1794" y="2569"/>
                <a:ext cx="607" cy="641"/>
              </a:xfrm>
              <a:custGeom>
                <a:avLst/>
                <a:gdLst>
                  <a:gd name="T0" fmla="*/ 19 w 607"/>
                  <a:gd name="T1" fmla="*/ 1 h 1281"/>
                  <a:gd name="T2" fmla="*/ 55 w 607"/>
                  <a:gd name="T3" fmla="*/ 1 h 1281"/>
                  <a:gd name="T4" fmla="*/ 69 w 607"/>
                  <a:gd name="T5" fmla="*/ 1 h 1281"/>
                  <a:gd name="T6" fmla="*/ 132 w 607"/>
                  <a:gd name="T7" fmla="*/ 1 h 1281"/>
                  <a:gd name="T8" fmla="*/ 207 w 607"/>
                  <a:gd name="T9" fmla="*/ 1 h 1281"/>
                  <a:gd name="T10" fmla="*/ 244 w 607"/>
                  <a:gd name="T11" fmla="*/ 1 h 1281"/>
                  <a:gd name="T12" fmla="*/ 250 w 607"/>
                  <a:gd name="T13" fmla="*/ 1 h 1281"/>
                  <a:gd name="T14" fmla="*/ 281 w 607"/>
                  <a:gd name="T15" fmla="*/ 1 h 1281"/>
                  <a:gd name="T16" fmla="*/ 299 w 607"/>
                  <a:gd name="T17" fmla="*/ 1 h 1281"/>
                  <a:gd name="T18" fmla="*/ 313 w 607"/>
                  <a:gd name="T19" fmla="*/ 1 h 1281"/>
                  <a:gd name="T20" fmla="*/ 257 w 607"/>
                  <a:gd name="T21" fmla="*/ 1 h 1281"/>
                  <a:gd name="T22" fmla="*/ 313 w 607"/>
                  <a:gd name="T23" fmla="*/ 1 h 1281"/>
                  <a:gd name="T24" fmla="*/ 319 w 607"/>
                  <a:gd name="T25" fmla="*/ 1 h 1281"/>
                  <a:gd name="T26" fmla="*/ 394 w 607"/>
                  <a:gd name="T27" fmla="*/ 1 h 1281"/>
                  <a:gd name="T28" fmla="*/ 494 w 607"/>
                  <a:gd name="T29" fmla="*/ 1 h 1281"/>
                  <a:gd name="T30" fmla="*/ 538 w 607"/>
                  <a:gd name="T31" fmla="*/ 1 h 1281"/>
                  <a:gd name="T32" fmla="*/ 601 w 607"/>
                  <a:gd name="T33" fmla="*/ 1 h 1281"/>
                  <a:gd name="T34" fmla="*/ 601 w 607"/>
                  <a:gd name="T35" fmla="*/ 1 h 1281"/>
                  <a:gd name="T36" fmla="*/ 532 w 607"/>
                  <a:gd name="T37" fmla="*/ 1 h 1281"/>
                  <a:gd name="T38" fmla="*/ 450 w 607"/>
                  <a:gd name="T39" fmla="*/ 1 h 1281"/>
                  <a:gd name="T40" fmla="*/ 400 w 607"/>
                  <a:gd name="T41" fmla="*/ 1 h 1281"/>
                  <a:gd name="T42" fmla="*/ 382 w 607"/>
                  <a:gd name="T43" fmla="*/ 1 h 1281"/>
                  <a:gd name="T44" fmla="*/ 363 w 607"/>
                  <a:gd name="T45" fmla="*/ 1 h 1281"/>
                  <a:gd name="T46" fmla="*/ 375 w 607"/>
                  <a:gd name="T47" fmla="*/ 1 h 1281"/>
                  <a:gd name="T48" fmla="*/ 325 w 607"/>
                  <a:gd name="T49" fmla="*/ 1 h 1281"/>
                  <a:gd name="T50" fmla="*/ 269 w 607"/>
                  <a:gd name="T51" fmla="*/ 1 h 1281"/>
                  <a:gd name="T52" fmla="*/ 219 w 607"/>
                  <a:gd name="T53" fmla="*/ 1 h 1281"/>
                  <a:gd name="T54" fmla="*/ 207 w 607"/>
                  <a:gd name="T55" fmla="*/ 0 h 1281"/>
                  <a:gd name="T56" fmla="*/ 143 w 607"/>
                  <a:gd name="T57" fmla="*/ 1 h 1281"/>
                  <a:gd name="T58" fmla="*/ 163 w 607"/>
                  <a:gd name="T59" fmla="*/ 1 h 1281"/>
                  <a:gd name="T60" fmla="*/ 113 w 607"/>
                  <a:gd name="T61" fmla="*/ 1 h 1281"/>
                  <a:gd name="T62" fmla="*/ 63 w 607"/>
                  <a:gd name="T63" fmla="*/ 1 h 1281"/>
                  <a:gd name="T64" fmla="*/ 63 w 607"/>
                  <a:gd name="T65" fmla="*/ 1 h 1281"/>
                  <a:gd name="T66" fmla="*/ 63 w 607"/>
                  <a:gd name="T67" fmla="*/ 1 h 1281"/>
                  <a:gd name="T68" fmla="*/ 0 w 607"/>
                  <a:gd name="T69" fmla="*/ 1 h 128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07" h="1281">
                    <a:moveTo>
                      <a:pt x="0" y="399"/>
                    </a:moveTo>
                    <a:lnTo>
                      <a:pt x="19" y="468"/>
                    </a:lnTo>
                    <a:lnTo>
                      <a:pt x="38" y="478"/>
                    </a:lnTo>
                    <a:lnTo>
                      <a:pt x="55" y="457"/>
                    </a:lnTo>
                    <a:lnTo>
                      <a:pt x="55" y="513"/>
                    </a:lnTo>
                    <a:lnTo>
                      <a:pt x="69" y="513"/>
                    </a:lnTo>
                    <a:lnTo>
                      <a:pt x="88" y="513"/>
                    </a:lnTo>
                    <a:lnTo>
                      <a:pt x="132" y="468"/>
                    </a:lnTo>
                    <a:lnTo>
                      <a:pt x="138" y="545"/>
                    </a:lnTo>
                    <a:lnTo>
                      <a:pt x="207" y="601"/>
                    </a:lnTo>
                    <a:lnTo>
                      <a:pt x="212" y="689"/>
                    </a:lnTo>
                    <a:lnTo>
                      <a:pt x="244" y="689"/>
                    </a:lnTo>
                    <a:lnTo>
                      <a:pt x="250" y="747"/>
                    </a:lnTo>
                    <a:lnTo>
                      <a:pt x="250" y="812"/>
                    </a:lnTo>
                    <a:lnTo>
                      <a:pt x="250" y="879"/>
                    </a:lnTo>
                    <a:lnTo>
                      <a:pt x="281" y="891"/>
                    </a:lnTo>
                    <a:lnTo>
                      <a:pt x="288" y="935"/>
                    </a:lnTo>
                    <a:lnTo>
                      <a:pt x="299" y="947"/>
                    </a:lnTo>
                    <a:lnTo>
                      <a:pt x="299" y="1000"/>
                    </a:lnTo>
                    <a:lnTo>
                      <a:pt x="313" y="1000"/>
                    </a:lnTo>
                    <a:lnTo>
                      <a:pt x="313" y="1046"/>
                    </a:lnTo>
                    <a:lnTo>
                      <a:pt x="257" y="1158"/>
                    </a:lnTo>
                    <a:lnTo>
                      <a:pt x="263" y="1146"/>
                    </a:lnTo>
                    <a:lnTo>
                      <a:pt x="313" y="1214"/>
                    </a:lnTo>
                    <a:lnTo>
                      <a:pt x="319" y="1246"/>
                    </a:lnTo>
                    <a:lnTo>
                      <a:pt x="319" y="1281"/>
                    </a:lnTo>
                    <a:lnTo>
                      <a:pt x="394" y="1093"/>
                    </a:lnTo>
                    <a:lnTo>
                      <a:pt x="394" y="991"/>
                    </a:lnTo>
                    <a:lnTo>
                      <a:pt x="457" y="902"/>
                    </a:lnTo>
                    <a:lnTo>
                      <a:pt x="494" y="902"/>
                    </a:lnTo>
                    <a:lnTo>
                      <a:pt x="506" y="879"/>
                    </a:lnTo>
                    <a:lnTo>
                      <a:pt x="538" y="724"/>
                    </a:lnTo>
                    <a:lnTo>
                      <a:pt x="538" y="580"/>
                    </a:lnTo>
                    <a:lnTo>
                      <a:pt x="601" y="445"/>
                    </a:lnTo>
                    <a:lnTo>
                      <a:pt x="607" y="390"/>
                    </a:lnTo>
                    <a:lnTo>
                      <a:pt x="601" y="334"/>
                    </a:lnTo>
                    <a:lnTo>
                      <a:pt x="569" y="324"/>
                    </a:lnTo>
                    <a:lnTo>
                      <a:pt x="532" y="267"/>
                    </a:lnTo>
                    <a:lnTo>
                      <a:pt x="457" y="246"/>
                    </a:lnTo>
                    <a:lnTo>
                      <a:pt x="450" y="211"/>
                    </a:lnTo>
                    <a:lnTo>
                      <a:pt x="419" y="190"/>
                    </a:lnTo>
                    <a:lnTo>
                      <a:pt x="400" y="190"/>
                    </a:lnTo>
                    <a:lnTo>
                      <a:pt x="382" y="246"/>
                    </a:lnTo>
                    <a:lnTo>
                      <a:pt x="382" y="223"/>
                    </a:lnTo>
                    <a:lnTo>
                      <a:pt x="350" y="234"/>
                    </a:lnTo>
                    <a:lnTo>
                      <a:pt x="363" y="223"/>
                    </a:lnTo>
                    <a:lnTo>
                      <a:pt x="350" y="178"/>
                    </a:lnTo>
                    <a:lnTo>
                      <a:pt x="375" y="111"/>
                    </a:lnTo>
                    <a:lnTo>
                      <a:pt x="350" y="34"/>
                    </a:lnTo>
                    <a:lnTo>
                      <a:pt x="325" y="100"/>
                    </a:lnTo>
                    <a:lnTo>
                      <a:pt x="299" y="88"/>
                    </a:lnTo>
                    <a:lnTo>
                      <a:pt x="269" y="100"/>
                    </a:lnTo>
                    <a:lnTo>
                      <a:pt x="225" y="123"/>
                    </a:lnTo>
                    <a:lnTo>
                      <a:pt x="219" y="78"/>
                    </a:lnTo>
                    <a:lnTo>
                      <a:pt x="219" y="23"/>
                    </a:lnTo>
                    <a:lnTo>
                      <a:pt x="207" y="0"/>
                    </a:lnTo>
                    <a:lnTo>
                      <a:pt x="169" y="34"/>
                    </a:lnTo>
                    <a:lnTo>
                      <a:pt x="143" y="23"/>
                    </a:lnTo>
                    <a:lnTo>
                      <a:pt x="150" y="88"/>
                    </a:lnTo>
                    <a:lnTo>
                      <a:pt x="163" y="88"/>
                    </a:lnTo>
                    <a:lnTo>
                      <a:pt x="125" y="146"/>
                    </a:lnTo>
                    <a:lnTo>
                      <a:pt x="113" y="123"/>
                    </a:lnTo>
                    <a:lnTo>
                      <a:pt x="100" y="100"/>
                    </a:lnTo>
                    <a:lnTo>
                      <a:pt x="63" y="111"/>
                    </a:lnTo>
                    <a:lnTo>
                      <a:pt x="74" y="146"/>
                    </a:lnTo>
                    <a:lnTo>
                      <a:pt x="63" y="146"/>
                    </a:lnTo>
                    <a:lnTo>
                      <a:pt x="69" y="201"/>
                    </a:lnTo>
                    <a:lnTo>
                      <a:pt x="63" y="301"/>
                    </a:lnTo>
                    <a:lnTo>
                      <a:pt x="25" y="324"/>
                    </a:lnTo>
                    <a:lnTo>
                      <a:pt x="0" y="399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1" name="Freeform 83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2540248" y="4367213"/>
              <a:ext cx="889000" cy="1017587"/>
            </a:xfrm>
            <a:custGeom>
              <a:avLst/>
              <a:gdLst>
                <a:gd name="T0" fmla="*/ 2147483647 w 607"/>
                <a:gd name="T1" fmla="*/ 2147483647 h 1281"/>
                <a:gd name="T2" fmla="*/ 2147483647 w 607"/>
                <a:gd name="T3" fmla="*/ 2147483647 h 1281"/>
                <a:gd name="T4" fmla="*/ 2147483647 w 607"/>
                <a:gd name="T5" fmla="*/ 2147483647 h 1281"/>
                <a:gd name="T6" fmla="*/ 2147483647 w 607"/>
                <a:gd name="T7" fmla="*/ 2147483647 h 1281"/>
                <a:gd name="T8" fmla="*/ 2147483647 w 607"/>
                <a:gd name="T9" fmla="*/ 2147483647 h 1281"/>
                <a:gd name="T10" fmla="*/ 2147483647 w 607"/>
                <a:gd name="T11" fmla="*/ 2147483647 h 1281"/>
                <a:gd name="T12" fmla="*/ 2147483647 w 607"/>
                <a:gd name="T13" fmla="*/ 2147483647 h 1281"/>
                <a:gd name="T14" fmla="*/ 2147483647 w 607"/>
                <a:gd name="T15" fmla="*/ 2147483647 h 1281"/>
                <a:gd name="T16" fmla="*/ 2147483647 w 607"/>
                <a:gd name="T17" fmla="*/ 2147483647 h 1281"/>
                <a:gd name="T18" fmla="*/ 2147483647 w 607"/>
                <a:gd name="T19" fmla="*/ 2147483647 h 1281"/>
                <a:gd name="T20" fmla="*/ 2147483647 w 607"/>
                <a:gd name="T21" fmla="*/ 2147483647 h 1281"/>
                <a:gd name="T22" fmla="*/ 2147483647 w 607"/>
                <a:gd name="T23" fmla="*/ 2147483647 h 1281"/>
                <a:gd name="T24" fmla="*/ 2147483647 w 607"/>
                <a:gd name="T25" fmla="*/ 2147483647 h 1281"/>
                <a:gd name="T26" fmla="*/ 2147483647 w 607"/>
                <a:gd name="T27" fmla="*/ 2147483647 h 1281"/>
                <a:gd name="T28" fmla="*/ 2147483647 w 607"/>
                <a:gd name="T29" fmla="*/ 2147483647 h 1281"/>
                <a:gd name="T30" fmla="*/ 2147483647 w 607"/>
                <a:gd name="T31" fmla="*/ 2147483647 h 1281"/>
                <a:gd name="T32" fmla="*/ 2147483647 w 607"/>
                <a:gd name="T33" fmla="*/ 2147483647 h 1281"/>
                <a:gd name="T34" fmla="*/ 2147483647 w 607"/>
                <a:gd name="T35" fmla="*/ 2147483647 h 1281"/>
                <a:gd name="T36" fmla="*/ 2147483647 w 607"/>
                <a:gd name="T37" fmla="*/ 2147483647 h 1281"/>
                <a:gd name="T38" fmla="*/ 2147483647 w 607"/>
                <a:gd name="T39" fmla="*/ 2147483647 h 1281"/>
                <a:gd name="T40" fmla="*/ 2147483647 w 607"/>
                <a:gd name="T41" fmla="*/ 2147483647 h 1281"/>
                <a:gd name="T42" fmla="*/ 2147483647 w 607"/>
                <a:gd name="T43" fmla="*/ 2147483647 h 1281"/>
                <a:gd name="T44" fmla="*/ 2147483647 w 607"/>
                <a:gd name="T45" fmla="*/ 2147483647 h 1281"/>
                <a:gd name="T46" fmla="*/ 2147483647 w 607"/>
                <a:gd name="T47" fmla="*/ 2147483647 h 1281"/>
                <a:gd name="T48" fmla="*/ 2147483647 w 607"/>
                <a:gd name="T49" fmla="*/ 2147483647 h 1281"/>
                <a:gd name="T50" fmla="*/ 2147483647 w 607"/>
                <a:gd name="T51" fmla="*/ 2147483647 h 1281"/>
                <a:gd name="T52" fmla="*/ 2147483647 w 607"/>
                <a:gd name="T53" fmla="*/ 2147483647 h 1281"/>
                <a:gd name="T54" fmla="*/ 2147483647 w 607"/>
                <a:gd name="T55" fmla="*/ 0 h 1281"/>
                <a:gd name="T56" fmla="*/ 2147483647 w 607"/>
                <a:gd name="T57" fmla="*/ 2147483647 h 1281"/>
                <a:gd name="T58" fmla="*/ 2147483647 w 607"/>
                <a:gd name="T59" fmla="*/ 2147483647 h 1281"/>
                <a:gd name="T60" fmla="*/ 2147483647 w 607"/>
                <a:gd name="T61" fmla="*/ 2147483647 h 1281"/>
                <a:gd name="T62" fmla="*/ 2147483647 w 607"/>
                <a:gd name="T63" fmla="*/ 2147483647 h 1281"/>
                <a:gd name="T64" fmla="*/ 2147483647 w 607"/>
                <a:gd name="T65" fmla="*/ 2147483647 h 1281"/>
                <a:gd name="T66" fmla="*/ 2147483647 w 607"/>
                <a:gd name="T67" fmla="*/ 2147483647 h 1281"/>
                <a:gd name="T68" fmla="*/ 0 w 607"/>
                <a:gd name="T69" fmla="*/ 2147483647 h 12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607" h="1281">
                  <a:moveTo>
                    <a:pt x="0" y="399"/>
                  </a:moveTo>
                  <a:lnTo>
                    <a:pt x="19" y="468"/>
                  </a:lnTo>
                  <a:lnTo>
                    <a:pt x="38" y="478"/>
                  </a:lnTo>
                  <a:lnTo>
                    <a:pt x="55" y="457"/>
                  </a:lnTo>
                  <a:lnTo>
                    <a:pt x="55" y="513"/>
                  </a:lnTo>
                  <a:lnTo>
                    <a:pt x="69" y="513"/>
                  </a:lnTo>
                  <a:lnTo>
                    <a:pt x="88" y="513"/>
                  </a:lnTo>
                  <a:lnTo>
                    <a:pt x="132" y="468"/>
                  </a:lnTo>
                  <a:lnTo>
                    <a:pt x="138" y="545"/>
                  </a:lnTo>
                  <a:lnTo>
                    <a:pt x="207" y="601"/>
                  </a:lnTo>
                  <a:lnTo>
                    <a:pt x="212" y="689"/>
                  </a:lnTo>
                  <a:lnTo>
                    <a:pt x="244" y="689"/>
                  </a:lnTo>
                  <a:lnTo>
                    <a:pt x="250" y="747"/>
                  </a:lnTo>
                  <a:lnTo>
                    <a:pt x="250" y="812"/>
                  </a:lnTo>
                  <a:lnTo>
                    <a:pt x="250" y="879"/>
                  </a:lnTo>
                  <a:lnTo>
                    <a:pt x="281" y="891"/>
                  </a:lnTo>
                  <a:lnTo>
                    <a:pt x="288" y="935"/>
                  </a:lnTo>
                  <a:lnTo>
                    <a:pt x="299" y="947"/>
                  </a:lnTo>
                  <a:lnTo>
                    <a:pt x="299" y="1000"/>
                  </a:lnTo>
                  <a:lnTo>
                    <a:pt x="313" y="1000"/>
                  </a:lnTo>
                  <a:lnTo>
                    <a:pt x="313" y="1046"/>
                  </a:lnTo>
                  <a:lnTo>
                    <a:pt x="257" y="1158"/>
                  </a:lnTo>
                  <a:lnTo>
                    <a:pt x="263" y="1146"/>
                  </a:lnTo>
                  <a:lnTo>
                    <a:pt x="313" y="1214"/>
                  </a:lnTo>
                  <a:lnTo>
                    <a:pt x="319" y="1246"/>
                  </a:lnTo>
                  <a:lnTo>
                    <a:pt x="319" y="1281"/>
                  </a:lnTo>
                  <a:lnTo>
                    <a:pt x="394" y="1093"/>
                  </a:lnTo>
                  <a:lnTo>
                    <a:pt x="394" y="991"/>
                  </a:lnTo>
                  <a:lnTo>
                    <a:pt x="457" y="902"/>
                  </a:lnTo>
                  <a:lnTo>
                    <a:pt x="494" y="902"/>
                  </a:lnTo>
                  <a:lnTo>
                    <a:pt x="506" y="879"/>
                  </a:lnTo>
                  <a:lnTo>
                    <a:pt x="538" y="724"/>
                  </a:lnTo>
                  <a:lnTo>
                    <a:pt x="538" y="580"/>
                  </a:lnTo>
                  <a:lnTo>
                    <a:pt x="601" y="445"/>
                  </a:lnTo>
                  <a:lnTo>
                    <a:pt x="607" y="390"/>
                  </a:lnTo>
                  <a:lnTo>
                    <a:pt x="601" y="334"/>
                  </a:lnTo>
                  <a:lnTo>
                    <a:pt x="569" y="324"/>
                  </a:lnTo>
                  <a:lnTo>
                    <a:pt x="532" y="267"/>
                  </a:lnTo>
                  <a:lnTo>
                    <a:pt x="457" y="246"/>
                  </a:lnTo>
                  <a:lnTo>
                    <a:pt x="450" y="211"/>
                  </a:lnTo>
                  <a:lnTo>
                    <a:pt x="419" y="190"/>
                  </a:lnTo>
                  <a:lnTo>
                    <a:pt x="400" y="190"/>
                  </a:lnTo>
                  <a:lnTo>
                    <a:pt x="382" y="246"/>
                  </a:lnTo>
                  <a:lnTo>
                    <a:pt x="382" y="223"/>
                  </a:lnTo>
                  <a:lnTo>
                    <a:pt x="350" y="234"/>
                  </a:lnTo>
                  <a:lnTo>
                    <a:pt x="363" y="223"/>
                  </a:lnTo>
                  <a:lnTo>
                    <a:pt x="350" y="178"/>
                  </a:lnTo>
                  <a:lnTo>
                    <a:pt x="375" y="111"/>
                  </a:lnTo>
                  <a:lnTo>
                    <a:pt x="350" y="34"/>
                  </a:lnTo>
                  <a:lnTo>
                    <a:pt x="325" y="100"/>
                  </a:lnTo>
                  <a:lnTo>
                    <a:pt x="299" y="88"/>
                  </a:lnTo>
                  <a:lnTo>
                    <a:pt x="269" y="100"/>
                  </a:lnTo>
                  <a:lnTo>
                    <a:pt x="225" y="123"/>
                  </a:lnTo>
                  <a:lnTo>
                    <a:pt x="219" y="78"/>
                  </a:lnTo>
                  <a:lnTo>
                    <a:pt x="219" y="23"/>
                  </a:lnTo>
                  <a:lnTo>
                    <a:pt x="207" y="0"/>
                  </a:lnTo>
                  <a:lnTo>
                    <a:pt x="169" y="34"/>
                  </a:lnTo>
                  <a:lnTo>
                    <a:pt x="143" y="23"/>
                  </a:lnTo>
                  <a:lnTo>
                    <a:pt x="150" y="88"/>
                  </a:lnTo>
                  <a:lnTo>
                    <a:pt x="163" y="88"/>
                  </a:lnTo>
                  <a:lnTo>
                    <a:pt x="125" y="146"/>
                  </a:lnTo>
                  <a:lnTo>
                    <a:pt x="113" y="123"/>
                  </a:lnTo>
                  <a:lnTo>
                    <a:pt x="100" y="100"/>
                  </a:lnTo>
                  <a:lnTo>
                    <a:pt x="63" y="111"/>
                  </a:lnTo>
                  <a:lnTo>
                    <a:pt x="74" y="146"/>
                  </a:lnTo>
                  <a:lnTo>
                    <a:pt x="63" y="146"/>
                  </a:lnTo>
                  <a:lnTo>
                    <a:pt x="69" y="201"/>
                  </a:lnTo>
                  <a:lnTo>
                    <a:pt x="63" y="301"/>
                  </a:lnTo>
                  <a:lnTo>
                    <a:pt x="25" y="324"/>
                  </a:lnTo>
                  <a:lnTo>
                    <a:pt x="0" y="3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2" name="Group 84"/>
            <p:cNvGrpSpPr>
              <a:grpSpLocks/>
            </p:cNvGrpSpPr>
            <p:nvPr>
              <p:custDataLst>
                <p:tags r:id="rId56"/>
              </p:custDataLst>
            </p:nvPr>
          </p:nvGrpSpPr>
          <p:grpSpPr bwMode="auto">
            <a:xfrm>
              <a:off x="2540248" y="4367213"/>
              <a:ext cx="889000" cy="1017587"/>
              <a:chOff x="1794" y="2569"/>
              <a:chExt cx="607" cy="641"/>
            </a:xfrm>
            <a:solidFill>
              <a:schemeClr val="bg2">
                <a:lumMod val="50000"/>
              </a:schemeClr>
            </a:solidFill>
          </p:grpSpPr>
          <p:sp>
            <p:nvSpPr>
              <p:cNvPr id="1109" name="Freeform 85"/>
              <p:cNvSpPr>
                <a:spLocks/>
              </p:cNvSpPr>
              <p:nvPr/>
            </p:nvSpPr>
            <p:spPr bwMode="auto">
              <a:xfrm>
                <a:off x="1794" y="2569"/>
                <a:ext cx="607" cy="641"/>
              </a:xfrm>
              <a:custGeom>
                <a:avLst/>
                <a:gdLst>
                  <a:gd name="T0" fmla="*/ 19 w 607"/>
                  <a:gd name="T1" fmla="*/ 1 h 1281"/>
                  <a:gd name="T2" fmla="*/ 55 w 607"/>
                  <a:gd name="T3" fmla="*/ 1 h 1281"/>
                  <a:gd name="T4" fmla="*/ 69 w 607"/>
                  <a:gd name="T5" fmla="*/ 1 h 1281"/>
                  <a:gd name="T6" fmla="*/ 132 w 607"/>
                  <a:gd name="T7" fmla="*/ 1 h 1281"/>
                  <a:gd name="T8" fmla="*/ 207 w 607"/>
                  <a:gd name="T9" fmla="*/ 1 h 1281"/>
                  <a:gd name="T10" fmla="*/ 244 w 607"/>
                  <a:gd name="T11" fmla="*/ 1 h 1281"/>
                  <a:gd name="T12" fmla="*/ 250 w 607"/>
                  <a:gd name="T13" fmla="*/ 1 h 1281"/>
                  <a:gd name="T14" fmla="*/ 281 w 607"/>
                  <a:gd name="T15" fmla="*/ 1 h 1281"/>
                  <a:gd name="T16" fmla="*/ 299 w 607"/>
                  <a:gd name="T17" fmla="*/ 1 h 1281"/>
                  <a:gd name="T18" fmla="*/ 313 w 607"/>
                  <a:gd name="T19" fmla="*/ 1 h 1281"/>
                  <a:gd name="T20" fmla="*/ 257 w 607"/>
                  <a:gd name="T21" fmla="*/ 1 h 1281"/>
                  <a:gd name="T22" fmla="*/ 313 w 607"/>
                  <a:gd name="T23" fmla="*/ 1 h 1281"/>
                  <a:gd name="T24" fmla="*/ 319 w 607"/>
                  <a:gd name="T25" fmla="*/ 1 h 1281"/>
                  <a:gd name="T26" fmla="*/ 394 w 607"/>
                  <a:gd name="T27" fmla="*/ 1 h 1281"/>
                  <a:gd name="T28" fmla="*/ 494 w 607"/>
                  <a:gd name="T29" fmla="*/ 1 h 1281"/>
                  <a:gd name="T30" fmla="*/ 538 w 607"/>
                  <a:gd name="T31" fmla="*/ 1 h 1281"/>
                  <a:gd name="T32" fmla="*/ 601 w 607"/>
                  <a:gd name="T33" fmla="*/ 1 h 1281"/>
                  <a:gd name="T34" fmla="*/ 601 w 607"/>
                  <a:gd name="T35" fmla="*/ 1 h 1281"/>
                  <a:gd name="T36" fmla="*/ 532 w 607"/>
                  <a:gd name="T37" fmla="*/ 1 h 1281"/>
                  <a:gd name="T38" fmla="*/ 450 w 607"/>
                  <a:gd name="T39" fmla="*/ 1 h 1281"/>
                  <a:gd name="T40" fmla="*/ 400 w 607"/>
                  <a:gd name="T41" fmla="*/ 1 h 1281"/>
                  <a:gd name="T42" fmla="*/ 382 w 607"/>
                  <a:gd name="T43" fmla="*/ 1 h 1281"/>
                  <a:gd name="T44" fmla="*/ 363 w 607"/>
                  <a:gd name="T45" fmla="*/ 1 h 1281"/>
                  <a:gd name="T46" fmla="*/ 375 w 607"/>
                  <a:gd name="T47" fmla="*/ 1 h 1281"/>
                  <a:gd name="T48" fmla="*/ 325 w 607"/>
                  <a:gd name="T49" fmla="*/ 1 h 1281"/>
                  <a:gd name="T50" fmla="*/ 269 w 607"/>
                  <a:gd name="T51" fmla="*/ 1 h 1281"/>
                  <a:gd name="T52" fmla="*/ 219 w 607"/>
                  <a:gd name="T53" fmla="*/ 1 h 1281"/>
                  <a:gd name="T54" fmla="*/ 207 w 607"/>
                  <a:gd name="T55" fmla="*/ 0 h 1281"/>
                  <a:gd name="T56" fmla="*/ 143 w 607"/>
                  <a:gd name="T57" fmla="*/ 1 h 1281"/>
                  <a:gd name="T58" fmla="*/ 163 w 607"/>
                  <a:gd name="T59" fmla="*/ 1 h 1281"/>
                  <a:gd name="T60" fmla="*/ 113 w 607"/>
                  <a:gd name="T61" fmla="*/ 1 h 1281"/>
                  <a:gd name="T62" fmla="*/ 63 w 607"/>
                  <a:gd name="T63" fmla="*/ 1 h 1281"/>
                  <a:gd name="T64" fmla="*/ 63 w 607"/>
                  <a:gd name="T65" fmla="*/ 1 h 1281"/>
                  <a:gd name="T66" fmla="*/ 63 w 607"/>
                  <a:gd name="T67" fmla="*/ 1 h 1281"/>
                  <a:gd name="T68" fmla="*/ 0 w 607"/>
                  <a:gd name="T69" fmla="*/ 1 h 128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07" h="1281">
                    <a:moveTo>
                      <a:pt x="0" y="399"/>
                    </a:moveTo>
                    <a:lnTo>
                      <a:pt x="19" y="468"/>
                    </a:lnTo>
                    <a:lnTo>
                      <a:pt x="38" y="478"/>
                    </a:lnTo>
                    <a:lnTo>
                      <a:pt x="55" y="457"/>
                    </a:lnTo>
                    <a:lnTo>
                      <a:pt x="55" y="513"/>
                    </a:lnTo>
                    <a:lnTo>
                      <a:pt x="69" y="513"/>
                    </a:lnTo>
                    <a:lnTo>
                      <a:pt x="88" y="513"/>
                    </a:lnTo>
                    <a:lnTo>
                      <a:pt x="132" y="468"/>
                    </a:lnTo>
                    <a:lnTo>
                      <a:pt x="138" y="545"/>
                    </a:lnTo>
                    <a:lnTo>
                      <a:pt x="207" y="601"/>
                    </a:lnTo>
                    <a:lnTo>
                      <a:pt x="212" y="689"/>
                    </a:lnTo>
                    <a:lnTo>
                      <a:pt x="244" y="689"/>
                    </a:lnTo>
                    <a:lnTo>
                      <a:pt x="250" y="747"/>
                    </a:lnTo>
                    <a:lnTo>
                      <a:pt x="250" y="812"/>
                    </a:lnTo>
                    <a:lnTo>
                      <a:pt x="250" y="879"/>
                    </a:lnTo>
                    <a:lnTo>
                      <a:pt x="281" y="891"/>
                    </a:lnTo>
                    <a:lnTo>
                      <a:pt x="288" y="935"/>
                    </a:lnTo>
                    <a:lnTo>
                      <a:pt x="299" y="947"/>
                    </a:lnTo>
                    <a:lnTo>
                      <a:pt x="299" y="1000"/>
                    </a:lnTo>
                    <a:lnTo>
                      <a:pt x="313" y="1000"/>
                    </a:lnTo>
                    <a:lnTo>
                      <a:pt x="313" y="1046"/>
                    </a:lnTo>
                    <a:lnTo>
                      <a:pt x="257" y="1158"/>
                    </a:lnTo>
                    <a:lnTo>
                      <a:pt x="263" y="1146"/>
                    </a:lnTo>
                    <a:lnTo>
                      <a:pt x="313" y="1214"/>
                    </a:lnTo>
                    <a:lnTo>
                      <a:pt x="319" y="1246"/>
                    </a:lnTo>
                    <a:lnTo>
                      <a:pt x="319" y="1281"/>
                    </a:lnTo>
                    <a:lnTo>
                      <a:pt x="394" y="1093"/>
                    </a:lnTo>
                    <a:lnTo>
                      <a:pt x="394" y="991"/>
                    </a:lnTo>
                    <a:lnTo>
                      <a:pt x="457" y="902"/>
                    </a:lnTo>
                    <a:lnTo>
                      <a:pt x="494" y="902"/>
                    </a:lnTo>
                    <a:lnTo>
                      <a:pt x="506" y="879"/>
                    </a:lnTo>
                    <a:lnTo>
                      <a:pt x="538" y="724"/>
                    </a:lnTo>
                    <a:lnTo>
                      <a:pt x="538" y="580"/>
                    </a:lnTo>
                    <a:lnTo>
                      <a:pt x="601" y="445"/>
                    </a:lnTo>
                    <a:lnTo>
                      <a:pt x="607" y="390"/>
                    </a:lnTo>
                    <a:lnTo>
                      <a:pt x="601" y="334"/>
                    </a:lnTo>
                    <a:lnTo>
                      <a:pt x="569" y="324"/>
                    </a:lnTo>
                    <a:lnTo>
                      <a:pt x="532" y="267"/>
                    </a:lnTo>
                    <a:lnTo>
                      <a:pt x="457" y="246"/>
                    </a:lnTo>
                    <a:lnTo>
                      <a:pt x="450" y="211"/>
                    </a:lnTo>
                    <a:lnTo>
                      <a:pt x="419" y="190"/>
                    </a:lnTo>
                    <a:lnTo>
                      <a:pt x="400" y="190"/>
                    </a:lnTo>
                    <a:lnTo>
                      <a:pt x="382" y="246"/>
                    </a:lnTo>
                    <a:lnTo>
                      <a:pt x="382" y="223"/>
                    </a:lnTo>
                    <a:lnTo>
                      <a:pt x="350" y="234"/>
                    </a:lnTo>
                    <a:lnTo>
                      <a:pt x="363" y="223"/>
                    </a:lnTo>
                    <a:lnTo>
                      <a:pt x="350" y="178"/>
                    </a:lnTo>
                    <a:lnTo>
                      <a:pt x="375" y="111"/>
                    </a:lnTo>
                    <a:lnTo>
                      <a:pt x="350" y="34"/>
                    </a:lnTo>
                    <a:lnTo>
                      <a:pt x="325" y="100"/>
                    </a:lnTo>
                    <a:lnTo>
                      <a:pt x="299" y="88"/>
                    </a:lnTo>
                    <a:lnTo>
                      <a:pt x="269" y="100"/>
                    </a:lnTo>
                    <a:lnTo>
                      <a:pt x="225" y="123"/>
                    </a:lnTo>
                    <a:lnTo>
                      <a:pt x="219" y="78"/>
                    </a:lnTo>
                    <a:lnTo>
                      <a:pt x="219" y="23"/>
                    </a:lnTo>
                    <a:lnTo>
                      <a:pt x="207" y="0"/>
                    </a:lnTo>
                    <a:lnTo>
                      <a:pt x="169" y="34"/>
                    </a:lnTo>
                    <a:lnTo>
                      <a:pt x="143" y="23"/>
                    </a:lnTo>
                    <a:lnTo>
                      <a:pt x="150" y="88"/>
                    </a:lnTo>
                    <a:lnTo>
                      <a:pt x="163" y="88"/>
                    </a:lnTo>
                    <a:lnTo>
                      <a:pt x="125" y="146"/>
                    </a:lnTo>
                    <a:lnTo>
                      <a:pt x="113" y="123"/>
                    </a:lnTo>
                    <a:lnTo>
                      <a:pt x="100" y="100"/>
                    </a:lnTo>
                    <a:lnTo>
                      <a:pt x="63" y="111"/>
                    </a:lnTo>
                    <a:lnTo>
                      <a:pt x="74" y="146"/>
                    </a:lnTo>
                    <a:lnTo>
                      <a:pt x="63" y="146"/>
                    </a:lnTo>
                    <a:lnTo>
                      <a:pt x="69" y="201"/>
                    </a:lnTo>
                    <a:lnTo>
                      <a:pt x="63" y="301"/>
                    </a:lnTo>
                    <a:lnTo>
                      <a:pt x="25" y="324"/>
                    </a:lnTo>
                    <a:lnTo>
                      <a:pt x="0" y="399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10" name="Freeform 86"/>
              <p:cNvSpPr>
                <a:spLocks/>
              </p:cNvSpPr>
              <p:nvPr/>
            </p:nvSpPr>
            <p:spPr bwMode="auto">
              <a:xfrm>
                <a:off x="1794" y="2569"/>
                <a:ext cx="607" cy="641"/>
              </a:xfrm>
              <a:custGeom>
                <a:avLst/>
                <a:gdLst>
                  <a:gd name="T0" fmla="*/ 19 w 607"/>
                  <a:gd name="T1" fmla="*/ 1 h 1281"/>
                  <a:gd name="T2" fmla="*/ 55 w 607"/>
                  <a:gd name="T3" fmla="*/ 1 h 1281"/>
                  <a:gd name="T4" fmla="*/ 69 w 607"/>
                  <a:gd name="T5" fmla="*/ 1 h 1281"/>
                  <a:gd name="T6" fmla="*/ 132 w 607"/>
                  <a:gd name="T7" fmla="*/ 1 h 1281"/>
                  <a:gd name="T8" fmla="*/ 207 w 607"/>
                  <a:gd name="T9" fmla="*/ 1 h 1281"/>
                  <a:gd name="T10" fmla="*/ 244 w 607"/>
                  <a:gd name="T11" fmla="*/ 1 h 1281"/>
                  <a:gd name="T12" fmla="*/ 250 w 607"/>
                  <a:gd name="T13" fmla="*/ 1 h 1281"/>
                  <a:gd name="T14" fmla="*/ 281 w 607"/>
                  <a:gd name="T15" fmla="*/ 1 h 1281"/>
                  <a:gd name="T16" fmla="*/ 299 w 607"/>
                  <a:gd name="T17" fmla="*/ 1 h 1281"/>
                  <a:gd name="T18" fmla="*/ 313 w 607"/>
                  <a:gd name="T19" fmla="*/ 1 h 1281"/>
                  <a:gd name="T20" fmla="*/ 257 w 607"/>
                  <a:gd name="T21" fmla="*/ 1 h 1281"/>
                  <a:gd name="T22" fmla="*/ 313 w 607"/>
                  <a:gd name="T23" fmla="*/ 1 h 1281"/>
                  <a:gd name="T24" fmla="*/ 319 w 607"/>
                  <a:gd name="T25" fmla="*/ 1 h 1281"/>
                  <a:gd name="T26" fmla="*/ 394 w 607"/>
                  <a:gd name="T27" fmla="*/ 1 h 1281"/>
                  <a:gd name="T28" fmla="*/ 494 w 607"/>
                  <a:gd name="T29" fmla="*/ 1 h 1281"/>
                  <a:gd name="T30" fmla="*/ 538 w 607"/>
                  <a:gd name="T31" fmla="*/ 1 h 1281"/>
                  <a:gd name="T32" fmla="*/ 601 w 607"/>
                  <a:gd name="T33" fmla="*/ 1 h 1281"/>
                  <a:gd name="T34" fmla="*/ 601 w 607"/>
                  <a:gd name="T35" fmla="*/ 1 h 1281"/>
                  <a:gd name="T36" fmla="*/ 532 w 607"/>
                  <a:gd name="T37" fmla="*/ 1 h 1281"/>
                  <a:gd name="T38" fmla="*/ 450 w 607"/>
                  <a:gd name="T39" fmla="*/ 1 h 1281"/>
                  <a:gd name="T40" fmla="*/ 400 w 607"/>
                  <a:gd name="T41" fmla="*/ 1 h 1281"/>
                  <a:gd name="T42" fmla="*/ 382 w 607"/>
                  <a:gd name="T43" fmla="*/ 1 h 1281"/>
                  <a:gd name="T44" fmla="*/ 363 w 607"/>
                  <a:gd name="T45" fmla="*/ 1 h 1281"/>
                  <a:gd name="T46" fmla="*/ 375 w 607"/>
                  <a:gd name="T47" fmla="*/ 1 h 1281"/>
                  <a:gd name="T48" fmla="*/ 325 w 607"/>
                  <a:gd name="T49" fmla="*/ 1 h 1281"/>
                  <a:gd name="T50" fmla="*/ 269 w 607"/>
                  <a:gd name="T51" fmla="*/ 1 h 1281"/>
                  <a:gd name="T52" fmla="*/ 219 w 607"/>
                  <a:gd name="T53" fmla="*/ 1 h 1281"/>
                  <a:gd name="T54" fmla="*/ 207 w 607"/>
                  <a:gd name="T55" fmla="*/ 0 h 1281"/>
                  <a:gd name="T56" fmla="*/ 143 w 607"/>
                  <a:gd name="T57" fmla="*/ 1 h 1281"/>
                  <a:gd name="T58" fmla="*/ 163 w 607"/>
                  <a:gd name="T59" fmla="*/ 1 h 1281"/>
                  <a:gd name="T60" fmla="*/ 113 w 607"/>
                  <a:gd name="T61" fmla="*/ 1 h 1281"/>
                  <a:gd name="T62" fmla="*/ 63 w 607"/>
                  <a:gd name="T63" fmla="*/ 1 h 1281"/>
                  <a:gd name="T64" fmla="*/ 63 w 607"/>
                  <a:gd name="T65" fmla="*/ 1 h 1281"/>
                  <a:gd name="T66" fmla="*/ 63 w 607"/>
                  <a:gd name="T67" fmla="*/ 1 h 1281"/>
                  <a:gd name="T68" fmla="*/ 0 w 607"/>
                  <a:gd name="T69" fmla="*/ 1 h 128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07" h="1281">
                    <a:moveTo>
                      <a:pt x="0" y="399"/>
                    </a:moveTo>
                    <a:lnTo>
                      <a:pt x="19" y="468"/>
                    </a:lnTo>
                    <a:lnTo>
                      <a:pt x="38" y="478"/>
                    </a:lnTo>
                    <a:lnTo>
                      <a:pt x="55" y="457"/>
                    </a:lnTo>
                    <a:lnTo>
                      <a:pt x="55" y="513"/>
                    </a:lnTo>
                    <a:lnTo>
                      <a:pt x="69" y="513"/>
                    </a:lnTo>
                    <a:lnTo>
                      <a:pt x="88" y="513"/>
                    </a:lnTo>
                    <a:lnTo>
                      <a:pt x="132" y="468"/>
                    </a:lnTo>
                    <a:lnTo>
                      <a:pt x="138" y="545"/>
                    </a:lnTo>
                    <a:lnTo>
                      <a:pt x="207" y="601"/>
                    </a:lnTo>
                    <a:lnTo>
                      <a:pt x="212" y="689"/>
                    </a:lnTo>
                    <a:lnTo>
                      <a:pt x="244" y="689"/>
                    </a:lnTo>
                    <a:lnTo>
                      <a:pt x="250" y="747"/>
                    </a:lnTo>
                    <a:lnTo>
                      <a:pt x="250" y="812"/>
                    </a:lnTo>
                    <a:lnTo>
                      <a:pt x="250" y="879"/>
                    </a:lnTo>
                    <a:lnTo>
                      <a:pt x="281" y="891"/>
                    </a:lnTo>
                    <a:lnTo>
                      <a:pt x="288" y="935"/>
                    </a:lnTo>
                    <a:lnTo>
                      <a:pt x="299" y="947"/>
                    </a:lnTo>
                    <a:lnTo>
                      <a:pt x="299" y="1000"/>
                    </a:lnTo>
                    <a:lnTo>
                      <a:pt x="313" y="1000"/>
                    </a:lnTo>
                    <a:lnTo>
                      <a:pt x="313" y="1046"/>
                    </a:lnTo>
                    <a:lnTo>
                      <a:pt x="257" y="1158"/>
                    </a:lnTo>
                    <a:lnTo>
                      <a:pt x="263" y="1146"/>
                    </a:lnTo>
                    <a:lnTo>
                      <a:pt x="313" y="1214"/>
                    </a:lnTo>
                    <a:lnTo>
                      <a:pt x="319" y="1246"/>
                    </a:lnTo>
                    <a:lnTo>
                      <a:pt x="319" y="1281"/>
                    </a:lnTo>
                    <a:lnTo>
                      <a:pt x="394" y="1093"/>
                    </a:lnTo>
                    <a:lnTo>
                      <a:pt x="394" y="991"/>
                    </a:lnTo>
                    <a:lnTo>
                      <a:pt x="457" y="902"/>
                    </a:lnTo>
                    <a:lnTo>
                      <a:pt x="494" y="902"/>
                    </a:lnTo>
                    <a:lnTo>
                      <a:pt x="506" y="879"/>
                    </a:lnTo>
                    <a:lnTo>
                      <a:pt x="538" y="724"/>
                    </a:lnTo>
                    <a:lnTo>
                      <a:pt x="538" y="580"/>
                    </a:lnTo>
                    <a:lnTo>
                      <a:pt x="601" y="445"/>
                    </a:lnTo>
                    <a:lnTo>
                      <a:pt x="607" y="390"/>
                    </a:lnTo>
                    <a:lnTo>
                      <a:pt x="601" y="334"/>
                    </a:lnTo>
                    <a:lnTo>
                      <a:pt x="569" y="324"/>
                    </a:lnTo>
                    <a:lnTo>
                      <a:pt x="532" y="267"/>
                    </a:lnTo>
                    <a:lnTo>
                      <a:pt x="457" y="246"/>
                    </a:lnTo>
                    <a:lnTo>
                      <a:pt x="450" y="211"/>
                    </a:lnTo>
                    <a:lnTo>
                      <a:pt x="419" y="190"/>
                    </a:lnTo>
                    <a:lnTo>
                      <a:pt x="400" y="190"/>
                    </a:lnTo>
                    <a:lnTo>
                      <a:pt x="382" y="246"/>
                    </a:lnTo>
                    <a:lnTo>
                      <a:pt x="382" y="223"/>
                    </a:lnTo>
                    <a:lnTo>
                      <a:pt x="350" y="234"/>
                    </a:lnTo>
                    <a:lnTo>
                      <a:pt x="363" y="223"/>
                    </a:lnTo>
                    <a:lnTo>
                      <a:pt x="350" y="178"/>
                    </a:lnTo>
                    <a:lnTo>
                      <a:pt x="375" y="111"/>
                    </a:lnTo>
                    <a:lnTo>
                      <a:pt x="350" y="34"/>
                    </a:lnTo>
                    <a:lnTo>
                      <a:pt x="325" y="100"/>
                    </a:lnTo>
                    <a:lnTo>
                      <a:pt x="299" y="88"/>
                    </a:lnTo>
                    <a:lnTo>
                      <a:pt x="269" y="100"/>
                    </a:lnTo>
                    <a:lnTo>
                      <a:pt x="225" y="123"/>
                    </a:lnTo>
                    <a:lnTo>
                      <a:pt x="219" y="78"/>
                    </a:lnTo>
                    <a:lnTo>
                      <a:pt x="219" y="23"/>
                    </a:lnTo>
                    <a:lnTo>
                      <a:pt x="207" y="0"/>
                    </a:lnTo>
                    <a:lnTo>
                      <a:pt x="169" y="34"/>
                    </a:lnTo>
                    <a:lnTo>
                      <a:pt x="143" y="23"/>
                    </a:lnTo>
                    <a:lnTo>
                      <a:pt x="150" y="88"/>
                    </a:lnTo>
                    <a:lnTo>
                      <a:pt x="163" y="88"/>
                    </a:lnTo>
                    <a:lnTo>
                      <a:pt x="125" y="146"/>
                    </a:lnTo>
                    <a:lnTo>
                      <a:pt x="113" y="123"/>
                    </a:lnTo>
                    <a:lnTo>
                      <a:pt x="100" y="100"/>
                    </a:lnTo>
                    <a:lnTo>
                      <a:pt x="63" y="111"/>
                    </a:lnTo>
                    <a:lnTo>
                      <a:pt x="74" y="146"/>
                    </a:lnTo>
                    <a:lnTo>
                      <a:pt x="63" y="146"/>
                    </a:lnTo>
                    <a:lnTo>
                      <a:pt x="69" y="201"/>
                    </a:lnTo>
                    <a:lnTo>
                      <a:pt x="63" y="301"/>
                    </a:lnTo>
                    <a:lnTo>
                      <a:pt x="25" y="324"/>
                    </a:lnTo>
                    <a:lnTo>
                      <a:pt x="0" y="399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3" name="Freeform 87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2190998" y="4022725"/>
              <a:ext cx="28575" cy="71438"/>
            </a:xfrm>
            <a:custGeom>
              <a:avLst/>
              <a:gdLst>
                <a:gd name="T0" fmla="*/ 0 w 19"/>
                <a:gd name="T1" fmla="*/ 2147483647 h 90"/>
                <a:gd name="T2" fmla="*/ 2147483647 w 19"/>
                <a:gd name="T3" fmla="*/ 2147483647 h 90"/>
                <a:gd name="T4" fmla="*/ 2147483647 w 19"/>
                <a:gd name="T5" fmla="*/ 0 h 90"/>
                <a:gd name="T6" fmla="*/ 0 w 19"/>
                <a:gd name="T7" fmla="*/ 2147483647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90">
                  <a:moveTo>
                    <a:pt x="0" y="23"/>
                  </a:moveTo>
                  <a:lnTo>
                    <a:pt x="6" y="90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4" name="Freeform 88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2190998" y="4022725"/>
              <a:ext cx="28575" cy="71438"/>
            </a:xfrm>
            <a:custGeom>
              <a:avLst/>
              <a:gdLst>
                <a:gd name="T0" fmla="*/ 0 w 19"/>
                <a:gd name="T1" fmla="*/ 2147483647 h 90"/>
                <a:gd name="T2" fmla="*/ 2147483647 w 19"/>
                <a:gd name="T3" fmla="*/ 2147483647 h 90"/>
                <a:gd name="T4" fmla="*/ 2147483647 w 19"/>
                <a:gd name="T5" fmla="*/ 0 h 90"/>
                <a:gd name="T6" fmla="*/ 0 w 19"/>
                <a:gd name="T7" fmla="*/ 2147483647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90">
                  <a:moveTo>
                    <a:pt x="0" y="23"/>
                  </a:moveTo>
                  <a:lnTo>
                    <a:pt x="6" y="90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5" name="Freeform 89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2190998" y="4022725"/>
              <a:ext cx="28575" cy="71438"/>
            </a:xfrm>
            <a:custGeom>
              <a:avLst/>
              <a:gdLst>
                <a:gd name="T0" fmla="*/ 0 w 19"/>
                <a:gd name="T1" fmla="*/ 2147483647 h 90"/>
                <a:gd name="T2" fmla="*/ 2147483647 w 19"/>
                <a:gd name="T3" fmla="*/ 2147483647 h 90"/>
                <a:gd name="T4" fmla="*/ 2147483647 w 19"/>
                <a:gd name="T5" fmla="*/ 0 h 90"/>
                <a:gd name="T6" fmla="*/ 0 w 19"/>
                <a:gd name="T7" fmla="*/ 2147483647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90">
                  <a:moveTo>
                    <a:pt x="0" y="23"/>
                  </a:moveTo>
                  <a:lnTo>
                    <a:pt x="6" y="90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6" name="Freeform 90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2190998" y="4022725"/>
              <a:ext cx="28575" cy="71438"/>
            </a:xfrm>
            <a:custGeom>
              <a:avLst/>
              <a:gdLst>
                <a:gd name="T0" fmla="*/ 0 w 19"/>
                <a:gd name="T1" fmla="*/ 2147483647 h 90"/>
                <a:gd name="T2" fmla="*/ 2147483647 w 19"/>
                <a:gd name="T3" fmla="*/ 2147483647 h 90"/>
                <a:gd name="T4" fmla="*/ 2147483647 w 19"/>
                <a:gd name="T5" fmla="*/ 0 h 90"/>
                <a:gd name="T6" fmla="*/ 0 w 19"/>
                <a:gd name="T7" fmla="*/ 2147483647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90">
                  <a:moveTo>
                    <a:pt x="0" y="23"/>
                  </a:moveTo>
                  <a:lnTo>
                    <a:pt x="6" y="90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7" name="Freeform 91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7005886" y="4367213"/>
              <a:ext cx="26987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2147483647 h 34"/>
                <a:gd name="T4" fmla="*/ 2147483647 w 18"/>
                <a:gd name="T5" fmla="*/ 0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23"/>
                  </a:moveTo>
                  <a:lnTo>
                    <a:pt x="11" y="34"/>
                  </a:lnTo>
                  <a:lnTo>
                    <a:pt x="18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8" name="Freeform 92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7005886" y="4367213"/>
              <a:ext cx="26987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2147483647 h 34"/>
                <a:gd name="T4" fmla="*/ 2147483647 w 18"/>
                <a:gd name="T5" fmla="*/ 0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23"/>
                  </a:moveTo>
                  <a:lnTo>
                    <a:pt x="11" y="34"/>
                  </a:lnTo>
                  <a:lnTo>
                    <a:pt x="18" y="0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9" name="Freeform 93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7005886" y="4367213"/>
              <a:ext cx="26987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2147483647 h 34"/>
                <a:gd name="T4" fmla="*/ 2147483647 w 18"/>
                <a:gd name="T5" fmla="*/ 0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23"/>
                  </a:moveTo>
                  <a:lnTo>
                    <a:pt x="11" y="34"/>
                  </a:lnTo>
                  <a:lnTo>
                    <a:pt x="18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0" name="Freeform 94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7005886" y="4367213"/>
              <a:ext cx="26987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2147483647 h 34"/>
                <a:gd name="T4" fmla="*/ 2147483647 w 18"/>
                <a:gd name="T5" fmla="*/ 0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23"/>
                  </a:moveTo>
                  <a:lnTo>
                    <a:pt x="11" y="34"/>
                  </a:lnTo>
                  <a:lnTo>
                    <a:pt x="18" y="0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1" name="Freeform 95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913561" y="3298825"/>
              <a:ext cx="147637" cy="87313"/>
            </a:xfrm>
            <a:custGeom>
              <a:avLst/>
              <a:gdLst>
                <a:gd name="T0" fmla="*/ 0 w 101"/>
                <a:gd name="T1" fmla="*/ 2147483647 h 110"/>
                <a:gd name="T2" fmla="*/ 2147483647 w 101"/>
                <a:gd name="T3" fmla="*/ 0 h 110"/>
                <a:gd name="T4" fmla="*/ 2147483647 w 101"/>
                <a:gd name="T5" fmla="*/ 2147483647 h 110"/>
                <a:gd name="T6" fmla="*/ 2147483647 w 101"/>
                <a:gd name="T7" fmla="*/ 2147483647 h 110"/>
                <a:gd name="T8" fmla="*/ 2147483647 w 101"/>
                <a:gd name="T9" fmla="*/ 2147483647 h 110"/>
                <a:gd name="T10" fmla="*/ 2147483647 w 101"/>
                <a:gd name="T11" fmla="*/ 2147483647 h 110"/>
                <a:gd name="T12" fmla="*/ 2147483647 w 101"/>
                <a:gd name="T13" fmla="*/ 2147483647 h 110"/>
                <a:gd name="T14" fmla="*/ 2147483647 w 101"/>
                <a:gd name="T15" fmla="*/ 2147483647 h 110"/>
                <a:gd name="T16" fmla="*/ 0 w 101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1" h="110">
                  <a:moveTo>
                    <a:pt x="0" y="79"/>
                  </a:moveTo>
                  <a:lnTo>
                    <a:pt x="7" y="0"/>
                  </a:lnTo>
                  <a:lnTo>
                    <a:pt x="101" y="22"/>
                  </a:lnTo>
                  <a:lnTo>
                    <a:pt x="82" y="66"/>
                  </a:lnTo>
                  <a:lnTo>
                    <a:pt x="88" y="89"/>
                  </a:lnTo>
                  <a:lnTo>
                    <a:pt x="63" y="100"/>
                  </a:lnTo>
                  <a:lnTo>
                    <a:pt x="50" y="110"/>
                  </a:lnTo>
                  <a:lnTo>
                    <a:pt x="12" y="11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2" name="Freeform 96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4913561" y="3298825"/>
              <a:ext cx="147637" cy="87313"/>
            </a:xfrm>
            <a:custGeom>
              <a:avLst/>
              <a:gdLst>
                <a:gd name="T0" fmla="*/ 0 w 101"/>
                <a:gd name="T1" fmla="*/ 2147483647 h 110"/>
                <a:gd name="T2" fmla="*/ 2147483647 w 101"/>
                <a:gd name="T3" fmla="*/ 0 h 110"/>
                <a:gd name="T4" fmla="*/ 2147483647 w 101"/>
                <a:gd name="T5" fmla="*/ 2147483647 h 110"/>
                <a:gd name="T6" fmla="*/ 2147483647 w 101"/>
                <a:gd name="T7" fmla="*/ 2147483647 h 110"/>
                <a:gd name="T8" fmla="*/ 2147483647 w 101"/>
                <a:gd name="T9" fmla="*/ 2147483647 h 110"/>
                <a:gd name="T10" fmla="*/ 2147483647 w 101"/>
                <a:gd name="T11" fmla="*/ 2147483647 h 110"/>
                <a:gd name="T12" fmla="*/ 2147483647 w 101"/>
                <a:gd name="T13" fmla="*/ 2147483647 h 110"/>
                <a:gd name="T14" fmla="*/ 2147483647 w 101"/>
                <a:gd name="T15" fmla="*/ 2147483647 h 110"/>
                <a:gd name="T16" fmla="*/ 0 w 101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1" h="110">
                  <a:moveTo>
                    <a:pt x="0" y="79"/>
                  </a:moveTo>
                  <a:lnTo>
                    <a:pt x="7" y="0"/>
                  </a:lnTo>
                  <a:lnTo>
                    <a:pt x="101" y="22"/>
                  </a:lnTo>
                  <a:lnTo>
                    <a:pt x="82" y="66"/>
                  </a:lnTo>
                  <a:lnTo>
                    <a:pt x="88" y="89"/>
                  </a:lnTo>
                  <a:lnTo>
                    <a:pt x="63" y="100"/>
                  </a:lnTo>
                  <a:lnTo>
                    <a:pt x="50" y="110"/>
                  </a:lnTo>
                  <a:lnTo>
                    <a:pt x="12" y="110"/>
                  </a:lnTo>
                  <a:lnTo>
                    <a:pt x="0" y="7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3" name="Freeform 97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4913561" y="3298825"/>
              <a:ext cx="147637" cy="87313"/>
            </a:xfrm>
            <a:custGeom>
              <a:avLst/>
              <a:gdLst>
                <a:gd name="T0" fmla="*/ 0 w 101"/>
                <a:gd name="T1" fmla="*/ 2147483647 h 110"/>
                <a:gd name="T2" fmla="*/ 2147483647 w 101"/>
                <a:gd name="T3" fmla="*/ 0 h 110"/>
                <a:gd name="T4" fmla="*/ 2147483647 w 101"/>
                <a:gd name="T5" fmla="*/ 2147483647 h 110"/>
                <a:gd name="T6" fmla="*/ 2147483647 w 101"/>
                <a:gd name="T7" fmla="*/ 2147483647 h 110"/>
                <a:gd name="T8" fmla="*/ 2147483647 w 101"/>
                <a:gd name="T9" fmla="*/ 2147483647 h 110"/>
                <a:gd name="T10" fmla="*/ 2147483647 w 101"/>
                <a:gd name="T11" fmla="*/ 2147483647 h 110"/>
                <a:gd name="T12" fmla="*/ 2147483647 w 101"/>
                <a:gd name="T13" fmla="*/ 2147483647 h 110"/>
                <a:gd name="T14" fmla="*/ 2147483647 w 101"/>
                <a:gd name="T15" fmla="*/ 2147483647 h 110"/>
                <a:gd name="T16" fmla="*/ 0 w 101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1" h="110">
                  <a:moveTo>
                    <a:pt x="0" y="79"/>
                  </a:moveTo>
                  <a:lnTo>
                    <a:pt x="7" y="0"/>
                  </a:lnTo>
                  <a:lnTo>
                    <a:pt x="101" y="22"/>
                  </a:lnTo>
                  <a:lnTo>
                    <a:pt x="82" y="66"/>
                  </a:lnTo>
                  <a:lnTo>
                    <a:pt x="88" y="89"/>
                  </a:lnTo>
                  <a:lnTo>
                    <a:pt x="63" y="100"/>
                  </a:lnTo>
                  <a:lnTo>
                    <a:pt x="50" y="110"/>
                  </a:lnTo>
                  <a:lnTo>
                    <a:pt x="12" y="11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4" name="Freeform 98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4913561" y="3298825"/>
              <a:ext cx="147637" cy="87313"/>
            </a:xfrm>
            <a:custGeom>
              <a:avLst/>
              <a:gdLst>
                <a:gd name="T0" fmla="*/ 0 w 101"/>
                <a:gd name="T1" fmla="*/ 2147483647 h 110"/>
                <a:gd name="T2" fmla="*/ 2147483647 w 101"/>
                <a:gd name="T3" fmla="*/ 0 h 110"/>
                <a:gd name="T4" fmla="*/ 2147483647 w 101"/>
                <a:gd name="T5" fmla="*/ 2147483647 h 110"/>
                <a:gd name="T6" fmla="*/ 2147483647 w 101"/>
                <a:gd name="T7" fmla="*/ 2147483647 h 110"/>
                <a:gd name="T8" fmla="*/ 2147483647 w 101"/>
                <a:gd name="T9" fmla="*/ 2147483647 h 110"/>
                <a:gd name="T10" fmla="*/ 2147483647 w 101"/>
                <a:gd name="T11" fmla="*/ 2147483647 h 110"/>
                <a:gd name="T12" fmla="*/ 2147483647 w 101"/>
                <a:gd name="T13" fmla="*/ 2147483647 h 110"/>
                <a:gd name="T14" fmla="*/ 2147483647 w 101"/>
                <a:gd name="T15" fmla="*/ 2147483647 h 110"/>
                <a:gd name="T16" fmla="*/ 0 w 101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1" h="110">
                  <a:moveTo>
                    <a:pt x="0" y="79"/>
                  </a:moveTo>
                  <a:lnTo>
                    <a:pt x="7" y="0"/>
                  </a:lnTo>
                  <a:lnTo>
                    <a:pt x="101" y="22"/>
                  </a:lnTo>
                  <a:lnTo>
                    <a:pt x="82" y="66"/>
                  </a:lnTo>
                  <a:lnTo>
                    <a:pt x="88" y="89"/>
                  </a:lnTo>
                  <a:lnTo>
                    <a:pt x="63" y="100"/>
                  </a:lnTo>
                  <a:lnTo>
                    <a:pt x="50" y="110"/>
                  </a:lnTo>
                  <a:lnTo>
                    <a:pt x="12" y="110"/>
                  </a:lnTo>
                  <a:lnTo>
                    <a:pt x="0" y="7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5" name="Freeform 99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6508998" y="3767138"/>
              <a:ext cx="212725" cy="479425"/>
            </a:xfrm>
            <a:custGeom>
              <a:avLst/>
              <a:gdLst>
                <a:gd name="T0" fmla="*/ 0 w 145"/>
                <a:gd name="T1" fmla="*/ 2147483647 h 603"/>
                <a:gd name="T2" fmla="*/ 2147483647 w 145"/>
                <a:gd name="T3" fmla="*/ 2147483647 h 603"/>
                <a:gd name="T4" fmla="*/ 2147483647 w 145"/>
                <a:gd name="T5" fmla="*/ 2147483647 h 603"/>
                <a:gd name="T6" fmla="*/ 2147483647 w 145"/>
                <a:gd name="T7" fmla="*/ 2147483647 h 603"/>
                <a:gd name="T8" fmla="*/ 2147483647 w 145"/>
                <a:gd name="T9" fmla="*/ 0 h 603"/>
                <a:gd name="T10" fmla="*/ 2147483647 w 145"/>
                <a:gd name="T11" fmla="*/ 2147483647 h 603"/>
                <a:gd name="T12" fmla="*/ 2147483647 w 145"/>
                <a:gd name="T13" fmla="*/ 2147483647 h 603"/>
                <a:gd name="T14" fmla="*/ 2147483647 w 145"/>
                <a:gd name="T15" fmla="*/ 2147483647 h 603"/>
                <a:gd name="T16" fmla="*/ 2147483647 w 145"/>
                <a:gd name="T17" fmla="*/ 2147483647 h 603"/>
                <a:gd name="T18" fmla="*/ 2147483647 w 145"/>
                <a:gd name="T19" fmla="*/ 2147483647 h 603"/>
                <a:gd name="T20" fmla="*/ 2147483647 w 145"/>
                <a:gd name="T21" fmla="*/ 2147483647 h 603"/>
                <a:gd name="T22" fmla="*/ 2147483647 w 145"/>
                <a:gd name="T23" fmla="*/ 2147483647 h 603"/>
                <a:gd name="T24" fmla="*/ 2147483647 w 145"/>
                <a:gd name="T25" fmla="*/ 2147483647 h 603"/>
                <a:gd name="T26" fmla="*/ 2147483647 w 145"/>
                <a:gd name="T27" fmla="*/ 2147483647 h 603"/>
                <a:gd name="T28" fmla="*/ 2147483647 w 145"/>
                <a:gd name="T29" fmla="*/ 2147483647 h 603"/>
                <a:gd name="T30" fmla="*/ 2147483647 w 145"/>
                <a:gd name="T31" fmla="*/ 2147483647 h 603"/>
                <a:gd name="T32" fmla="*/ 2147483647 w 145"/>
                <a:gd name="T33" fmla="*/ 2147483647 h 603"/>
                <a:gd name="T34" fmla="*/ 2147483647 w 145"/>
                <a:gd name="T35" fmla="*/ 2147483647 h 603"/>
                <a:gd name="T36" fmla="*/ 2147483647 w 145"/>
                <a:gd name="T37" fmla="*/ 2147483647 h 603"/>
                <a:gd name="T38" fmla="*/ 2147483647 w 145"/>
                <a:gd name="T39" fmla="*/ 2147483647 h 603"/>
                <a:gd name="T40" fmla="*/ 2147483647 w 145"/>
                <a:gd name="T41" fmla="*/ 2147483647 h 603"/>
                <a:gd name="T42" fmla="*/ 2147483647 w 145"/>
                <a:gd name="T43" fmla="*/ 2147483647 h 603"/>
                <a:gd name="T44" fmla="*/ 2147483647 w 145"/>
                <a:gd name="T45" fmla="*/ 2147483647 h 603"/>
                <a:gd name="T46" fmla="*/ 0 w 145"/>
                <a:gd name="T47" fmla="*/ 2147483647 h 60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45" h="603">
                  <a:moveTo>
                    <a:pt x="0" y="244"/>
                  </a:moveTo>
                  <a:lnTo>
                    <a:pt x="7" y="211"/>
                  </a:lnTo>
                  <a:lnTo>
                    <a:pt x="50" y="56"/>
                  </a:lnTo>
                  <a:lnTo>
                    <a:pt x="76" y="44"/>
                  </a:lnTo>
                  <a:lnTo>
                    <a:pt x="81" y="0"/>
                  </a:lnTo>
                  <a:lnTo>
                    <a:pt x="100" y="21"/>
                  </a:lnTo>
                  <a:lnTo>
                    <a:pt x="100" y="56"/>
                  </a:lnTo>
                  <a:lnTo>
                    <a:pt x="88" y="156"/>
                  </a:lnTo>
                  <a:lnTo>
                    <a:pt x="100" y="144"/>
                  </a:lnTo>
                  <a:lnTo>
                    <a:pt x="113" y="200"/>
                  </a:lnTo>
                  <a:lnTo>
                    <a:pt x="145" y="223"/>
                  </a:lnTo>
                  <a:lnTo>
                    <a:pt x="125" y="255"/>
                  </a:lnTo>
                  <a:lnTo>
                    <a:pt x="95" y="290"/>
                  </a:lnTo>
                  <a:lnTo>
                    <a:pt x="88" y="334"/>
                  </a:lnTo>
                  <a:lnTo>
                    <a:pt x="100" y="401"/>
                  </a:lnTo>
                  <a:lnTo>
                    <a:pt x="95" y="446"/>
                  </a:lnTo>
                  <a:lnTo>
                    <a:pt x="119" y="545"/>
                  </a:lnTo>
                  <a:lnTo>
                    <a:pt x="100" y="603"/>
                  </a:lnTo>
                  <a:lnTo>
                    <a:pt x="88" y="390"/>
                  </a:lnTo>
                  <a:lnTo>
                    <a:pt x="76" y="367"/>
                  </a:lnTo>
                  <a:lnTo>
                    <a:pt x="50" y="423"/>
                  </a:lnTo>
                  <a:lnTo>
                    <a:pt x="31" y="413"/>
                  </a:lnTo>
                  <a:lnTo>
                    <a:pt x="38" y="334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6" name="Freeform 100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6508998" y="3767138"/>
              <a:ext cx="212725" cy="479425"/>
            </a:xfrm>
            <a:custGeom>
              <a:avLst/>
              <a:gdLst>
                <a:gd name="T0" fmla="*/ 0 w 145"/>
                <a:gd name="T1" fmla="*/ 2147483647 h 603"/>
                <a:gd name="T2" fmla="*/ 2147483647 w 145"/>
                <a:gd name="T3" fmla="*/ 2147483647 h 603"/>
                <a:gd name="T4" fmla="*/ 2147483647 w 145"/>
                <a:gd name="T5" fmla="*/ 2147483647 h 603"/>
                <a:gd name="T6" fmla="*/ 2147483647 w 145"/>
                <a:gd name="T7" fmla="*/ 2147483647 h 603"/>
                <a:gd name="T8" fmla="*/ 2147483647 w 145"/>
                <a:gd name="T9" fmla="*/ 0 h 603"/>
                <a:gd name="T10" fmla="*/ 2147483647 w 145"/>
                <a:gd name="T11" fmla="*/ 2147483647 h 603"/>
                <a:gd name="T12" fmla="*/ 2147483647 w 145"/>
                <a:gd name="T13" fmla="*/ 2147483647 h 603"/>
                <a:gd name="T14" fmla="*/ 2147483647 w 145"/>
                <a:gd name="T15" fmla="*/ 2147483647 h 603"/>
                <a:gd name="T16" fmla="*/ 2147483647 w 145"/>
                <a:gd name="T17" fmla="*/ 2147483647 h 603"/>
                <a:gd name="T18" fmla="*/ 2147483647 w 145"/>
                <a:gd name="T19" fmla="*/ 2147483647 h 603"/>
                <a:gd name="T20" fmla="*/ 2147483647 w 145"/>
                <a:gd name="T21" fmla="*/ 2147483647 h 603"/>
                <a:gd name="T22" fmla="*/ 2147483647 w 145"/>
                <a:gd name="T23" fmla="*/ 2147483647 h 603"/>
                <a:gd name="T24" fmla="*/ 2147483647 w 145"/>
                <a:gd name="T25" fmla="*/ 2147483647 h 603"/>
                <a:gd name="T26" fmla="*/ 2147483647 w 145"/>
                <a:gd name="T27" fmla="*/ 2147483647 h 603"/>
                <a:gd name="T28" fmla="*/ 2147483647 w 145"/>
                <a:gd name="T29" fmla="*/ 2147483647 h 603"/>
                <a:gd name="T30" fmla="*/ 2147483647 w 145"/>
                <a:gd name="T31" fmla="*/ 2147483647 h 603"/>
                <a:gd name="T32" fmla="*/ 2147483647 w 145"/>
                <a:gd name="T33" fmla="*/ 2147483647 h 603"/>
                <a:gd name="T34" fmla="*/ 2147483647 w 145"/>
                <a:gd name="T35" fmla="*/ 2147483647 h 603"/>
                <a:gd name="T36" fmla="*/ 2147483647 w 145"/>
                <a:gd name="T37" fmla="*/ 2147483647 h 603"/>
                <a:gd name="T38" fmla="*/ 2147483647 w 145"/>
                <a:gd name="T39" fmla="*/ 2147483647 h 603"/>
                <a:gd name="T40" fmla="*/ 2147483647 w 145"/>
                <a:gd name="T41" fmla="*/ 2147483647 h 603"/>
                <a:gd name="T42" fmla="*/ 2147483647 w 145"/>
                <a:gd name="T43" fmla="*/ 2147483647 h 603"/>
                <a:gd name="T44" fmla="*/ 2147483647 w 145"/>
                <a:gd name="T45" fmla="*/ 2147483647 h 603"/>
                <a:gd name="T46" fmla="*/ 0 w 145"/>
                <a:gd name="T47" fmla="*/ 2147483647 h 60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45" h="603">
                  <a:moveTo>
                    <a:pt x="0" y="244"/>
                  </a:moveTo>
                  <a:lnTo>
                    <a:pt x="7" y="211"/>
                  </a:lnTo>
                  <a:lnTo>
                    <a:pt x="50" y="56"/>
                  </a:lnTo>
                  <a:lnTo>
                    <a:pt x="76" y="44"/>
                  </a:lnTo>
                  <a:lnTo>
                    <a:pt x="81" y="0"/>
                  </a:lnTo>
                  <a:lnTo>
                    <a:pt x="100" y="21"/>
                  </a:lnTo>
                  <a:lnTo>
                    <a:pt x="100" y="56"/>
                  </a:lnTo>
                  <a:lnTo>
                    <a:pt x="88" y="156"/>
                  </a:lnTo>
                  <a:lnTo>
                    <a:pt x="100" y="144"/>
                  </a:lnTo>
                  <a:lnTo>
                    <a:pt x="113" y="200"/>
                  </a:lnTo>
                  <a:lnTo>
                    <a:pt x="145" y="223"/>
                  </a:lnTo>
                  <a:lnTo>
                    <a:pt x="125" y="255"/>
                  </a:lnTo>
                  <a:lnTo>
                    <a:pt x="95" y="290"/>
                  </a:lnTo>
                  <a:lnTo>
                    <a:pt x="88" y="334"/>
                  </a:lnTo>
                  <a:lnTo>
                    <a:pt x="100" y="401"/>
                  </a:lnTo>
                  <a:lnTo>
                    <a:pt x="95" y="446"/>
                  </a:lnTo>
                  <a:lnTo>
                    <a:pt x="119" y="545"/>
                  </a:lnTo>
                  <a:lnTo>
                    <a:pt x="100" y="603"/>
                  </a:lnTo>
                  <a:lnTo>
                    <a:pt x="88" y="390"/>
                  </a:lnTo>
                  <a:lnTo>
                    <a:pt x="76" y="367"/>
                  </a:lnTo>
                  <a:lnTo>
                    <a:pt x="50" y="423"/>
                  </a:lnTo>
                  <a:lnTo>
                    <a:pt x="31" y="413"/>
                  </a:lnTo>
                  <a:lnTo>
                    <a:pt x="38" y="334"/>
                  </a:lnTo>
                  <a:lnTo>
                    <a:pt x="0" y="2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7" name="Freeform 101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6508998" y="3767138"/>
              <a:ext cx="212725" cy="479425"/>
            </a:xfrm>
            <a:custGeom>
              <a:avLst/>
              <a:gdLst>
                <a:gd name="T0" fmla="*/ 0 w 145"/>
                <a:gd name="T1" fmla="*/ 2147483647 h 603"/>
                <a:gd name="T2" fmla="*/ 2147483647 w 145"/>
                <a:gd name="T3" fmla="*/ 2147483647 h 603"/>
                <a:gd name="T4" fmla="*/ 2147483647 w 145"/>
                <a:gd name="T5" fmla="*/ 2147483647 h 603"/>
                <a:gd name="T6" fmla="*/ 2147483647 w 145"/>
                <a:gd name="T7" fmla="*/ 2147483647 h 603"/>
                <a:gd name="T8" fmla="*/ 2147483647 w 145"/>
                <a:gd name="T9" fmla="*/ 0 h 603"/>
                <a:gd name="T10" fmla="*/ 2147483647 w 145"/>
                <a:gd name="T11" fmla="*/ 2147483647 h 603"/>
                <a:gd name="T12" fmla="*/ 2147483647 w 145"/>
                <a:gd name="T13" fmla="*/ 2147483647 h 603"/>
                <a:gd name="T14" fmla="*/ 2147483647 w 145"/>
                <a:gd name="T15" fmla="*/ 2147483647 h 603"/>
                <a:gd name="T16" fmla="*/ 2147483647 w 145"/>
                <a:gd name="T17" fmla="*/ 2147483647 h 603"/>
                <a:gd name="T18" fmla="*/ 2147483647 w 145"/>
                <a:gd name="T19" fmla="*/ 2147483647 h 603"/>
                <a:gd name="T20" fmla="*/ 2147483647 w 145"/>
                <a:gd name="T21" fmla="*/ 2147483647 h 603"/>
                <a:gd name="T22" fmla="*/ 2147483647 w 145"/>
                <a:gd name="T23" fmla="*/ 2147483647 h 603"/>
                <a:gd name="T24" fmla="*/ 2147483647 w 145"/>
                <a:gd name="T25" fmla="*/ 2147483647 h 603"/>
                <a:gd name="T26" fmla="*/ 2147483647 w 145"/>
                <a:gd name="T27" fmla="*/ 2147483647 h 603"/>
                <a:gd name="T28" fmla="*/ 2147483647 w 145"/>
                <a:gd name="T29" fmla="*/ 2147483647 h 603"/>
                <a:gd name="T30" fmla="*/ 2147483647 w 145"/>
                <a:gd name="T31" fmla="*/ 2147483647 h 603"/>
                <a:gd name="T32" fmla="*/ 2147483647 w 145"/>
                <a:gd name="T33" fmla="*/ 2147483647 h 603"/>
                <a:gd name="T34" fmla="*/ 2147483647 w 145"/>
                <a:gd name="T35" fmla="*/ 2147483647 h 603"/>
                <a:gd name="T36" fmla="*/ 2147483647 w 145"/>
                <a:gd name="T37" fmla="*/ 2147483647 h 603"/>
                <a:gd name="T38" fmla="*/ 2147483647 w 145"/>
                <a:gd name="T39" fmla="*/ 2147483647 h 603"/>
                <a:gd name="T40" fmla="*/ 2147483647 w 145"/>
                <a:gd name="T41" fmla="*/ 2147483647 h 603"/>
                <a:gd name="T42" fmla="*/ 2147483647 w 145"/>
                <a:gd name="T43" fmla="*/ 2147483647 h 603"/>
                <a:gd name="T44" fmla="*/ 2147483647 w 145"/>
                <a:gd name="T45" fmla="*/ 2147483647 h 603"/>
                <a:gd name="T46" fmla="*/ 0 w 145"/>
                <a:gd name="T47" fmla="*/ 2147483647 h 60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45" h="603">
                  <a:moveTo>
                    <a:pt x="0" y="244"/>
                  </a:moveTo>
                  <a:lnTo>
                    <a:pt x="7" y="211"/>
                  </a:lnTo>
                  <a:lnTo>
                    <a:pt x="50" y="56"/>
                  </a:lnTo>
                  <a:lnTo>
                    <a:pt x="76" y="44"/>
                  </a:lnTo>
                  <a:lnTo>
                    <a:pt x="81" y="0"/>
                  </a:lnTo>
                  <a:lnTo>
                    <a:pt x="100" y="21"/>
                  </a:lnTo>
                  <a:lnTo>
                    <a:pt x="100" y="56"/>
                  </a:lnTo>
                  <a:lnTo>
                    <a:pt x="88" y="156"/>
                  </a:lnTo>
                  <a:lnTo>
                    <a:pt x="100" y="144"/>
                  </a:lnTo>
                  <a:lnTo>
                    <a:pt x="113" y="200"/>
                  </a:lnTo>
                  <a:lnTo>
                    <a:pt x="145" y="223"/>
                  </a:lnTo>
                  <a:lnTo>
                    <a:pt x="125" y="255"/>
                  </a:lnTo>
                  <a:lnTo>
                    <a:pt x="95" y="290"/>
                  </a:lnTo>
                  <a:lnTo>
                    <a:pt x="88" y="334"/>
                  </a:lnTo>
                  <a:lnTo>
                    <a:pt x="100" y="401"/>
                  </a:lnTo>
                  <a:lnTo>
                    <a:pt x="95" y="446"/>
                  </a:lnTo>
                  <a:lnTo>
                    <a:pt x="119" y="545"/>
                  </a:lnTo>
                  <a:lnTo>
                    <a:pt x="100" y="603"/>
                  </a:lnTo>
                  <a:lnTo>
                    <a:pt x="88" y="390"/>
                  </a:lnTo>
                  <a:lnTo>
                    <a:pt x="76" y="367"/>
                  </a:lnTo>
                  <a:lnTo>
                    <a:pt x="50" y="423"/>
                  </a:lnTo>
                  <a:lnTo>
                    <a:pt x="31" y="413"/>
                  </a:lnTo>
                  <a:lnTo>
                    <a:pt x="38" y="334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8" name="Freeform 102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6508998" y="3767138"/>
              <a:ext cx="212725" cy="479425"/>
            </a:xfrm>
            <a:custGeom>
              <a:avLst/>
              <a:gdLst>
                <a:gd name="T0" fmla="*/ 0 w 145"/>
                <a:gd name="T1" fmla="*/ 2147483647 h 603"/>
                <a:gd name="T2" fmla="*/ 2147483647 w 145"/>
                <a:gd name="T3" fmla="*/ 2147483647 h 603"/>
                <a:gd name="T4" fmla="*/ 2147483647 w 145"/>
                <a:gd name="T5" fmla="*/ 2147483647 h 603"/>
                <a:gd name="T6" fmla="*/ 2147483647 w 145"/>
                <a:gd name="T7" fmla="*/ 2147483647 h 603"/>
                <a:gd name="T8" fmla="*/ 2147483647 w 145"/>
                <a:gd name="T9" fmla="*/ 0 h 603"/>
                <a:gd name="T10" fmla="*/ 2147483647 w 145"/>
                <a:gd name="T11" fmla="*/ 2147483647 h 603"/>
                <a:gd name="T12" fmla="*/ 2147483647 w 145"/>
                <a:gd name="T13" fmla="*/ 2147483647 h 603"/>
                <a:gd name="T14" fmla="*/ 2147483647 w 145"/>
                <a:gd name="T15" fmla="*/ 2147483647 h 603"/>
                <a:gd name="T16" fmla="*/ 2147483647 w 145"/>
                <a:gd name="T17" fmla="*/ 2147483647 h 603"/>
                <a:gd name="T18" fmla="*/ 2147483647 w 145"/>
                <a:gd name="T19" fmla="*/ 2147483647 h 603"/>
                <a:gd name="T20" fmla="*/ 2147483647 w 145"/>
                <a:gd name="T21" fmla="*/ 2147483647 h 603"/>
                <a:gd name="T22" fmla="*/ 2147483647 w 145"/>
                <a:gd name="T23" fmla="*/ 2147483647 h 603"/>
                <a:gd name="T24" fmla="*/ 2147483647 w 145"/>
                <a:gd name="T25" fmla="*/ 2147483647 h 603"/>
                <a:gd name="T26" fmla="*/ 2147483647 w 145"/>
                <a:gd name="T27" fmla="*/ 2147483647 h 603"/>
                <a:gd name="T28" fmla="*/ 2147483647 w 145"/>
                <a:gd name="T29" fmla="*/ 2147483647 h 603"/>
                <a:gd name="T30" fmla="*/ 2147483647 w 145"/>
                <a:gd name="T31" fmla="*/ 2147483647 h 603"/>
                <a:gd name="T32" fmla="*/ 2147483647 w 145"/>
                <a:gd name="T33" fmla="*/ 2147483647 h 603"/>
                <a:gd name="T34" fmla="*/ 2147483647 w 145"/>
                <a:gd name="T35" fmla="*/ 2147483647 h 603"/>
                <a:gd name="T36" fmla="*/ 2147483647 w 145"/>
                <a:gd name="T37" fmla="*/ 2147483647 h 603"/>
                <a:gd name="T38" fmla="*/ 2147483647 w 145"/>
                <a:gd name="T39" fmla="*/ 2147483647 h 603"/>
                <a:gd name="T40" fmla="*/ 2147483647 w 145"/>
                <a:gd name="T41" fmla="*/ 2147483647 h 603"/>
                <a:gd name="T42" fmla="*/ 2147483647 w 145"/>
                <a:gd name="T43" fmla="*/ 2147483647 h 603"/>
                <a:gd name="T44" fmla="*/ 2147483647 w 145"/>
                <a:gd name="T45" fmla="*/ 2147483647 h 603"/>
                <a:gd name="T46" fmla="*/ 0 w 145"/>
                <a:gd name="T47" fmla="*/ 2147483647 h 60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45" h="603">
                  <a:moveTo>
                    <a:pt x="0" y="244"/>
                  </a:moveTo>
                  <a:lnTo>
                    <a:pt x="7" y="211"/>
                  </a:lnTo>
                  <a:lnTo>
                    <a:pt x="50" y="56"/>
                  </a:lnTo>
                  <a:lnTo>
                    <a:pt x="76" y="44"/>
                  </a:lnTo>
                  <a:lnTo>
                    <a:pt x="81" y="0"/>
                  </a:lnTo>
                  <a:lnTo>
                    <a:pt x="100" y="21"/>
                  </a:lnTo>
                  <a:lnTo>
                    <a:pt x="100" y="56"/>
                  </a:lnTo>
                  <a:lnTo>
                    <a:pt x="88" y="156"/>
                  </a:lnTo>
                  <a:lnTo>
                    <a:pt x="100" y="144"/>
                  </a:lnTo>
                  <a:lnTo>
                    <a:pt x="113" y="200"/>
                  </a:lnTo>
                  <a:lnTo>
                    <a:pt x="145" y="223"/>
                  </a:lnTo>
                  <a:lnTo>
                    <a:pt x="125" y="255"/>
                  </a:lnTo>
                  <a:lnTo>
                    <a:pt x="95" y="290"/>
                  </a:lnTo>
                  <a:lnTo>
                    <a:pt x="88" y="334"/>
                  </a:lnTo>
                  <a:lnTo>
                    <a:pt x="100" y="401"/>
                  </a:lnTo>
                  <a:lnTo>
                    <a:pt x="95" y="446"/>
                  </a:lnTo>
                  <a:lnTo>
                    <a:pt x="119" y="545"/>
                  </a:lnTo>
                  <a:lnTo>
                    <a:pt x="100" y="603"/>
                  </a:lnTo>
                  <a:lnTo>
                    <a:pt x="88" y="390"/>
                  </a:lnTo>
                  <a:lnTo>
                    <a:pt x="76" y="367"/>
                  </a:lnTo>
                  <a:lnTo>
                    <a:pt x="50" y="423"/>
                  </a:lnTo>
                  <a:lnTo>
                    <a:pt x="31" y="413"/>
                  </a:lnTo>
                  <a:lnTo>
                    <a:pt x="38" y="334"/>
                  </a:lnTo>
                  <a:lnTo>
                    <a:pt x="0" y="2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9" name="Freeform 103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6748711" y="4122738"/>
              <a:ext cx="109537" cy="114300"/>
            </a:xfrm>
            <a:custGeom>
              <a:avLst/>
              <a:gdLst>
                <a:gd name="T0" fmla="*/ 0 w 75"/>
                <a:gd name="T1" fmla="*/ 2147483647 h 144"/>
                <a:gd name="T2" fmla="*/ 2147483647 w 75"/>
                <a:gd name="T3" fmla="*/ 2147483647 h 144"/>
                <a:gd name="T4" fmla="*/ 2147483647 w 75"/>
                <a:gd name="T5" fmla="*/ 2147483647 h 144"/>
                <a:gd name="T6" fmla="*/ 2147483647 w 75"/>
                <a:gd name="T7" fmla="*/ 2147483647 h 144"/>
                <a:gd name="T8" fmla="*/ 2147483647 w 75"/>
                <a:gd name="T9" fmla="*/ 2147483647 h 144"/>
                <a:gd name="T10" fmla="*/ 2147483647 w 75"/>
                <a:gd name="T11" fmla="*/ 0 h 144"/>
                <a:gd name="T12" fmla="*/ 2147483647 w 75"/>
                <a:gd name="T13" fmla="*/ 2147483647 h 144"/>
                <a:gd name="T14" fmla="*/ 2147483647 w 75"/>
                <a:gd name="T15" fmla="*/ 2147483647 h 144"/>
                <a:gd name="T16" fmla="*/ 0 w 75"/>
                <a:gd name="T17" fmla="*/ 2147483647 h 1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5" h="144">
                  <a:moveTo>
                    <a:pt x="0" y="32"/>
                  </a:moveTo>
                  <a:lnTo>
                    <a:pt x="6" y="97"/>
                  </a:lnTo>
                  <a:lnTo>
                    <a:pt x="12" y="132"/>
                  </a:lnTo>
                  <a:lnTo>
                    <a:pt x="31" y="144"/>
                  </a:lnTo>
                  <a:lnTo>
                    <a:pt x="75" y="76"/>
                  </a:lnTo>
                  <a:lnTo>
                    <a:pt x="75" y="0"/>
                  </a:lnTo>
                  <a:lnTo>
                    <a:pt x="43" y="9"/>
                  </a:lnTo>
                  <a:lnTo>
                    <a:pt x="6" y="9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0" name="Freeform 104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6748711" y="4122738"/>
              <a:ext cx="109537" cy="114300"/>
            </a:xfrm>
            <a:custGeom>
              <a:avLst/>
              <a:gdLst>
                <a:gd name="T0" fmla="*/ 0 w 75"/>
                <a:gd name="T1" fmla="*/ 2147483647 h 144"/>
                <a:gd name="T2" fmla="*/ 2147483647 w 75"/>
                <a:gd name="T3" fmla="*/ 2147483647 h 144"/>
                <a:gd name="T4" fmla="*/ 2147483647 w 75"/>
                <a:gd name="T5" fmla="*/ 2147483647 h 144"/>
                <a:gd name="T6" fmla="*/ 2147483647 w 75"/>
                <a:gd name="T7" fmla="*/ 2147483647 h 144"/>
                <a:gd name="T8" fmla="*/ 2147483647 w 75"/>
                <a:gd name="T9" fmla="*/ 2147483647 h 144"/>
                <a:gd name="T10" fmla="*/ 2147483647 w 75"/>
                <a:gd name="T11" fmla="*/ 0 h 144"/>
                <a:gd name="T12" fmla="*/ 2147483647 w 75"/>
                <a:gd name="T13" fmla="*/ 2147483647 h 144"/>
                <a:gd name="T14" fmla="*/ 2147483647 w 75"/>
                <a:gd name="T15" fmla="*/ 2147483647 h 144"/>
                <a:gd name="T16" fmla="*/ 0 w 75"/>
                <a:gd name="T17" fmla="*/ 2147483647 h 1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5" h="144">
                  <a:moveTo>
                    <a:pt x="0" y="32"/>
                  </a:moveTo>
                  <a:lnTo>
                    <a:pt x="6" y="97"/>
                  </a:lnTo>
                  <a:lnTo>
                    <a:pt x="12" y="132"/>
                  </a:lnTo>
                  <a:lnTo>
                    <a:pt x="31" y="144"/>
                  </a:lnTo>
                  <a:lnTo>
                    <a:pt x="75" y="76"/>
                  </a:lnTo>
                  <a:lnTo>
                    <a:pt x="75" y="0"/>
                  </a:lnTo>
                  <a:lnTo>
                    <a:pt x="43" y="9"/>
                  </a:lnTo>
                  <a:lnTo>
                    <a:pt x="6" y="9"/>
                  </a:lnTo>
                  <a:lnTo>
                    <a:pt x="0" y="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1" name="Freeform 105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6748711" y="4122738"/>
              <a:ext cx="109537" cy="114300"/>
            </a:xfrm>
            <a:custGeom>
              <a:avLst/>
              <a:gdLst>
                <a:gd name="T0" fmla="*/ 0 w 75"/>
                <a:gd name="T1" fmla="*/ 2147483647 h 144"/>
                <a:gd name="T2" fmla="*/ 2147483647 w 75"/>
                <a:gd name="T3" fmla="*/ 2147483647 h 144"/>
                <a:gd name="T4" fmla="*/ 2147483647 w 75"/>
                <a:gd name="T5" fmla="*/ 2147483647 h 144"/>
                <a:gd name="T6" fmla="*/ 2147483647 w 75"/>
                <a:gd name="T7" fmla="*/ 2147483647 h 144"/>
                <a:gd name="T8" fmla="*/ 2147483647 w 75"/>
                <a:gd name="T9" fmla="*/ 2147483647 h 144"/>
                <a:gd name="T10" fmla="*/ 2147483647 w 75"/>
                <a:gd name="T11" fmla="*/ 0 h 144"/>
                <a:gd name="T12" fmla="*/ 2147483647 w 75"/>
                <a:gd name="T13" fmla="*/ 2147483647 h 144"/>
                <a:gd name="T14" fmla="*/ 2147483647 w 75"/>
                <a:gd name="T15" fmla="*/ 2147483647 h 144"/>
                <a:gd name="T16" fmla="*/ 0 w 75"/>
                <a:gd name="T17" fmla="*/ 2147483647 h 1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5" h="144">
                  <a:moveTo>
                    <a:pt x="0" y="32"/>
                  </a:moveTo>
                  <a:lnTo>
                    <a:pt x="6" y="97"/>
                  </a:lnTo>
                  <a:lnTo>
                    <a:pt x="12" y="132"/>
                  </a:lnTo>
                  <a:lnTo>
                    <a:pt x="31" y="144"/>
                  </a:lnTo>
                  <a:lnTo>
                    <a:pt x="75" y="76"/>
                  </a:lnTo>
                  <a:lnTo>
                    <a:pt x="75" y="0"/>
                  </a:lnTo>
                  <a:lnTo>
                    <a:pt x="43" y="9"/>
                  </a:lnTo>
                  <a:lnTo>
                    <a:pt x="6" y="9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2" name="Freeform 106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6748711" y="4122738"/>
              <a:ext cx="109537" cy="114300"/>
            </a:xfrm>
            <a:custGeom>
              <a:avLst/>
              <a:gdLst>
                <a:gd name="T0" fmla="*/ 0 w 75"/>
                <a:gd name="T1" fmla="*/ 2147483647 h 144"/>
                <a:gd name="T2" fmla="*/ 2147483647 w 75"/>
                <a:gd name="T3" fmla="*/ 2147483647 h 144"/>
                <a:gd name="T4" fmla="*/ 2147483647 w 75"/>
                <a:gd name="T5" fmla="*/ 2147483647 h 144"/>
                <a:gd name="T6" fmla="*/ 2147483647 w 75"/>
                <a:gd name="T7" fmla="*/ 2147483647 h 144"/>
                <a:gd name="T8" fmla="*/ 2147483647 w 75"/>
                <a:gd name="T9" fmla="*/ 2147483647 h 144"/>
                <a:gd name="T10" fmla="*/ 2147483647 w 75"/>
                <a:gd name="T11" fmla="*/ 0 h 144"/>
                <a:gd name="T12" fmla="*/ 2147483647 w 75"/>
                <a:gd name="T13" fmla="*/ 2147483647 h 144"/>
                <a:gd name="T14" fmla="*/ 2147483647 w 75"/>
                <a:gd name="T15" fmla="*/ 2147483647 h 144"/>
                <a:gd name="T16" fmla="*/ 0 w 75"/>
                <a:gd name="T17" fmla="*/ 2147483647 h 1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5" h="144">
                  <a:moveTo>
                    <a:pt x="0" y="32"/>
                  </a:moveTo>
                  <a:lnTo>
                    <a:pt x="6" y="97"/>
                  </a:lnTo>
                  <a:lnTo>
                    <a:pt x="12" y="132"/>
                  </a:lnTo>
                  <a:lnTo>
                    <a:pt x="31" y="144"/>
                  </a:lnTo>
                  <a:lnTo>
                    <a:pt x="75" y="76"/>
                  </a:lnTo>
                  <a:lnTo>
                    <a:pt x="75" y="0"/>
                  </a:lnTo>
                  <a:lnTo>
                    <a:pt x="43" y="9"/>
                  </a:lnTo>
                  <a:lnTo>
                    <a:pt x="6" y="9"/>
                  </a:lnTo>
                  <a:lnTo>
                    <a:pt x="0" y="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3" name="Freeform 107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1008311" y="2263775"/>
              <a:ext cx="1943100" cy="1106488"/>
            </a:xfrm>
            <a:custGeom>
              <a:avLst/>
              <a:gdLst>
                <a:gd name="T0" fmla="*/ 2147483647 w 1326"/>
                <a:gd name="T1" fmla="*/ 2147483647 h 1395"/>
                <a:gd name="T2" fmla="*/ 2147483647 w 1326"/>
                <a:gd name="T3" fmla="*/ 2147483647 h 1395"/>
                <a:gd name="T4" fmla="*/ 2147483647 w 1326"/>
                <a:gd name="T5" fmla="*/ 2147483647 h 1395"/>
                <a:gd name="T6" fmla="*/ 2147483647 w 1326"/>
                <a:gd name="T7" fmla="*/ 2147483647 h 1395"/>
                <a:gd name="T8" fmla="*/ 2147483647 w 1326"/>
                <a:gd name="T9" fmla="*/ 2147483647 h 1395"/>
                <a:gd name="T10" fmla="*/ 2147483647 w 1326"/>
                <a:gd name="T11" fmla="*/ 2147483647 h 1395"/>
                <a:gd name="T12" fmla="*/ 2147483647 w 1326"/>
                <a:gd name="T13" fmla="*/ 2147483647 h 1395"/>
                <a:gd name="T14" fmla="*/ 2147483647 w 1326"/>
                <a:gd name="T15" fmla="*/ 2147483647 h 1395"/>
                <a:gd name="T16" fmla="*/ 2147483647 w 1326"/>
                <a:gd name="T17" fmla="*/ 2147483647 h 1395"/>
                <a:gd name="T18" fmla="*/ 2147483647 w 1326"/>
                <a:gd name="T19" fmla="*/ 2147483647 h 1395"/>
                <a:gd name="T20" fmla="*/ 2147483647 w 1326"/>
                <a:gd name="T21" fmla="*/ 2147483647 h 1395"/>
                <a:gd name="T22" fmla="*/ 2147483647 w 1326"/>
                <a:gd name="T23" fmla="*/ 2147483647 h 1395"/>
                <a:gd name="T24" fmla="*/ 2147483647 w 1326"/>
                <a:gd name="T25" fmla="*/ 0 h 1395"/>
                <a:gd name="T26" fmla="*/ 2147483647 w 1326"/>
                <a:gd name="T27" fmla="*/ 2147483647 h 1395"/>
                <a:gd name="T28" fmla="*/ 2147483647 w 1326"/>
                <a:gd name="T29" fmla="*/ 2147483647 h 1395"/>
                <a:gd name="T30" fmla="*/ 2147483647 w 1326"/>
                <a:gd name="T31" fmla="*/ 2147483647 h 1395"/>
                <a:gd name="T32" fmla="*/ 2147483647 w 1326"/>
                <a:gd name="T33" fmla="*/ 2147483647 h 1395"/>
                <a:gd name="T34" fmla="*/ 2147483647 w 1326"/>
                <a:gd name="T35" fmla="*/ 2147483647 h 1395"/>
                <a:gd name="T36" fmla="*/ 2147483647 w 1326"/>
                <a:gd name="T37" fmla="*/ 2147483647 h 1395"/>
                <a:gd name="T38" fmla="*/ 2147483647 w 1326"/>
                <a:gd name="T39" fmla="*/ 2147483647 h 1395"/>
                <a:gd name="T40" fmla="*/ 2147483647 w 1326"/>
                <a:gd name="T41" fmla="*/ 2147483647 h 1395"/>
                <a:gd name="T42" fmla="*/ 2147483647 w 1326"/>
                <a:gd name="T43" fmla="*/ 2147483647 h 1395"/>
                <a:gd name="T44" fmla="*/ 2147483647 w 1326"/>
                <a:gd name="T45" fmla="*/ 2147483647 h 1395"/>
                <a:gd name="T46" fmla="*/ 2147483647 w 1326"/>
                <a:gd name="T47" fmla="*/ 2147483647 h 1395"/>
                <a:gd name="T48" fmla="*/ 2147483647 w 1326"/>
                <a:gd name="T49" fmla="*/ 2147483647 h 1395"/>
                <a:gd name="T50" fmla="*/ 2147483647 w 1326"/>
                <a:gd name="T51" fmla="*/ 2147483647 h 1395"/>
                <a:gd name="T52" fmla="*/ 2147483647 w 1326"/>
                <a:gd name="T53" fmla="*/ 2147483647 h 1395"/>
                <a:gd name="T54" fmla="*/ 2147483647 w 1326"/>
                <a:gd name="T55" fmla="*/ 2147483647 h 1395"/>
                <a:gd name="T56" fmla="*/ 2147483647 w 1326"/>
                <a:gd name="T57" fmla="*/ 2147483647 h 1395"/>
                <a:gd name="T58" fmla="*/ 2147483647 w 1326"/>
                <a:gd name="T59" fmla="*/ 2147483647 h 1395"/>
                <a:gd name="T60" fmla="*/ 2147483647 w 1326"/>
                <a:gd name="T61" fmla="*/ 2147483647 h 1395"/>
                <a:gd name="T62" fmla="*/ 2147483647 w 1326"/>
                <a:gd name="T63" fmla="*/ 2147483647 h 1395"/>
                <a:gd name="T64" fmla="*/ 2147483647 w 1326"/>
                <a:gd name="T65" fmla="*/ 2147483647 h 1395"/>
                <a:gd name="T66" fmla="*/ 2147483647 w 1326"/>
                <a:gd name="T67" fmla="*/ 2147483647 h 1395"/>
                <a:gd name="T68" fmla="*/ 2147483647 w 1326"/>
                <a:gd name="T69" fmla="*/ 2147483647 h 1395"/>
                <a:gd name="T70" fmla="*/ 2147483647 w 1326"/>
                <a:gd name="T71" fmla="*/ 2147483647 h 1395"/>
                <a:gd name="T72" fmla="*/ 2147483647 w 1326"/>
                <a:gd name="T73" fmla="*/ 2147483647 h 1395"/>
                <a:gd name="T74" fmla="*/ 2147483647 w 1326"/>
                <a:gd name="T75" fmla="*/ 2147483647 h 1395"/>
                <a:gd name="T76" fmla="*/ 2147483647 w 1326"/>
                <a:gd name="T77" fmla="*/ 2147483647 h 1395"/>
                <a:gd name="T78" fmla="*/ 2147483647 w 1326"/>
                <a:gd name="T79" fmla="*/ 2147483647 h 1395"/>
                <a:gd name="T80" fmla="*/ 2147483647 w 1326"/>
                <a:gd name="T81" fmla="*/ 2147483647 h 1395"/>
                <a:gd name="T82" fmla="*/ 2147483647 w 1326"/>
                <a:gd name="T83" fmla="*/ 2147483647 h 1395"/>
                <a:gd name="T84" fmla="*/ 2147483647 w 1326"/>
                <a:gd name="T85" fmla="*/ 2147483647 h 1395"/>
                <a:gd name="T86" fmla="*/ 2147483647 w 1326"/>
                <a:gd name="T87" fmla="*/ 2147483647 h 1395"/>
                <a:gd name="T88" fmla="*/ 2147483647 w 1326"/>
                <a:gd name="T89" fmla="*/ 2147483647 h 1395"/>
                <a:gd name="T90" fmla="*/ 2147483647 w 1326"/>
                <a:gd name="T91" fmla="*/ 2147483647 h 1395"/>
                <a:gd name="T92" fmla="*/ 2147483647 w 1326"/>
                <a:gd name="T93" fmla="*/ 2147483647 h 1395"/>
                <a:gd name="T94" fmla="*/ 2147483647 w 1326"/>
                <a:gd name="T95" fmla="*/ 2147483647 h 1395"/>
                <a:gd name="T96" fmla="*/ 2147483647 w 1326"/>
                <a:gd name="T97" fmla="*/ 2147483647 h 1395"/>
                <a:gd name="T98" fmla="*/ 2147483647 w 1326"/>
                <a:gd name="T99" fmla="*/ 2147483647 h 1395"/>
                <a:gd name="T100" fmla="*/ 2147483647 w 1326"/>
                <a:gd name="T101" fmla="*/ 2147483647 h 1395"/>
                <a:gd name="T102" fmla="*/ 2147483647 w 1326"/>
                <a:gd name="T103" fmla="*/ 2147483647 h 1395"/>
                <a:gd name="T104" fmla="*/ 2147483647 w 1326"/>
                <a:gd name="T105" fmla="*/ 2147483647 h 1395"/>
                <a:gd name="T106" fmla="*/ 2147483647 w 1326"/>
                <a:gd name="T107" fmla="*/ 2147483647 h 1395"/>
                <a:gd name="T108" fmla="*/ 2147483647 w 1326"/>
                <a:gd name="T109" fmla="*/ 2147483647 h 1395"/>
                <a:gd name="T110" fmla="*/ 2147483647 w 1326"/>
                <a:gd name="T111" fmla="*/ 2147483647 h 1395"/>
                <a:gd name="T112" fmla="*/ 2147483647 w 1326"/>
                <a:gd name="T113" fmla="*/ 2147483647 h 1395"/>
                <a:gd name="T114" fmla="*/ 2147483647 w 1326"/>
                <a:gd name="T115" fmla="*/ 2147483647 h 1395"/>
                <a:gd name="T116" fmla="*/ 2147483647 w 1326"/>
                <a:gd name="T117" fmla="*/ 2147483647 h 1395"/>
                <a:gd name="T118" fmla="*/ 2147483647 w 1326"/>
                <a:gd name="T119" fmla="*/ 2147483647 h 13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326" h="1395">
                  <a:moveTo>
                    <a:pt x="0" y="615"/>
                  </a:moveTo>
                  <a:lnTo>
                    <a:pt x="0" y="135"/>
                  </a:lnTo>
                  <a:lnTo>
                    <a:pt x="106" y="190"/>
                  </a:lnTo>
                  <a:lnTo>
                    <a:pt x="101" y="167"/>
                  </a:lnTo>
                  <a:lnTo>
                    <a:pt x="112" y="156"/>
                  </a:lnTo>
                  <a:lnTo>
                    <a:pt x="175" y="102"/>
                  </a:lnTo>
                  <a:lnTo>
                    <a:pt x="125" y="167"/>
                  </a:lnTo>
                  <a:lnTo>
                    <a:pt x="156" y="146"/>
                  </a:lnTo>
                  <a:lnTo>
                    <a:pt x="156" y="156"/>
                  </a:lnTo>
                  <a:lnTo>
                    <a:pt x="207" y="102"/>
                  </a:lnTo>
                  <a:lnTo>
                    <a:pt x="200" y="79"/>
                  </a:lnTo>
                  <a:lnTo>
                    <a:pt x="238" y="146"/>
                  </a:lnTo>
                  <a:lnTo>
                    <a:pt x="262" y="112"/>
                  </a:lnTo>
                  <a:lnTo>
                    <a:pt x="257" y="146"/>
                  </a:lnTo>
                  <a:lnTo>
                    <a:pt x="287" y="123"/>
                  </a:lnTo>
                  <a:lnTo>
                    <a:pt x="363" y="167"/>
                  </a:lnTo>
                  <a:lnTo>
                    <a:pt x="400" y="167"/>
                  </a:lnTo>
                  <a:lnTo>
                    <a:pt x="419" y="202"/>
                  </a:lnTo>
                  <a:lnTo>
                    <a:pt x="395" y="225"/>
                  </a:lnTo>
                  <a:lnTo>
                    <a:pt x="414" y="235"/>
                  </a:lnTo>
                  <a:lnTo>
                    <a:pt x="482" y="225"/>
                  </a:lnTo>
                  <a:lnTo>
                    <a:pt x="514" y="269"/>
                  </a:lnTo>
                  <a:lnTo>
                    <a:pt x="520" y="290"/>
                  </a:lnTo>
                  <a:lnTo>
                    <a:pt x="525" y="269"/>
                  </a:lnTo>
                  <a:lnTo>
                    <a:pt x="514" y="235"/>
                  </a:lnTo>
                  <a:lnTo>
                    <a:pt x="544" y="190"/>
                  </a:lnTo>
                  <a:lnTo>
                    <a:pt x="514" y="212"/>
                  </a:lnTo>
                  <a:lnTo>
                    <a:pt x="501" y="202"/>
                  </a:lnTo>
                  <a:lnTo>
                    <a:pt x="544" y="167"/>
                  </a:lnTo>
                  <a:lnTo>
                    <a:pt x="563" y="212"/>
                  </a:lnTo>
                  <a:lnTo>
                    <a:pt x="589" y="212"/>
                  </a:lnTo>
                  <a:lnTo>
                    <a:pt x="601" y="246"/>
                  </a:lnTo>
                  <a:lnTo>
                    <a:pt x="663" y="235"/>
                  </a:lnTo>
                  <a:lnTo>
                    <a:pt x="663" y="212"/>
                  </a:lnTo>
                  <a:lnTo>
                    <a:pt x="681" y="246"/>
                  </a:lnTo>
                  <a:lnTo>
                    <a:pt x="681" y="225"/>
                  </a:lnTo>
                  <a:lnTo>
                    <a:pt x="670" y="235"/>
                  </a:lnTo>
                  <a:lnTo>
                    <a:pt x="657" y="202"/>
                  </a:lnTo>
                  <a:lnTo>
                    <a:pt x="681" y="202"/>
                  </a:lnTo>
                  <a:lnTo>
                    <a:pt x="689" y="225"/>
                  </a:lnTo>
                  <a:lnTo>
                    <a:pt x="700" y="212"/>
                  </a:lnTo>
                  <a:lnTo>
                    <a:pt x="695" y="246"/>
                  </a:lnTo>
                  <a:lnTo>
                    <a:pt x="714" y="269"/>
                  </a:lnTo>
                  <a:lnTo>
                    <a:pt x="707" y="212"/>
                  </a:lnTo>
                  <a:lnTo>
                    <a:pt x="738" y="190"/>
                  </a:lnTo>
                  <a:lnTo>
                    <a:pt x="732" y="167"/>
                  </a:lnTo>
                  <a:lnTo>
                    <a:pt x="719" y="179"/>
                  </a:lnTo>
                  <a:lnTo>
                    <a:pt x="738" y="146"/>
                  </a:lnTo>
                  <a:lnTo>
                    <a:pt x="695" y="112"/>
                  </a:lnTo>
                  <a:lnTo>
                    <a:pt x="695" y="45"/>
                  </a:lnTo>
                  <a:lnTo>
                    <a:pt x="707" y="45"/>
                  </a:lnTo>
                  <a:lnTo>
                    <a:pt x="714" y="0"/>
                  </a:lnTo>
                  <a:lnTo>
                    <a:pt x="745" y="45"/>
                  </a:lnTo>
                  <a:lnTo>
                    <a:pt x="750" y="68"/>
                  </a:lnTo>
                  <a:lnTo>
                    <a:pt x="769" y="102"/>
                  </a:lnTo>
                  <a:lnTo>
                    <a:pt x="757" y="102"/>
                  </a:lnTo>
                  <a:lnTo>
                    <a:pt x="764" y="112"/>
                  </a:lnTo>
                  <a:lnTo>
                    <a:pt x="750" y="135"/>
                  </a:lnTo>
                  <a:lnTo>
                    <a:pt x="783" y="146"/>
                  </a:lnTo>
                  <a:lnTo>
                    <a:pt x="769" y="146"/>
                  </a:lnTo>
                  <a:lnTo>
                    <a:pt x="788" y="212"/>
                  </a:lnTo>
                  <a:lnTo>
                    <a:pt x="801" y="156"/>
                  </a:lnTo>
                  <a:lnTo>
                    <a:pt x="826" y="179"/>
                  </a:lnTo>
                  <a:lnTo>
                    <a:pt x="826" y="212"/>
                  </a:lnTo>
                  <a:lnTo>
                    <a:pt x="819" y="225"/>
                  </a:lnTo>
                  <a:lnTo>
                    <a:pt x="838" y="269"/>
                  </a:lnTo>
                  <a:lnTo>
                    <a:pt x="845" y="256"/>
                  </a:lnTo>
                  <a:lnTo>
                    <a:pt x="864" y="190"/>
                  </a:lnTo>
                  <a:lnTo>
                    <a:pt x="875" y="179"/>
                  </a:lnTo>
                  <a:lnTo>
                    <a:pt x="864" y="123"/>
                  </a:lnTo>
                  <a:lnTo>
                    <a:pt x="907" y="135"/>
                  </a:lnTo>
                  <a:lnTo>
                    <a:pt x="925" y="167"/>
                  </a:lnTo>
                  <a:lnTo>
                    <a:pt x="920" y="179"/>
                  </a:lnTo>
                  <a:lnTo>
                    <a:pt x="925" y="190"/>
                  </a:lnTo>
                  <a:lnTo>
                    <a:pt x="907" y="202"/>
                  </a:lnTo>
                  <a:lnTo>
                    <a:pt x="925" y="279"/>
                  </a:lnTo>
                  <a:lnTo>
                    <a:pt x="901" y="313"/>
                  </a:lnTo>
                  <a:lnTo>
                    <a:pt x="889" y="290"/>
                  </a:lnTo>
                  <a:lnTo>
                    <a:pt x="894" y="325"/>
                  </a:lnTo>
                  <a:lnTo>
                    <a:pt x="851" y="302"/>
                  </a:lnTo>
                  <a:lnTo>
                    <a:pt x="857" y="325"/>
                  </a:lnTo>
                  <a:lnTo>
                    <a:pt x="838" y="369"/>
                  </a:lnTo>
                  <a:lnTo>
                    <a:pt x="795" y="335"/>
                  </a:lnTo>
                  <a:lnTo>
                    <a:pt x="807" y="369"/>
                  </a:lnTo>
                  <a:lnTo>
                    <a:pt x="845" y="369"/>
                  </a:lnTo>
                  <a:lnTo>
                    <a:pt x="819" y="436"/>
                  </a:lnTo>
                  <a:lnTo>
                    <a:pt x="795" y="425"/>
                  </a:lnTo>
                  <a:lnTo>
                    <a:pt x="783" y="469"/>
                  </a:lnTo>
                  <a:lnTo>
                    <a:pt x="738" y="436"/>
                  </a:lnTo>
                  <a:lnTo>
                    <a:pt x="783" y="469"/>
                  </a:lnTo>
                  <a:lnTo>
                    <a:pt x="788" y="492"/>
                  </a:lnTo>
                  <a:lnTo>
                    <a:pt x="757" y="502"/>
                  </a:lnTo>
                  <a:lnTo>
                    <a:pt x="764" y="502"/>
                  </a:lnTo>
                  <a:lnTo>
                    <a:pt x="750" y="502"/>
                  </a:lnTo>
                  <a:lnTo>
                    <a:pt x="750" y="536"/>
                  </a:lnTo>
                  <a:lnTo>
                    <a:pt x="719" y="571"/>
                  </a:lnTo>
                  <a:lnTo>
                    <a:pt x="714" y="680"/>
                  </a:lnTo>
                  <a:lnTo>
                    <a:pt x="726" y="703"/>
                  </a:lnTo>
                  <a:lnTo>
                    <a:pt x="745" y="694"/>
                  </a:lnTo>
                  <a:lnTo>
                    <a:pt x="750" y="769"/>
                  </a:lnTo>
                  <a:lnTo>
                    <a:pt x="776" y="759"/>
                  </a:lnTo>
                  <a:lnTo>
                    <a:pt x="807" y="782"/>
                  </a:lnTo>
                  <a:lnTo>
                    <a:pt x="864" y="847"/>
                  </a:lnTo>
                  <a:lnTo>
                    <a:pt x="864" y="870"/>
                  </a:lnTo>
                  <a:lnTo>
                    <a:pt x="864" y="847"/>
                  </a:lnTo>
                  <a:lnTo>
                    <a:pt x="914" y="859"/>
                  </a:lnTo>
                  <a:lnTo>
                    <a:pt x="914" y="947"/>
                  </a:lnTo>
                  <a:lnTo>
                    <a:pt x="925" y="982"/>
                  </a:lnTo>
                  <a:lnTo>
                    <a:pt x="914" y="993"/>
                  </a:lnTo>
                  <a:lnTo>
                    <a:pt x="939" y="1005"/>
                  </a:lnTo>
                  <a:lnTo>
                    <a:pt x="933" y="1037"/>
                  </a:lnTo>
                  <a:lnTo>
                    <a:pt x="951" y="1026"/>
                  </a:lnTo>
                  <a:lnTo>
                    <a:pt x="983" y="982"/>
                  </a:lnTo>
                  <a:lnTo>
                    <a:pt x="970" y="970"/>
                  </a:lnTo>
                  <a:lnTo>
                    <a:pt x="951" y="882"/>
                  </a:lnTo>
                  <a:lnTo>
                    <a:pt x="1008" y="803"/>
                  </a:lnTo>
                  <a:lnTo>
                    <a:pt x="1001" y="803"/>
                  </a:lnTo>
                  <a:lnTo>
                    <a:pt x="989" y="715"/>
                  </a:lnTo>
                  <a:lnTo>
                    <a:pt x="970" y="694"/>
                  </a:lnTo>
                  <a:lnTo>
                    <a:pt x="994" y="646"/>
                  </a:lnTo>
                  <a:lnTo>
                    <a:pt x="989" y="636"/>
                  </a:lnTo>
                  <a:lnTo>
                    <a:pt x="989" y="601"/>
                  </a:lnTo>
                  <a:lnTo>
                    <a:pt x="976" y="592"/>
                  </a:lnTo>
                  <a:lnTo>
                    <a:pt x="989" y="557"/>
                  </a:lnTo>
                  <a:lnTo>
                    <a:pt x="976" y="536"/>
                  </a:lnTo>
                  <a:lnTo>
                    <a:pt x="983" y="513"/>
                  </a:lnTo>
                  <a:lnTo>
                    <a:pt x="1026" y="525"/>
                  </a:lnTo>
                  <a:lnTo>
                    <a:pt x="1045" y="513"/>
                  </a:lnTo>
                  <a:lnTo>
                    <a:pt x="1082" y="557"/>
                  </a:lnTo>
                  <a:lnTo>
                    <a:pt x="1082" y="580"/>
                  </a:lnTo>
                  <a:lnTo>
                    <a:pt x="1108" y="580"/>
                  </a:lnTo>
                  <a:lnTo>
                    <a:pt x="1114" y="625"/>
                  </a:lnTo>
                  <a:lnTo>
                    <a:pt x="1089" y="636"/>
                  </a:lnTo>
                  <a:lnTo>
                    <a:pt x="1108" y="636"/>
                  </a:lnTo>
                  <a:lnTo>
                    <a:pt x="1119" y="671"/>
                  </a:lnTo>
                  <a:lnTo>
                    <a:pt x="1095" y="703"/>
                  </a:lnTo>
                  <a:lnTo>
                    <a:pt x="1133" y="680"/>
                  </a:lnTo>
                  <a:lnTo>
                    <a:pt x="1133" y="724"/>
                  </a:lnTo>
                  <a:lnTo>
                    <a:pt x="1114" y="738"/>
                  </a:lnTo>
                  <a:lnTo>
                    <a:pt x="1139" y="694"/>
                  </a:lnTo>
                  <a:lnTo>
                    <a:pt x="1139" y="724"/>
                  </a:lnTo>
                  <a:lnTo>
                    <a:pt x="1158" y="694"/>
                  </a:lnTo>
                  <a:lnTo>
                    <a:pt x="1164" y="703"/>
                  </a:lnTo>
                  <a:lnTo>
                    <a:pt x="1183" y="659"/>
                  </a:lnTo>
                  <a:lnTo>
                    <a:pt x="1177" y="646"/>
                  </a:lnTo>
                  <a:lnTo>
                    <a:pt x="1188" y="615"/>
                  </a:lnTo>
                  <a:lnTo>
                    <a:pt x="1208" y="671"/>
                  </a:lnTo>
                  <a:lnTo>
                    <a:pt x="1195" y="680"/>
                  </a:lnTo>
                  <a:lnTo>
                    <a:pt x="1214" y="671"/>
                  </a:lnTo>
                  <a:lnTo>
                    <a:pt x="1220" y="694"/>
                  </a:lnTo>
                  <a:lnTo>
                    <a:pt x="1208" y="703"/>
                  </a:lnTo>
                  <a:lnTo>
                    <a:pt x="1220" y="703"/>
                  </a:lnTo>
                  <a:lnTo>
                    <a:pt x="1214" y="724"/>
                  </a:lnTo>
                  <a:lnTo>
                    <a:pt x="1220" y="724"/>
                  </a:lnTo>
                  <a:lnTo>
                    <a:pt x="1233" y="747"/>
                  </a:lnTo>
                  <a:lnTo>
                    <a:pt x="1227" y="747"/>
                  </a:lnTo>
                  <a:lnTo>
                    <a:pt x="1238" y="769"/>
                  </a:lnTo>
                  <a:lnTo>
                    <a:pt x="1214" y="792"/>
                  </a:lnTo>
                  <a:lnTo>
                    <a:pt x="1233" y="792"/>
                  </a:lnTo>
                  <a:lnTo>
                    <a:pt x="1233" y="803"/>
                  </a:lnTo>
                  <a:lnTo>
                    <a:pt x="1257" y="826"/>
                  </a:lnTo>
                  <a:lnTo>
                    <a:pt x="1264" y="870"/>
                  </a:lnTo>
                  <a:lnTo>
                    <a:pt x="1277" y="847"/>
                  </a:lnTo>
                  <a:lnTo>
                    <a:pt x="1302" y="882"/>
                  </a:lnTo>
                  <a:lnTo>
                    <a:pt x="1245" y="915"/>
                  </a:lnTo>
                  <a:lnTo>
                    <a:pt x="1257" y="938"/>
                  </a:lnTo>
                  <a:lnTo>
                    <a:pt x="1302" y="891"/>
                  </a:lnTo>
                  <a:lnTo>
                    <a:pt x="1302" y="926"/>
                  </a:lnTo>
                  <a:lnTo>
                    <a:pt x="1326" y="926"/>
                  </a:lnTo>
                  <a:lnTo>
                    <a:pt x="1326" y="938"/>
                  </a:lnTo>
                  <a:lnTo>
                    <a:pt x="1320" y="938"/>
                  </a:lnTo>
                  <a:lnTo>
                    <a:pt x="1326" y="982"/>
                  </a:lnTo>
                  <a:lnTo>
                    <a:pt x="1264" y="1070"/>
                  </a:lnTo>
                  <a:lnTo>
                    <a:pt x="1164" y="1070"/>
                  </a:lnTo>
                  <a:lnTo>
                    <a:pt x="1119" y="1128"/>
                  </a:lnTo>
                  <a:lnTo>
                    <a:pt x="1089" y="1205"/>
                  </a:lnTo>
                  <a:lnTo>
                    <a:pt x="1119" y="1137"/>
                  </a:lnTo>
                  <a:lnTo>
                    <a:pt x="1177" y="1105"/>
                  </a:lnTo>
                  <a:lnTo>
                    <a:pt x="1195" y="1137"/>
                  </a:lnTo>
                  <a:lnTo>
                    <a:pt x="1158" y="1160"/>
                  </a:lnTo>
                  <a:lnTo>
                    <a:pt x="1188" y="1172"/>
                  </a:lnTo>
                  <a:lnTo>
                    <a:pt x="1183" y="1193"/>
                  </a:lnTo>
                  <a:lnTo>
                    <a:pt x="1202" y="1237"/>
                  </a:lnTo>
                  <a:lnTo>
                    <a:pt x="1238" y="1249"/>
                  </a:lnTo>
                  <a:lnTo>
                    <a:pt x="1252" y="1193"/>
                  </a:lnTo>
                  <a:lnTo>
                    <a:pt x="1252" y="1237"/>
                  </a:lnTo>
                  <a:lnTo>
                    <a:pt x="1264" y="1228"/>
                  </a:lnTo>
                  <a:lnTo>
                    <a:pt x="1245" y="1272"/>
                  </a:lnTo>
                  <a:lnTo>
                    <a:pt x="1195" y="1295"/>
                  </a:lnTo>
                  <a:lnTo>
                    <a:pt x="1177" y="1339"/>
                  </a:lnTo>
                  <a:lnTo>
                    <a:pt x="1164" y="1295"/>
                  </a:lnTo>
                  <a:lnTo>
                    <a:pt x="1208" y="1260"/>
                  </a:lnTo>
                  <a:lnTo>
                    <a:pt x="1188" y="1260"/>
                  </a:lnTo>
                  <a:lnTo>
                    <a:pt x="1188" y="1237"/>
                  </a:lnTo>
                  <a:lnTo>
                    <a:pt x="1151" y="1272"/>
                  </a:lnTo>
                  <a:lnTo>
                    <a:pt x="1139" y="1249"/>
                  </a:lnTo>
                  <a:lnTo>
                    <a:pt x="1139" y="1193"/>
                  </a:lnTo>
                  <a:lnTo>
                    <a:pt x="1114" y="1183"/>
                  </a:lnTo>
                  <a:lnTo>
                    <a:pt x="1095" y="1260"/>
                  </a:lnTo>
                  <a:lnTo>
                    <a:pt x="1013" y="1295"/>
                  </a:lnTo>
                  <a:lnTo>
                    <a:pt x="963" y="1327"/>
                  </a:lnTo>
                  <a:lnTo>
                    <a:pt x="951" y="1339"/>
                  </a:lnTo>
                  <a:lnTo>
                    <a:pt x="963" y="1351"/>
                  </a:lnTo>
                  <a:lnTo>
                    <a:pt x="970" y="1360"/>
                  </a:lnTo>
                  <a:lnTo>
                    <a:pt x="901" y="1395"/>
                  </a:lnTo>
                  <a:lnTo>
                    <a:pt x="907" y="1383"/>
                  </a:lnTo>
                  <a:lnTo>
                    <a:pt x="907" y="1372"/>
                  </a:lnTo>
                  <a:lnTo>
                    <a:pt x="914" y="1351"/>
                  </a:lnTo>
                  <a:lnTo>
                    <a:pt x="920" y="1339"/>
                  </a:lnTo>
                  <a:lnTo>
                    <a:pt x="925" y="1272"/>
                  </a:lnTo>
                  <a:lnTo>
                    <a:pt x="939" y="1295"/>
                  </a:lnTo>
                  <a:lnTo>
                    <a:pt x="958" y="1283"/>
                  </a:lnTo>
                  <a:lnTo>
                    <a:pt x="939" y="1237"/>
                  </a:lnTo>
                  <a:lnTo>
                    <a:pt x="883" y="1216"/>
                  </a:lnTo>
                  <a:lnTo>
                    <a:pt x="875" y="1216"/>
                  </a:lnTo>
                  <a:lnTo>
                    <a:pt x="875" y="1160"/>
                  </a:lnTo>
                  <a:lnTo>
                    <a:pt x="864" y="1160"/>
                  </a:lnTo>
                  <a:lnTo>
                    <a:pt x="851" y="1128"/>
                  </a:lnTo>
                  <a:lnTo>
                    <a:pt x="838" y="1128"/>
                  </a:lnTo>
                  <a:lnTo>
                    <a:pt x="838" y="1149"/>
                  </a:lnTo>
                  <a:lnTo>
                    <a:pt x="826" y="1114"/>
                  </a:lnTo>
                  <a:lnTo>
                    <a:pt x="795" y="1160"/>
                  </a:lnTo>
                  <a:lnTo>
                    <a:pt x="726" y="1128"/>
                  </a:lnTo>
                  <a:lnTo>
                    <a:pt x="714" y="1105"/>
                  </a:lnTo>
                  <a:lnTo>
                    <a:pt x="714" y="1114"/>
                  </a:lnTo>
                  <a:lnTo>
                    <a:pt x="281" y="1114"/>
                  </a:lnTo>
                  <a:lnTo>
                    <a:pt x="281" y="1084"/>
                  </a:lnTo>
                  <a:lnTo>
                    <a:pt x="257" y="1084"/>
                  </a:lnTo>
                  <a:lnTo>
                    <a:pt x="257" y="1061"/>
                  </a:lnTo>
                  <a:lnTo>
                    <a:pt x="207" y="1026"/>
                  </a:lnTo>
                  <a:lnTo>
                    <a:pt x="212" y="1014"/>
                  </a:lnTo>
                  <a:lnTo>
                    <a:pt x="200" y="970"/>
                  </a:lnTo>
                  <a:lnTo>
                    <a:pt x="188" y="970"/>
                  </a:lnTo>
                  <a:lnTo>
                    <a:pt x="162" y="882"/>
                  </a:lnTo>
                  <a:lnTo>
                    <a:pt x="170" y="859"/>
                  </a:lnTo>
                  <a:lnTo>
                    <a:pt x="170" y="815"/>
                  </a:lnTo>
                  <a:lnTo>
                    <a:pt x="144" y="792"/>
                  </a:lnTo>
                  <a:lnTo>
                    <a:pt x="87" y="636"/>
                  </a:lnTo>
                  <a:lnTo>
                    <a:pt x="56" y="680"/>
                  </a:lnTo>
                  <a:lnTo>
                    <a:pt x="44" y="659"/>
                  </a:lnTo>
                  <a:lnTo>
                    <a:pt x="32" y="615"/>
                  </a:lnTo>
                  <a:lnTo>
                    <a:pt x="0" y="61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4" name="Freeform 108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1008311" y="2263775"/>
              <a:ext cx="1943100" cy="1106488"/>
            </a:xfrm>
            <a:custGeom>
              <a:avLst/>
              <a:gdLst>
                <a:gd name="T0" fmla="*/ 2147483647 w 1326"/>
                <a:gd name="T1" fmla="*/ 2147483647 h 1395"/>
                <a:gd name="T2" fmla="*/ 2147483647 w 1326"/>
                <a:gd name="T3" fmla="*/ 2147483647 h 1395"/>
                <a:gd name="T4" fmla="*/ 2147483647 w 1326"/>
                <a:gd name="T5" fmla="*/ 2147483647 h 1395"/>
                <a:gd name="T6" fmla="*/ 2147483647 w 1326"/>
                <a:gd name="T7" fmla="*/ 2147483647 h 1395"/>
                <a:gd name="T8" fmla="*/ 2147483647 w 1326"/>
                <a:gd name="T9" fmla="*/ 2147483647 h 1395"/>
                <a:gd name="T10" fmla="*/ 2147483647 w 1326"/>
                <a:gd name="T11" fmla="*/ 2147483647 h 1395"/>
                <a:gd name="T12" fmla="*/ 2147483647 w 1326"/>
                <a:gd name="T13" fmla="*/ 2147483647 h 1395"/>
                <a:gd name="T14" fmla="*/ 2147483647 w 1326"/>
                <a:gd name="T15" fmla="*/ 2147483647 h 1395"/>
                <a:gd name="T16" fmla="*/ 2147483647 w 1326"/>
                <a:gd name="T17" fmla="*/ 2147483647 h 1395"/>
                <a:gd name="T18" fmla="*/ 2147483647 w 1326"/>
                <a:gd name="T19" fmla="*/ 2147483647 h 1395"/>
                <a:gd name="T20" fmla="*/ 2147483647 w 1326"/>
                <a:gd name="T21" fmla="*/ 2147483647 h 1395"/>
                <a:gd name="T22" fmla="*/ 2147483647 w 1326"/>
                <a:gd name="T23" fmla="*/ 2147483647 h 1395"/>
                <a:gd name="T24" fmla="*/ 2147483647 w 1326"/>
                <a:gd name="T25" fmla="*/ 0 h 1395"/>
                <a:gd name="T26" fmla="*/ 2147483647 w 1326"/>
                <a:gd name="T27" fmla="*/ 2147483647 h 1395"/>
                <a:gd name="T28" fmla="*/ 2147483647 w 1326"/>
                <a:gd name="T29" fmla="*/ 2147483647 h 1395"/>
                <a:gd name="T30" fmla="*/ 2147483647 w 1326"/>
                <a:gd name="T31" fmla="*/ 2147483647 h 1395"/>
                <a:gd name="T32" fmla="*/ 2147483647 w 1326"/>
                <a:gd name="T33" fmla="*/ 2147483647 h 1395"/>
                <a:gd name="T34" fmla="*/ 2147483647 w 1326"/>
                <a:gd name="T35" fmla="*/ 2147483647 h 1395"/>
                <a:gd name="T36" fmla="*/ 2147483647 w 1326"/>
                <a:gd name="T37" fmla="*/ 2147483647 h 1395"/>
                <a:gd name="T38" fmla="*/ 2147483647 w 1326"/>
                <a:gd name="T39" fmla="*/ 2147483647 h 1395"/>
                <a:gd name="T40" fmla="*/ 2147483647 w 1326"/>
                <a:gd name="T41" fmla="*/ 2147483647 h 1395"/>
                <a:gd name="T42" fmla="*/ 2147483647 w 1326"/>
                <a:gd name="T43" fmla="*/ 2147483647 h 1395"/>
                <a:gd name="T44" fmla="*/ 2147483647 w 1326"/>
                <a:gd name="T45" fmla="*/ 2147483647 h 1395"/>
                <a:gd name="T46" fmla="*/ 2147483647 w 1326"/>
                <a:gd name="T47" fmla="*/ 2147483647 h 1395"/>
                <a:gd name="T48" fmla="*/ 2147483647 w 1326"/>
                <a:gd name="T49" fmla="*/ 2147483647 h 1395"/>
                <a:gd name="T50" fmla="*/ 2147483647 w 1326"/>
                <a:gd name="T51" fmla="*/ 2147483647 h 1395"/>
                <a:gd name="T52" fmla="*/ 2147483647 w 1326"/>
                <a:gd name="T53" fmla="*/ 2147483647 h 1395"/>
                <a:gd name="T54" fmla="*/ 2147483647 w 1326"/>
                <a:gd name="T55" fmla="*/ 2147483647 h 1395"/>
                <a:gd name="T56" fmla="*/ 2147483647 w 1326"/>
                <a:gd name="T57" fmla="*/ 2147483647 h 1395"/>
                <a:gd name="T58" fmla="*/ 2147483647 w 1326"/>
                <a:gd name="T59" fmla="*/ 2147483647 h 1395"/>
                <a:gd name="T60" fmla="*/ 2147483647 w 1326"/>
                <a:gd name="T61" fmla="*/ 2147483647 h 1395"/>
                <a:gd name="T62" fmla="*/ 2147483647 w 1326"/>
                <a:gd name="T63" fmla="*/ 2147483647 h 1395"/>
                <a:gd name="T64" fmla="*/ 2147483647 w 1326"/>
                <a:gd name="T65" fmla="*/ 2147483647 h 1395"/>
                <a:gd name="T66" fmla="*/ 2147483647 w 1326"/>
                <a:gd name="T67" fmla="*/ 2147483647 h 1395"/>
                <a:gd name="T68" fmla="*/ 2147483647 w 1326"/>
                <a:gd name="T69" fmla="*/ 2147483647 h 1395"/>
                <a:gd name="T70" fmla="*/ 2147483647 w 1326"/>
                <a:gd name="T71" fmla="*/ 2147483647 h 1395"/>
                <a:gd name="T72" fmla="*/ 2147483647 w 1326"/>
                <a:gd name="T73" fmla="*/ 2147483647 h 1395"/>
                <a:gd name="T74" fmla="*/ 2147483647 w 1326"/>
                <a:gd name="T75" fmla="*/ 2147483647 h 1395"/>
                <a:gd name="T76" fmla="*/ 2147483647 w 1326"/>
                <a:gd name="T77" fmla="*/ 2147483647 h 1395"/>
                <a:gd name="T78" fmla="*/ 2147483647 w 1326"/>
                <a:gd name="T79" fmla="*/ 2147483647 h 1395"/>
                <a:gd name="T80" fmla="*/ 2147483647 w 1326"/>
                <a:gd name="T81" fmla="*/ 2147483647 h 1395"/>
                <a:gd name="T82" fmla="*/ 2147483647 w 1326"/>
                <a:gd name="T83" fmla="*/ 2147483647 h 1395"/>
                <a:gd name="T84" fmla="*/ 2147483647 w 1326"/>
                <a:gd name="T85" fmla="*/ 2147483647 h 1395"/>
                <a:gd name="T86" fmla="*/ 2147483647 w 1326"/>
                <a:gd name="T87" fmla="*/ 2147483647 h 1395"/>
                <a:gd name="T88" fmla="*/ 2147483647 w 1326"/>
                <a:gd name="T89" fmla="*/ 2147483647 h 1395"/>
                <a:gd name="T90" fmla="*/ 2147483647 w 1326"/>
                <a:gd name="T91" fmla="*/ 2147483647 h 1395"/>
                <a:gd name="T92" fmla="*/ 2147483647 w 1326"/>
                <a:gd name="T93" fmla="*/ 2147483647 h 1395"/>
                <a:gd name="T94" fmla="*/ 2147483647 w 1326"/>
                <a:gd name="T95" fmla="*/ 2147483647 h 1395"/>
                <a:gd name="T96" fmla="*/ 2147483647 w 1326"/>
                <a:gd name="T97" fmla="*/ 2147483647 h 1395"/>
                <a:gd name="T98" fmla="*/ 2147483647 w 1326"/>
                <a:gd name="T99" fmla="*/ 2147483647 h 1395"/>
                <a:gd name="T100" fmla="*/ 2147483647 w 1326"/>
                <a:gd name="T101" fmla="*/ 2147483647 h 1395"/>
                <a:gd name="T102" fmla="*/ 2147483647 w 1326"/>
                <a:gd name="T103" fmla="*/ 2147483647 h 1395"/>
                <a:gd name="T104" fmla="*/ 2147483647 w 1326"/>
                <a:gd name="T105" fmla="*/ 2147483647 h 1395"/>
                <a:gd name="T106" fmla="*/ 2147483647 w 1326"/>
                <a:gd name="T107" fmla="*/ 2147483647 h 1395"/>
                <a:gd name="T108" fmla="*/ 2147483647 w 1326"/>
                <a:gd name="T109" fmla="*/ 2147483647 h 1395"/>
                <a:gd name="T110" fmla="*/ 2147483647 w 1326"/>
                <a:gd name="T111" fmla="*/ 2147483647 h 1395"/>
                <a:gd name="T112" fmla="*/ 2147483647 w 1326"/>
                <a:gd name="T113" fmla="*/ 2147483647 h 1395"/>
                <a:gd name="T114" fmla="*/ 2147483647 w 1326"/>
                <a:gd name="T115" fmla="*/ 2147483647 h 1395"/>
                <a:gd name="T116" fmla="*/ 2147483647 w 1326"/>
                <a:gd name="T117" fmla="*/ 2147483647 h 1395"/>
                <a:gd name="T118" fmla="*/ 2147483647 w 1326"/>
                <a:gd name="T119" fmla="*/ 2147483647 h 13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326" h="1395">
                  <a:moveTo>
                    <a:pt x="0" y="615"/>
                  </a:moveTo>
                  <a:lnTo>
                    <a:pt x="0" y="135"/>
                  </a:lnTo>
                  <a:lnTo>
                    <a:pt x="106" y="190"/>
                  </a:lnTo>
                  <a:lnTo>
                    <a:pt x="101" y="167"/>
                  </a:lnTo>
                  <a:lnTo>
                    <a:pt x="112" y="156"/>
                  </a:lnTo>
                  <a:lnTo>
                    <a:pt x="175" y="102"/>
                  </a:lnTo>
                  <a:lnTo>
                    <a:pt x="125" y="167"/>
                  </a:lnTo>
                  <a:lnTo>
                    <a:pt x="156" y="146"/>
                  </a:lnTo>
                  <a:lnTo>
                    <a:pt x="156" y="156"/>
                  </a:lnTo>
                  <a:lnTo>
                    <a:pt x="207" y="102"/>
                  </a:lnTo>
                  <a:lnTo>
                    <a:pt x="200" y="79"/>
                  </a:lnTo>
                  <a:lnTo>
                    <a:pt x="238" y="146"/>
                  </a:lnTo>
                  <a:lnTo>
                    <a:pt x="262" y="112"/>
                  </a:lnTo>
                  <a:lnTo>
                    <a:pt x="257" y="146"/>
                  </a:lnTo>
                  <a:lnTo>
                    <a:pt x="287" y="123"/>
                  </a:lnTo>
                  <a:lnTo>
                    <a:pt x="363" y="167"/>
                  </a:lnTo>
                  <a:lnTo>
                    <a:pt x="400" y="167"/>
                  </a:lnTo>
                  <a:lnTo>
                    <a:pt x="419" y="202"/>
                  </a:lnTo>
                  <a:lnTo>
                    <a:pt x="395" y="225"/>
                  </a:lnTo>
                  <a:lnTo>
                    <a:pt x="414" y="235"/>
                  </a:lnTo>
                  <a:lnTo>
                    <a:pt x="482" y="225"/>
                  </a:lnTo>
                  <a:lnTo>
                    <a:pt x="514" y="269"/>
                  </a:lnTo>
                  <a:lnTo>
                    <a:pt x="520" y="290"/>
                  </a:lnTo>
                  <a:lnTo>
                    <a:pt x="525" y="269"/>
                  </a:lnTo>
                  <a:lnTo>
                    <a:pt x="514" y="235"/>
                  </a:lnTo>
                  <a:lnTo>
                    <a:pt x="544" y="190"/>
                  </a:lnTo>
                  <a:lnTo>
                    <a:pt x="514" y="212"/>
                  </a:lnTo>
                  <a:lnTo>
                    <a:pt x="501" y="202"/>
                  </a:lnTo>
                  <a:lnTo>
                    <a:pt x="544" y="167"/>
                  </a:lnTo>
                  <a:lnTo>
                    <a:pt x="563" y="212"/>
                  </a:lnTo>
                  <a:lnTo>
                    <a:pt x="589" y="212"/>
                  </a:lnTo>
                  <a:lnTo>
                    <a:pt x="601" y="246"/>
                  </a:lnTo>
                  <a:lnTo>
                    <a:pt x="663" y="235"/>
                  </a:lnTo>
                  <a:lnTo>
                    <a:pt x="663" y="212"/>
                  </a:lnTo>
                  <a:lnTo>
                    <a:pt x="681" y="246"/>
                  </a:lnTo>
                  <a:lnTo>
                    <a:pt x="681" y="225"/>
                  </a:lnTo>
                  <a:lnTo>
                    <a:pt x="670" y="235"/>
                  </a:lnTo>
                  <a:lnTo>
                    <a:pt x="657" y="202"/>
                  </a:lnTo>
                  <a:lnTo>
                    <a:pt x="681" y="202"/>
                  </a:lnTo>
                  <a:lnTo>
                    <a:pt x="689" y="225"/>
                  </a:lnTo>
                  <a:lnTo>
                    <a:pt x="700" y="212"/>
                  </a:lnTo>
                  <a:lnTo>
                    <a:pt x="695" y="246"/>
                  </a:lnTo>
                  <a:lnTo>
                    <a:pt x="714" y="269"/>
                  </a:lnTo>
                  <a:lnTo>
                    <a:pt x="707" y="212"/>
                  </a:lnTo>
                  <a:lnTo>
                    <a:pt x="738" y="190"/>
                  </a:lnTo>
                  <a:lnTo>
                    <a:pt x="732" y="167"/>
                  </a:lnTo>
                  <a:lnTo>
                    <a:pt x="719" y="179"/>
                  </a:lnTo>
                  <a:lnTo>
                    <a:pt x="738" y="146"/>
                  </a:lnTo>
                  <a:lnTo>
                    <a:pt x="695" y="112"/>
                  </a:lnTo>
                  <a:lnTo>
                    <a:pt x="695" y="45"/>
                  </a:lnTo>
                  <a:lnTo>
                    <a:pt x="707" y="45"/>
                  </a:lnTo>
                  <a:lnTo>
                    <a:pt x="714" y="0"/>
                  </a:lnTo>
                  <a:lnTo>
                    <a:pt x="745" y="45"/>
                  </a:lnTo>
                  <a:lnTo>
                    <a:pt x="750" y="68"/>
                  </a:lnTo>
                  <a:lnTo>
                    <a:pt x="769" y="102"/>
                  </a:lnTo>
                  <a:lnTo>
                    <a:pt x="757" y="102"/>
                  </a:lnTo>
                  <a:lnTo>
                    <a:pt x="764" y="112"/>
                  </a:lnTo>
                  <a:lnTo>
                    <a:pt x="750" y="135"/>
                  </a:lnTo>
                  <a:lnTo>
                    <a:pt x="783" y="146"/>
                  </a:lnTo>
                  <a:lnTo>
                    <a:pt x="769" y="146"/>
                  </a:lnTo>
                  <a:lnTo>
                    <a:pt x="788" y="212"/>
                  </a:lnTo>
                  <a:lnTo>
                    <a:pt x="801" y="156"/>
                  </a:lnTo>
                  <a:lnTo>
                    <a:pt x="826" y="179"/>
                  </a:lnTo>
                  <a:lnTo>
                    <a:pt x="826" y="212"/>
                  </a:lnTo>
                  <a:lnTo>
                    <a:pt x="819" y="225"/>
                  </a:lnTo>
                  <a:lnTo>
                    <a:pt x="838" y="269"/>
                  </a:lnTo>
                  <a:lnTo>
                    <a:pt x="845" y="256"/>
                  </a:lnTo>
                  <a:lnTo>
                    <a:pt x="864" y="190"/>
                  </a:lnTo>
                  <a:lnTo>
                    <a:pt x="875" y="179"/>
                  </a:lnTo>
                  <a:lnTo>
                    <a:pt x="864" y="123"/>
                  </a:lnTo>
                  <a:lnTo>
                    <a:pt x="907" y="135"/>
                  </a:lnTo>
                  <a:lnTo>
                    <a:pt x="925" y="167"/>
                  </a:lnTo>
                  <a:lnTo>
                    <a:pt x="920" y="179"/>
                  </a:lnTo>
                  <a:lnTo>
                    <a:pt x="925" y="190"/>
                  </a:lnTo>
                  <a:lnTo>
                    <a:pt x="907" y="202"/>
                  </a:lnTo>
                  <a:lnTo>
                    <a:pt x="925" y="279"/>
                  </a:lnTo>
                  <a:lnTo>
                    <a:pt x="901" y="313"/>
                  </a:lnTo>
                  <a:lnTo>
                    <a:pt x="889" y="290"/>
                  </a:lnTo>
                  <a:lnTo>
                    <a:pt x="894" y="325"/>
                  </a:lnTo>
                  <a:lnTo>
                    <a:pt x="851" y="302"/>
                  </a:lnTo>
                  <a:lnTo>
                    <a:pt x="857" y="325"/>
                  </a:lnTo>
                  <a:lnTo>
                    <a:pt x="838" y="369"/>
                  </a:lnTo>
                  <a:lnTo>
                    <a:pt x="795" y="335"/>
                  </a:lnTo>
                  <a:lnTo>
                    <a:pt x="807" y="369"/>
                  </a:lnTo>
                  <a:lnTo>
                    <a:pt x="845" y="369"/>
                  </a:lnTo>
                  <a:lnTo>
                    <a:pt x="819" y="436"/>
                  </a:lnTo>
                  <a:lnTo>
                    <a:pt x="795" y="425"/>
                  </a:lnTo>
                  <a:lnTo>
                    <a:pt x="783" y="469"/>
                  </a:lnTo>
                  <a:lnTo>
                    <a:pt x="738" y="436"/>
                  </a:lnTo>
                  <a:lnTo>
                    <a:pt x="783" y="469"/>
                  </a:lnTo>
                  <a:lnTo>
                    <a:pt x="788" y="492"/>
                  </a:lnTo>
                  <a:lnTo>
                    <a:pt x="757" y="502"/>
                  </a:lnTo>
                  <a:lnTo>
                    <a:pt x="764" y="502"/>
                  </a:lnTo>
                  <a:lnTo>
                    <a:pt x="750" y="502"/>
                  </a:lnTo>
                  <a:lnTo>
                    <a:pt x="750" y="536"/>
                  </a:lnTo>
                  <a:lnTo>
                    <a:pt x="719" y="571"/>
                  </a:lnTo>
                  <a:lnTo>
                    <a:pt x="714" y="680"/>
                  </a:lnTo>
                  <a:lnTo>
                    <a:pt x="726" y="703"/>
                  </a:lnTo>
                  <a:lnTo>
                    <a:pt x="745" y="694"/>
                  </a:lnTo>
                  <a:lnTo>
                    <a:pt x="750" y="769"/>
                  </a:lnTo>
                  <a:lnTo>
                    <a:pt x="776" y="759"/>
                  </a:lnTo>
                  <a:lnTo>
                    <a:pt x="807" y="782"/>
                  </a:lnTo>
                  <a:lnTo>
                    <a:pt x="864" y="847"/>
                  </a:lnTo>
                  <a:lnTo>
                    <a:pt x="864" y="870"/>
                  </a:lnTo>
                  <a:lnTo>
                    <a:pt x="864" y="847"/>
                  </a:lnTo>
                  <a:lnTo>
                    <a:pt x="914" y="859"/>
                  </a:lnTo>
                  <a:lnTo>
                    <a:pt x="914" y="947"/>
                  </a:lnTo>
                  <a:lnTo>
                    <a:pt x="925" y="982"/>
                  </a:lnTo>
                  <a:lnTo>
                    <a:pt x="914" y="993"/>
                  </a:lnTo>
                  <a:lnTo>
                    <a:pt x="939" y="1005"/>
                  </a:lnTo>
                  <a:lnTo>
                    <a:pt x="933" y="1037"/>
                  </a:lnTo>
                  <a:lnTo>
                    <a:pt x="951" y="1026"/>
                  </a:lnTo>
                  <a:lnTo>
                    <a:pt x="983" y="982"/>
                  </a:lnTo>
                  <a:lnTo>
                    <a:pt x="970" y="970"/>
                  </a:lnTo>
                  <a:lnTo>
                    <a:pt x="951" y="882"/>
                  </a:lnTo>
                  <a:lnTo>
                    <a:pt x="1008" y="803"/>
                  </a:lnTo>
                  <a:lnTo>
                    <a:pt x="1001" y="803"/>
                  </a:lnTo>
                  <a:lnTo>
                    <a:pt x="989" y="715"/>
                  </a:lnTo>
                  <a:lnTo>
                    <a:pt x="970" y="694"/>
                  </a:lnTo>
                  <a:lnTo>
                    <a:pt x="994" y="646"/>
                  </a:lnTo>
                  <a:lnTo>
                    <a:pt x="989" y="636"/>
                  </a:lnTo>
                  <a:lnTo>
                    <a:pt x="989" y="601"/>
                  </a:lnTo>
                  <a:lnTo>
                    <a:pt x="976" y="592"/>
                  </a:lnTo>
                  <a:lnTo>
                    <a:pt x="989" y="557"/>
                  </a:lnTo>
                  <a:lnTo>
                    <a:pt x="976" y="536"/>
                  </a:lnTo>
                  <a:lnTo>
                    <a:pt x="983" y="513"/>
                  </a:lnTo>
                  <a:lnTo>
                    <a:pt x="1026" y="525"/>
                  </a:lnTo>
                  <a:lnTo>
                    <a:pt x="1045" y="513"/>
                  </a:lnTo>
                  <a:lnTo>
                    <a:pt x="1082" y="557"/>
                  </a:lnTo>
                  <a:lnTo>
                    <a:pt x="1082" y="580"/>
                  </a:lnTo>
                  <a:lnTo>
                    <a:pt x="1108" y="580"/>
                  </a:lnTo>
                  <a:lnTo>
                    <a:pt x="1114" y="625"/>
                  </a:lnTo>
                  <a:lnTo>
                    <a:pt x="1089" y="636"/>
                  </a:lnTo>
                  <a:lnTo>
                    <a:pt x="1108" y="636"/>
                  </a:lnTo>
                  <a:lnTo>
                    <a:pt x="1119" y="671"/>
                  </a:lnTo>
                  <a:lnTo>
                    <a:pt x="1095" y="703"/>
                  </a:lnTo>
                  <a:lnTo>
                    <a:pt x="1133" y="680"/>
                  </a:lnTo>
                  <a:lnTo>
                    <a:pt x="1133" y="724"/>
                  </a:lnTo>
                  <a:lnTo>
                    <a:pt x="1114" y="738"/>
                  </a:lnTo>
                  <a:lnTo>
                    <a:pt x="1139" y="694"/>
                  </a:lnTo>
                  <a:lnTo>
                    <a:pt x="1139" y="724"/>
                  </a:lnTo>
                  <a:lnTo>
                    <a:pt x="1158" y="694"/>
                  </a:lnTo>
                  <a:lnTo>
                    <a:pt x="1164" y="703"/>
                  </a:lnTo>
                  <a:lnTo>
                    <a:pt x="1183" y="659"/>
                  </a:lnTo>
                  <a:lnTo>
                    <a:pt x="1177" y="646"/>
                  </a:lnTo>
                  <a:lnTo>
                    <a:pt x="1188" y="615"/>
                  </a:lnTo>
                  <a:lnTo>
                    <a:pt x="1208" y="671"/>
                  </a:lnTo>
                  <a:lnTo>
                    <a:pt x="1195" y="680"/>
                  </a:lnTo>
                  <a:lnTo>
                    <a:pt x="1214" y="671"/>
                  </a:lnTo>
                  <a:lnTo>
                    <a:pt x="1220" y="694"/>
                  </a:lnTo>
                  <a:lnTo>
                    <a:pt x="1208" y="703"/>
                  </a:lnTo>
                  <a:lnTo>
                    <a:pt x="1220" y="703"/>
                  </a:lnTo>
                  <a:lnTo>
                    <a:pt x="1214" y="724"/>
                  </a:lnTo>
                  <a:lnTo>
                    <a:pt x="1220" y="724"/>
                  </a:lnTo>
                  <a:lnTo>
                    <a:pt x="1233" y="747"/>
                  </a:lnTo>
                  <a:lnTo>
                    <a:pt x="1227" y="747"/>
                  </a:lnTo>
                  <a:lnTo>
                    <a:pt x="1238" y="769"/>
                  </a:lnTo>
                  <a:lnTo>
                    <a:pt x="1214" y="792"/>
                  </a:lnTo>
                  <a:lnTo>
                    <a:pt x="1233" y="792"/>
                  </a:lnTo>
                  <a:lnTo>
                    <a:pt x="1233" y="803"/>
                  </a:lnTo>
                  <a:lnTo>
                    <a:pt x="1257" y="826"/>
                  </a:lnTo>
                  <a:lnTo>
                    <a:pt x="1264" y="870"/>
                  </a:lnTo>
                  <a:lnTo>
                    <a:pt x="1277" y="847"/>
                  </a:lnTo>
                  <a:lnTo>
                    <a:pt x="1302" y="882"/>
                  </a:lnTo>
                  <a:lnTo>
                    <a:pt x="1245" y="915"/>
                  </a:lnTo>
                  <a:lnTo>
                    <a:pt x="1257" y="938"/>
                  </a:lnTo>
                  <a:lnTo>
                    <a:pt x="1302" y="891"/>
                  </a:lnTo>
                  <a:lnTo>
                    <a:pt x="1302" y="926"/>
                  </a:lnTo>
                  <a:lnTo>
                    <a:pt x="1326" y="926"/>
                  </a:lnTo>
                  <a:lnTo>
                    <a:pt x="1326" y="938"/>
                  </a:lnTo>
                  <a:lnTo>
                    <a:pt x="1320" y="938"/>
                  </a:lnTo>
                  <a:lnTo>
                    <a:pt x="1326" y="982"/>
                  </a:lnTo>
                  <a:lnTo>
                    <a:pt x="1264" y="1070"/>
                  </a:lnTo>
                  <a:lnTo>
                    <a:pt x="1164" y="1070"/>
                  </a:lnTo>
                  <a:lnTo>
                    <a:pt x="1119" y="1128"/>
                  </a:lnTo>
                  <a:lnTo>
                    <a:pt x="1089" y="1205"/>
                  </a:lnTo>
                  <a:lnTo>
                    <a:pt x="1119" y="1137"/>
                  </a:lnTo>
                  <a:lnTo>
                    <a:pt x="1177" y="1105"/>
                  </a:lnTo>
                  <a:lnTo>
                    <a:pt x="1195" y="1137"/>
                  </a:lnTo>
                  <a:lnTo>
                    <a:pt x="1158" y="1160"/>
                  </a:lnTo>
                  <a:lnTo>
                    <a:pt x="1188" y="1172"/>
                  </a:lnTo>
                  <a:lnTo>
                    <a:pt x="1183" y="1193"/>
                  </a:lnTo>
                  <a:lnTo>
                    <a:pt x="1202" y="1237"/>
                  </a:lnTo>
                  <a:lnTo>
                    <a:pt x="1238" y="1249"/>
                  </a:lnTo>
                  <a:lnTo>
                    <a:pt x="1252" y="1193"/>
                  </a:lnTo>
                  <a:lnTo>
                    <a:pt x="1252" y="1237"/>
                  </a:lnTo>
                  <a:lnTo>
                    <a:pt x="1264" y="1228"/>
                  </a:lnTo>
                  <a:lnTo>
                    <a:pt x="1245" y="1272"/>
                  </a:lnTo>
                  <a:lnTo>
                    <a:pt x="1195" y="1295"/>
                  </a:lnTo>
                  <a:lnTo>
                    <a:pt x="1177" y="1339"/>
                  </a:lnTo>
                  <a:lnTo>
                    <a:pt x="1164" y="1295"/>
                  </a:lnTo>
                  <a:lnTo>
                    <a:pt x="1208" y="1260"/>
                  </a:lnTo>
                  <a:lnTo>
                    <a:pt x="1188" y="1260"/>
                  </a:lnTo>
                  <a:lnTo>
                    <a:pt x="1188" y="1237"/>
                  </a:lnTo>
                  <a:lnTo>
                    <a:pt x="1151" y="1272"/>
                  </a:lnTo>
                  <a:lnTo>
                    <a:pt x="1139" y="1249"/>
                  </a:lnTo>
                  <a:lnTo>
                    <a:pt x="1139" y="1193"/>
                  </a:lnTo>
                  <a:lnTo>
                    <a:pt x="1114" y="1183"/>
                  </a:lnTo>
                  <a:lnTo>
                    <a:pt x="1095" y="1260"/>
                  </a:lnTo>
                  <a:lnTo>
                    <a:pt x="1013" y="1295"/>
                  </a:lnTo>
                  <a:lnTo>
                    <a:pt x="963" y="1327"/>
                  </a:lnTo>
                  <a:lnTo>
                    <a:pt x="951" y="1339"/>
                  </a:lnTo>
                  <a:lnTo>
                    <a:pt x="963" y="1351"/>
                  </a:lnTo>
                  <a:lnTo>
                    <a:pt x="970" y="1360"/>
                  </a:lnTo>
                  <a:lnTo>
                    <a:pt x="901" y="1395"/>
                  </a:lnTo>
                  <a:lnTo>
                    <a:pt x="907" y="1383"/>
                  </a:lnTo>
                  <a:lnTo>
                    <a:pt x="907" y="1372"/>
                  </a:lnTo>
                  <a:lnTo>
                    <a:pt x="914" y="1351"/>
                  </a:lnTo>
                  <a:lnTo>
                    <a:pt x="920" y="1339"/>
                  </a:lnTo>
                  <a:lnTo>
                    <a:pt x="925" y="1272"/>
                  </a:lnTo>
                  <a:lnTo>
                    <a:pt x="939" y="1295"/>
                  </a:lnTo>
                  <a:lnTo>
                    <a:pt x="958" y="1283"/>
                  </a:lnTo>
                  <a:lnTo>
                    <a:pt x="939" y="1237"/>
                  </a:lnTo>
                  <a:lnTo>
                    <a:pt x="883" y="1216"/>
                  </a:lnTo>
                  <a:lnTo>
                    <a:pt x="875" y="1216"/>
                  </a:lnTo>
                  <a:lnTo>
                    <a:pt x="875" y="1160"/>
                  </a:lnTo>
                  <a:lnTo>
                    <a:pt x="864" y="1160"/>
                  </a:lnTo>
                  <a:lnTo>
                    <a:pt x="851" y="1128"/>
                  </a:lnTo>
                  <a:lnTo>
                    <a:pt x="838" y="1128"/>
                  </a:lnTo>
                  <a:lnTo>
                    <a:pt x="838" y="1149"/>
                  </a:lnTo>
                  <a:lnTo>
                    <a:pt x="826" y="1114"/>
                  </a:lnTo>
                  <a:lnTo>
                    <a:pt x="795" y="1160"/>
                  </a:lnTo>
                  <a:lnTo>
                    <a:pt x="726" y="1128"/>
                  </a:lnTo>
                  <a:lnTo>
                    <a:pt x="714" y="1105"/>
                  </a:lnTo>
                  <a:lnTo>
                    <a:pt x="714" y="1114"/>
                  </a:lnTo>
                  <a:lnTo>
                    <a:pt x="281" y="1114"/>
                  </a:lnTo>
                  <a:lnTo>
                    <a:pt x="281" y="1084"/>
                  </a:lnTo>
                  <a:lnTo>
                    <a:pt x="257" y="1084"/>
                  </a:lnTo>
                  <a:lnTo>
                    <a:pt x="257" y="1061"/>
                  </a:lnTo>
                  <a:lnTo>
                    <a:pt x="207" y="1026"/>
                  </a:lnTo>
                  <a:lnTo>
                    <a:pt x="212" y="1014"/>
                  </a:lnTo>
                  <a:lnTo>
                    <a:pt x="200" y="970"/>
                  </a:lnTo>
                  <a:lnTo>
                    <a:pt x="188" y="970"/>
                  </a:lnTo>
                  <a:lnTo>
                    <a:pt x="162" y="882"/>
                  </a:lnTo>
                  <a:lnTo>
                    <a:pt x="170" y="859"/>
                  </a:lnTo>
                  <a:lnTo>
                    <a:pt x="170" y="815"/>
                  </a:lnTo>
                  <a:lnTo>
                    <a:pt x="144" y="792"/>
                  </a:lnTo>
                  <a:lnTo>
                    <a:pt x="87" y="636"/>
                  </a:lnTo>
                  <a:lnTo>
                    <a:pt x="56" y="680"/>
                  </a:lnTo>
                  <a:lnTo>
                    <a:pt x="44" y="659"/>
                  </a:lnTo>
                  <a:lnTo>
                    <a:pt x="32" y="615"/>
                  </a:lnTo>
                  <a:lnTo>
                    <a:pt x="0" y="61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5" name="Freeform 109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1008311" y="2263775"/>
              <a:ext cx="1943100" cy="1106488"/>
            </a:xfrm>
            <a:custGeom>
              <a:avLst/>
              <a:gdLst>
                <a:gd name="T0" fmla="*/ 2147483647 w 1326"/>
                <a:gd name="T1" fmla="*/ 2147483647 h 1395"/>
                <a:gd name="T2" fmla="*/ 2147483647 w 1326"/>
                <a:gd name="T3" fmla="*/ 2147483647 h 1395"/>
                <a:gd name="T4" fmla="*/ 2147483647 w 1326"/>
                <a:gd name="T5" fmla="*/ 2147483647 h 1395"/>
                <a:gd name="T6" fmla="*/ 2147483647 w 1326"/>
                <a:gd name="T7" fmla="*/ 2147483647 h 1395"/>
                <a:gd name="T8" fmla="*/ 2147483647 w 1326"/>
                <a:gd name="T9" fmla="*/ 2147483647 h 1395"/>
                <a:gd name="T10" fmla="*/ 2147483647 w 1326"/>
                <a:gd name="T11" fmla="*/ 2147483647 h 1395"/>
                <a:gd name="T12" fmla="*/ 2147483647 w 1326"/>
                <a:gd name="T13" fmla="*/ 2147483647 h 1395"/>
                <a:gd name="T14" fmla="*/ 2147483647 w 1326"/>
                <a:gd name="T15" fmla="*/ 2147483647 h 1395"/>
                <a:gd name="T16" fmla="*/ 2147483647 w 1326"/>
                <a:gd name="T17" fmla="*/ 2147483647 h 1395"/>
                <a:gd name="T18" fmla="*/ 2147483647 w 1326"/>
                <a:gd name="T19" fmla="*/ 2147483647 h 1395"/>
                <a:gd name="T20" fmla="*/ 2147483647 w 1326"/>
                <a:gd name="T21" fmla="*/ 2147483647 h 1395"/>
                <a:gd name="T22" fmla="*/ 2147483647 w 1326"/>
                <a:gd name="T23" fmla="*/ 2147483647 h 1395"/>
                <a:gd name="T24" fmla="*/ 2147483647 w 1326"/>
                <a:gd name="T25" fmla="*/ 0 h 1395"/>
                <a:gd name="T26" fmla="*/ 2147483647 w 1326"/>
                <a:gd name="T27" fmla="*/ 2147483647 h 1395"/>
                <a:gd name="T28" fmla="*/ 2147483647 w 1326"/>
                <a:gd name="T29" fmla="*/ 2147483647 h 1395"/>
                <a:gd name="T30" fmla="*/ 2147483647 w 1326"/>
                <a:gd name="T31" fmla="*/ 2147483647 h 1395"/>
                <a:gd name="T32" fmla="*/ 2147483647 w 1326"/>
                <a:gd name="T33" fmla="*/ 2147483647 h 1395"/>
                <a:gd name="T34" fmla="*/ 2147483647 w 1326"/>
                <a:gd name="T35" fmla="*/ 2147483647 h 1395"/>
                <a:gd name="T36" fmla="*/ 2147483647 w 1326"/>
                <a:gd name="T37" fmla="*/ 2147483647 h 1395"/>
                <a:gd name="T38" fmla="*/ 2147483647 w 1326"/>
                <a:gd name="T39" fmla="*/ 2147483647 h 1395"/>
                <a:gd name="T40" fmla="*/ 2147483647 w 1326"/>
                <a:gd name="T41" fmla="*/ 2147483647 h 1395"/>
                <a:gd name="T42" fmla="*/ 2147483647 w 1326"/>
                <a:gd name="T43" fmla="*/ 2147483647 h 1395"/>
                <a:gd name="T44" fmla="*/ 2147483647 w 1326"/>
                <a:gd name="T45" fmla="*/ 2147483647 h 1395"/>
                <a:gd name="T46" fmla="*/ 2147483647 w 1326"/>
                <a:gd name="T47" fmla="*/ 2147483647 h 1395"/>
                <a:gd name="T48" fmla="*/ 2147483647 w 1326"/>
                <a:gd name="T49" fmla="*/ 2147483647 h 1395"/>
                <a:gd name="T50" fmla="*/ 2147483647 w 1326"/>
                <a:gd name="T51" fmla="*/ 2147483647 h 1395"/>
                <a:gd name="T52" fmla="*/ 2147483647 w 1326"/>
                <a:gd name="T53" fmla="*/ 2147483647 h 1395"/>
                <a:gd name="T54" fmla="*/ 2147483647 w 1326"/>
                <a:gd name="T55" fmla="*/ 2147483647 h 1395"/>
                <a:gd name="T56" fmla="*/ 2147483647 w 1326"/>
                <a:gd name="T57" fmla="*/ 2147483647 h 1395"/>
                <a:gd name="T58" fmla="*/ 2147483647 w 1326"/>
                <a:gd name="T59" fmla="*/ 2147483647 h 1395"/>
                <a:gd name="T60" fmla="*/ 2147483647 w 1326"/>
                <a:gd name="T61" fmla="*/ 2147483647 h 1395"/>
                <a:gd name="T62" fmla="*/ 2147483647 w 1326"/>
                <a:gd name="T63" fmla="*/ 2147483647 h 1395"/>
                <a:gd name="T64" fmla="*/ 2147483647 w 1326"/>
                <a:gd name="T65" fmla="*/ 2147483647 h 1395"/>
                <a:gd name="T66" fmla="*/ 2147483647 w 1326"/>
                <a:gd name="T67" fmla="*/ 2147483647 h 1395"/>
                <a:gd name="T68" fmla="*/ 2147483647 w 1326"/>
                <a:gd name="T69" fmla="*/ 2147483647 h 1395"/>
                <a:gd name="T70" fmla="*/ 2147483647 w 1326"/>
                <a:gd name="T71" fmla="*/ 2147483647 h 1395"/>
                <a:gd name="T72" fmla="*/ 2147483647 w 1326"/>
                <a:gd name="T73" fmla="*/ 2147483647 h 1395"/>
                <a:gd name="T74" fmla="*/ 2147483647 w 1326"/>
                <a:gd name="T75" fmla="*/ 2147483647 h 1395"/>
                <a:gd name="T76" fmla="*/ 2147483647 w 1326"/>
                <a:gd name="T77" fmla="*/ 2147483647 h 1395"/>
                <a:gd name="T78" fmla="*/ 2147483647 w 1326"/>
                <a:gd name="T79" fmla="*/ 2147483647 h 1395"/>
                <a:gd name="T80" fmla="*/ 2147483647 w 1326"/>
                <a:gd name="T81" fmla="*/ 2147483647 h 1395"/>
                <a:gd name="T82" fmla="*/ 2147483647 w 1326"/>
                <a:gd name="T83" fmla="*/ 2147483647 h 1395"/>
                <a:gd name="T84" fmla="*/ 2147483647 w 1326"/>
                <a:gd name="T85" fmla="*/ 2147483647 h 1395"/>
                <a:gd name="T86" fmla="*/ 2147483647 w 1326"/>
                <a:gd name="T87" fmla="*/ 2147483647 h 1395"/>
                <a:gd name="T88" fmla="*/ 2147483647 w 1326"/>
                <a:gd name="T89" fmla="*/ 2147483647 h 1395"/>
                <a:gd name="T90" fmla="*/ 2147483647 w 1326"/>
                <a:gd name="T91" fmla="*/ 2147483647 h 1395"/>
                <a:gd name="T92" fmla="*/ 2147483647 w 1326"/>
                <a:gd name="T93" fmla="*/ 2147483647 h 1395"/>
                <a:gd name="T94" fmla="*/ 2147483647 w 1326"/>
                <a:gd name="T95" fmla="*/ 2147483647 h 1395"/>
                <a:gd name="T96" fmla="*/ 2147483647 w 1326"/>
                <a:gd name="T97" fmla="*/ 2147483647 h 1395"/>
                <a:gd name="T98" fmla="*/ 2147483647 w 1326"/>
                <a:gd name="T99" fmla="*/ 2147483647 h 1395"/>
                <a:gd name="T100" fmla="*/ 2147483647 w 1326"/>
                <a:gd name="T101" fmla="*/ 2147483647 h 1395"/>
                <a:gd name="T102" fmla="*/ 2147483647 w 1326"/>
                <a:gd name="T103" fmla="*/ 2147483647 h 1395"/>
                <a:gd name="T104" fmla="*/ 2147483647 w 1326"/>
                <a:gd name="T105" fmla="*/ 2147483647 h 1395"/>
                <a:gd name="T106" fmla="*/ 2147483647 w 1326"/>
                <a:gd name="T107" fmla="*/ 2147483647 h 1395"/>
                <a:gd name="T108" fmla="*/ 2147483647 w 1326"/>
                <a:gd name="T109" fmla="*/ 2147483647 h 1395"/>
                <a:gd name="T110" fmla="*/ 2147483647 w 1326"/>
                <a:gd name="T111" fmla="*/ 2147483647 h 1395"/>
                <a:gd name="T112" fmla="*/ 2147483647 w 1326"/>
                <a:gd name="T113" fmla="*/ 2147483647 h 1395"/>
                <a:gd name="T114" fmla="*/ 2147483647 w 1326"/>
                <a:gd name="T115" fmla="*/ 2147483647 h 1395"/>
                <a:gd name="T116" fmla="*/ 2147483647 w 1326"/>
                <a:gd name="T117" fmla="*/ 2147483647 h 1395"/>
                <a:gd name="T118" fmla="*/ 2147483647 w 1326"/>
                <a:gd name="T119" fmla="*/ 2147483647 h 13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326" h="1395">
                  <a:moveTo>
                    <a:pt x="0" y="615"/>
                  </a:moveTo>
                  <a:lnTo>
                    <a:pt x="0" y="135"/>
                  </a:lnTo>
                  <a:lnTo>
                    <a:pt x="106" y="190"/>
                  </a:lnTo>
                  <a:lnTo>
                    <a:pt x="101" y="167"/>
                  </a:lnTo>
                  <a:lnTo>
                    <a:pt x="112" y="156"/>
                  </a:lnTo>
                  <a:lnTo>
                    <a:pt x="175" y="102"/>
                  </a:lnTo>
                  <a:lnTo>
                    <a:pt x="125" y="167"/>
                  </a:lnTo>
                  <a:lnTo>
                    <a:pt x="156" y="146"/>
                  </a:lnTo>
                  <a:lnTo>
                    <a:pt x="156" y="156"/>
                  </a:lnTo>
                  <a:lnTo>
                    <a:pt x="207" y="102"/>
                  </a:lnTo>
                  <a:lnTo>
                    <a:pt x="200" y="79"/>
                  </a:lnTo>
                  <a:lnTo>
                    <a:pt x="238" y="146"/>
                  </a:lnTo>
                  <a:lnTo>
                    <a:pt x="262" y="112"/>
                  </a:lnTo>
                  <a:lnTo>
                    <a:pt x="257" y="146"/>
                  </a:lnTo>
                  <a:lnTo>
                    <a:pt x="287" y="123"/>
                  </a:lnTo>
                  <a:lnTo>
                    <a:pt x="363" y="167"/>
                  </a:lnTo>
                  <a:lnTo>
                    <a:pt x="400" y="167"/>
                  </a:lnTo>
                  <a:lnTo>
                    <a:pt x="419" y="202"/>
                  </a:lnTo>
                  <a:lnTo>
                    <a:pt x="395" y="225"/>
                  </a:lnTo>
                  <a:lnTo>
                    <a:pt x="414" y="235"/>
                  </a:lnTo>
                  <a:lnTo>
                    <a:pt x="482" y="225"/>
                  </a:lnTo>
                  <a:lnTo>
                    <a:pt x="514" y="269"/>
                  </a:lnTo>
                  <a:lnTo>
                    <a:pt x="520" y="290"/>
                  </a:lnTo>
                  <a:lnTo>
                    <a:pt x="525" y="269"/>
                  </a:lnTo>
                  <a:lnTo>
                    <a:pt x="514" y="235"/>
                  </a:lnTo>
                  <a:lnTo>
                    <a:pt x="544" y="190"/>
                  </a:lnTo>
                  <a:lnTo>
                    <a:pt x="514" y="212"/>
                  </a:lnTo>
                  <a:lnTo>
                    <a:pt x="501" y="202"/>
                  </a:lnTo>
                  <a:lnTo>
                    <a:pt x="544" y="167"/>
                  </a:lnTo>
                  <a:lnTo>
                    <a:pt x="563" y="212"/>
                  </a:lnTo>
                  <a:lnTo>
                    <a:pt x="589" y="212"/>
                  </a:lnTo>
                  <a:lnTo>
                    <a:pt x="601" y="246"/>
                  </a:lnTo>
                  <a:lnTo>
                    <a:pt x="663" y="235"/>
                  </a:lnTo>
                  <a:lnTo>
                    <a:pt x="663" y="212"/>
                  </a:lnTo>
                  <a:lnTo>
                    <a:pt x="681" y="246"/>
                  </a:lnTo>
                  <a:lnTo>
                    <a:pt x="681" y="225"/>
                  </a:lnTo>
                  <a:lnTo>
                    <a:pt x="670" y="235"/>
                  </a:lnTo>
                  <a:lnTo>
                    <a:pt x="657" y="202"/>
                  </a:lnTo>
                  <a:lnTo>
                    <a:pt x="681" y="202"/>
                  </a:lnTo>
                  <a:lnTo>
                    <a:pt x="689" y="225"/>
                  </a:lnTo>
                  <a:lnTo>
                    <a:pt x="700" y="212"/>
                  </a:lnTo>
                  <a:lnTo>
                    <a:pt x="695" y="246"/>
                  </a:lnTo>
                  <a:lnTo>
                    <a:pt x="714" y="269"/>
                  </a:lnTo>
                  <a:lnTo>
                    <a:pt x="707" y="212"/>
                  </a:lnTo>
                  <a:lnTo>
                    <a:pt x="738" y="190"/>
                  </a:lnTo>
                  <a:lnTo>
                    <a:pt x="732" y="167"/>
                  </a:lnTo>
                  <a:lnTo>
                    <a:pt x="719" y="179"/>
                  </a:lnTo>
                  <a:lnTo>
                    <a:pt x="738" y="146"/>
                  </a:lnTo>
                  <a:lnTo>
                    <a:pt x="695" y="112"/>
                  </a:lnTo>
                  <a:lnTo>
                    <a:pt x="695" y="45"/>
                  </a:lnTo>
                  <a:lnTo>
                    <a:pt x="707" y="45"/>
                  </a:lnTo>
                  <a:lnTo>
                    <a:pt x="714" y="0"/>
                  </a:lnTo>
                  <a:lnTo>
                    <a:pt x="745" y="45"/>
                  </a:lnTo>
                  <a:lnTo>
                    <a:pt x="750" y="68"/>
                  </a:lnTo>
                  <a:lnTo>
                    <a:pt x="769" y="102"/>
                  </a:lnTo>
                  <a:lnTo>
                    <a:pt x="757" y="102"/>
                  </a:lnTo>
                  <a:lnTo>
                    <a:pt x="764" y="112"/>
                  </a:lnTo>
                  <a:lnTo>
                    <a:pt x="750" y="135"/>
                  </a:lnTo>
                  <a:lnTo>
                    <a:pt x="783" y="146"/>
                  </a:lnTo>
                  <a:lnTo>
                    <a:pt x="769" y="146"/>
                  </a:lnTo>
                  <a:lnTo>
                    <a:pt x="788" y="212"/>
                  </a:lnTo>
                  <a:lnTo>
                    <a:pt x="801" y="156"/>
                  </a:lnTo>
                  <a:lnTo>
                    <a:pt x="826" y="179"/>
                  </a:lnTo>
                  <a:lnTo>
                    <a:pt x="826" y="212"/>
                  </a:lnTo>
                  <a:lnTo>
                    <a:pt x="819" y="225"/>
                  </a:lnTo>
                  <a:lnTo>
                    <a:pt x="838" y="269"/>
                  </a:lnTo>
                  <a:lnTo>
                    <a:pt x="845" y="256"/>
                  </a:lnTo>
                  <a:lnTo>
                    <a:pt x="864" y="190"/>
                  </a:lnTo>
                  <a:lnTo>
                    <a:pt x="875" y="179"/>
                  </a:lnTo>
                  <a:lnTo>
                    <a:pt x="864" y="123"/>
                  </a:lnTo>
                  <a:lnTo>
                    <a:pt x="907" y="135"/>
                  </a:lnTo>
                  <a:lnTo>
                    <a:pt x="925" y="167"/>
                  </a:lnTo>
                  <a:lnTo>
                    <a:pt x="920" y="179"/>
                  </a:lnTo>
                  <a:lnTo>
                    <a:pt x="925" y="190"/>
                  </a:lnTo>
                  <a:lnTo>
                    <a:pt x="907" y="202"/>
                  </a:lnTo>
                  <a:lnTo>
                    <a:pt x="925" y="279"/>
                  </a:lnTo>
                  <a:lnTo>
                    <a:pt x="901" y="313"/>
                  </a:lnTo>
                  <a:lnTo>
                    <a:pt x="889" y="290"/>
                  </a:lnTo>
                  <a:lnTo>
                    <a:pt x="894" y="325"/>
                  </a:lnTo>
                  <a:lnTo>
                    <a:pt x="851" y="302"/>
                  </a:lnTo>
                  <a:lnTo>
                    <a:pt x="857" y="325"/>
                  </a:lnTo>
                  <a:lnTo>
                    <a:pt x="838" y="369"/>
                  </a:lnTo>
                  <a:lnTo>
                    <a:pt x="795" y="335"/>
                  </a:lnTo>
                  <a:lnTo>
                    <a:pt x="807" y="369"/>
                  </a:lnTo>
                  <a:lnTo>
                    <a:pt x="845" y="369"/>
                  </a:lnTo>
                  <a:lnTo>
                    <a:pt x="819" y="436"/>
                  </a:lnTo>
                  <a:lnTo>
                    <a:pt x="795" y="425"/>
                  </a:lnTo>
                  <a:lnTo>
                    <a:pt x="783" y="469"/>
                  </a:lnTo>
                  <a:lnTo>
                    <a:pt x="738" y="436"/>
                  </a:lnTo>
                  <a:lnTo>
                    <a:pt x="783" y="469"/>
                  </a:lnTo>
                  <a:lnTo>
                    <a:pt x="788" y="492"/>
                  </a:lnTo>
                  <a:lnTo>
                    <a:pt x="757" y="502"/>
                  </a:lnTo>
                  <a:lnTo>
                    <a:pt x="764" y="502"/>
                  </a:lnTo>
                  <a:lnTo>
                    <a:pt x="750" y="502"/>
                  </a:lnTo>
                  <a:lnTo>
                    <a:pt x="750" y="536"/>
                  </a:lnTo>
                  <a:lnTo>
                    <a:pt x="719" y="571"/>
                  </a:lnTo>
                  <a:lnTo>
                    <a:pt x="714" y="680"/>
                  </a:lnTo>
                  <a:lnTo>
                    <a:pt x="726" y="703"/>
                  </a:lnTo>
                  <a:lnTo>
                    <a:pt x="745" y="694"/>
                  </a:lnTo>
                  <a:lnTo>
                    <a:pt x="750" y="769"/>
                  </a:lnTo>
                  <a:lnTo>
                    <a:pt x="776" y="759"/>
                  </a:lnTo>
                  <a:lnTo>
                    <a:pt x="807" y="782"/>
                  </a:lnTo>
                  <a:lnTo>
                    <a:pt x="864" y="847"/>
                  </a:lnTo>
                  <a:lnTo>
                    <a:pt x="864" y="870"/>
                  </a:lnTo>
                  <a:lnTo>
                    <a:pt x="864" y="847"/>
                  </a:lnTo>
                  <a:lnTo>
                    <a:pt x="914" y="859"/>
                  </a:lnTo>
                  <a:lnTo>
                    <a:pt x="914" y="947"/>
                  </a:lnTo>
                  <a:lnTo>
                    <a:pt x="925" y="982"/>
                  </a:lnTo>
                  <a:lnTo>
                    <a:pt x="914" y="993"/>
                  </a:lnTo>
                  <a:lnTo>
                    <a:pt x="939" y="1005"/>
                  </a:lnTo>
                  <a:lnTo>
                    <a:pt x="933" y="1037"/>
                  </a:lnTo>
                  <a:lnTo>
                    <a:pt x="951" y="1026"/>
                  </a:lnTo>
                  <a:lnTo>
                    <a:pt x="983" y="982"/>
                  </a:lnTo>
                  <a:lnTo>
                    <a:pt x="970" y="970"/>
                  </a:lnTo>
                  <a:lnTo>
                    <a:pt x="951" y="882"/>
                  </a:lnTo>
                  <a:lnTo>
                    <a:pt x="1008" y="803"/>
                  </a:lnTo>
                  <a:lnTo>
                    <a:pt x="1001" y="803"/>
                  </a:lnTo>
                  <a:lnTo>
                    <a:pt x="989" y="715"/>
                  </a:lnTo>
                  <a:lnTo>
                    <a:pt x="970" y="694"/>
                  </a:lnTo>
                  <a:lnTo>
                    <a:pt x="994" y="646"/>
                  </a:lnTo>
                  <a:lnTo>
                    <a:pt x="989" y="636"/>
                  </a:lnTo>
                  <a:lnTo>
                    <a:pt x="989" y="601"/>
                  </a:lnTo>
                  <a:lnTo>
                    <a:pt x="976" y="592"/>
                  </a:lnTo>
                  <a:lnTo>
                    <a:pt x="989" y="557"/>
                  </a:lnTo>
                  <a:lnTo>
                    <a:pt x="976" y="536"/>
                  </a:lnTo>
                  <a:lnTo>
                    <a:pt x="983" y="513"/>
                  </a:lnTo>
                  <a:lnTo>
                    <a:pt x="1026" y="525"/>
                  </a:lnTo>
                  <a:lnTo>
                    <a:pt x="1045" y="513"/>
                  </a:lnTo>
                  <a:lnTo>
                    <a:pt x="1082" y="557"/>
                  </a:lnTo>
                  <a:lnTo>
                    <a:pt x="1082" y="580"/>
                  </a:lnTo>
                  <a:lnTo>
                    <a:pt x="1108" y="580"/>
                  </a:lnTo>
                  <a:lnTo>
                    <a:pt x="1114" y="625"/>
                  </a:lnTo>
                  <a:lnTo>
                    <a:pt x="1089" y="636"/>
                  </a:lnTo>
                  <a:lnTo>
                    <a:pt x="1108" y="636"/>
                  </a:lnTo>
                  <a:lnTo>
                    <a:pt x="1119" y="671"/>
                  </a:lnTo>
                  <a:lnTo>
                    <a:pt x="1095" y="703"/>
                  </a:lnTo>
                  <a:lnTo>
                    <a:pt x="1133" y="680"/>
                  </a:lnTo>
                  <a:lnTo>
                    <a:pt x="1133" y="724"/>
                  </a:lnTo>
                  <a:lnTo>
                    <a:pt x="1114" y="738"/>
                  </a:lnTo>
                  <a:lnTo>
                    <a:pt x="1139" y="694"/>
                  </a:lnTo>
                  <a:lnTo>
                    <a:pt x="1139" y="724"/>
                  </a:lnTo>
                  <a:lnTo>
                    <a:pt x="1158" y="694"/>
                  </a:lnTo>
                  <a:lnTo>
                    <a:pt x="1164" y="703"/>
                  </a:lnTo>
                  <a:lnTo>
                    <a:pt x="1183" y="659"/>
                  </a:lnTo>
                  <a:lnTo>
                    <a:pt x="1177" y="646"/>
                  </a:lnTo>
                  <a:lnTo>
                    <a:pt x="1188" y="615"/>
                  </a:lnTo>
                  <a:lnTo>
                    <a:pt x="1208" y="671"/>
                  </a:lnTo>
                  <a:lnTo>
                    <a:pt x="1195" y="680"/>
                  </a:lnTo>
                  <a:lnTo>
                    <a:pt x="1214" y="671"/>
                  </a:lnTo>
                  <a:lnTo>
                    <a:pt x="1220" y="694"/>
                  </a:lnTo>
                  <a:lnTo>
                    <a:pt x="1208" y="703"/>
                  </a:lnTo>
                  <a:lnTo>
                    <a:pt x="1220" y="703"/>
                  </a:lnTo>
                  <a:lnTo>
                    <a:pt x="1214" y="724"/>
                  </a:lnTo>
                  <a:lnTo>
                    <a:pt x="1220" y="724"/>
                  </a:lnTo>
                  <a:lnTo>
                    <a:pt x="1233" y="747"/>
                  </a:lnTo>
                  <a:lnTo>
                    <a:pt x="1227" y="747"/>
                  </a:lnTo>
                  <a:lnTo>
                    <a:pt x="1238" y="769"/>
                  </a:lnTo>
                  <a:lnTo>
                    <a:pt x="1214" y="792"/>
                  </a:lnTo>
                  <a:lnTo>
                    <a:pt x="1233" y="792"/>
                  </a:lnTo>
                  <a:lnTo>
                    <a:pt x="1233" y="803"/>
                  </a:lnTo>
                  <a:lnTo>
                    <a:pt x="1257" y="826"/>
                  </a:lnTo>
                  <a:lnTo>
                    <a:pt x="1264" y="870"/>
                  </a:lnTo>
                  <a:lnTo>
                    <a:pt x="1277" y="847"/>
                  </a:lnTo>
                  <a:lnTo>
                    <a:pt x="1302" y="882"/>
                  </a:lnTo>
                  <a:lnTo>
                    <a:pt x="1245" y="915"/>
                  </a:lnTo>
                  <a:lnTo>
                    <a:pt x="1257" y="938"/>
                  </a:lnTo>
                  <a:lnTo>
                    <a:pt x="1302" y="891"/>
                  </a:lnTo>
                  <a:lnTo>
                    <a:pt x="1302" y="926"/>
                  </a:lnTo>
                  <a:lnTo>
                    <a:pt x="1326" y="926"/>
                  </a:lnTo>
                  <a:lnTo>
                    <a:pt x="1326" y="938"/>
                  </a:lnTo>
                  <a:lnTo>
                    <a:pt x="1320" y="938"/>
                  </a:lnTo>
                  <a:lnTo>
                    <a:pt x="1326" y="982"/>
                  </a:lnTo>
                  <a:lnTo>
                    <a:pt x="1264" y="1070"/>
                  </a:lnTo>
                  <a:lnTo>
                    <a:pt x="1164" y="1070"/>
                  </a:lnTo>
                  <a:lnTo>
                    <a:pt x="1119" y="1128"/>
                  </a:lnTo>
                  <a:lnTo>
                    <a:pt x="1089" y="1205"/>
                  </a:lnTo>
                  <a:lnTo>
                    <a:pt x="1119" y="1137"/>
                  </a:lnTo>
                  <a:lnTo>
                    <a:pt x="1177" y="1105"/>
                  </a:lnTo>
                  <a:lnTo>
                    <a:pt x="1195" y="1137"/>
                  </a:lnTo>
                  <a:lnTo>
                    <a:pt x="1158" y="1160"/>
                  </a:lnTo>
                  <a:lnTo>
                    <a:pt x="1188" y="1172"/>
                  </a:lnTo>
                  <a:lnTo>
                    <a:pt x="1183" y="1193"/>
                  </a:lnTo>
                  <a:lnTo>
                    <a:pt x="1202" y="1237"/>
                  </a:lnTo>
                  <a:lnTo>
                    <a:pt x="1238" y="1249"/>
                  </a:lnTo>
                  <a:lnTo>
                    <a:pt x="1252" y="1193"/>
                  </a:lnTo>
                  <a:lnTo>
                    <a:pt x="1252" y="1237"/>
                  </a:lnTo>
                  <a:lnTo>
                    <a:pt x="1264" y="1228"/>
                  </a:lnTo>
                  <a:lnTo>
                    <a:pt x="1245" y="1272"/>
                  </a:lnTo>
                  <a:lnTo>
                    <a:pt x="1195" y="1295"/>
                  </a:lnTo>
                  <a:lnTo>
                    <a:pt x="1177" y="1339"/>
                  </a:lnTo>
                  <a:lnTo>
                    <a:pt x="1164" y="1295"/>
                  </a:lnTo>
                  <a:lnTo>
                    <a:pt x="1208" y="1260"/>
                  </a:lnTo>
                  <a:lnTo>
                    <a:pt x="1188" y="1260"/>
                  </a:lnTo>
                  <a:lnTo>
                    <a:pt x="1188" y="1237"/>
                  </a:lnTo>
                  <a:lnTo>
                    <a:pt x="1151" y="1272"/>
                  </a:lnTo>
                  <a:lnTo>
                    <a:pt x="1139" y="1249"/>
                  </a:lnTo>
                  <a:lnTo>
                    <a:pt x="1139" y="1193"/>
                  </a:lnTo>
                  <a:lnTo>
                    <a:pt x="1114" y="1183"/>
                  </a:lnTo>
                  <a:lnTo>
                    <a:pt x="1095" y="1260"/>
                  </a:lnTo>
                  <a:lnTo>
                    <a:pt x="1013" y="1295"/>
                  </a:lnTo>
                  <a:lnTo>
                    <a:pt x="963" y="1327"/>
                  </a:lnTo>
                  <a:lnTo>
                    <a:pt x="951" y="1339"/>
                  </a:lnTo>
                  <a:lnTo>
                    <a:pt x="963" y="1351"/>
                  </a:lnTo>
                  <a:lnTo>
                    <a:pt x="970" y="1360"/>
                  </a:lnTo>
                  <a:lnTo>
                    <a:pt x="901" y="1395"/>
                  </a:lnTo>
                  <a:lnTo>
                    <a:pt x="907" y="1383"/>
                  </a:lnTo>
                  <a:lnTo>
                    <a:pt x="907" y="1372"/>
                  </a:lnTo>
                  <a:lnTo>
                    <a:pt x="914" y="1351"/>
                  </a:lnTo>
                  <a:lnTo>
                    <a:pt x="920" y="1339"/>
                  </a:lnTo>
                  <a:lnTo>
                    <a:pt x="925" y="1272"/>
                  </a:lnTo>
                  <a:lnTo>
                    <a:pt x="939" y="1295"/>
                  </a:lnTo>
                  <a:lnTo>
                    <a:pt x="958" y="1283"/>
                  </a:lnTo>
                  <a:lnTo>
                    <a:pt x="939" y="1237"/>
                  </a:lnTo>
                  <a:lnTo>
                    <a:pt x="883" y="1216"/>
                  </a:lnTo>
                  <a:lnTo>
                    <a:pt x="875" y="1216"/>
                  </a:lnTo>
                  <a:lnTo>
                    <a:pt x="875" y="1160"/>
                  </a:lnTo>
                  <a:lnTo>
                    <a:pt x="864" y="1160"/>
                  </a:lnTo>
                  <a:lnTo>
                    <a:pt x="851" y="1128"/>
                  </a:lnTo>
                  <a:lnTo>
                    <a:pt x="838" y="1128"/>
                  </a:lnTo>
                  <a:lnTo>
                    <a:pt x="838" y="1149"/>
                  </a:lnTo>
                  <a:lnTo>
                    <a:pt x="826" y="1114"/>
                  </a:lnTo>
                  <a:lnTo>
                    <a:pt x="795" y="1160"/>
                  </a:lnTo>
                  <a:lnTo>
                    <a:pt x="726" y="1128"/>
                  </a:lnTo>
                  <a:lnTo>
                    <a:pt x="714" y="1105"/>
                  </a:lnTo>
                  <a:lnTo>
                    <a:pt x="714" y="1114"/>
                  </a:lnTo>
                  <a:lnTo>
                    <a:pt x="281" y="1114"/>
                  </a:lnTo>
                  <a:lnTo>
                    <a:pt x="281" y="1084"/>
                  </a:lnTo>
                  <a:lnTo>
                    <a:pt x="257" y="1084"/>
                  </a:lnTo>
                  <a:lnTo>
                    <a:pt x="257" y="1061"/>
                  </a:lnTo>
                  <a:lnTo>
                    <a:pt x="207" y="1026"/>
                  </a:lnTo>
                  <a:lnTo>
                    <a:pt x="212" y="1014"/>
                  </a:lnTo>
                  <a:lnTo>
                    <a:pt x="200" y="970"/>
                  </a:lnTo>
                  <a:lnTo>
                    <a:pt x="188" y="970"/>
                  </a:lnTo>
                  <a:lnTo>
                    <a:pt x="162" y="882"/>
                  </a:lnTo>
                  <a:lnTo>
                    <a:pt x="170" y="859"/>
                  </a:lnTo>
                  <a:lnTo>
                    <a:pt x="170" y="815"/>
                  </a:lnTo>
                  <a:lnTo>
                    <a:pt x="144" y="792"/>
                  </a:lnTo>
                  <a:lnTo>
                    <a:pt x="87" y="636"/>
                  </a:lnTo>
                  <a:lnTo>
                    <a:pt x="56" y="680"/>
                  </a:lnTo>
                  <a:lnTo>
                    <a:pt x="44" y="659"/>
                  </a:lnTo>
                  <a:lnTo>
                    <a:pt x="32" y="615"/>
                  </a:lnTo>
                  <a:lnTo>
                    <a:pt x="0" y="61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6" name="Freeform 110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1008311" y="2263775"/>
              <a:ext cx="1943100" cy="1106488"/>
            </a:xfrm>
            <a:custGeom>
              <a:avLst/>
              <a:gdLst>
                <a:gd name="T0" fmla="*/ 2147483647 w 1326"/>
                <a:gd name="T1" fmla="*/ 2147483647 h 1395"/>
                <a:gd name="T2" fmla="*/ 2147483647 w 1326"/>
                <a:gd name="T3" fmla="*/ 2147483647 h 1395"/>
                <a:gd name="T4" fmla="*/ 2147483647 w 1326"/>
                <a:gd name="T5" fmla="*/ 2147483647 h 1395"/>
                <a:gd name="T6" fmla="*/ 2147483647 w 1326"/>
                <a:gd name="T7" fmla="*/ 2147483647 h 1395"/>
                <a:gd name="T8" fmla="*/ 2147483647 w 1326"/>
                <a:gd name="T9" fmla="*/ 2147483647 h 1395"/>
                <a:gd name="T10" fmla="*/ 2147483647 w 1326"/>
                <a:gd name="T11" fmla="*/ 2147483647 h 1395"/>
                <a:gd name="T12" fmla="*/ 2147483647 w 1326"/>
                <a:gd name="T13" fmla="*/ 2147483647 h 1395"/>
                <a:gd name="T14" fmla="*/ 2147483647 w 1326"/>
                <a:gd name="T15" fmla="*/ 2147483647 h 1395"/>
                <a:gd name="T16" fmla="*/ 2147483647 w 1326"/>
                <a:gd name="T17" fmla="*/ 2147483647 h 1395"/>
                <a:gd name="T18" fmla="*/ 2147483647 w 1326"/>
                <a:gd name="T19" fmla="*/ 2147483647 h 1395"/>
                <a:gd name="T20" fmla="*/ 2147483647 w 1326"/>
                <a:gd name="T21" fmla="*/ 2147483647 h 1395"/>
                <a:gd name="T22" fmla="*/ 2147483647 w 1326"/>
                <a:gd name="T23" fmla="*/ 2147483647 h 1395"/>
                <a:gd name="T24" fmla="*/ 2147483647 w 1326"/>
                <a:gd name="T25" fmla="*/ 0 h 1395"/>
                <a:gd name="T26" fmla="*/ 2147483647 w 1326"/>
                <a:gd name="T27" fmla="*/ 2147483647 h 1395"/>
                <a:gd name="T28" fmla="*/ 2147483647 w 1326"/>
                <a:gd name="T29" fmla="*/ 2147483647 h 1395"/>
                <a:gd name="T30" fmla="*/ 2147483647 w 1326"/>
                <a:gd name="T31" fmla="*/ 2147483647 h 1395"/>
                <a:gd name="T32" fmla="*/ 2147483647 w 1326"/>
                <a:gd name="T33" fmla="*/ 2147483647 h 1395"/>
                <a:gd name="T34" fmla="*/ 2147483647 w 1326"/>
                <a:gd name="T35" fmla="*/ 2147483647 h 1395"/>
                <a:gd name="T36" fmla="*/ 2147483647 w 1326"/>
                <a:gd name="T37" fmla="*/ 2147483647 h 1395"/>
                <a:gd name="T38" fmla="*/ 2147483647 w 1326"/>
                <a:gd name="T39" fmla="*/ 2147483647 h 1395"/>
                <a:gd name="T40" fmla="*/ 2147483647 w 1326"/>
                <a:gd name="T41" fmla="*/ 2147483647 h 1395"/>
                <a:gd name="T42" fmla="*/ 2147483647 w 1326"/>
                <a:gd name="T43" fmla="*/ 2147483647 h 1395"/>
                <a:gd name="T44" fmla="*/ 2147483647 w 1326"/>
                <a:gd name="T45" fmla="*/ 2147483647 h 1395"/>
                <a:gd name="T46" fmla="*/ 2147483647 w 1326"/>
                <a:gd name="T47" fmla="*/ 2147483647 h 1395"/>
                <a:gd name="T48" fmla="*/ 2147483647 w 1326"/>
                <a:gd name="T49" fmla="*/ 2147483647 h 1395"/>
                <a:gd name="T50" fmla="*/ 2147483647 w 1326"/>
                <a:gd name="T51" fmla="*/ 2147483647 h 1395"/>
                <a:gd name="T52" fmla="*/ 2147483647 w 1326"/>
                <a:gd name="T53" fmla="*/ 2147483647 h 1395"/>
                <a:gd name="T54" fmla="*/ 2147483647 w 1326"/>
                <a:gd name="T55" fmla="*/ 2147483647 h 1395"/>
                <a:gd name="T56" fmla="*/ 2147483647 w 1326"/>
                <a:gd name="T57" fmla="*/ 2147483647 h 1395"/>
                <a:gd name="T58" fmla="*/ 2147483647 w 1326"/>
                <a:gd name="T59" fmla="*/ 2147483647 h 1395"/>
                <a:gd name="T60" fmla="*/ 2147483647 w 1326"/>
                <a:gd name="T61" fmla="*/ 2147483647 h 1395"/>
                <a:gd name="T62" fmla="*/ 2147483647 w 1326"/>
                <a:gd name="T63" fmla="*/ 2147483647 h 1395"/>
                <a:gd name="T64" fmla="*/ 2147483647 w 1326"/>
                <a:gd name="T65" fmla="*/ 2147483647 h 1395"/>
                <a:gd name="T66" fmla="*/ 2147483647 w 1326"/>
                <a:gd name="T67" fmla="*/ 2147483647 h 1395"/>
                <a:gd name="T68" fmla="*/ 2147483647 w 1326"/>
                <a:gd name="T69" fmla="*/ 2147483647 h 1395"/>
                <a:gd name="T70" fmla="*/ 2147483647 w 1326"/>
                <a:gd name="T71" fmla="*/ 2147483647 h 1395"/>
                <a:gd name="T72" fmla="*/ 2147483647 w 1326"/>
                <a:gd name="T73" fmla="*/ 2147483647 h 1395"/>
                <a:gd name="T74" fmla="*/ 2147483647 w 1326"/>
                <a:gd name="T75" fmla="*/ 2147483647 h 1395"/>
                <a:gd name="T76" fmla="*/ 2147483647 w 1326"/>
                <a:gd name="T77" fmla="*/ 2147483647 h 1395"/>
                <a:gd name="T78" fmla="*/ 2147483647 w 1326"/>
                <a:gd name="T79" fmla="*/ 2147483647 h 1395"/>
                <a:gd name="T80" fmla="*/ 2147483647 w 1326"/>
                <a:gd name="T81" fmla="*/ 2147483647 h 1395"/>
                <a:gd name="T82" fmla="*/ 2147483647 w 1326"/>
                <a:gd name="T83" fmla="*/ 2147483647 h 1395"/>
                <a:gd name="T84" fmla="*/ 2147483647 w 1326"/>
                <a:gd name="T85" fmla="*/ 2147483647 h 1395"/>
                <a:gd name="T86" fmla="*/ 2147483647 w 1326"/>
                <a:gd name="T87" fmla="*/ 2147483647 h 1395"/>
                <a:gd name="T88" fmla="*/ 2147483647 w 1326"/>
                <a:gd name="T89" fmla="*/ 2147483647 h 1395"/>
                <a:gd name="T90" fmla="*/ 2147483647 w 1326"/>
                <a:gd name="T91" fmla="*/ 2147483647 h 1395"/>
                <a:gd name="T92" fmla="*/ 2147483647 w 1326"/>
                <a:gd name="T93" fmla="*/ 2147483647 h 1395"/>
                <a:gd name="T94" fmla="*/ 2147483647 w 1326"/>
                <a:gd name="T95" fmla="*/ 2147483647 h 1395"/>
                <a:gd name="T96" fmla="*/ 2147483647 w 1326"/>
                <a:gd name="T97" fmla="*/ 2147483647 h 1395"/>
                <a:gd name="T98" fmla="*/ 2147483647 w 1326"/>
                <a:gd name="T99" fmla="*/ 2147483647 h 1395"/>
                <a:gd name="T100" fmla="*/ 2147483647 w 1326"/>
                <a:gd name="T101" fmla="*/ 2147483647 h 1395"/>
                <a:gd name="T102" fmla="*/ 2147483647 w 1326"/>
                <a:gd name="T103" fmla="*/ 2147483647 h 1395"/>
                <a:gd name="T104" fmla="*/ 2147483647 w 1326"/>
                <a:gd name="T105" fmla="*/ 2147483647 h 1395"/>
                <a:gd name="T106" fmla="*/ 2147483647 w 1326"/>
                <a:gd name="T107" fmla="*/ 2147483647 h 1395"/>
                <a:gd name="T108" fmla="*/ 2147483647 w 1326"/>
                <a:gd name="T109" fmla="*/ 2147483647 h 1395"/>
                <a:gd name="T110" fmla="*/ 2147483647 w 1326"/>
                <a:gd name="T111" fmla="*/ 2147483647 h 1395"/>
                <a:gd name="T112" fmla="*/ 2147483647 w 1326"/>
                <a:gd name="T113" fmla="*/ 2147483647 h 1395"/>
                <a:gd name="T114" fmla="*/ 2147483647 w 1326"/>
                <a:gd name="T115" fmla="*/ 2147483647 h 1395"/>
                <a:gd name="T116" fmla="*/ 2147483647 w 1326"/>
                <a:gd name="T117" fmla="*/ 2147483647 h 1395"/>
                <a:gd name="T118" fmla="*/ 2147483647 w 1326"/>
                <a:gd name="T119" fmla="*/ 2147483647 h 13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326" h="1395">
                  <a:moveTo>
                    <a:pt x="0" y="615"/>
                  </a:moveTo>
                  <a:lnTo>
                    <a:pt x="0" y="135"/>
                  </a:lnTo>
                  <a:lnTo>
                    <a:pt x="106" y="190"/>
                  </a:lnTo>
                  <a:lnTo>
                    <a:pt x="101" y="167"/>
                  </a:lnTo>
                  <a:lnTo>
                    <a:pt x="112" y="156"/>
                  </a:lnTo>
                  <a:lnTo>
                    <a:pt x="175" y="102"/>
                  </a:lnTo>
                  <a:lnTo>
                    <a:pt x="125" y="167"/>
                  </a:lnTo>
                  <a:lnTo>
                    <a:pt x="156" y="146"/>
                  </a:lnTo>
                  <a:lnTo>
                    <a:pt x="156" y="156"/>
                  </a:lnTo>
                  <a:lnTo>
                    <a:pt x="207" y="102"/>
                  </a:lnTo>
                  <a:lnTo>
                    <a:pt x="200" y="79"/>
                  </a:lnTo>
                  <a:lnTo>
                    <a:pt x="238" y="146"/>
                  </a:lnTo>
                  <a:lnTo>
                    <a:pt x="262" y="112"/>
                  </a:lnTo>
                  <a:lnTo>
                    <a:pt x="257" y="146"/>
                  </a:lnTo>
                  <a:lnTo>
                    <a:pt x="287" y="123"/>
                  </a:lnTo>
                  <a:lnTo>
                    <a:pt x="363" y="167"/>
                  </a:lnTo>
                  <a:lnTo>
                    <a:pt x="400" y="167"/>
                  </a:lnTo>
                  <a:lnTo>
                    <a:pt x="419" y="202"/>
                  </a:lnTo>
                  <a:lnTo>
                    <a:pt x="395" y="225"/>
                  </a:lnTo>
                  <a:lnTo>
                    <a:pt x="414" y="235"/>
                  </a:lnTo>
                  <a:lnTo>
                    <a:pt x="482" y="225"/>
                  </a:lnTo>
                  <a:lnTo>
                    <a:pt x="514" y="269"/>
                  </a:lnTo>
                  <a:lnTo>
                    <a:pt x="520" y="290"/>
                  </a:lnTo>
                  <a:lnTo>
                    <a:pt x="525" y="269"/>
                  </a:lnTo>
                  <a:lnTo>
                    <a:pt x="514" y="235"/>
                  </a:lnTo>
                  <a:lnTo>
                    <a:pt x="544" y="190"/>
                  </a:lnTo>
                  <a:lnTo>
                    <a:pt x="514" y="212"/>
                  </a:lnTo>
                  <a:lnTo>
                    <a:pt x="501" y="202"/>
                  </a:lnTo>
                  <a:lnTo>
                    <a:pt x="544" y="167"/>
                  </a:lnTo>
                  <a:lnTo>
                    <a:pt x="563" y="212"/>
                  </a:lnTo>
                  <a:lnTo>
                    <a:pt x="589" y="212"/>
                  </a:lnTo>
                  <a:lnTo>
                    <a:pt x="601" y="246"/>
                  </a:lnTo>
                  <a:lnTo>
                    <a:pt x="663" y="235"/>
                  </a:lnTo>
                  <a:lnTo>
                    <a:pt x="663" y="212"/>
                  </a:lnTo>
                  <a:lnTo>
                    <a:pt x="681" y="246"/>
                  </a:lnTo>
                  <a:lnTo>
                    <a:pt x="681" y="225"/>
                  </a:lnTo>
                  <a:lnTo>
                    <a:pt x="670" y="235"/>
                  </a:lnTo>
                  <a:lnTo>
                    <a:pt x="657" y="202"/>
                  </a:lnTo>
                  <a:lnTo>
                    <a:pt x="681" y="202"/>
                  </a:lnTo>
                  <a:lnTo>
                    <a:pt x="689" y="225"/>
                  </a:lnTo>
                  <a:lnTo>
                    <a:pt x="700" y="212"/>
                  </a:lnTo>
                  <a:lnTo>
                    <a:pt x="695" y="246"/>
                  </a:lnTo>
                  <a:lnTo>
                    <a:pt x="714" y="269"/>
                  </a:lnTo>
                  <a:lnTo>
                    <a:pt x="707" y="212"/>
                  </a:lnTo>
                  <a:lnTo>
                    <a:pt x="738" y="190"/>
                  </a:lnTo>
                  <a:lnTo>
                    <a:pt x="732" y="167"/>
                  </a:lnTo>
                  <a:lnTo>
                    <a:pt x="719" y="179"/>
                  </a:lnTo>
                  <a:lnTo>
                    <a:pt x="738" y="146"/>
                  </a:lnTo>
                  <a:lnTo>
                    <a:pt x="695" y="112"/>
                  </a:lnTo>
                  <a:lnTo>
                    <a:pt x="695" y="45"/>
                  </a:lnTo>
                  <a:lnTo>
                    <a:pt x="707" y="45"/>
                  </a:lnTo>
                  <a:lnTo>
                    <a:pt x="714" y="0"/>
                  </a:lnTo>
                  <a:lnTo>
                    <a:pt x="745" y="45"/>
                  </a:lnTo>
                  <a:lnTo>
                    <a:pt x="750" y="68"/>
                  </a:lnTo>
                  <a:lnTo>
                    <a:pt x="769" y="102"/>
                  </a:lnTo>
                  <a:lnTo>
                    <a:pt x="757" y="102"/>
                  </a:lnTo>
                  <a:lnTo>
                    <a:pt x="764" y="112"/>
                  </a:lnTo>
                  <a:lnTo>
                    <a:pt x="750" y="135"/>
                  </a:lnTo>
                  <a:lnTo>
                    <a:pt x="783" y="146"/>
                  </a:lnTo>
                  <a:lnTo>
                    <a:pt x="769" y="146"/>
                  </a:lnTo>
                  <a:lnTo>
                    <a:pt x="788" y="212"/>
                  </a:lnTo>
                  <a:lnTo>
                    <a:pt x="801" y="156"/>
                  </a:lnTo>
                  <a:lnTo>
                    <a:pt x="826" y="179"/>
                  </a:lnTo>
                  <a:lnTo>
                    <a:pt x="826" y="212"/>
                  </a:lnTo>
                  <a:lnTo>
                    <a:pt x="819" y="225"/>
                  </a:lnTo>
                  <a:lnTo>
                    <a:pt x="838" y="269"/>
                  </a:lnTo>
                  <a:lnTo>
                    <a:pt x="845" y="256"/>
                  </a:lnTo>
                  <a:lnTo>
                    <a:pt x="864" y="190"/>
                  </a:lnTo>
                  <a:lnTo>
                    <a:pt x="875" y="179"/>
                  </a:lnTo>
                  <a:lnTo>
                    <a:pt x="864" y="123"/>
                  </a:lnTo>
                  <a:lnTo>
                    <a:pt x="907" y="135"/>
                  </a:lnTo>
                  <a:lnTo>
                    <a:pt x="925" y="167"/>
                  </a:lnTo>
                  <a:lnTo>
                    <a:pt x="920" y="179"/>
                  </a:lnTo>
                  <a:lnTo>
                    <a:pt x="925" y="190"/>
                  </a:lnTo>
                  <a:lnTo>
                    <a:pt x="907" y="202"/>
                  </a:lnTo>
                  <a:lnTo>
                    <a:pt x="925" y="279"/>
                  </a:lnTo>
                  <a:lnTo>
                    <a:pt x="901" y="313"/>
                  </a:lnTo>
                  <a:lnTo>
                    <a:pt x="889" y="290"/>
                  </a:lnTo>
                  <a:lnTo>
                    <a:pt x="894" y="325"/>
                  </a:lnTo>
                  <a:lnTo>
                    <a:pt x="851" y="302"/>
                  </a:lnTo>
                  <a:lnTo>
                    <a:pt x="857" y="325"/>
                  </a:lnTo>
                  <a:lnTo>
                    <a:pt x="838" y="369"/>
                  </a:lnTo>
                  <a:lnTo>
                    <a:pt x="795" y="335"/>
                  </a:lnTo>
                  <a:lnTo>
                    <a:pt x="807" y="369"/>
                  </a:lnTo>
                  <a:lnTo>
                    <a:pt x="845" y="369"/>
                  </a:lnTo>
                  <a:lnTo>
                    <a:pt x="819" y="436"/>
                  </a:lnTo>
                  <a:lnTo>
                    <a:pt x="795" y="425"/>
                  </a:lnTo>
                  <a:lnTo>
                    <a:pt x="783" y="469"/>
                  </a:lnTo>
                  <a:lnTo>
                    <a:pt x="738" y="436"/>
                  </a:lnTo>
                  <a:lnTo>
                    <a:pt x="783" y="469"/>
                  </a:lnTo>
                  <a:lnTo>
                    <a:pt x="788" y="492"/>
                  </a:lnTo>
                  <a:lnTo>
                    <a:pt x="757" y="502"/>
                  </a:lnTo>
                  <a:lnTo>
                    <a:pt x="764" y="502"/>
                  </a:lnTo>
                  <a:lnTo>
                    <a:pt x="750" y="502"/>
                  </a:lnTo>
                  <a:lnTo>
                    <a:pt x="750" y="536"/>
                  </a:lnTo>
                  <a:lnTo>
                    <a:pt x="719" y="571"/>
                  </a:lnTo>
                  <a:lnTo>
                    <a:pt x="714" y="680"/>
                  </a:lnTo>
                  <a:lnTo>
                    <a:pt x="726" y="703"/>
                  </a:lnTo>
                  <a:lnTo>
                    <a:pt x="745" y="694"/>
                  </a:lnTo>
                  <a:lnTo>
                    <a:pt x="750" y="769"/>
                  </a:lnTo>
                  <a:lnTo>
                    <a:pt x="776" y="759"/>
                  </a:lnTo>
                  <a:lnTo>
                    <a:pt x="807" y="782"/>
                  </a:lnTo>
                  <a:lnTo>
                    <a:pt x="864" y="847"/>
                  </a:lnTo>
                  <a:lnTo>
                    <a:pt x="864" y="870"/>
                  </a:lnTo>
                  <a:lnTo>
                    <a:pt x="864" y="847"/>
                  </a:lnTo>
                  <a:lnTo>
                    <a:pt x="914" y="859"/>
                  </a:lnTo>
                  <a:lnTo>
                    <a:pt x="914" y="947"/>
                  </a:lnTo>
                  <a:lnTo>
                    <a:pt x="925" y="982"/>
                  </a:lnTo>
                  <a:lnTo>
                    <a:pt x="914" y="993"/>
                  </a:lnTo>
                  <a:lnTo>
                    <a:pt x="939" y="1005"/>
                  </a:lnTo>
                  <a:lnTo>
                    <a:pt x="933" y="1037"/>
                  </a:lnTo>
                  <a:lnTo>
                    <a:pt x="951" y="1026"/>
                  </a:lnTo>
                  <a:lnTo>
                    <a:pt x="983" y="982"/>
                  </a:lnTo>
                  <a:lnTo>
                    <a:pt x="970" y="970"/>
                  </a:lnTo>
                  <a:lnTo>
                    <a:pt x="951" y="882"/>
                  </a:lnTo>
                  <a:lnTo>
                    <a:pt x="1008" y="803"/>
                  </a:lnTo>
                  <a:lnTo>
                    <a:pt x="1001" y="803"/>
                  </a:lnTo>
                  <a:lnTo>
                    <a:pt x="989" y="715"/>
                  </a:lnTo>
                  <a:lnTo>
                    <a:pt x="970" y="694"/>
                  </a:lnTo>
                  <a:lnTo>
                    <a:pt x="994" y="646"/>
                  </a:lnTo>
                  <a:lnTo>
                    <a:pt x="989" y="636"/>
                  </a:lnTo>
                  <a:lnTo>
                    <a:pt x="989" y="601"/>
                  </a:lnTo>
                  <a:lnTo>
                    <a:pt x="976" y="592"/>
                  </a:lnTo>
                  <a:lnTo>
                    <a:pt x="989" y="557"/>
                  </a:lnTo>
                  <a:lnTo>
                    <a:pt x="976" y="536"/>
                  </a:lnTo>
                  <a:lnTo>
                    <a:pt x="983" y="513"/>
                  </a:lnTo>
                  <a:lnTo>
                    <a:pt x="1026" y="525"/>
                  </a:lnTo>
                  <a:lnTo>
                    <a:pt x="1045" y="513"/>
                  </a:lnTo>
                  <a:lnTo>
                    <a:pt x="1082" y="557"/>
                  </a:lnTo>
                  <a:lnTo>
                    <a:pt x="1082" y="580"/>
                  </a:lnTo>
                  <a:lnTo>
                    <a:pt x="1108" y="580"/>
                  </a:lnTo>
                  <a:lnTo>
                    <a:pt x="1114" y="625"/>
                  </a:lnTo>
                  <a:lnTo>
                    <a:pt x="1089" y="636"/>
                  </a:lnTo>
                  <a:lnTo>
                    <a:pt x="1108" y="636"/>
                  </a:lnTo>
                  <a:lnTo>
                    <a:pt x="1119" y="671"/>
                  </a:lnTo>
                  <a:lnTo>
                    <a:pt x="1095" y="703"/>
                  </a:lnTo>
                  <a:lnTo>
                    <a:pt x="1133" y="680"/>
                  </a:lnTo>
                  <a:lnTo>
                    <a:pt x="1133" y="724"/>
                  </a:lnTo>
                  <a:lnTo>
                    <a:pt x="1114" y="738"/>
                  </a:lnTo>
                  <a:lnTo>
                    <a:pt x="1139" y="694"/>
                  </a:lnTo>
                  <a:lnTo>
                    <a:pt x="1139" y="724"/>
                  </a:lnTo>
                  <a:lnTo>
                    <a:pt x="1158" y="694"/>
                  </a:lnTo>
                  <a:lnTo>
                    <a:pt x="1164" y="703"/>
                  </a:lnTo>
                  <a:lnTo>
                    <a:pt x="1183" y="659"/>
                  </a:lnTo>
                  <a:lnTo>
                    <a:pt x="1177" y="646"/>
                  </a:lnTo>
                  <a:lnTo>
                    <a:pt x="1188" y="615"/>
                  </a:lnTo>
                  <a:lnTo>
                    <a:pt x="1208" y="671"/>
                  </a:lnTo>
                  <a:lnTo>
                    <a:pt x="1195" y="680"/>
                  </a:lnTo>
                  <a:lnTo>
                    <a:pt x="1214" y="671"/>
                  </a:lnTo>
                  <a:lnTo>
                    <a:pt x="1220" y="694"/>
                  </a:lnTo>
                  <a:lnTo>
                    <a:pt x="1208" y="703"/>
                  </a:lnTo>
                  <a:lnTo>
                    <a:pt x="1220" y="703"/>
                  </a:lnTo>
                  <a:lnTo>
                    <a:pt x="1214" y="724"/>
                  </a:lnTo>
                  <a:lnTo>
                    <a:pt x="1220" y="724"/>
                  </a:lnTo>
                  <a:lnTo>
                    <a:pt x="1233" y="747"/>
                  </a:lnTo>
                  <a:lnTo>
                    <a:pt x="1227" y="747"/>
                  </a:lnTo>
                  <a:lnTo>
                    <a:pt x="1238" y="769"/>
                  </a:lnTo>
                  <a:lnTo>
                    <a:pt x="1214" y="792"/>
                  </a:lnTo>
                  <a:lnTo>
                    <a:pt x="1233" y="792"/>
                  </a:lnTo>
                  <a:lnTo>
                    <a:pt x="1233" y="803"/>
                  </a:lnTo>
                  <a:lnTo>
                    <a:pt x="1257" y="826"/>
                  </a:lnTo>
                  <a:lnTo>
                    <a:pt x="1264" y="870"/>
                  </a:lnTo>
                  <a:lnTo>
                    <a:pt x="1277" y="847"/>
                  </a:lnTo>
                  <a:lnTo>
                    <a:pt x="1302" y="882"/>
                  </a:lnTo>
                  <a:lnTo>
                    <a:pt x="1245" y="915"/>
                  </a:lnTo>
                  <a:lnTo>
                    <a:pt x="1257" y="938"/>
                  </a:lnTo>
                  <a:lnTo>
                    <a:pt x="1302" y="891"/>
                  </a:lnTo>
                  <a:lnTo>
                    <a:pt x="1302" y="926"/>
                  </a:lnTo>
                  <a:lnTo>
                    <a:pt x="1326" y="926"/>
                  </a:lnTo>
                  <a:lnTo>
                    <a:pt x="1326" y="938"/>
                  </a:lnTo>
                  <a:lnTo>
                    <a:pt x="1320" y="938"/>
                  </a:lnTo>
                  <a:lnTo>
                    <a:pt x="1326" y="982"/>
                  </a:lnTo>
                  <a:lnTo>
                    <a:pt x="1264" y="1070"/>
                  </a:lnTo>
                  <a:lnTo>
                    <a:pt x="1164" y="1070"/>
                  </a:lnTo>
                  <a:lnTo>
                    <a:pt x="1119" y="1128"/>
                  </a:lnTo>
                  <a:lnTo>
                    <a:pt x="1089" y="1205"/>
                  </a:lnTo>
                  <a:lnTo>
                    <a:pt x="1119" y="1137"/>
                  </a:lnTo>
                  <a:lnTo>
                    <a:pt x="1177" y="1105"/>
                  </a:lnTo>
                  <a:lnTo>
                    <a:pt x="1195" y="1137"/>
                  </a:lnTo>
                  <a:lnTo>
                    <a:pt x="1158" y="1160"/>
                  </a:lnTo>
                  <a:lnTo>
                    <a:pt x="1188" y="1172"/>
                  </a:lnTo>
                  <a:lnTo>
                    <a:pt x="1183" y="1193"/>
                  </a:lnTo>
                  <a:lnTo>
                    <a:pt x="1202" y="1237"/>
                  </a:lnTo>
                  <a:lnTo>
                    <a:pt x="1238" y="1249"/>
                  </a:lnTo>
                  <a:lnTo>
                    <a:pt x="1252" y="1193"/>
                  </a:lnTo>
                  <a:lnTo>
                    <a:pt x="1252" y="1237"/>
                  </a:lnTo>
                  <a:lnTo>
                    <a:pt x="1264" y="1228"/>
                  </a:lnTo>
                  <a:lnTo>
                    <a:pt x="1245" y="1272"/>
                  </a:lnTo>
                  <a:lnTo>
                    <a:pt x="1195" y="1295"/>
                  </a:lnTo>
                  <a:lnTo>
                    <a:pt x="1177" y="1339"/>
                  </a:lnTo>
                  <a:lnTo>
                    <a:pt x="1164" y="1295"/>
                  </a:lnTo>
                  <a:lnTo>
                    <a:pt x="1208" y="1260"/>
                  </a:lnTo>
                  <a:lnTo>
                    <a:pt x="1188" y="1260"/>
                  </a:lnTo>
                  <a:lnTo>
                    <a:pt x="1188" y="1237"/>
                  </a:lnTo>
                  <a:lnTo>
                    <a:pt x="1151" y="1272"/>
                  </a:lnTo>
                  <a:lnTo>
                    <a:pt x="1139" y="1249"/>
                  </a:lnTo>
                  <a:lnTo>
                    <a:pt x="1139" y="1193"/>
                  </a:lnTo>
                  <a:lnTo>
                    <a:pt x="1114" y="1183"/>
                  </a:lnTo>
                  <a:lnTo>
                    <a:pt x="1095" y="1260"/>
                  </a:lnTo>
                  <a:lnTo>
                    <a:pt x="1013" y="1295"/>
                  </a:lnTo>
                  <a:lnTo>
                    <a:pt x="963" y="1327"/>
                  </a:lnTo>
                  <a:lnTo>
                    <a:pt x="951" y="1339"/>
                  </a:lnTo>
                  <a:lnTo>
                    <a:pt x="963" y="1351"/>
                  </a:lnTo>
                  <a:lnTo>
                    <a:pt x="970" y="1360"/>
                  </a:lnTo>
                  <a:lnTo>
                    <a:pt x="901" y="1395"/>
                  </a:lnTo>
                  <a:lnTo>
                    <a:pt x="907" y="1383"/>
                  </a:lnTo>
                  <a:lnTo>
                    <a:pt x="907" y="1372"/>
                  </a:lnTo>
                  <a:lnTo>
                    <a:pt x="914" y="1351"/>
                  </a:lnTo>
                  <a:lnTo>
                    <a:pt x="920" y="1339"/>
                  </a:lnTo>
                  <a:lnTo>
                    <a:pt x="925" y="1272"/>
                  </a:lnTo>
                  <a:lnTo>
                    <a:pt x="939" y="1295"/>
                  </a:lnTo>
                  <a:lnTo>
                    <a:pt x="958" y="1283"/>
                  </a:lnTo>
                  <a:lnTo>
                    <a:pt x="939" y="1237"/>
                  </a:lnTo>
                  <a:lnTo>
                    <a:pt x="883" y="1216"/>
                  </a:lnTo>
                  <a:lnTo>
                    <a:pt x="875" y="1216"/>
                  </a:lnTo>
                  <a:lnTo>
                    <a:pt x="875" y="1160"/>
                  </a:lnTo>
                  <a:lnTo>
                    <a:pt x="864" y="1160"/>
                  </a:lnTo>
                  <a:lnTo>
                    <a:pt x="851" y="1128"/>
                  </a:lnTo>
                  <a:lnTo>
                    <a:pt x="838" y="1128"/>
                  </a:lnTo>
                  <a:lnTo>
                    <a:pt x="838" y="1149"/>
                  </a:lnTo>
                  <a:lnTo>
                    <a:pt x="826" y="1114"/>
                  </a:lnTo>
                  <a:lnTo>
                    <a:pt x="795" y="1160"/>
                  </a:lnTo>
                  <a:lnTo>
                    <a:pt x="726" y="1128"/>
                  </a:lnTo>
                  <a:lnTo>
                    <a:pt x="714" y="1105"/>
                  </a:lnTo>
                  <a:lnTo>
                    <a:pt x="714" y="1114"/>
                  </a:lnTo>
                  <a:lnTo>
                    <a:pt x="281" y="1114"/>
                  </a:lnTo>
                  <a:lnTo>
                    <a:pt x="281" y="1084"/>
                  </a:lnTo>
                  <a:lnTo>
                    <a:pt x="257" y="1084"/>
                  </a:lnTo>
                  <a:lnTo>
                    <a:pt x="257" y="1061"/>
                  </a:lnTo>
                  <a:lnTo>
                    <a:pt x="207" y="1026"/>
                  </a:lnTo>
                  <a:lnTo>
                    <a:pt x="212" y="1014"/>
                  </a:lnTo>
                  <a:lnTo>
                    <a:pt x="200" y="970"/>
                  </a:lnTo>
                  <a:lnTo>
                    <a:pt x="188" y="970"/>
                  </a:lnTo>
                  <a:lnTo>
                    <a:pt x="162" y="882"/>
                  </a:lnTo>
                  <a:lnTo>
                    <a:pt x="170" y="859"/>
                  </a:lnTo>
                  <a:lnTo>
                    <a:pt x="170" y="815"/>
                  </a:lnTo>
                  <a:lnTo>
                    <a:pt x="144" y="792"/>
                  </a:lnTo>
                  <a:lnTo>
                    <a:pt x="87" y="636"/>
                  </a:lnTo>
                  <a:lnTo>
                    <a:pt x="56" y="680"/>
                  </a:lnTo>
                  <a:lnTo>
                    <a:pt x="44" y="659"/>
                  </a:lnTo>
                  <a:lnTo>
                    <a:pt x="32" y="615"/>
                  </a:lnTo>
                  <a:lnTo>
                    <a:pt x="0" y="615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7" name="Freeform 111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1294061" y="3095625"/>
              <a:ext cx="119062" cy="73025"/>
            </a:xfrm>
            <a:custGeom>
              <a:avLst/>
              <a:gdLst>
                <a:gd name="T0" fmla="*/ 0 w 81"/>
                <a:gd name="T1" fmla="*/ 0 h 90"/>
                <a:gd name="T2" fmla="*/ 2147483647 w 81"/>
                <a:gd name="T3" fmla="*/ 2147483647 h 90"/>
                <a:gd name="T4" fmla="*/ 2147483647 w 81"/>
                <a:gd name="T5" fmla="*/ 2147483647 h 90"/>
                <a:gd name="T6" fmla="*/ 2147483647 w 81"/>
                <a:gd name="T7" fmla="*/ 2147483647 h 90"/>
                <a:gd name="T8" fmla="*/ 0 w 81"/>
                <a:gd name="T9" fmla="*/ 0 h 9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1" h="90">
                  <a:moveTo>
                    <a:pt x="0" y="0"/>
                  </a:moveTo>
                  <a:lnTo>
                    <a:pt x="43" y="10"/>
                  </a:lnTo>
                  <a:lnTo>
                    <a:pt x="81" y="90"/>
                  </a:lnTo>
                  <a:lnTo>
                    <a:pt x="62" y="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8" name="Freeform 112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1294061" y="3095625"/>
              <a:ext cx="119062" cy="73025"/>
            </a:xfrm>
            <a:custGeom>
              <a:avLst/>
              <a:gdLst>
                <a:gd name="T0" fmla="*/ 0 w 81"/>
                <a:gd name="T1" fmla="*/ 0 h 90"/>
                <a:gd name="T2" fmla="*/ 2147483647 w 81"/>
                <a:gd name="T3" fmla="*/ 2147483647 h 90"/>
                <a:gd name="T4" fmla="*/ 2147483647 w 81"/>
                <a:gd name="T5" fmla="*/ 2147483647 h 90"/>
                <a:gd name="T6" fmla="*/ 2147483647 w 81"/>
                <a:gd name="T7" fmla="*/ 2147483647 h 90"/>
                <a:gd name="T8" fmla="*/ 0 w 81"/>
                <a:gd name="T9" fmla="*/ 0 h 9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1" h="90">
                  <a:moveTo>
                    <a:pt x="0" y="0"/>
                  </a:moveTo>
                  <a:lnTo>
                    <a:pt x="43" y="10"/>
                  </a:lnTo>
                  <a:lnTo>
                    <a:pt x="81" y="90"/>
                  </a:lnTo>
                  <a:lnTo>
                    <a:pt x="62" y="79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9" name="Freeform 113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1294061" y="3095625"/>
              <a:ext cx="119062" cy="73025"/>
            </a:xfrm>
            <a:custGeom>
              <a:avLst/>
              <a:gdLst>
                <a:gd name="T0" fmla="*/ 0 w 81"/>
                <a:gd name="T1" fmla="*/ 0 h 90"/>
                <a:gd name="T2" fmla="*/ 2147483647 w 81"/>
                <a:gd name="T3" fmla="*/ 2147483647 h 90"/>
                <a:gd name="T4" fmla="*/ 2147483647 w 81"/>
                <a:gd name="T5" fmla="*/ 2147483647 h 90"/>
                <a:gd name="T6" fmla="*/ 2147483647 w 81"/>
                <a:gd name="T7" fmla="*/ 2147483647 h 90"/>
                <a:gd name="T8" fmla="*/ 0 w 81"/>
                <a:gd name="T9" fmla="*/ 0 h 9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1" h="90">
                  <a:moveTo>
                    <a:pt x="0" y="0"/>
                  </a:moveTo>
                  <a:lnTo>
                    <a:pt x="43" y="10"/>
                  </a:lnTo>
                  <a:lnTo>
                    <a:pt x="81" y="90"/>
                  </a:lnTo>
                  <a:lnTo>
                    <a:pt x="62" y="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0" name="Freeform 114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1294061" y="3095625"/>
              <a:ext cx="119062" cy="73025"/>
            </a:xfrm>
            <a:custGeom>
              <a:avLst/>
              <a:gdLst>
                <a:gd name="T0" fmla="*/ 0 w 81"/>
                <a:gd name="T1" fmla="*/ 0 h 90"/>
                <a:gd name="T2" fmla="*/ 2147483647 w 81"/>
                <a:gd name="T3" fmla="*/ 2147483647 h 90"/>
                <a:gd name="T4" fmla="*/ 2147483647 w 81"/>
                <a:gd name="T5" fmla="*/ 2147483647 h 90"/>
                <a:gd name="T6" fmla="*/ 2147483647 w 81"/>
                <a:gd name="T7" fmla="*/ 2147483647 h 90"/>
                <a:gd name="T8" fmla="*/ 0 w 81"/>
                <a:gd name="T9" fmla="*/ 0 h 9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1" h="90">
                  <a:moveTo>
                    <a:pt x="0" y="0"/>
                  </a:moveTo>
                  <a:lnTo>
                    <a:pt x="43" y="10"/>
                  </a:lnTo>
                  <a:lnTo>
                    <a:pt x="81" y="90"/>
                  </a:lnTo>
                  <a:lnTo>
                    <a:pt x="62" y="79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1" name="Freeform 115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1346448" y="2133600"/>
              <a:ext cx="239713" cy="166688"/>
            </a:xfrm>
            <a:custGeom>
              <a:avLst/>
              <a:gdLst>
                <a:gd name="T0" fmla="*/ 0 w 163"/>
                <a:gd name="T1" fmla="*/ 2147483647 h 211"/>
                <a:gd name="T2" fmla="*/ 2147483647 w 163"/>
                <a:gd name="T3" fmla="*/ 2147483647 h 211"/>
                <a:gd name="T4" fmla="*/ 2147483647 w 163"/>
                <a:gd name="T5" fmla="*/ 2147483647 h 211"/>
                <a:gd name="T6" fmla="*/ 2147483647 w 163"/>
                <a:gd name="T7" fmla="*/ 2147483647 h 211"/>
                <a:gd name="T8" fmla="*/ 2147483647 w 163"/>
                <a:gd name="T9" fmla="*/ 0 h 211"/>
                <a:gd name="T10" fmla="*/ 2147483647 w 163"/>
                <a:gd name="T11" fmla="*/ 2147483647 h 211"/>
                <a:gd name="T12" fmla="*/ 2147483647 w 163"/>
                <a:gd name="T13" fmla="*/ 2147483647 h 211"/>
                <a:gd name="T14" fmla="*/ 2147483647 w 163"/>
                <a:gd name="T15" fmla="*/ 2147483647 h 211"/>
                <a:gd name="T16" fmla="*/ 2147483647 w 163"/>
                <a:gd name="T17" fmla="*/ 2147483647 h 211"/>
                <a:gd name="T18" fmla="*/ 2147483647 w 163"/>
                <a:gd name="T19" fmla="*/ 2147483647 h 211"/>
                <a:gd name="T20" fmla="*/ 2147483647 w 163"/>
                <a:gd name="T21" fmla="*/ 2147483647 h 211"/>
                <a:gd name="T22" fmla="*/ 2147483647 w 163"/>
                <a:gd name="T23" fmla="*/ 2147483647 h 211"/>
                <a:gd name="T24" fmla="*/ 0 w 163"/>
                <a:gd name="T25" fmla="*/ 2147483647 h 2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3" h="211">
                  <a:moveTo>
                    <a:pt x="0" y="167"/>
                  </a:moveTo>
                  <a:lnTo>
                    <a:pt x="13" y="135"/>
                  </a:lnTo>
                  <a:lnTo>
                    <a:pt x="31" y="56"/>
                  </a:lnTo>
                  <a:lnTo>
                    <a:pt x="26" y="12"/>
                  </a:lnTo>
                  <a:lnTo>
                    <a:pt x="76" y="0"/>
                  </a:lnTo>
                  <a:lnTo>
                    <a:pt x="106" y="46"/>
                  </a:lnTo>
                  <a:lnTo>
                    <a:pt x="131" y="23"/>
                  </a:lnTo>
                  <a:lnTo>
                    <a:pt x="163" y="67"/>
                  </a:lnTo>
                  <a:lnTo>
                    <a:pt x="88" y="146"/>
                  </a:lnTo>
                  <a:lnTo>
                    <a:pt x="81" y="190"/>
                  </a:lnTo>
                  <a:lnTo>
                    <a:pt x="50" y="211"/>
                  </a:lnTo>
                  <a:lnTo>
                    <a:pt x="31" y="179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2" name="Freeform 116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1346448" y="2133600"/>
              <a:ext cx="239713" cy="166688"/>
            </a:xfrm>
            <a:custGeom>
              <a:avLst/>
              <a:gdLst>
                <a:gd name="T0" fmla="*/ 0 w 163"/>
                <a:gd name="T1" fmla="*/ 2147483647 h 211"/>
                <a:gd name="T2" fmla="*/ 2147483647 w 163"/>
                <a:gd name="T3" fmla="*/ 2147483647 h 211"/>
                <a:gd name="T4" fmla="*/ 2147483647 w 163"/>
                <a:gd name="T5" fmla="*/ 2147483647 h 211"/>
                <a:gd name="T6" fmla="*/ 2147483647 w 163"/>
                <a:gd name="T7" fmla="*/ 2147483647 h 211"/>
                <a:gd name="T8" fmla="*/ 2147483647 w 163"/>
                <a:gd name="T9" fmla="*/ 0 h 211"/>
                <a:gd name="T10" fmla="*/ 2147483647 w 163"/>
                <a:gd name="T11" fmla="*/ 2147483647 h 211"/>
                <a:gd name="T12" fmla="*/ 2147483647 w 163"/>
                <a:gd name="T13" fmla="*/ 2147483647 h 211"/>
                <a:gd name="T14" fmla="*/ 2147483647 w 163"/>
                <a:gd name="T15" fmla="*/ 2147483647 h 211"/>
                <a:gd name="T16" fmla="*/ 2147483647 w 163"/>
                <a:gd name="T17" fmla="*/ 2147483647 h 211"/>
                <a:gd name="T18" fmla="*/ 2147483647 w 163"/>
                <a:gd name="T19" fmla="*/ 2147483647 h 211"/>
                <a:gd name="T20" fmla="*/ 2147483647 w 163"/>
                <a:gd name="T21" fmla="*/ 2147483647 h 211"/>
                <a:gd name="T22" fmla="*/ 2147483647 w 163"/>
                <a:gd name="T23" fmla="*/ 2147483647 h 211"/>
                <a:gd name="T24" fmla="*/ 0 w 163"/>
                <a:gd name="T25" fmla="*/ 2147483647 h 2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3" h="211">
                  <a:moveTo>
                    <a:pt x="0" y="167"/>
                  </a:moveTo>
                  <a:lnTo>
                    <a:pt x="13" y="135"/>
                  </a:lnTo>
                  <a:lnTo>
                    <a:pt x="31" y="56"/>
                  </a:lnTo>
                  <a:lnTo>
                    <a:pt x="26" y="12"/>
                  </a:lnTo>
                  <a:lnTo>
                    <a:pt x="76" y="0"/>
                  </a:lnTo>
                  <a:lnTo>
                    <a:pt x="106" y="46"/>
                  </a:lnTo>
                  <a:lnTo>
                    <a:pt x="131" y="23"/>
                  </a:lnTo>
                  <a:lnTo>
                    <a:pt x="163" y="67"/>
                  </a:lnTo>
                  <a:lnTo>
                    <a:pt x="88" y="146"/>
                  </a:lnTo>
                  <a:lnTo>
                    <a:pt x="81" y="190"/>
                  </a:lnTo>
                  <a:lnTo>
                    <a:pt x="50" y="211"/>
                  </a:lnTo>
                  <a:lnTo>
                    <a:pt x="31" y="179"/>
                  </a:lnTo>
                  <a:lnTo>
                    <a:pt x="0" y="16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3" name="Freeform 117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1346448" y="2133600"/>
              <a:ext cx="239713" cy="166688"/>
            </a:xfrm>
            <a:custGeom>
              <a:avLst/>
              <a:gdLst>
                <a:gd name="T0" fmla="*/ 0 w 163"/>
                <a:gd name="T1" fmla="*/ 2147483647 h 211"/>
                <a:gd name="T2" fmla="*/ 2147483647 w 163"/>
                <a:gd name="T3" fmla="*/ 2147483647 h 211"/>
                <a:gd name="T4" fmla="*/ 2147483647 w 163"/>
                <a:gd name="T5" fmla="*/ 2147483647 h 211"/>
                <a:gd name="T6" fmla="*/ 2147483647 w 163"/>
                <a:gd name="T7" fmla="*/ 2147483647 h 211"/>
                <a:gd name="T8" fmla="*/ 2147483647 w 163"/>
                <a:gd name="T9" fmla="*/ 0 h 211"/>
                <a:gd name="T10" fmla="*/ 2147483647 w 163"/>
                <a:gd name="T11" fmla="*/ 2147483647 h 211"/>
                <a:gd name="T12" fmla="*/ 2147483647 w 163"/>
                <a:gd name="T13" fmla="*/ 2147483647 h 211"/>
                <a:gd name="T14" fmla="*/ 2147483647 w 163"/>
                <a:gd name="T15" fmla="*/ 2147483647 h 211"/>
                <a:gd name="T16" fmla="*/ 2147483647 w 163"/>
                <a:gd name="T17" fmla="*/ 2147483647 h 211"/>
                <a:gd name="T18" fmla="*/ 2147483647 w 163"/>
                <a:gd name="T19" fmla="*/ 2147483647 h 211"/>
                <a:gd name="T20" fmla="*/ 2147483647 w 163"/>
                <a:gd name="T21" fmla="*/ 2147483647 h 211"/>
                <a:gd name="T22" fmla="*/ 2147483647 w 163"/>
                <a:gd name="T23" fmla="*/ 2147483647 h 211"/>
                <a:gd name="T24" fmla="*/ 0 w 163"/>
                <a:gd name="T25" fmla="*/ 2147483647 h 2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3" h="211">
                  <a:moveTo>
                    <a:pt x="0" y="167"/>
                  </a:moveTo>
                  <a:lnTo>
                    <a:pt x="13" y="135"/>
                  </a:lnTo>
                  <a:lnTo>
                    <a:pt x="31" y="56"/>
                  </a:lnTo>
                  <a:lnTo>
                    <a:pt x="26" y="12"/>
                  </a:lnTo>
                  <a:lnTo>
                    <a:pt x="76" y="0"/>
                  </a:lnTo>
                  <a:lnTo>
                    <a:pt x="106" y="46"/>
                  </a:lnTo>
                  <a:lnTo>
                    <a:pt x="131" y="23"/>
                  </a:lnTo>
                  <a:lnTo>
                    <a:pt x="163" y="67"/>
                  </a:lnTo>
                  <a:lnTo>
                    <a:pt x="88" y="146"/>
                  </a:lnTo>
                  <a:lnTo>
                    <a:pt x="81" y="190"/>
                  </a:lnTo>
                  <a:lnTo>
                    <a:pt x="50" y="211"/>
                  </a:lnTo>
                  <a:lnTo>
                    <a:pt x="31" y="179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4" name="Freeform 118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1346448" y="2133600"/>
              <a:ext cx="239713" cy="166688"/>
            </a:xfrm>
            <a:custGeom>
              <a:avLst/>
              <a:gdLst>
                <a:gd name="T0" fmla="*/ 0 w 163"/>
                <a:gd name="T1" fmla="*/ 2147483647 h 211"/>
                <a:gd name="T2" fmla="*/ 2147483647 w 163"/>
                <a:gd name="T3" fmla="*/ 2147483647 h 211"/>
                <a:gd name="T4" fmla="*/ 2147483647 w 163"/>
                <a:gd name="T5" fmla="*/ 2147483647 h 211"/>
                <a:gd name="T6" fmla="*/ 2147483647 w 163"/>
                <a:gd name="T7" fmla="*/ 2147483647 h 211"/>
                <a:gd name="T8" fmla="*/ 2147483647 w 163"/>
                <a:gd name="T9" fmla="*/ 0 h 211"/>
                <a:gd name="T10" fmla="*/ 2147483647 w 163"/>
                <a:gd name="T11" fmla="*/ 2147483647 h 211"/>
                <a:gd name="T12" fmla="*/ 2147483647 w 163"/>
                <a:gd name="T13" fmla="*/ 2147483647 h 211"/>
                <a:gd name="T14" fmla="*/ 2147483647 w 163"/>
                <a:gd name="T15" fmla="*/ 2147483647 h 211"/>
                <a:gd name="T16" fmla="*/ 2147483647 w 163"/>
                <a:gd name="T17" fmla="*/ 2147483647 h 211"/>
                <a:gd name="T18" fmla="*/ 2147483647 w 163"/>
                <a:gd name="T19" fmla="*/ 2147483647 h 211"/>
                <a:gd name="T20" fmla="*/ 2147483647 w 163"/>
                <a:gd name="T21" fmla="*/ 2147483647 h 211"/>
                <a:gd name="T22" fmla="*/ 2147483647 w 163"/>
                <a:gd name="T23" fmla="*/ 2147483647 h 211"/>
                <a:gd name="T24" fmla="*/ 0 w 163"/>
                <a:gd name="T25" fmla="*/ 2147483647 h 2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3" h="211">
                  <a:moveTo>
                    <a:pt x="0" y="167"/>
                  </a:moveTo>
                  <a:lnTo>
                    <a:pt x="13" y="135"/>
                  </a:lnTo>
                  <a:lnTo>
                    <a:pt x="31" y="56"/>
                  </a:lnTo>
                  <a:lnTo>
                    <a:pt x="26" y="12"/>
                  </a:lnTo>
                  <a:lnTo>
                    <a:pt x="76" y="0"/>
                  </a:lnTo>
                  <a:lnTo>
                    <a:pt x="106" y="46"/>
                  </a:lnTo>
                  <a:lnTo>
                    <a:pt x="131" y="23"/>
                  </a:lnTo>
                  <a:lnTo>
                    <a:pt x="163" y="67"/>
                  </a:lnTo>
                  <a:lnTo>
                    <a:pt x="88" y="146"/>
                  </a:lnTo>
                  <a:lnTo>
                    <a:pt x="81" y="190"/>
                  </a:lnTo>
                  <a:lnTo>
                    <a:pt x="50" y="211"/>
                  </a:lnTo>
                  <a:lnTo>
                    <a:pt x="31" y="179"/>
                  </a:lnTo>
                  <a:lnTo>
                    <a:pt x="0" y="16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5" name="Freeform 119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1419473" y="1982788"/>
              <a:ext cx="166688" cy="88900"/>
            </a:xfrm>
            <a:custGeom>
              <a:avLst/>
              <a:gdLst>
                <a:gd name="T0" fmla="*/ 0 w 113"/>
                <a:gd name="T1" fmla="*/ 2147483647 h 113"/>
                <a:gd name="T2" fmla="*/ 2147483647 w 113"/>
                <a:gd name="T3" fmla="*/ 2147483647 h 113"/>
                <a:gd name="T4" fmla="*/ 2147483647 w 113"/>
                <a:gd name="T5" fmla="*/ 2147483647 h 113"/>
                <a:gd name="T6" fmla="*/ 2147483647 w 113"/>
                <a:gd name="T7" fmla="*/ 2147483647 h 113"/>
                <a:gd name="T8" fmla="*/ 2147483647 w 113"/>
                <a:gd name="T9" fmla="*/ 2147483647 h 113"/>
                <a:gd name="T10" fmla="*/ 2147483647 w 113"/>
                <a:gd name="T11" fmla="*/ 2147483647 h 113"/>
                <a:gd name="T12" fmla="*/ 2147483647 w 113"/>
                <a:gd name="T13" fmla="*/ 2147483647 h 113"/>
                <a:gd name="T14" fmla="*/ 2147483647 w 113"/>
                <a:gd name="T15" fmla="*/ 2147483647 h 113"/>
                <a:gd name="T16" fmla="*/ 2147483647 w 113"/>
                <a:gd name="T17" fmla="*/ 2147483647 h 113"/>
                <a:gd name="T18" fmla="*/ 2147483647 w 113"/>
                <a:gd name="T19" fmla="*/ 2147483647 h 113"/>
                <a:gd name="T20" fmla="*/ 2147483647 w 113"/>
                <a:gd name="T21" fmla="*/ 2147483647 h 113"/>
                <a:gd name="T22" fmla="*/ 2147483647 w 113"/>
                <a:gd name="T23" fmla="*/ 2147483647 h 113"/>
                <a:gd name="T24" fmla="*/ 2147483647 w 113"/>
                <a:gd name="T25" fmla="*/ 2147483647 h 113"/>
                <a:gd name="T26" fmla="*/ 2147483647 w 113"/>
                <a:gd name="T27" fmla="*/ 0 h 113"/>
                <a:gd name="T28" fmla="*/ 2147483647 w 113"/>
                <a:gd name="T29" fmla="*/ 2147483647 h 113"/>
                <a:gd name="T30" fmla="*/ 0 w 113"/>
                <a:gd name="T31" fmla="*/ 2147483647 h 1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3" h="113">
                  <a:moveTo>
                    <a:pt x="0" y="90"/>
                  </a:moveTo>
                  <a:lnTo>
                    <a:pt x="24" y="113"/>
                  </a:lnTo>
                  <a:lnTo>
                    <a:pt x="31" y="90"/>
                  </a:lnTo>
                  <a:lnTo>
                    <a:pt x="38" y="113"/>
                  </a:lnTo>
                  <a:lnTo>
                    <a:pt x="50" y="113"/>
                  </a:lnTo>
                  <a:lnTo>
                    <a:pt x="50" y="79"/>
                  </a:lnTo>
                  <a:lnTo>
                    <a:pt x="63" y="90"/>
                  </a:lnTo>
                  <a:lnTo>
                    <a:pt x="69" y="56"/>
                  </a:lnTo>
                  <a:lnTo>
                    <a:pt x="81" y="46"/>
                  </a:lnTo>
                  <a:lnTo>
                    <a:pt x="81" y="90"/>
                  </a:lnTo>
                  <a:lnTo>
                    <a:pt x="107" y="56"/>
                  </a:lnTo>
                  <a:lnTo>
                    <a:pt x="100" y="23"/>
                  </a:lnTo>
                  <a:lnTo>
                    <a:pt x="113" y="23"/>
                  </a:lnTo>
                  <a:lnTo>
                    <a:pt x="100" y="0"/>
                  </a:lnTo>
                  <a:lnTo>
                    <a:pt x="56" y="23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6" name="Freeform 120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1419473" y="1982788"/>
              <a:ext cx="166688" cy="88900"/>
            </a:xfrm>
            <a:custGeom>
              <a:avLst/>
              <a:gdLst>
                <a:gd name="T0" fmla="*/ 0 w 113"/>
                <a:gd name="T1" fmla="*/ 2147483647 h 113"/>
                <a:gd name="T2" fmla="*/ 2147483647 w 113"/>
                <a:gd name="T3" fmla="*/ 2147483647 h 113"/>
                <a:gd name="T4" fmla="*/ 2147483647 w 113"/>
                <a:gd name="T5" fmla="*/ 2147483647 h 113"/>
                <a:gd name="T6" fmla="*/ 2147483647 w 113"/>
                <a:gd name="T7" fmla="*/ 2147483647 h 113"/>
                <a:gd name="T8" fmla="*/ 2147483647 w 113"/>
                <a:gd name="T9" fmla="*/ 2147483647 h 113"/>
                <a:gd name="T10" fmla="*/ 2147483647 w 113"/>
                <a:gd name="T11" fmla="*/ 2147483647 h 113"/>
                <a:gd name="T12" fmla="*/ 2147483647 w 113"/>
                <a:gd name="T13" fmla="*/ 2147483647 h 113"/>
                <a:gd name="T14" fmla="*/ 2147483647 w 113"/>
                <a:gd name="T15" fmla="*/ 2147483647 h 113"/>
                <a:gd name="T16" fmla="*/ 2147483647 w 113"/>
                <a:gd name="T17" fmla="*/ 2147483647 h 113"/>
                <a:gd name="T18" fmla="*/ 2147483647 w 113"/>
                <a:gd name="T19" fmla="*/ 2147483647 h 113"/>
                <a:gd name="T20" fmla="*/ 2147483647 w 113"/>
                <a:gd name="T21" fmla="*/ 2147483647 h 113"/>
                <a:gd name="T22" fmla="*/ 2147483647 w 113"/>
                <a:gd name="T23" fmla="*/ 2147483647 h 113"/>
                <a:gd name="T24" fmla="*/ 2147483647 w 113"/>
                <a:gd name="T25" fmla="*/ 2147483647 h 113"/>
                <a:gd name="T26" fmla="*/ 2147483647 w 113"/>
                <a:gd name="T27" fmla="*/ 0 h 113"/>
                <a:gd name="T28" fmla="*/ 2147483647 w 113"/>
                <a:gd name="T29" fmla="*/ 2147483647 h 113"/>
                <a:gd name="T30" fmla="*/ 0 w 113"/>
                <a:gd name="T31" fmla="*/ 2147483647 h 1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3" h="113">
                  <a:moveTo>
                    <a:pt x="0" y="90"/>
                  </a:moveTo>
                  <a:lnTo>
                    <a:pt x="24" y="113"/>
                  </a:lnTo>
                  <a:lnTo>
                    <a:pt x="31" y="90"/>
                  </a:lnTo>
                  <a:lnTo>
                    <a:pt x="38" y="113"/>
                  </a:lnTo>
                  <a:lnTo>
                    <a:pt x="50" y="113"/>
                  </a:lnTo>
                  <a:lnTo>
                    <a:pt x="50" y="79"/>
                  </a:lnTo>
                  <a:lnTo>
                    <a:pt x="63" y="90"/>
                  </a:lnTo>
                  <a:lnTo>
                    <a:pt x="69" y="56"/>
                  </a:lnTo>
                  <a:lnTo>
                    <a:pt x="81" y="46"/>
                  </a:lnTo>
                  <a:lnTo>
                    <a:pt x="81" y="90"/>
                  </a:lnTo>
                  <a:lnTo>
                    <a:pt x="107" y="56"/>
                  </a:lnTo>
                  <a:lnTo>
                    <a:pt x="100" y="23"/>
                  </a:lnTo>
                  <a:lnTo>
                    <a:pt x="113" y="23"/>
                  </a:lnTo>
                  <a:lnTo>
                    <a:pt x="100" y="0"/>
                  </a:lnTo>
                  <a:lnTo>
                    <a:pt x="56" y="23"/>
                  </a:lnTo>
                  <a:lnTo>
                    <a:pt x="0" y="9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7" name="Freeform 121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1419473" y="1982788"/>
              <a:ext cx="166688" cy="88900"/>
            </a:xfrm>
            <a:custGeom>
              <a:avLst/>
              <a:gdLst>
                <a:gd name="T0" fmla="*/ 0 w 113"/>
                <a:gd name="T1" fmla="*/ 2147483647 h 113"/>
                <a:gd name="T2" fmla="*/ 2147483647 w 113"/>
                <a:gd name="T3" fmla="*/ 2147483647 h 113"/>
                <a:gd name="T4" fmla="*/ 2147483647 w 113"/>
                <a:gd name="T5" fmla="*/ 2147483647 h 113"/>
                <a:gd name="T6" fmla="*/ 2147483647 w 113"/>
                <a:gd name="T7" fmla="*/ 2147483647 h 113"/>
                <a:gd name="T8" fmla="*/ 2147483647 w 113"/>
                <a:gd name="T9" fmla="*/ 2147483647 h 113"/>
                <a:gd name="T10" fmla="*/ 2147483647 w 113"/>
                <a:gd name="T11" fmla="*/ 2147483647 h 113"/>
                <a:gd name="T12" fmla="*/ 2147483647 w 113"/>
                <a:gd name="T13" fmla="*/ 2147483647 h 113"/>
                <a:gd name="T14" fmla="*/ 2147483647 w 113"/>
                <a:gd name="T15" fmla="*/ 2147483647 h 113"/>
                <a:gd name="T16" fmla="*/ 2147483647 w 113"/>
                <a:gd name="T17" fmla="*/ 2147483647 h 113"/>
                <a:gd name="T18" fmla="*/ 2147483647 w 113"/>
                <a:gd name="T19" fmla="*/ 2147483647 h 113"/>
                <a:gd name="T20" fmla="*/ 2147483647 w 113"/>
                <a:gd name="T21" fmla="*/ 2147483647 h 113"/>
                <a:gd name="T22" fmla="*/ 2147483647 w 113"/>
                <a:gd name="T23" fmla="*/ 2147483647 h 113"/>
                <a:gd name="T24" fmla="*/ 2147483647 w 113"/>
                <a:gd name="T25" fmla="*/ 2147483647 h 113"/>
                <a:gd name="T26" fmla="*/ 2147483647 w 113"/>
                <a:gd name="T27" fmla="*/ 0 h 113"/>
                <a:gd name="T28" fmla="*/ 2147483647 w 113"/>
                <a:gd name="T29" fmla="*/ 2147483647 h 113"/>
                <a:gd name="T30" fmla="*/ 0 w 113"/>
                <a:gd name="T31" fmla="*/ 2147483647 h 1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3" h="113">
                  <a:moveTo>
                    <a:pt x="0" y="90"/>
                  </a:moveTo>
                  <a:lnTo>
                    <a:pt x="24" y="113"/>
                  </a:lnTo>
                  <a:lnTo>
                    <a:pt x="31" y="90"/>
                  </a:lnTo>
                  <a:lnTo>
                    <a:pt x="38" y="113"/>
                  </a:lnTo>
                  <a:lnTo>
                    <a:pt x="50" y="113"/>
                  </a:lnTo>
                  <a:lnTo>
                    <a:pt x="50" y="79"/>
                  </a:lnTo>
                  <a:lnTo>
                    <a:pt x="63" y="90"/>
                  </a:lnTo>
                  <a:lnTo>
                    <a:pt x="69" y="56"/>
                  </a:lnTo>
                  <a:lnTo>
                    <a:pt x="81" y="46"/>
                  </a:lnTo>
                  <a:lnTo>
                    <a:pt x="81" y="90"/>
                  </a:lnTo>
                  <a:lnTo>
                    <a:pt x="107" y="56"/>
                  </a:lnTo>
                  <a:lnTo>
                    <a:pt x="100" y="23"/>
                  </a:lnTo>
                  <a:lnTo>
                    <a:pt x="113" y="23"/>
                  </a:lnTo>
                  <a:lnTo>
                    <a:pt x="100" y="0"/>
                  </a:lnTo>
                  <a:lnTo>
                    <a:pt x="56" y="23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8" name="Freeform 122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1419473" y="1982788"/>
              <a:ext cx="166688" cy="88900"/>
            </a:xfrm>
            <a:custGeom>
              <a:avLst/>
              <a:gdLst>
                <a:gd name="T0" fmla="*/ 0 w 113"/>
                <a:gd name="T1" fmla="*/ 2147483647 h 113"/>
                <a:gd name="T2" fmla="*/ 2147483647 w 113"/>
                <a:gd name="T3" fmla="*/ 2147483647 h 113"/>
                <a:gd name="T4" fmla="*/ 2147483647 w 113"/>
                <a:gd name="T5" fmla="*/ 2147483647 h 113"/>
                <a:gd name="T6" fmla="*/ 2147483647 w 113"/>
                <a:gd name="T7" fmla="*/ 2147483647 h 113"/>
                <a:gd name="T8" fmla="*/ 2147483647 w 113"/>
                <a:gd name="T9" fmla="*/ 2147483647 h 113"/>
                <a:gd name="T10" fmla="*/ 2147483647 w 113"/>
                <a:gd name="T11" fmla="*/ 2147483647 h 113"/>
                <a:gd name="T12" fmla="*/ 2147483647 w 113"/>
                <a:gd name="T13" fmla="*/ 2147483647 h 113"/>
                <a:gd name="T14" fmla="*/ 2147483647 w 113"/>
                <a:gd name="T15" fmla="*/ 2147483647 h 113"/>
                <a:gd name="T16" fmla="*/ 2147483647 w 113"/>
                <a:gd name="T17" fmla="*/ 2147483647 h 113"/>
                <a:gd name="T18" fmla="*/ 2147483647 w 113"/>
                <a:gd name="T19" fmla="*/ 2147483647 h 113"/>
                <a:gd name="T20" fmla="*/ 2147483647 w 113"/>
                <a:gd name="T21" fmla="*/ 2147483647 h 113"/>
                <a:gd name="T22" fmla="*/ 2147483647 w 113"/>
                <a:gd name="T23" fmla="*/ 2147483647 h 113"/>
                <a:gd name="T24" fmla="*/ 2147483647 w 113"/>
                <a:gd name="T25" fmla="*/ 2147483647 h 113"/>
                <a:gd name="T26" fmla="*/ 2147483647 w 113"/>
                <a:gd name="T27" fmla="*/ 0 h 113"/>
                <a:gd name="T28" fmla="*/ 2147483647 w 113"/>
                <a:gd name="T29" fmla="*/ 2147483647 h 113"/>
                <a:gd name="T30" fmla="*/ 0 w 113"/>
                <a:gd name="T31" fmla="*/ 2147483647 h 1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3" h="113">
                  <a:moveTo>
                    <a:pt x="0" y="90"/>
                  </a:moveTo>
                  <a:lnTo>
                    <a:pt x="24" y="113"/>
                  </a:lnTo>
                  <a:lnTo>
                    <a:pt x="31" y="90"/>
                  </a:lnTo>
                  <a:lnTo>
                    <a:pt x="38" y="113"/>
                  </a:lnTo>
                  <a:lnTo>
                    <a:pt x="50" y="113"/>
                  </a:lnTo>
                  <a:lnTo>
                    <a:pt x="50" y="79"/>
                  </a:lnTo>
                  <a:lnTo>
                    <a:pt x="63" y="90"/>
                  </a:lnTo>
                  <a:lnTo>
                    <a:pt x="69" y="56"/>
                  </a:lnTo>
                  <a:lnTo>
                    <a:pt x="81" y="46"/>
                  </a:lnTo>
                  <a:lnTo>
                    <a:pt x="81" y="90"/>
                  </a:lnTo>
                  <a:lnTo>
                    <a:pt x="107" y="56"/>
                  </a:lnTo>
                  <a:lnTo>
                    <a:pt x="100" y="23"/>
                  </a:lnTo>
                  <a:lnTo>
                    <a:pt x="113" y="23"/>
                  </a:lnTo>
                  <a:lnTo>
                    <a:pt x="100" y="0"/>
                  </a:lnTo>
                  <a:lnTo>
                    <a:pt x="56" y="23"/>
                  </a:lnTo>
                  <a:lnTo>
                    <a:pt x="0" y="9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9" name="Freeform 123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1513136" y="2193925"/>
              <a:ext cx="411162" cy="230188"/>
            </a:xfrm>
            <a:custGeom>
              <a:avLst/>
              <a:gdLst>
                <a:gd name="T0" fmla="*/ 0 w 281"/>
                <a:gd name="T1" fmla="*/ 2147483647 h 290"/>
                <a:gd name="T2" fmla="*/ 2147483647 w 281"/>
                <a:gd name="T3" fmla="*/ 2147483647 h 290"/>
                <a:gd name="T4" fmla="*/ 2147483647 w 281"/>
                <a:gd name="T5" fmla="*/ 2147483647 h 290"/>
                <a:gd name="T6" fmla="*/ 2147483647 w 281"/>
                <a:gd name="T7" fmla="*/ 2147483647 h 290"/>
                <a:gd name="T8" fmla="*/ 2147483647 w 281"/>
                <a:gd name="T9" fmla="*/ 0 h 290"/>
                <a:gd name="T10" fmla="*/ 2147483647 w 281"/>
                <a:gd name="T11" fmla="*/ 2147483647 h 290"/>
                <a:gd name="T12" fmla="*/ 2147483647 w 281"/>
                <a:gd name="T13" fmla="*/ 2147483647 h 290"/>
                <a:gd name="T14" fmla="*/ 2147483647 w 281"/>
                <a:gd name="T15" fmla="*/ 2147483647 h 290"/>
                <a:gd name="T16" fmla="*/ 2147483647 w 281"/>
                <a:gd name="T17" fmla="*/ 2147483647 h 290"/>
                <a:gd name="T18" fmla="*/ 2147483647 w 281"/>
                <a:gd name="T19" fmla="*/ 2147483647 h 290"/>
                <a:gd name="T20" fmla="*/ 2147483647 w 281"/>
                <a:gd name="T21" fmla="*/ 2147483647 h 290"/>
                <a:gd name="T22" fmla="*/ 2147483647 w 281"/>
                <a:gd name="T23" fmla="*/ 2147483647 h 290"/>
                <a:gd name="T24" fmla="*/ 2147483647 w 281"/>
                <a:gd name="T25" fmla="*/ 2147483647 h 290"/>
                <a:gd name="T26" fmla="*/ 2147483647 w 281"/>
                <a:gd name="T27" fmla="*/ 2147483647 h 290"/>
                <a:gd name="T28" fmla="*/ 2147483647 w 281"/>
                <a:gd name="T29" fmla="*/ 2147483647 h 290"/>
                <a:gd name="T30" fmla="*/ 2147483647 w 281"/>
                <a:gd name="T31" fmla="*/ 2147483647 h 290"/>
                <a:gd name="T32" fmla="*/ 2147483647 w 281"/>
                <a:gd name="T33" fmla="*/ 2147483647 h 290"/>
                <a:gd name="T34" fmla="*/ 2147483647 w 281"/>
                <a:gd name="T35" fmla="*/ 2147483647 h 290"/>
                <a:gd name="T36" fmla="*/ 2147483647 w 281"/>
                <a:gd name="T37" fmla="*/ 2147483647 h 290"/>
                <a:gd name="T38" fmla="*/ 2147483647 w 281"/>
                <a:gd name="T39" fmla="*/ 2147483647 h 290"/>
                <a:gd name="T40" fmla="*/ 2147483647 w 281"/>
                <a:gd name="T41" fmla="*/ 2147483647 h 290"/>
                <a:gd name="T42" fmla="*/ 2147483647 w 281"/>
                <a:gd name="T43" fmla="*/ 2147483647 h 290"/>
                <a:gd name="T44" fmla="*/ 2147483647 w 281"/>
                <a:gd name="T45" fmla="*/ 2147483647 h 290"/>
                <a:gd name="T46" fmla="*/ 2147483647 w 281"/>
                <a:gd name="T47" fmla="*/ 2147483647 h 290"/>
                <a:gd name="T48" fmla="*/ 2147483647 w 281"/>
                <a:gd name="T49" fmla="*/ 2147483647 h 290"/>
                <a:gd name="T50" fmla="*/ 2147483647 w 281"/>
                <a:gd name="T51" fmla="*/ 2147483647 h 290"/>
                <a:gd name="T52" fmla="*/ 2147483647 w 281"/>
                <a:gd name="T53" fmla="*/ 2147483647 h 290"/>
                <a:gd name="T54" fmla="*/ 2147483647 w 281"/>
                <a:gd name="T55" fmla="*/ 2147483647 h 290"/>
                <a:gd name="T56" fmla="*/ 2147483647 w 281"/>
                <a:gd name="T57" fmla="*/ 2147483647 h 290"/>
                <a:gd name="T58" fmla="*/ 2147483647 w 281"/>
                <a:gd name="T59" fmla="*/ 2147483647 h 290"/>
                <a:gd name="T60" fmla="*/ 2147483647 w 281"/>
                <a:gd name="T61" fmla="*/ 2147483647 h 290"/>
                <a:gd name="T62" fmla="*/ 2147483647 w 281"/>
                <a:gd name="T63" fmla="*/ 2147483647 h 290"/>
                <a:gd name="T64" fmla="*/ 2147483647 w 281"/>
                <a:gd name="T65" fmla="*/ 2147483647 h 290"/>
                <a:gd name="T66" fmla="*/ 2147483647 w 281"/>
                <a:gd name="T67" fmla="*/ 2147483647 h 290"/>
                <a:gd name="T68" fmla="*/ 2147483647 w 281"/>
                <a:gd name="T69" fmla="*/ 2147483647 h 290"/>
                <a:gd name="T70" fmla="*/ 2147483647 w 281"/>
                <a:gd name="T71" fmla="*/ 2147483647 h 290"/>
                <a:gd name="T72" fmla="*/ 2147483647 w 281"/>
                <a:gd name="T73" fmla="*/ 2147483647 h 290"/>
                <a:gd name="T74" fmla="*/ 2147483647 w 281"/>
                <a:gd name="T75" fmla="*/ 2147483647 h 290"/>
                <a:gd name="T76" fmla="*/ 0 w 281"/>
                <a:gd name="T77" fmla="*/ 2147483647 h 29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1" h="290">
                  <a:moveTo>
                    <a:pt x="0" y="88"/>
                  </a:moveTo>
                  <a:lnTo>
                    <a:pt x="12" y="67"/>
                  </a:lnTo>
                  <a:lnTo>
                    <a:pt x="6" y="58"/>
                  </a:lnTo>
                  <a:lnTo>
                    <a:pt x="37" y="12"/>
                  </a:lnTo>
                  <a:lnTo>
                    <a:pt x="69" y="0"/>
                  </a:lnTo>
                  <a:lnTo>
                    <a:pt x="75" y="35"/>
                  </a:lnTo>
                  <a:lnTo>
                    <a:pt x="62" y="58"/>
                  </a:lnTo>
                  <a:lnTo>
                    <a:pt x="94" y="23"/>
                  </a:lnTo>
                  <a:lnTo>
                    <a:pt x="119" y="44"/>
                  </a:lnTo>
                  <a:lnTo>
                    <a:pt x="106" y="67"/>
                  </a:lnTo>
                  <a:lnTo>
                    <a:pt x="137" y="58"/>
                  </a:lnTo>
                  <a:lnTo>
                    <a:pt x="131" y="35"/>
                  </a:lnTo>
                  <a:lnTo>
                    <a:pt x="144" y="35"/>
                  </a:lnTo>
                  <a:lnTo>
                    <a:pt x="168" y="111"/>
                  </a:lnTo>
                  <a:lnTo>
                    <a:pt x="181" y="88"/>
                  </a:lnTo>
                  <a:lnTo>
                    <a:pt x="168" y="12"/>
                  </a:lnTo>
                  <a:lnTo>
                    <a:pt x="186" y="12"/>
                  </a:lnTo>
                  <a:lnTo>
                    <a:pt x="212" y="35"/>
                  </a:lnTo>
                  <a:lnTo>
                    <a:pt x="225" y="146"/>
                  </a:lnTo>
                  <a:lnTo>
                    <a:pt x="281" y="190"/>
                  </a:lnTo>
                  <a:lnTo>
                    <a:pt x="281" y="225"/>
                  </a:lnTo>
                  <a:lnTo>
                    <a:pt x="262" y="202"/>
                  </a:lnTo>
                  <a:lnTo>
                    <a:pt x="250" y="225"/>
                  </a:lnTo>
                  <a:lnTo>
                    <a:pt x="269" y="246"/>
                  </a:lnTo>
                  <a:lnTo>
                    <a:pt x="250" y="269"/>
                  </a:lnTo>
                  <a:lnTo>
                    <a:pt x="212" y="257"/>
                  </a:lnTo>
                  <a:lnTo>
                    <a:pt x="194" y="234"/>
                  </a:lnTo>
                  <a:lnTo>
                    <a:pt x="144" y="280"/>
                  </a:lnTo>
                  <a:lnTo>
                    <a:pt x="87" y="290"/>
                  </a:lnTo>
                  <a:lnTo>
                    <a:pt x="75" y="234"/>
                  </a:lnTo>
                  <a:lnTo>
                    <a:pt x="44" y="234"/>
                  </a:lnTo>
                  <a:lnTo>
                    <a:pt x="25" y="202"/>
                  </a:lnTo>
                  <a:lnTo>
                    <a:pt x="106" y="181"/>
                  </a:lnTo>
                  <a:lnTo>
                    <a:pt x="18" y="167"/>
                  </a:lnTo>
                  <a:lnTo>
                    <a:pt x="6" y="146"/>
                  </a:lnTo>
                  <a:lnTo>
                    <a:pt x="50" y="111"/>
                  </a:lnTo>
                  <a:lnTo>
                    <a:pt x="12" y="123"/>
                  </a:lnTo>
                  <a:lnTo>
                    <a:pt x="12" y="111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00" name="Freeform 124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1513136" y="2193925"/>
              <a:ext cx="411162" cy="230188"/>
            </a:xfrm>
            <a:custGeom>
              <a:avLst/>
              <a:gdLst>
                <a:gd name="T0" fmla="*/ 0 w 281"/>
                <a:gd name="T1" fmla="*/ 2147483647 h 290"/>
                <a:gd name="T2" fmla="*/ 2147483647 w 281"/>
                <a:gd name="T3" fmla="*/ 2147483647 h 290"/>
                <a:gd name="T4" fmla="*/ 2147483647 w 281"/>
                <a:gd name="T5" fmla="*/ 2147483647 h 290"/>
                <a:gd name="T6" fmla="*/ 2147483647 w 281"/>
                <a:gd name="T7" fmla="*/ 2147483647 h 290"/>
                <a:gd name="T8" fmla="*/ 2147483647 w 281"/>
                <a:gd name="T9" fmla="*/ 0 h 290"/>
                <a:gd name="T10" fmla="*/ 2147483647 w 281"/>
                <a:gd name="T11" fmla="*/ 2147483647 h 290"/>
                <a:gd name="T12" fmla="*/ 2147483647 w 281"/>
                <a:gd name="T13" fmla="*/ 2147483647 h 290"/>
                <a:gd name="T14" fmla="*/ 2147483647 w 281"/>
                <a:gd name="T15" fmla="*/ 2147483647 h 290"/>
                <a:gd name="T16" fmla="*/ 2147483647 w 281"/>
                <a:gd name="T17" fmla="*/ 2147483647 h 290"/>
                <a:gd name="T18" fmla="*/ 2147483647 w 281"/>
                <a:gd name="T19" fmla="*/ 2147483647 h 290"/>
                <a:gd name="T20" fmla="*/ 2147483647 w 281"/>
                <a:gd name="T21" fmla="*/ 2147483647 h 290"/>
                <a:gd name="T22" fmla="*/ 2147483647 w 281"/>
                <a:gd name="T23" fmla="*/ 2147483647 h 290"/>
                <a:gd name="T24" fmla="*/ 2147483647 w 281"/>
                <a:gd name="T25" fmla="*/ 2147483647 h 290"/>
                <a:gd name="T26" fmla="*/ 2147483647 w 281"/>
                <a:gd name="T27" fmla="*/ 2147483647 h 290"/>
                <a:gd name="T28" fmla="*/ 2147483647 w 281"/>
                <a:gd name="T29" fmla="*/ 2147483647 h 290"/>
                <a:gd name="T30" fmla="*/ 2147483647 w 281"/>
                <a:gd name="T31" fmla="*/ 2147483647 h 290"/>
                <a:gd name="T32" fmla="*/ 2147483647 w 281"/>
                <a:gd name="T33" fmla="*/ 2147483647 h 290"/>
                <a:gd name="T34" fmla="*/ 2147483647 w 281"/>
                <a:gd name="T35" fmla="*/ 2147483647 h 290"/>
                <a:gd name="T36" fmla="*/ 2147483647 w 281"/>
                <a:gd name="T37" fmla="*/ 2147483647 h 290"/>
                <a:gd name="T38" fmla="*/ 2147483647 w 281"/>
                <a:gd name="T39" fmla="*/ 2147483647 h 290"/>
                <a:gd name="T40" fmla="*/ 2147483647 w 281"/>
                <a:gd name="T41" fmla="*/ 2147483647 h 290"/>
                <a:gd name="T42" fmla="*/ 2147483647 w 281"/>
                <a:gd name="T43" fmla="*/ 2147483647 h 290"/>
                <a:gd name="T44" fmla="*/ 2147483647 w 281"/>
                <a:gd name="T45" fmla="*/ 2147483647 h 290"/>
                <a:gd name="T46" fmla="*/ 2147483647 w 281"/>
                <a:gd name="T47" fmla="*/ 2147483647 h 290"/>
                <a:gd name="T48" fmla="*/ 2147483647 w 281"/>
                <a:gd name="T49" fmla="*/ 2147483647 h 290"/>
                <a:gd name="T50" fmla="*/ 2147483647 w 281"/>
                <a:gd name="T51" fmla="*/ 2147483647 h 290"/>
                <a:gd name="T52" fmla="*/ 2147483647 w 281"/>
                <a:gd name="T53" fmla="*/ 2147483647 h 290"/>
                <a:gd name="T54" fmla="*/ 2147483647 w 281"/>
                <a:gd name="T55" fmla="*/ 2147483647 h 290"/>
                <a:gd name="T56" fmla="*/ 2147483647 w 281"/>
                <a:gd name="T57" fmla="*/ 2147483647 h 290"/>
                <a:gd name="T58" fmla="*/ 2147483647 w 281"/>
                <a:gd name="T59" fmla="*/ 2147483647 h 290"/>
                <a:gd name="T60" fmla="*/ 2147483647 w 281"/>
                <a:gd name="T61" fmla="*/ 2147483647 h 290"/>
                <a:gd name="T62" fmla="*/ 2147483647 w 281"/>
                <a:gd name="T63" fmla="*/ 2147483647 h 290"/>
                <a:gd name="T64" fmla="*/ 2147483647 w 281"/>
                <a:gd name="T65" fmla="*/ 2147483647 h 290"/>
                <a:gd name="T66" fmla="*/ 2147483647 w 281"/>
                <a:gd name="T67" fmla="*/ 2147483647 h 290"/>
                <a:gd name="T68" fmla="*/ 2147483647 w 281"/>
                <a:gd name="T69" fmla="*/ 2147483647 h 290"/>
                <a:gd name="T70" fmla="*/ 2147483647 w 281"/>
                <a:gd name="T71" fmla="*/ 2147483647 h 290"/>
                <a:gd name="T72" fmla="*/ 2147483647 w 281"/>
                <a:gd name="T73" fmla="*/ 2147483647 h 290"/>
                <a:gd name="T74" fmla="*/ 2147483647 w 281"/>
                <a:gd name="T75" fmla="*/ 2147483647 h 290"/>
                <a:gd name="T76" fmla="*/ 0 w 281"/>
                <a:gd name="T77" fmla="*/ 2147483647 h 29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1" h="290">
                  <a:moveTo>
                    <a:pt x="0" y="88"/>
                  </a:moveTo>
                  <a:lnTo>
                    <a:pt x="12" y="67"/>
                  </a:lnTo>
                  <a:lnTo>
                    <a:pt x="6" y="58"/>
                  </a:lnTo>
                  <a:lnTo>
                    <a:pt x="37" y="12"/>
                  </a:lnTo>
                  <a:lnTo>
                    <a:pt x="69" y="0"/>
                  </a:lnTo>
                  <a:lnTo>
                    <a:pt x="75" y="35"/>
                  </a:lnTo>
                  <a:lnTo>
                    <a:pt x="62" y="58"/>
                  </a:lnTo>
                  <a:lnTo>
                    <a:pt x="94" y="23"/>
                  </a:lnTo>
                  <a:lnTo>
                    <a:pt x="119" y="44"/>
                  </a:lnTo>
                  <a:lnTo>
                    <a:pt x="106" y="67"/>
                  </a:lnTo>
                  <a:lnTo>
                    <a:pt x="137" y="58"/>
                  </a:lnTo>
                  <a:lnTo>
                    <a:pt x="131" y="35"/>
                  </a:lnTo>
                  <a:lnTo>
                    <a:pt x="144" y="35"/>
                  </a:lnTo>
                  <a:lnTo>
                    <a:pt x="168" y="111"/>
                  </a:lnTo>
                  <a:lnTo>
                    <a:pt x="181" y="88"/>
                  </a:lnTo>
                  <a:lnTo>
                    <a:pt x="168" y="12"/>
                  </a:lnTo>
                  <a:lnTo>
                    <a:pt x="186" y="12"/>
                  </a:lnTo>
                  <a:lnTo>
                    <a:pt x="212" y="35"/>
                  </a:lnTo>
                  <a:lnTo>
                    <a:pt x="225" y="146"/>
                  </a:lnTo>
                  <a:lnTo>
                    <a:pt x="281" y="190"/>
                  </a:lnTo>
                  <a:lnTo>
                    <a:pt x="281" y="225"/>
                  </a:lnTo>
                  <a:lnTo>
                    <a:pt x="262" y="202"/>
                  </a:lnTo>
                  <a:lnTo>
                    <a:pt x="250" y="225"/>
                  </a:lnTo>
                  <a:lnTo>
                    <a:pt x="269" y="246"/>
                  </a:lnTo>
                  <a:lnTo>
                    <a:pt x="250" y="269"/>
                  </a:lnTo>
                  <a:lnTo>
                    <a:pt x="212" y="257"/>
                  </a:lnTo>
                  <a:lnTo>
                    <a:pt x="194" y="234"/>
                  </a:lnTo>
                  <a:lnTo>
                    <a:pt x="144" y="280"/>
                  </a:lnTo>
                  <a:lnTo>
                    <a:pt x="87" y="290"/>
                  </a:lnTo>
                  <a:lnTo>
                    <a:pt x="75" y="234"/>
                  </a:lnTo>
                  <a:lnTo>
                    <a:pt x="44" y="234"/>
                  </a:lnTo>
                  <a:lnTo>
                    <a:pt x="25" y="202"/>
                  </a:lnTo>
                  <a:lnTo>
                    <a:pt x="106" y="181"/>
                  </a:lnTo>
                  <a:lnTo>
                    <a:pt x="18" y="167"/>
                  </a:lnTo>
                  <a:lnTo>
                    <a:pt x="6" y="146"/>
                  </a:lnTo>
                  <a:lnTo>
                    <a:pt x="50" y="111"/>
                  </a:lnTo>
                  <a:lnTo>
                    <a:pt x="12" y="123"/>
                  </a:lnTo>
                  <a:lnTo>
                    <a:pt x="12" y="111"/>
                  </a:lnTo>
                  <a:lnTo>
                    <a:pt x="0" y="8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01" name="Freeform 125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1513136" y="2193925"/>
              <a:ext cx="411162" cy="230188"/>
            </a:xfrm>
            <a:custGeom>
              <a:avLst/>
              <a:gdLst>
                <a:gd name="T0" fmla="*/ 0 w 281"/>
                <a:gd name="T1" fmla="*/ 2147483647 h 290"/>
                <a:gd name="T2" fmla="*/ 2147483647 w 281"/>
                <a:gd name="T3" fmla="*/ 2147483647 h 290"/>
                <a:gd name="T4" fmla="*/ 2147483647 w 281"/>
                <a:gd name="T5" fmla="*/ 2147483647 h 290"/>
                <a:gd name="T6" fmla="*/ 2147483647 w 281"/>
                <a:gd name="T7" fmla="*/ 2147483647 h 290"/>
                <a:gd name="T8" fmla="*/ 2147483647 w 281"/>
                <a:gd name="T9" fmla="*/ 0 h 290"/>
                <a:gd name="T10" fmla="*/ 2147483647 w 281"/>
                <a:gd name="T11" fmla="*/ 2147483647 h 290"/>
                <a:gd name="T12" fmla="*/ 2147483647 w 281"/>
                <a:gd name="T13" fmla="*/ 2147483647 h 290"/>
                <a:gd name="T14" fmla="*/ 2147483647 w 281"/>
                <a:gd name="T15" fmla="*/ 2147483647 h 290"/>
                <a:gd name="T16" fmla="*/ 2147483647 w 281"/>
                <a:gd name="T17" fmla="*/ 2147483647 h 290"/>
                <a:gd name="T18" fmla="*/ 2147483647 w 281"/>
                <a:gd name="T19" fmla="*/ 2147483647 h 290"/>
                <a:gd name="T20" fmla="*/ 2147483647 w 281"/>
                <a:gd name="T21" fmla="*/ 2147483647 h 290"/>
                <a:gd name="T22" fmla="*/ 2147483647 w 281"/>
                <a:gd name="T23" fmla="*/ 2147483647 h 290"/>
                <a:gd name="T24" fmla="*/ 2147483647 w 281"/>
                <a:gd name="T25" fmla="*/ 2147483647 h 290"/>
                <a:gd name="T26" fmla="*/ 2147483647 w 281"/>
                <a:gd name="T27" fmla="*/ 2147483647 h 290"/>
                <a:gd name="T28" fmla="*/ 2147483647 w 281"/>
                <a:gd name="T29" fmla="*/ 2147483647 h 290"/>
                <a:gd name="T30" fmla="*/ 2147483647 w 281"/>
                <a:gd name="T31" fmla="*/ 2147483647 h 290"/>
                <a:gd name="T32" fmla="*/ 2147483647 w 281"/>
                <a:gd name="T33" fmla="*/ 2147483647 h 290"/>
                <a:gd name="T34" fmla="*/ 2147483647 w 281"/>
                <a:gd name="T35" fmla="*/ 2147483647 h 290"/>
                <a:gd name="T36" fmla="*/ 2147483647 w 281"/>
                <a:gd name="T37" fmla="*/ 2147483647 h 290"/>
                <a:gd name="T38" fmla="*/ 2147483647 w 281"/>
                <a:gd name="T39" fmla="*/ 2147483647 h 290"/>
                <a:gd name="T40" fmla="*/ 2147483647 w 281"/>
                <a:gd name="T41" fmla="*/ 2147483647 h 290"/>
                <a:gd name="T42" fmla="*/ 2147483647 w 281"/>
                <a:gd name="T43" fmla="*/ 2147483647 h 290"/>
                <a:gd name="T44" fmla="*/ 2147483647 w 281"/>
                <a:gd name="T45" fmla="*/ 2147483647 h 290"/>
                <a:gd name="T46" fmla="*/ 2147483647 w 281"/>
                <a:gd name="T47" fmla="*/ 2147483647 h 290"/>
                <a:gd name="T48" fmla="*/ 2147483647 w 281"/>
                <a:gd name="T49" fmla="*/ 2147483647 h 290"/>
                <a:gd name="T50" fmla="*/ 2147483647 w 281"/>
                <a:gd name="T51" fmla="*/ 2147483647 h 290"/>
                <a:gd name="T52" fmla="*/ 2147483647 w 281"/>
                <a:gd name="T53" fmla="*/ 2147483647 h 290"/>
                <a:gd name="T54" fmla="*/ 2147483647 w 281"/>
                <a:gd name="T55" fmla="*/ 2147483647 h 290"/>
                <a:gd name="T56" fmla="*/ 2147483647 w 281"/>
                <a:gd name="T57" fmla="*/ 2147483647 h 290"/>
                <a:gd name="T58" fmla="*/ 2147483647 w 281"/>
                <a:gd name="T59" fmla="*/ 2147483647 h 290"/>
                <a:gd name="T60" fmla="*/ 2147483647 w 281"/>
                <a:gd name="T61" fmla="*/ 2147483647 h 290"/>
                <a:gd name="T62" fmla="*/ 2147483647 w 281"/>
                <a:gd name="T63" fmla="*/ 2147483647 h 290"/>
                <a:gd name="T64" fmla="*/ 2147483647 w 281"/>
                <a:gd name="T65" fmla="*/ 2147483647 h 290"/>
                <a:gd name="T66" fmla="*/ 2147483647 w 281"/>
                <a:gd name="T67" fmla="*/ 2147483647 h 290"/>
                <a:gd name="T68" fmla="*/ 2147483647 w 281"/>
                <a:gd name="T69" fmla="*/ 2147483647 h 290"/>
                <a:gd name="T70" fmla="*/ 2147483647 w 281"/>
                <a:gd name="T71" fmla="*/ 2147483647 h 290"/>
                <a:gd name="T72" fmla="*/ 2147483647 w 281"/>
                <a:gd name="T73" fmla="*/ 2147483647 h 290"/>
                <a:gd name="T74" fmla="*/ 2147483647 w 281"/>
                <a:gd name="T75" fmla="*/ 2147483647 h 290"/>
                <a:gd name="T76" fmla="*/ 0 w 281"/>
                <a:gd name="T77" fmla="*/ 2147483647 h 29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1" h="290">
                  <a:moveTo>
                    <a:pt x="0" y="88"/>
                  </a:moveTo>
                  <a:lnTo>
                    <a:pt x="12" y="67"/>
                  </a:lnTo>
                  <a:lnTo>
                    <a:pt x="6" y="58"/>
                  </a:lnTo>
                  <a:lnTo>
                    <a:pt x="37" y="12"/>
                  </a:lnTo>
                  <a:lnTo>
                    <a:pt x="69" y="0"/>
                  </a:lnTo>
                  <a:lnTo>
                    <a:pt x="75" y="35"/>
                  </a:lnTo>
                  <a:lnTo>
                    <a:pt x="62" y="58"/>
                  </a:lnTo>
                  <a:lnTo>
                    <a:pt x="94" y="23"/>
                  </a:lnTo>
                  <a:lnTo>
                    <a:pt x="119" y="44"/>
                  </a:lnTo>
                  <a:lnTo>
                    <a:pt x="106" y="67"/>
                  </a:lnTo>
                  <a:lnTo>
                    <a:pt x="137" y="58"/>
                  </a:lnTo>
                  <a:lnTo>
                    <a:pt x="131" y="35"/>
                  </a:lnTo>
                  <a:lnTo>
                    <a:pt x="144" y="35"/>
                  </a:lnTo>
                  <a:lnTo>
                    <a:pt x="168" y="111"/>
                  </a:lnTo>
                  <a:lnTo>
                    <a:pt x="181" y="88"/>
                  </a:lnTo>
                  <a:lnTo>
                    <a:pt x="168" y="12"/>
                  </a:lnTo>
                  <a:lnTo>
                    <a:pt x="186" y="12"/>
                  </a:lnTo>
                  <a:lnTo>
                    <a:pt x="212" y="35"/>
                  </a:lnTo>
                  <a:lnTo>
                    <a:pt x="225" y="146"/>
                  </a:lnTo>
                  <a:lnTo>
                    <a:pt x="281" y="190"/>
                  </a:lnTo>
                  <a:lnTo>
                    <a:pt x="281" y="225"/>
                  </a:lnTo>
                  <a:lnTo>
                    <a:pt x="262" y="202"/>
                  </a:lnTo>
                  <a:lnTo>
                    <a:pt x="250" y="225"/>
                  </a:lnTo>
                  <a:lnTo>
                    <a:pt x="269" y="246"/>
                  </a:lnTo>
                  <a:lnTo>
                    <a:pt x="250" y="269"/>
                  </a:lnTo>
                  <a:lnTo>
                    <a:pt x="212" y="257"/>
                  </a:lnTo>
                  <a:lnTo>
                    <a:pt x="194" y="234"/>
                  </a:lnTo>
                  <a:lnTo>
                    <a:pt x="144" y="280"/>
                  </a:lnTo>
                  <a:lnTo>
                    <a:pt x="87" y="290"/>
                  </a:lnTo>
                  <a:lnTo>
                    <a:pt x="75" y="234"/>
                  </a:lnTo>
                  <a:lnTo>
                    <a:pt x="44" y="234"/>
                  </a:lnTo>
                  <a:lnTo>
                    <a:pt x="25" y="202"/>
                  </a:lnTo>
                  <a:lnTo>
                    <a:pt x="106" y="181"/>
                  </a:lnTo>
                  <a:lnTo>
                    <a:pt x="18" y="167"/>
                  </a:lnTo>
                  <a:lnTo>
                    <a:pt x="6" y="146"/>
                  </a:lnTo>
                  <a:lnTo>
                    <a:pt x="50" y="111"/>
                  </a:lnTo>
                  <a:lnTo>
                    <a:pt x="12" y="123"/>
                  </a:lnTo>
                  <a:lnTo>
                    <a:pt x="12" y="111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02" name="Freeform 126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1513136" y="2193925"/>
              <a:ext cx="411162" cy="230188"/>
            </a:xfrm>
            <a:custGeom>
              <a:avLst/>
              <a:gdLst>
                <a:gd name="T0" fmla="*/ 0 w 281"/>
                <a:gd name="T1" fmla="*/ 2147483647 h 290"/>
                <a:gd name="T2" fmla="*/ 2147483647 w 281"/>
                <a:gd name="T3" fmla="*/ 2147483647 h 290"/>
                <a:gd name="T4" fmla="*/ 2147483647 w 281"/>
                <a:gd name="T5" fmla="*/ 2147483647 h 290"/>
                <a:gd name="T6" fmla="*/ 2147483647 w 281"/>
                <a:gd name="T7" fmla="*/ 2147483647 h 290"/>
                <a:gd name="T8" fmla="*/ 2147483647 w 281"/>
                <a:gd name="T9" fmla="*/ 0 h 290"/>
                <a:gd name="T10" fmla="*/ 2147483647 w 281"/>
                <a:gd name="T11" fmla="*/ 2147483647 h 290"/>
                <a:gd name="T12" fmla="*/ 2147483647 w 281"/>
                <a:gd name="T13" fmla="*/ 2147483647 h 290"/>
                <a:gd name="T14" fmla="*/ 2147483647 w 281"/>
                <a:gd name="T15" fmla="*/ 2147483647 h 290"/>
                <a:gd name="T16" fmla="*/ 2147483647 w 281"/>
                <a:gd name="T17" fmla="*/ 2147483647 h 290"/>
                <a:gd name="T18" fmla="*/ 2147483647 w 281"/>
                <a:gd name="T19" fmla="*/ 2147483647 h 290"/>
                <a:gd name="T20" fmla="*/ 2147483647 w 281"/>
                <a:gd name="T21" fmla="*/ 2147483647 h 290"/>
                <a:gd name="T22" fmla="*/ 2147483647 w 281"/>
                <a:gd name="T23" fmla="*/ 2147483647 h 290"/>
                <a:gd name="T24" fmla="*/ 2147483647 w 281"/>
                <a:gd name="T25" fmla="*/ 2147483647 h 290"/>
                <a:gd name="T26" fmla="*/ 2147483647 w 281"/>
                <a:gd name="T27" fmla="*/ 2147483647 h 290"/>
                <a:gd name="T28" fmla="*/ 2147483647 w 281"/>
                <a:gd name="T29" fmla="*/ 2147483647 h 290"/>
                <a:gd name="T30" fmla="*/ 2147483647 w 281"/>
                <a:gd name="T31" fmla="*/ 2147483647 h 290"/>
                <a:gd name="T32" fmla="*/ 2147483647 w 281"/>
                <a:gd name="T33" fmla="*/ 2147483647 h 290"/>
                <a:gd name="T34" fmla="*/ 2147483647 w 281"/>
                <a:gd name="T35" fmla="*/ 2147483647 h 290"/>
                <a:gd name="T36" fmla="*/ 2147483647 w 281"/>
                <a:gd name="T37" fmla="*/ 2147483647 h 290"/>
                <a:gd name="T38" fmla="*/ 2147483647 w 281"/>
                <a:gd name="T39" fmla="*/ 2147483647 h 290"/>
                <a:gd name="T40" fmla="*/ 2147483647 w 281"/>
                <a:gd name="T41" fmla="*/ 2147483647 h 290"/>
                <a:gd name="T42" fmla="*/ 2147483647 w 281"/>
                <a:gd name="T43" fmla="*/ 2147483647 h 290"/>
                <a:gd name="T44" fmla="*/ 2147483647 w 281"/>
                <a:gd name="T45" fmla="*/ 2147483647 h 290"/>
                <a:gd name="T46" fmla="*/ 2147483647 w 281"/>
                <a:gd name="T47" fmla="*/ 2147483647 h 290"/>
                <a:gd name="T48" fmla="*/ 2147483647 w 281"/>
                <a:gd name="T49" fmla="*/ 2147483647 h 290"/>
                <a:gd name="T50" fmla="*/ 2147483647 w 281"/>
                <a:gd name="T51" fmla="*/ 2147483647 h 290"/>
                <a:gd name="T52" fmla="*/ 2147483647 w 281"/>
                <a:gd name="T53" fmla="*/ 2147483647 h 290"/>
                <a:gd name="T54" fmla="*/ 2147483647 w 281"/>
                <a:gd name="T55" fmla="*/ 2147483647 h 290"/>
                <a:gd name="T56" fmla="*/ 2147483647 w 281"/>
                <a:gd name="T57" fmla="*/ 2147483647 h 290"/>
                <a:gd name="T58" fmla="*/ 2147483647 w 281"/>
                <a:gd name="T59" fmla="*/ 2147483647 h 290"/>
                <a:gd name="T60" fmla="*/ 2147483647 w 281"/>
                <a:gd name="T61" fmla="*/ 2147483647 h 290"/>
                <a:gd name="T62" fmla="*/ 2147483647 w 281"/>
                <a:gd name="T63" fmla="*/ 2147483647 h 290"/>
                <a:gd name="T64" fmla="*/ 2147483647 w 281"/>
                <a:gd name="T65" fmla="*/ 2147483647 h 290"/>
                <a:gd name="T66" fmla="*/ 2147483647 w 281"/>
                <a:gd name="T67" fmla="*/ 2147483647 h 290"/>
                <a:gd name="T68" fmla="*/ 2147483647 w 281"/>
                <a:gd name="T69" fmla="*/ 2147483647 h 290"/>
                <a:gd name="T70" fmla="*/ 2147483647 w 281"/>
                <a:gd name="T71" fmla="*/ 2147483647 h 290"/>
                <a:gd name="T72" fmla="*/ 2147483647 w 281"/>
                <a:gd name="T73" fmla="*/ 2147483647 h 290"/>
                <a:gd name="T74" fmla="*/ 2147483647 w 281"/>
                <a:gd name="T75" fmla="*/ 2147483647 h 290"/>
                <a:gd name="T76" fmla="*/ 0 w 281"/>
                <a:gd name="T77" fmla="*/ 2147483647 h 29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1" h="290">
                  <a:moveTo>
                    <a:pt x="0" y="88"/>
                  </a:moveTo>
                  <a:lnTo>
                    <a:pt x="12" y="67"/>
                  </a:lnTo>
                  <a:lnTo>
                    <a:pt x="6" y="58"/>
                  </a:lnTo>
                  <a:lnTo>
                    <a:pt x="37" y="12"/>
                  </a:lnTo>
                  <a:lnTo>
                    <a:pt x="69" y="0"/>
                  </a:lnTo>
                  <a:lnTo>
                    <a:pt x="75" y="35"/>
                  </a:lnTo>
                  <a:lnTo>
                    <a:pt x="62" y="58"/>
                  </a:lnTo>
                  <a:lnTo>
                    <a:pt x="94" y="23"/>
                  </a:lnTo>
                  <a:lnTo>
                    <a:pt x="119" y="44"/>
                  </a:lnTo>
                  <a:lnTo>
                    <a:pt x="106" y="67"/>
                  </a:lnTo>
                  <a:lnTo>
                    <a:pt x="137" y="58"/>
                  </a:lnTo>
                  <a:lnTo>
                    <a:pt x="131" y="35"/>
                  </a:lnTo>
                  <a:lnTo>
                    <a:pt x="144" y="35"/>
                  </a:lnTo>
                  <a:lnTo>
                    <a:pt x="168" y="111"/>
                  </a:lnTo>
                  <a:lnTo>
                    <a:pt x="181" y="88"/>
                  </a:lnTo>
                  <a:lnTo>
                    <a:pt x="168" y="12"/>
                  </a:lnTo>
                  <a:lnTo>
                    <a:pt x="186" y="12"/>
                  </a:lnTo>
                  <a:lnTo>
                    <a:pt x="212" y="35"/>
                  </a:lnTo>
                  <a:lnTo>
                    <a:pt x="225" y="146"/>
                  </a:lnTo>
                  <a:lnTo>
                    <a:pt x="281" y="190"/>
                  </a:lnTo>
                  <a:lnTo>
                    <a:pt x="281" y="225"/>
                  </a:lnTo>
                  <a:lnTo>
                    <a:pt x="262" y="202"/>
                  </a:lnTo>
                  <a:lnTo>
                    <a:pt x="250" y="225"/>
                  </a:lnTo>
                  <a:lnTo>
                    <a:pt x="269" y="246"/>
                  </a:lnTo>
                  <a:lnTo>
                    <a:pt x="250" y="269"/>
                  </a:lnTo>
                  <a:lnTo>
                    <a:pt x="212" y="257"/>
                  </a:lnTo>
                  <a:lnTo>
                    <a:pt x="194" y="234"/>
                  </a:lnTo>
                  <a:lnTo>
                    <a:pt x="144" y="280"/>
                  </a:lnTo>
                  <a:lnTo>
                    <a:pt x="87" y="290"/>
                  </a:lnTo>
                  <a:lnTo>
                    <a:pt x="75" y="234"/>
                  </a:lnTo>
                  <a:lnTo>
                    <a:pt x="44" y="234"/>
                  </a:lnTo>
                  <a:lnTo>
                    <a:pt x="25" y="202"/>
                  </a:lnTo>
                  <a:lnTo>
                    <a:pt x="106" y="181"/>
                  </a:lnTo>
                  <a:lnTo>
                    <a:pt x="18" y="167"/>
                  </a:lnTo>
                  <a:lnTo>
                    <a:pt x="6" y="146"/>
                  </a:lnTo>
                  <a:lnTo>
                    <a:pt x="50" y="111"/>
                  </a:lnTo>
                  <a:lnTo>
                    <a:pt x="12" y="123"/>
                  </a:lnTo>
                  <a:lnTo>
                    <a:pt x="12" y="111"/>
                  </a:lnTo>
                  <a:lnTo>
                    <a:pt x="0" y="8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03" name="Freeform 127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1540123" y="2017713"/>
              <a:ext cx="276225" cy="123825"/>
            </a:xfrm>
            <a:custGeom>
              <a:avLst/>
              <a:gdLst>
                <a:gd name="T0" fmla="*/ 0 w 188"/>
                <a:gd name="T1" fmla="*/ 2147483647 h 158"/>
                <a:gd name="T2" fmla="*/ 2147483647 w 188"/>
                <a:gd name="T3" fmla="*/ 2147483647 h 158"/>
                <a:gd name="T4" fmla="*/ 2147483647 w 188"/>
                <a:gd name="T5" fmla="*/ 2147483647 h 158"/>
                <a:gd name="T6" fmla="*/ 2147483647 w 188"/>
                <a:gd name="T7" fmla="*/ 2147483647 h 158"/>
                <a:gd name="T8" fmla="*/ 2147483647 w 188"/>
                <a:gd name="T9" fmla="*/ 2147483647 h 158"/>
                <a:gd name="T10" fmla="*/ 2147483647 w 188"/>
                <a:gd name="T11" fmla="*/ 2147483647 h 158"/>
                <a:gd name="T12" fmla="*/ 2147483647 w 188"/>
                <a:gd name="T13" fmla="*/ 2147483647 h 158"/>
                <a:gd name="T14" fmla="*/ 2147483647 w 188"/>
                <a:gd name="T15" fmla="*/ 2147483647 h 158"/>
                <a:gd name="T16" fmla="*/ 2147483647 w 188"/>
                <a:gd name="T17" fmla="*/ 2147483647 h 158"/>
                <a:gd name="T18" fmla="*/ 2147483647 w 188"/>
                <a:gd name="T19" fmla="*/ 2147483647 h 158"/>
                <a:gd name="T20" fmla="*/ 2147483647 w 188"/>
                <a:gd name="T21" fmla="*/ 2147483647 h 158"/>
                <a:gd name="T22" fmla="*/ 2147483647 w 188"/>
                <a:gd name="T23" fmla="*/ 2147483647 h 158"/>
                <a:gd name="T24" fmla="*/ 2147483647 w 188"/>
                <a:gd name="T25" fmla="*/ 2147483647 h 158"/>
                <a:gd name="T26" fmla="*/ 2147483647 w 188"/>
                <a:gd name="T27" fmla="*/ 2147483647 h 158"/>
                <a:gd name="T28" fmla="*/ 2147483647 w 188"/>
                <a:gd name="T29" fmla="*/ 2147483647 h 158"/>
                <a:gd name="T30" fmla="*/ 2147483647 w 188"/>
                <a:gd name="T31" fmla="*/ 2147483647 h 158"/>
                <a:gd name="T32" fmla="*/ 2147483647 w 188"/>
                <a:gd name="T33" fmla="*/ 0 h 158"/>
                <a:gd name="T34" fmla="*/ 2147483647 w 188"/>
                <a:gd name="T35" fmla="*/ 2147483647 h 158"/>
                <a:gd name="T36" fmla="*/ 2147483647 w 188"/>
                <a:gd name="T37" fmla="*/ 2147483647 h 158"/>
                <a:gd name="T38" fmla="*/ 2147483647 w 188"/>
                <a:gd name="T39" fmla="*/ 2147483647 h 158"/>
                <a:gd name="T40" fmla="*/ 2147483647 w 188"/>
                <a:gd name="T41" fmla="*/ 2147483647 h 158"/>
                <a:gd name="T42" fmla="*/ 2147483647 w 188"/>
                <a:gd name="T43" fmla="*/ 2147483647 h 158"/>
                <a:gd name="T44" fmla="*/ 2147483647 w 188"/>
                <a:gd name="T45" fmla="*/ 2147483647 h 158"/>
                <a:gd name="T46" fmla="*/ 2147483647 w 188"/>
                <a:gd name="T47" fmla="*/ 2147483647 h 158"/>
                <a:gd name="T48" fmla="*/ 2147483647 w 188"/>
                <a:gd name="T49" fmla="*/ 2147483647 h 158"/>
                <a:gd name="T50" fmla="*/ 2147483647 w 188"/>
                <a:gd name="T51" fmla="*/ 2147483647 h 158"/>
                <a:gd name="T52" fmla="*/ 2147483647 w 188"/>
                <a:gd name="T53" fmla="*/ 2147483647 h 158"/>
                <a:gd name="T54" fmla="*/ 2147483647 w 188"/>
                <a:gd name="T55" fmla="*/ 2147483647 h 158"/>
                <a:gd name="T56" fmla="*/ 2147483647 w 188"/>
                <a:gd name="T57" fmla="*/ 2147483647 h 158"/>
                <a:gd name="T58" fmla="*/ 2147483647 w 188"/>
                <a:gd name="T59" fmla="*/ 2147483647 h 158"/>
                <a:gd name="T60" fmla="*/ 2147483647 w 188"/>
                <a:gd name="T61" fmla="*/ 2147483647 h 158"/>
                <a:gd name="T62" fmla="*/ 2147483647 w 188"/>
                <a:gd name="T63" fmla="*/ 2147483647 h 158"/>
                <a:gd name="T64" fmla="*/ 2147483647 w 188"/>
                <a:gd name="T65" fmla="*/ 2147483647 h 158"/>
                <a:gd name="T66" fmla="*/ 0 w 188"/>
                <a:gd name="T67" fmla="*/ 2147483647 h 15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8" h="158">
                  <a:moveTo>
                    <a:pt x="0" y="102"/>
                  </a:moveTo>
                  <a:lnTo>
                    <a:pt x="7" y="90"/>
                  </a:lnTo>
                  <a:lnTo>
                    <a:pt x="38" y="79"/>
                  </a:lnTo>
                  <a:lnTo>
                    <a:pt x="7" y="79"/>
                  </a:lnTo>
                  <a:lnTo>
                    <a:pt x="43" y="67"/>
                  </a:lnTo>
                  <a:lnTo>
                    <a:pt x="13" y="67"/>
                  </a:lnTo>
                  <a:lnTo>
                    <a:pt x="19" y="44"/>
                  </a:lnTo>
                  <a:lnTo>
                    <a:pt x="43" y="44"/>
                  </a:lnTo>
                  <a:lnTo>
                    <a:pt x="26" y="44"/>
                  </a:lnTo>
                  <a:lnTo>
                    <a:pt x="43" y="23"/>
                  </a:lnTo>
                  <a:lnTo>
                    <a:pt x="82" y="44"/>
                  </a:lnTo>
                  <a:lnTo>
                    <a:pt x="101" y="90"/>
                  </a:lnTo>
                  <a:lnTo>
                    <a:pt x="131" y="90"/>
                  </a:lnTo>
                  <a:lnTo>
                    <a:pt x="119" y="67"/>
                  </a:lnTo>
                  <a:lnTo>
                    <a:pt x="131" y="56"/>
                  </a:lnTo>
                  <a:lnTo>
                    <a:pt x="113" y="35"/>
                  </a:lnTo>
                  <a:lnTo>
                    <a:pt x="138" y="0"/>
                  </a:lnTo>
                  <a:lnTo>
                    <a:pt x="151" y="35"/>
                  </a:lnTo>
                  <a:lnTo>
                    <a:pt x="144" y="56"/>
                  </a:lnTo>
                  <a:lnTo>
                    <a:pt x="157" y="56"/>
                  </a:lnTo>
                  <a:lnTo>
                    <a:pt x="151" y="79"/>
                  </a:lnTo>
                  <a:lnTo>
                    <a:pt x="169" y="79"/>
                  </a:lnTo>
                  <a:lnTo>
                    <a:pt x="176" y="56"/>
                  </a:lnTo>
                  <a:lnTo>
                    <a:pt x="188" y="79"/>
                  </a:lnTo>
                  <a:lnTo>
                    <a:pt x="182" y="123"/>
                  </a:lnTo>
                  <a:lnTo>
                    <a:pt x="138" y="114"/>
                  </a:lnTo>
                  <a:lnTo>
                    <a:pt x="76" y="158"/>
                  </a:lnTo>
                  <a:lnTo>
                    <a:pt x="51" y="135"/>
                  </a:lnTo>
                  <a:lnTo>
                    <a:pt x="107" y="102"/>
                  </a:lnTo>
                  <a:lnTo>
                    <a:pt x="57" y="123"/>
                  </a:lnTo>
                  <a:lnTo>
                    <a:pt x="69" y="90"/>
                  </a:lnTo>
                  <a:lnTo>
                    <a:pt x="43" y="123"/>
                  </a:lnTo>
                  <a:lnTo>
                    <a:pt x="19" y="114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04" name="Freeform 128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1540123" y="2017713"/>
              <a:ext cx="276225" cy="123825"/>
            </a:xfrm>
            <a:custGeom>
              <a:avLst/>
              <a:gdLst>
                <a:gd name="T0" fmla="*/ 0 w 188"/>
                <a:gd name="T1" fmla="*/ 2147483647 h 158"/>
                <a:gd name="T2" fmla="*/ 2147483647 w 188"/>
                <a:gd name="T3" fmla="*/ 2147483647 h 158"/>
                <a:gd name="T4" fmla="*/ 2147483647 w 188"/>
                <a:gd name="T5" fmla="*/ 2147483647 h 158"/>
                <a:gd name="T6" fmla="*/ 2147483647 w 188"/>
                <a:gd name="T7" fmla="*/ 2147483647 h 158"/>
                <a:gd name="T8" fmla="*/ 2147483647 w 188"/>
                <a:gd name="T9" fmla="*/ 2147483647 h 158"/>
                <a:gd name="T10" fmla="*/ 2147483647 w 188"/>
                <a:gd name="T11" fmla="*/ 2147483647 h 158"/>
                <a:gd name="T12" fmla="*/ 2147483647 w 188"/>
                <a:gd name="T13" fmla="*/ 2147483647 h 158"/>
                <a:gd name="T14" fmla="*/ 2147483647 w 188"/>
                <a:gd name="T15" fmla="*/ 2147483647 h 158"/>
                <a:gd name="T16" fmla="*/ 2147483647 w 188"/>
                <a:gd name="T17" fmla="*/ 2147483647 h 158"/>
                <a:gd name="T18" fmla="*/ 2147483647 w 188"/>
                <a:gd name="T19" fmla="*/ 2147483647 h 158"/>
                <a:gd name="T20" fmla="*/ 2147483647 w 188"/>
                <a:gd name="T21" fmla="*/ 2147483647 h 158"/>
                <a:gd name="T22" fmla="*/ 2147483647 w 188"/>
                <a:gd name="T23" fmla="*/ 2147483647 h 158"/>
                <a:gd name="T24" fmla="*/ 2147483647 w 188"/>
                <a:gd name="T25" fmla="*/ 2147483647 h 158"/>
                <a:gd name="T26" fmla="*/ 2147483647 w 188"/>
                <a:gd name="T27" fmla="*/ 2147483647 h 158"/>
                <a:gd name="T28" fmla="*/ 2147483647 w 188"/>
                <a:gd name="T29" fmla="*/ 2147483647 h 158"/>
                <a:gd name="T30" fmla="*/ 2147483647 w 188"/>
                <a:gd name="T31" fmla="*/ 2147483647 h 158"/>
                <a:gd name="T32" fmla="*/ 2147483647 w 188"/>
                <a:gd name="T33" fmla="*/ 0 h 158"/>
                <a:gd name="T34" fmla="*/ 2147483647 w 188"/>
                <a:gd name="T35" fmla="*/ 2147483647 h 158"/>
                <a:gd name="T36" fmla="*/ 2147483647 w 188"/>
                <a:gd name="T37" fmla="*/ 2147483647 h 158"/>
                <a:gd name="T38" fmla="*/ 2147483647 w 188"/>
                <a:gd name="T39" fmla="*/ 2147483647 h 158"/>
                <a:gd name="T40" fmla="*/ 2147483647 w 188"/>
                <a:gd name="T41" fmla="*/ 2147483647 h 158"/>
                <a:gd name="T42" fmla="*/ 2147483647 w 188"/>
                <a:gd name="T43" fmla="*/ 2147483647 h 158"/>
                <a:gd name="T44" fmla="*/ 2147483647 w 188"/>
                <a:gd name="T45" fmla="*/ 2147483647 h 158"/>
                <a:gd name="T46" fmla="*/ 2147483647 w 188"/>
                <a:gd name="T47" fmla="*/ 2147483647 h 158"/>
                <a:gd name="T48" fmla="*/ 2147483647 w 188"/>
                <a:gd name="T49" fmla="*/ 2147483647 h 158"/>
                <a:gd name="T50" fmla="*/ 2147483647 w 188"/>
                <a:gd name="T51" fmla="*/ 2147483647 h 158"/>
                <a:gd name="T52" fmla="*/ 2147483647 w 188"/>
                <a:gd name="T53" fmla="*/ 2147483647 h 158"/>
                <a:gd name="T54" fmla="*/ 2147483647 w 188"/>
                <a:gd name="T55" fmla="*/ 2147483647 h 158"/>
                <a:gd name="T56" fmla="*/ 2147483647 w 188"/>
                <a:gd name="T57" fmla="*/ 2147483647 h 158"/>
                <a:gd name="T58" fmla="*/ 2147483647 w 188"/>
                <a:gd name="T59" fmla="*/ 2147483647 h 158"/>
                <a:gd name="T60" fmla="*/ 2147483647 w 188"/>
                <a:gd name="T61" fmla="*/ 2147483647 h 158"/>
                <a:gd name="T62" fmla="*/ 2147483647 w 188"/>
                <a:gd name="T63" fmla="*/ 2147483647 h 158"/>
                <a:gd name="T64" fmla="*/ 2147483647 w 188"/>
                <a:gd name="T65" fmla="*/ 2147483647 h 158"/>
                <a:gd name="T66" fmla="*/ 0 w 188"/>
                <a:gd name="T67" fmla="*/ 2147483647 h 15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8" h="158">
                  <a:moveTo>
                    <a:pt x="0" y="102"/>
                  </a:moveTo>
                  <a:lnTo>
                    <a:pt x="7" y="90"/>
                  </a:lnTo>
                  <a:lnTo>
                    <a:pt x="38" y="79"/>
                  </a:lnTo>
                  <a:lnTo>
                    <a:pt x="7" y="79"/>
                  </a:lnTo>
                  <a:lnTo>
                    <a:pt x="43" y="67"/>
                  </a:lnTo>
                  <a:lnTo>
                    <a:pt x="13" y="67"/>
                  </a:lnTo>
                  <a:lnTo>
                    <a:pt x="19" y="44"/>
                  </a:lnTo>
                  <a:lnTo>
                    <a:pt x="43" y="44"/>
                  </a:lnTo>
                  <a:lnTo>
                    <a:pt x="26" y="44"/>
                  </a:lnTo>
                  <a:lnTo>
                    <a:pt x="43" y="23"/>
                  </a:lnTo>
                  <a:lnTo>
                    <a:pt x="82" y="44"/>
                  </a:lnTo>
                  <a:lnTo>
                    <a:pt x="101" y="90"/>
                  </a:lnTo>
                  <a:lnTo>
                    <a:pt x="131" y="90"/>
                  </a:lnTo>
                  <a:lnTo>
                    <a:pt x="119" y="67"/>
                  </a:lnTo>
                  <a:lnTo>
                    <a:pt x="131" y="56"/>
                  </a:lnTo>
                  <a:lnTo>
                    <a:pt x="113" y="35"/>
                  </a:lnTo>
                  <a:lnTo>
                    <a:pt x="138" y="0"/>
                  </a:lnTo>
                  <a:lnTo>
                    <a:pt x="151" y="35"/>
                  </a:lnTo>
                  <a:lnTo>
                    <a:pt x="144" y="56"/>
                  </a:lnTo>
                  <a:lnTo>
                    <a:pt x="157" y="56"/>
                  </a:lnTo>
                  <a:lnTo>
                    <a:pt x="151" y="79"/>
                  </a:lnTo>
                  <a:lnTo>
                    <a:pt x="169" y="79"/>
                  </a:lnTo>
                  <a:lnTo>
                    <a:pt x="176" y="56"/>
                  </a:lnTo>
                  <a:lnTo>
                    <a:pt x="188" y="79"/>
                  </a:lnTo>
                  <a:lnTo>
                    <a:pt x="182" y="123"/>
                  </a:lnTo>
                  <a:lnTo>
                    <a:pt x="138" y="114"/>
                  </a:lnTo>
                  <a:lnTo>
                    <a:pt x="76" y="158"/>
                  </a:lnTo>
                  <a:lnTo>
                    <a:pt x="51" y="135"/>
                  </a:lnTo>
                  <a:lnTo>
                    <a:pt x="107" y="102"/>
                  </a:lnTo>
                  <a:lnTo>
                    <a:pt x="57" y="123"/>
                  </a:lnTo>
                  <a:lnTo>
                    <a:pt x="69" y="90"/>
                  </a:lnTo>
                  <a:lnTo>
                    <a:pt x="43" y="123"/>
                  </a:lnTo>
                  <a:lnTo>
                    <a:pt x="19" y="114"/>
                  </a:lnTo>
                  <a:lnTo>
                    <a:pt x="0" y="10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05" name="Freeform 129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1540123" y="2017713"/>
              <a:ext cx="276225" cy="123825"/>
            </a:xfrm>
            <a:custGeom>
              <a:avLst/>
              <a:gdLst>
                <a:gd name="T0" fmla="*/ 0 w 188"/>
                <a:gd name="T1" fmla="*/ 2147483647 h 158"/>
                <a:gd name="T2" fmla="*/ 2147483647 w 188"/>
                <a:gd name="T3" fmla="*/ 2147483647 h 158"/>
                <a:gd name="T4" fmla="*/ 2147483647 w 188"/>
                <a:gd name="T5" fmla="*/ 2147483647 h 158"/>
                <a:gd name="T6" fmla="*/ 2147483647 w 188"/>
                <a:gd name="T7" fmla="*/ 2147483647 h 158"/>
                <a:gd name="T8" fmla="*/ 2147483647 w 188"/>
                <a:gd name="T9" fmla="*/ 2147483647 h 158"/>
                <a:gd name="T10" fmla="*/ 2147483647 w 188"/>
                <a:gd name="T11" fmla="*/ 2147483647 h 158"/>
                <a:gd name="T12" fmla="*/ 2147483647 w 188"/>
                <a:gd name="T13" fmla="*/ 2147483647 h 158"/>
                <a:gd name="T14" fmla="*/ 2147483647 w 188"/>
                <a:gd name="T15" fmla="*/ 2147483647 h 158"/>
                <a:gd name="T16" fmla="*/ 2147483647 w 188"/>
                <a:gd name="T17" fmla="*/ 2147483647 h 158"/>
                <a:gd name="T18" fmla="*/ 2147483647 w 188"/>
                <a:gd name="T19" fmla="*/ 2147483647 h 158"/>
                <a:gd name="T20" fmla="*/ 2147483647 w 188"/>
                <a:gd name="T21" fmla="*/ 2147483647 h 158"/>
                <a:gd name="T22" fmla="*/ 2147483647 w 188"/>
                <a:gd name="T23" fmla="*/ 2147483647 h 158"/>
                <a:gd name="T24" fmla="*/ 2147483647 w 188"/>
                <a:gd name="T25" fmla="*/ 2147483647 h 158"/>
                <a:gd name="T26" fmla="*/ 2147483647 w 188"/>
                <a:gd name="T27" fmla="*/ 2147483647 h 158"/>
                <a:gd name="T28" fmla="*/ 2147483647 w 188"/>
                <a:gd name="T29" fmla="*/ 2147483647 h 158"/>
                <a:gd name="T30" fmla="*/ 2147483647 w 188"/>
                <a:gd name="T31" fmla="*/ 2147483647 h 158"/>
                <a:gd name="T32" fmla="*/ 2147483647 w 188"/>
                <a:gd name="T33" fmla="*/ 0 h 158"/>
                <a:gd name="T34" fmla="*/ 2147483647 w 188"/>
                <a:gd name="T35" fmla="*/ 2147483647 h 158"/>
                <a:gd name="T36" fmla="*/ 2147483647 w 188"/>
                <a:gd name="T37" fmla="*/ 2147483647 h 158"/>
                <a:gd name="T38" fmla="*/ 2147483647 w 188"/>
                <a:gd name="T39" fmla="*/ 2147483647 h 158"/>
                <a:gd name="T40" fmla="*/ 2147483647 w 188"/>
                <a:gd name="T41" fmla="*/ 2147483647 h 158"/>
                <a:gd name="T42" fmla="*/ 2147483647 w 188"/>
                <a:gd name="T43" fmla="*/ 2147483647 h 158"/>
                <a:gd name="T44" fmla="*/ 2147483647 w 188"/>
                <a:gd name="T45" fmla="*/ 2147483647 h 158"/>
                <a:gd name="T46" fmla="*/ 2147483647 w 188"/>
                <a:gd name="T47" fmla="*/ 2147483647 h 158"/>
                <a:gd name="T48" fmla="*/ 2147483647 w 188"/>
                <a:gd name="T49" fmla="*/ 2147483647 h 158"/>
                <a:gd name="T50" fmla="*/ 2147483647 w 188"/>
                <a:gd name="T51" fmla="*/ 2147483647 h 158"/>
                <a:gd name="T52" fmla="*/ 2147483647 w 188"/>
                <a:gd name="T53" fmla="*/ 2147483647 h 158"/>
                <a:gd name="T54" fmla="*/ 2147483647 w 188"/>
                <a:gd name="T55" fmla="*/ 2147483647 h 158"/>
                <a:gd name="T56" fmla="*/ 2147483647 w 188"/>
                <a:gd name="T57" fmla="*/ 2147483647 h 158"/>
                <a:gd name="T58" fmla="*/ 2147483647 w 188"/>
                <a:gd name="T59" fmla="*/ 2147483647 h 158"/>
                <a:gd name="T60" fmla="*/ 2147483647 w 188"/>
                <a:gd name="T61" fmla="*/ 2147483647 h 158"/>
                <a:gd name="T62" fmla="*/ 2147483647 w 188"/>
                <a:gd name="T63" fmla="*/ 2147483647 h 158"/>
                <a:gd name="T64" fmla="*/ 2147483647 w 188"/>
                <a:gd name="T65" fmla="*/ 2147483647 h 158"/>
                <a:gd name="T66" fmla="*/ 0 w 188"/>
                <a:gd name="T67" fmla="*/ 2147483647 h 15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8" h="158">
                  <a:moveTo>
                    <a:pt x="0" y="102"/>
                  </a:moveTo>
                  <a:lnTo>
                    <a:pt x="7" y="90"/>
                  </a:lnTo>
                  <a:lnTo>
                    <a:pt x="38" y="79"/>
                  </a:lnTo>
                  <a:lnTo>
                    <a:pt x="7" y="79"/>
                  </a:lnTo>
                  <a:lnTo>
                    <a:pt x="43" y="67"/>
                  </a:lnTo>
                  <a:lnTo>
                    <a:pt x="13" y="67"/>
                  </a:lnTo>
                  <a:lnTo>
                    <a:pt x="19" y="44"/>
                  </a:lnTo>
                  <a:lnTo>
                    <a:pt x="43" y="44"/>
                  </a:lnTo>
                  <a:lnTo>
                    <a:pt x="26" y="44"/>
                  </a:lnTo>
                  <a:lnTo>
                    <a:pt x="43" y="23"/>
                  </a:lnTo>
                  <a:lnTo>
                    <a:pt x="82" y="44"/>
                  </a:lnTo>
                  <a:lnTo>
                    <a:pt x="101" y="90"/>
                  </a:lnTo>
                  <a:lnTo>
                    <a:pt x="131" y="90"/>
                  </a:lnTo>
                  <a:lnTo>
                    <a:pt x="119" y="67"/>
                  </a:lnTo>
                  <a:lnTo>
                    <a:pt x="131" y="56"/>
                  </a:lnTo>
                  <a:lnTo>
                    <a:pt x="113" y="35"/>
                  </a:lnTo>
                  <a:lnTo>
                    <a:pt x="138" y="0"/>
                  </a:lnTo>
                  <a:lnTo>
                    <a:pt x="151" y="35"/>
                  </a:lnTo>
                  <a:lnTo>
                    <a:pt x="144" y="56"/>
                  </a:lnTo>
                  <a:lnTo>
                    <a:pt x="157" y="56"/>
                  </a:lnTo>
                  <a:lnTo>
                    <a:pt x="151" y="79"/>
                  </a:lnTo>
                  <a:lnTo>
                    <a:pt x="169" y="79"/>
                  </a:lnTo>
                  <a:lnTo>
                    <a:pt x="176" y="56"/>
                  </a:lnTo>
                  <a:lnTo>
                    <a:pt x="188" y="79"/>
                  </a:lnTo>
                  <a:lnTo>
                    <a:pt x="182" y="123"/>
                  </a:lnTo>
                  <a:lnTo>
                    <a:pt x="138" y="114"/>
                  </a:lnTo>
                  <a:lnTo>
                    <a:pt x="76" y="158"/>
                  </a:lnTo>
                  <a:lnTo>
                    <a:pt x="51" y="135"/>
                  </a:lnTo>
                  <a:lnTo>
                    <a:pt x="107" y="102"/>
                  </a:lnTo>
                  <a:lnTo>
                    <a:pt x="57" y="123"/>
                  </a:lnTo>
                  <a:lnTo>
                    <a:pt x="69" y="90"/>
                  </a:lnTo>
                  <a:lnTo>
                    <a:pt x="43" y="123"/>
                  </a:lnTo>
                  <a:lnTo>
                    <a:pt x="19" y="114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06" name="Freeform 130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1540123" y="2017713"/>
              <a:ext cx="276225" cy="123825"/>
            </a:xfrm>
            <a:custGeom>
              <a:avLst/>
              <a:gdLst>
                <a:gd name="T0" fmla="*/ 0 w 188"/>
                <a:gd name="T1" fmla="*/ 2147483647 h 158"/>
                <a:gd name="T2" fmla="*/ 2147483647 w 188"/>
                <a:gd name="T3" fmla="*/ 2147483647 h 158"/>
                <a:gd name="T4" fmla="*/ 2147483647 w 188"/>
                <a:gd name="T5" fmla="*/ 2147483647 h 158"/>
                <a:gd name="T6" fmla="*/ 2147483647 w 188"/>
                <a:gd name="T7" fmla="*/ 2147483647 h 158"/>
                <a:gd name="T8" fmla="*/ 2147483647 w 188"/>
                <a:gd name="T9" fmla="*/ 2147483647 h 158"/>
                <a:gd name="T10" fmla="*/ 2147483647 w 188"/>
                <a:gd name="T11" fmla="*/ 2147483647 h 158"/>
                <a:gd name="T12" fmla="*/ 2147483647 w 188"/>
                <a:gd name="T13" fmla="*/ 2147483647 h 158"/>
                <a:gd name="T14" fmla="*/ 2147483647 w 188"/>
                <a:gd name="T15" fmla="*/ 2147483647 h 158"/>
                <a:gd name="T16" fmla="*/ 2147483647 w 188"/>
                <a:gd name="T17" fmla="*/ 2147483647 h 158"/>
                <a:gd name="T18" fmla="*/ 2147483647 w 188"/>
                <a:gd name="T19" fmla="*/ 2147483647 h 158"/>
                <a:gd name="T20" fmla="*/ 2147483647 w 188"/>
                <a:gd name="T21" fmla="*/ 2147483647 h 158"/>
                <a:gd name="T22" fmla="*/ 2147483647 w 188"/>
                <a:gd name="T23" fmla="*/ 2147483647 h 158"/>
                <a:gd name="T24" fmla="*/ 2147483647 w 188"/>
                <a:gd name="T25" fmla="*/ 2147483647 h 158"/>
                <a:gd name="T26" fmla="*/ 2147483647 w 188"/>
                <a:gd name="T27" fmla="*/ 2147483647 h 158"/>
                <a:gd name="T28" fmla="*/ 2147483647 w 188"/>
                <a:gd name="T29" fmla="*/ 2147483647 h 158"/>
                <a:gd name="T30" fmla="*/ 2147483647 w 188"/>
                <a:gd name="T31" fmla="*/ 2147483647 h 158"/>
                <a:gd name="T32" fmla="*/ 2147483647 w 188"/>
                <a:gd name="T33" fmla="*/ 0 h 158"/>
                <a:gd name="T34" fmla="*/ 2147483647 w 188"/>
                <a:gd name="T35" fmla="*/ 2147483647 h 158"/>
                <a:gd name="T36" fmla="*/ 2147483647 w 188"/>
                <a:gd name="T37" fmla="*/ 2147483647 h 158"/>
                <a:gd name="T38" fmla="*/ 2147483647 w 188"/>
                <a:gd name="T39" fmla="*/ 2147483647 h 158"/>
                <a:gd name="T40" fmla="*/ 2147483647 w 188"/>
                <a:gd name="T41" fmla="*/ 2147483647 h 158"/>
                <a:gd name="T42" fmla="*/ 2147483647 w 188"/>
                <a:gd name="T43" fmla="*/ 2147483647 h 158"/>
                <a:gd name="T44" fmla="*/ 2147483647 w 188"/>
                <a:gd name="T45" fmla="*/ 2147483647 h 158"/>
                <a:gd name="T46" fmla="*/ 2147483647 w 188"/>
                <a:gd name="T47" fmla="*/ 2147483647 h 158"/>
                <a:gd name="T48" fmla="*/ 2147483647 w 188"/>
                <a:gd name="T49" fmla="*/ 2147483647 h 158"/>
                <a:gd name="T50" fmla="*/ 2147483647 w 188"/>
                <a:gd name="T51" fmla="*/ 2147483647 h 158"/>
                <a:gd name="T52" fmla="*/ 2147483647 w 188"/>
                <a:gd name="T53" fmla="*/ 2147483647 h 158"/>
                <a:gd name="T54" fmla="*/ 2147483647 w 188"/>
                <a:gd name="T55" fmla="*/ 2147483647 h 158"/>
                <a:gd name="T56" fmla="*/ 2147483647 w 188"/>
                <a:gd name="T57" fmla="*/ 2147483647 h 158"/>
                <a:gd name="T58" fmla="*/ 2147483647 w 188"/>
                <a:gd name="T59" fmla="*/ 2147483647 h 158"/>
                <a:gd name="T60" fmla="*/ 2147483647 w 188"/>
                <a:gd name="T61" fmla="*/ 2147483647 h 158"/>
                <a:gd name="T62" fmla="*/ 2147483647 w 188"/>
                <a:gd name="T63" fmla="*/ 2147483647 h 158"/>
                <a:gd name="T64" fmla="*/ 2147483647 w 188"/>
                <a:gd name="T65" fmla="*/ 2147483647 h 158"/>
                <a:gd name="T66" fmla="*/ 0 w 188"/>
                <a:gd name="T67" fmla="*/ 2147483647 h 15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8" h="158">
                  <a:moveTo>
                    <a:pt x="0" y="102"/>
                  </a:moveTo>
                  <a:lnTo>
                    <a:pt x="7" y="90"/>
                  </a:lnTo>
                  <a:lnTo>
                    <a:pt x="38" y="79"/>
                  </a:lnTo>
                  <a:lnTo>
                    <a:pt x="7" y="79"/>
                  </a:lnTo>
                  <a:lnTo>
                    <a:pt x="43" y="67"/>
                  </a:lnTo>
                  <a:lnTo>
                    <a:pt x="13" y="67"/>
                  </a:lnTo>
                  <a:lnTo>
                    <a:pt x="19" y="44"/>
                  </a:lnTo>
                  <a:lnTo>
                    <a:pt x="43" y="44"/>
                  </a:lnTo>
                  <a:lnTo>
                    <a:pt x="26" y="44"/>
                  </a:lnTo>
                  <a:lnTo>
                    <a:pt x="43" y="23"/>
                  </a:lnTo>
                  <a:lnTo>
                    <a:pt x="82" y="44"/>
                  </a:lnTo>
                  <a:lnTo>
                    <a:pt x="101" y="90"/>
                  </a:lnTo>
                  <a:lnTo>
                    <a:pt x="131" y="90"/>
                  </a:lnTo>
                  <a:lnTo>
                    <a:pt x="119" y="67"/>
                  </a:lnTo>
                  <a:lnTo>
                    <a:pt x="131" y="56"/>
                  </a:lnTo>
                  <a:lnTo>
                    <a:pt x="113" y="35"/>
                  </a:lnTo>
                  <a:lnTo>
                    <a:pt x="138" y="0"/>
                  </a:lnTo>
                  <a:lnTo>
                    <a:pt x="151" y="35"/>
                  </a:lnTo>
                  <a:lnTo>
                    <a:pt x="144" y="56"/>
                  </a:lnTo>
                  <a:lnTo>
                    <a:pt x="157" y="56"/>
                  </a:lnTo>
                  <a:lnTo>
                    <a:pt x="151" y="79"/>
                  </a:lnTo>
                  <a:lnTo>
                    <a:pt x="169" y="79"/>
                  </a:lnTo>
                  <a:lnTo>
                    <a:pt x="176" y="56"/>
                  </a:lnTo>
                  <a:lnTo>
                    <a:pt x="188" y="79"/>
                  </a:lnTo>
                  <a:lnTo>
                    <a:pt x="182" y="123"/>
                  </a:lnTo>
                  <a:lnTo>
                    <a:pt x="138" y="114"/>
                  </a:lnTo>
                  <a:lnTo>
                    <a:pt x="76" y="158"/>
                  </a:lnTo>
                  <a:lnTo>
                    <a:pt x="51" y="135"/>
                  </a:lnTo>
                  <a:lnTo>
                    <a:pt x="107" y="102"/>
                  </a:lnTo>
                  <a:lnTo>
                    <a:pt x="57" y="123"/>
                  </a:lnTo>
                  <a:lnTo>
                    <a:pt x="69" y="90"/>
                  </a:lnTo>
                  <a:lnTo>
                    <a:pt x="43" y="123"/>
                  </a:lnTo>
                  <a:lnTo>
                    <a:pt x="19" y="114"/>
                  </a:lnTo>
                  <a:lnTo>
                    <a:pt x="0" y="10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07" name="Freeform 131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1816348" y="1884363"/>
              <a:ext cx="144463" cy="80962"/>
            </a:xfrm>
            <a:custGeom>
              <a:avLst/>
              <a:gdLst>
                <a:gd name="T0" fmla="*/ 0 w 99"/>
                <a:gd name="T1" fmla="*/ 0 h 102"/>
                <a:gd name="T2" fmla="*/ 2147483647 w 99"/>
                <a:gd name="T3" fmla="*/ 2147483647 h 102"/>
                <a:gd name="T4" fmla="*/ 2147483647 w 99"/>
                <a:gd name="T5" fmla="*/ 2147483647 h 102"/>
                <a:gd name="T6" fmla="*/ 2147483647 w 99"/>
                <a:gd name="T7" fmla="*/ 2147483647 h 102"/>
                <a:gd name="T8" fmla="*/ 2147483647 w 99"/>
                <a:gd name="T9" fmla="*/ 2147483647 h 102"/>
                <a:gd name="T10" fmla="*/ 2147483647 w 99"/>
                <a:gd name="T11" fmla="*/ 2147483647 h 102"/>
                <a:gd name="T12" fmla="*/ 2147483647 w 99"/>
                <a:gd name="T13" fmla="*/ 2147483647 h 102"/>
                <a:gd name="T14" fmla="*/ 2147483647 w 99"/>
                <a:gd name="T15" fmla="*/ 2147483647 h 102"/>
                <a:gd name="T16" fmla="*/ 2147483647 w 99"/>
                <a:gd name="T17" fmla="*/ 2147483647 h 102"/>
                <a:gd name="T18" fmla="*/ 2147483647 w 99"/>
                <a:gd name="T19" fmla="*/ 2147483647 h 102"/>
                <a:gd name="T20" fmla="*/ 2147483647 w 99"/>
                <a:gd name="T21" fmla="*/ 2147483647 h 102"/>
                <a:gd name="T22" fmla="*/ 2147483647 w 99"/>
                <a:gd name="T23" fmla="*/ 0 h 102"/>
                <a:gd name="T24" fmla="*/ 0 w 99"/>
                <a:gd name="T25" fmla="*/ 0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9" h="102">
                  <a:moveTo>
                    <a:pt x="0" y="0"/>
                  </a:moveTo>
                  <a:lnTo>
                    <a:pt x="12" y="35"/>
                  </a:lnTo>
                  <a:lnTo>
                    <a:pt x="38" y="35"/>
                  </a:lnTo>
                  <a:lnTo>
                    <a:pt x="25" y="44"/>
                  </a:lnTo>
                  <a:lnTo>
                    <a:pt x="30" y="58"/>
                  </a:lnTo>
                  <a:lnTo>
                    <a:pt x="12" y="67"/>
                  </a:lnTo>
                  <a:lnTo>
                    <a:pt x="43" y="79"/>
                  </a:lnTo>
                  <a:lnTo>
                    <a:pt x="99" y="102"/>
                  </a:lnTo>
                  <a:lnTo>
                    <a:pt x="93" y="44"/>
                  </a:lnTo>
                  <a:lnTo>
                    <a:pt x="56" y="12"/>
                  </a:lnTo>
                  <a:lnTo>
                    <a:pt x="43" y="23"/>
                  </a:lnTo>
                  <a:lnTo>
                    <a:pt x="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08" name="Freeform 132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1816348" y="1884363"/>
              <a:ext cx="144463" cy="80962"/>
            </a:xfrm>
            <a:custGeom>
              <a:avLst/>
              <a:gdLst>
                <a:gd name="T0" fmla="*/ 0 w 99"/>
                <a:gd name="T1" fmla="*/ 0 h 102"/>
                <a:gd name="T2" fmla="*/ 2147483647 w 99"/>
                <a:gd name="T3" fmla="*/ 2147483647 h 102"/>
                <a:gd name="T4" fmla="*/ 2147483647 w 99"/>
                <a:gd name="T5" fmla="*/ 2147483647 h 102"/>
                <a:gd name="T6" fmla="*/ 2147483647 w 99"/>
                <a:gd name="T7" fmla="*/ 2147483647 h 102"/>
                <a:gd name="T8" fmla="*/ 2147483647 w 99"/>
                <a:gd name="T9" fmla="*/ 2147483647 h 102"/>
                <a:gd name="T10" fmla="*/ 2147483647 w 99"/>
                <a:gd name="T11" fmla="*/ 2147483647 h 102"/>
                <a:gd name="T12" fmla="*/ 2147483647 w 99"/>
                <a:gd name="T13" fmla="*/ 2147483647 h 102"/>
                <a:gd name="T14" fmla="*/ 2147483647 w 99"/>
                <a:gd name="T15" fmla="*/ 2147483647 h 102"/>
                <a:gd name="T16" fmla="*/ 2147483647 w 99"/>
                <a:gd name="T17" fmla="*/ 2147483647 h 102"/>
                <a:gd name="T18" fmla="*/ 2147483647 w 99"/>
                <a:gd name="T19" fmla="*/ 2147483647 h 102"/>
                <a:gd name="T20" fmla="*/ 2147483647 w 99"/>
                <a:gd name="T21" fmla="*/ 2147483647 h 102"/>
                <a:gd name="T22" fmla="*/ 2147483647 w 99"/>
                <a:gd name="T23" fmla="*/ 0 h 102"/>
                <a:gd name="T24" fmla="*/ 0 w 99"/>
                <a:gd name="T25" fmla="*/ 0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9" h="102">
                  <a:moveTo>
                    <a:pt x="0" y="0"/>
                  </a:moveTo>
                  <a:lnTo>
                    <a:pt x="12" y="35"/>
                  </a:lnTo>
                  <a:lnTo>
                    <a:pt x="38" y="35"/>
                  </a:lnTo>
                  <a:lnTo>
                    <a:pt x="25" y="44"/>
                  </a:lnTo>
                  <a:lnTo>
                    <a:pt x="30" y="58"/>
                  </a:lnTo>
                  <a:lnTo>
                    <a:pt x="12" y="67"/>
                  </a:lnTo>
                  <a:lnTo>
                    <a:pt x="43" y="79"/>
                  </a:lnTo>
                  <a:lnTo>
                    <a:pt x="99" y="102"/>
                  </a:lnTo>
                  <a:lnTo>
                    <a:pt x="93" y="44"/>
                  </a:lnTo>
                  <a:lnTo>
                    <a:pt x="56" y="12"/>
                  </a:lnTo>
                  <a:lnTo>
                    <a:pt x="43" y="23"/>
                  </a:lnTo>
                  <a:lnTo>
                    <a:pt x="38" y="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09" name="Freeform 133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1816348" y="1884363"/>
              <a:ext cx="144463" cy="80962"/>
            </a:xfrm>
            <a:custGeom>
              <a:avLst/>
              <a:gdLst>
                <a:gd name="T0" fmla="*/ 0 w 99"/>
                <a:gd name="T1" fmla="*/ 0 h 102"/>
                <a:gd name="T2" fmla="*/ 2147483647 w 99"/>
                <a:gd name="T3" fmla="*/ 2147483647 h 102"/>
                <a:gd name="T4" fmla="*/ 2147483647 w 99"/>
                <a:gd name="T5" fmla="*/ 2147483647 h 102"/>
                <a:gd name="T6" fmla="*/ 2147483647 w 99"/>
                <a:gd name="T7" fmla="*/ 2147483647 h 102"/>
                <a:gd name="T8" fmla="*/ 2147483647 w 99"/>
                <a:gd name="T9" fmla="*/ 2147483647 h 102"/>
                <a:gd name="T10" fmla="*/ 2147483647 w 99"/>
                <a:gd name="T11" fmla="*/ 2147483647 h 102"/>
                <a:gd name="T12" fmla="*/ 2147483647 w 99"/>
                <a:gd name="T13" fmla="*/ 2147483647 h 102"/>
                <a:gd name="T14" fmla="*/ 2147483647 w 99"/>
                <a:gd name="T15" fmla="*/ 2147483647 h 102"/>
                <a:gd name="T16" fmla="*/ 2147483647 w 99"/>
                <a:gd name="T17" fmla="*/ 2147483647 h 102"/>
                <a:gd name="T18" fmla="*/ 2147483647 w 99"/>
                <a:gd name="T19" fmla="*/ 2147483647 h 102"/>
                <a:gd name="T20" fmla="*/ 2147483647 w 99"/>
                <a:gd name="T21" fmla="*/ 2147483647 h 102"/>
                <a:gd name="T22" fmla="*/ 2147483647 w 99"/>
                <a:gd name="T23" fmla="*/ 0 h 102"/>
                <a:gd name="T24" fmla="*/ 0 w 99"/>
                <a:gd name="T25" fmla="*/ 0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9" h="102">
                  <a:moveTo>
                    <a:pt x="0" y="0"/>
                  </a:moveTo>
                  <a:lnTo>
                    <a:pt x="12" y="35"/>
                  </a:lnTo>
                  <a:lnTo>
                    <a:pt x="38" y="35"/>
                  </a:lnTo>
                  <a:lnTo>
                    <a:pt x="25" y="44"/>
                  </a:lnTo>
                  <a:lnTo>
                    <a:pt x="30" y="58"/>
                  </a:lnTo>
                  <a:lnTo>
                    <a:pt x="12" y="67"/>
                  </a:lnTo>
                  <a:lnTo>
                    <a:pt x="43" y="79"/>
                  </a:lnTo>
                  <a:lnTo>
                    <a:pt x="99" y="102"/>
                  </a:lnTo>
                  <a:lnTo>
                    <a:pt x="93" y="44"/>
                  </a:lnTo>
                  <a:lnTo>
                    <a:pt x="56" y="12"/>
                  </a:lnTo>
                  <a:lnTo>
                    <a:pt x="43" y="23"/>
                  </a:lnTo>
                  <a:lnTo>
                    <a:pt x="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10" name="Freeform 134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1816348" y="1884363"/>
              <a:ext cx="144463" cy="80962"/>
            </a:xfrm>
            <a:custGeom>
              <a:avLst/>
              <a:gdLst>
                <a:gd name="T0" fmla="*/ 0 w 99"/>
                <a:gd name="T1" fmla="*/ 0 h 102"/>
                <a:gd name="T2" fmla="*/ 2147483647 w 99"/>
                <a:gd name="T3" fmla="*/ 2147483647 h 102"/>
                <a:gd name="T4" fmla="*/ 2147483647 w 99"/>
                <a:gd name="T5" fmla="*/ 2147483647 h 102"/>
                <a:gd name="T6" fmla="*/ 2147483647 w 99"/>
                <a:gd name="T7" fmla="*/ 2147483647 h 102"/>
                <a:gd name="T8" fmla="*/ 2147483647 w 99"/>
                <a:gd name="T9" fmla="*/ 2147483647 h 102"/>
                <a:gd name="T10" fmla="*/ 2147483647 w 99"/>
                <a:gd name="T11" fmla="*/ 2147483647 h 102"/>
                <a:gd name="T12" fmla="*/ 2147483647 w 99"/>
                <a:gd name="T13" fmla="*/ 2147483647 h 102"/>
                <a:gd name="T14" fmla="*/ 2147483647 w 99"/>
                <a:gd name="T15" fmla="*/ 2147483647 h 102"/>
                <a:gd name="T16" fmla="*/ 2147483647 w 99"/>
                <a:gd name="T17" fmla="*/ 2147483647 h 102"/>
                <a:gd name="T18" fmla="*/ 2147483647 w 99"/>
                <a:gd name="T19" fmla="*/ 2147483647 h 102"/>
                <a:gd name="T20" fmla="*/ 2147483647 w 99"/>
                <a:gd name="T21" fmla="*/ 2147483647 h 102"/>
                <a:gd name="T22" fmla="*/ 2147483647 w 99"/>
                <a:gd name="T23" fmla="*/ 0 h 102"/>
                <a:gd name="T24" fmla="*/ 0 w 99"/>
                <a:gd name="T25" fmla="*/ 0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9" h="102">
                  <a:moveTo>
                    <a:pt x="0" y="0"/>
                  </a:moveTo>
                  <a:lnTo>
                    <a:pt x="12" y="35"/>
                  </a:lnTo>
                  <a:lnTo>
                    <a:pt x="38" y="35"/>
                  </a:lnTo>
                  <a:lnTo>
                    <a:pt x="25" y="44"/>
                  </a:lnTo>
                  <a:lnTo>
                    <a:pt x="30" y="58"/>
                  </a:lnTo>
                  <a:lnTo>
                    <a:pt x="12" y="67"/>
                  </a:lnTo>
                  <a:lnTo>
                    <a:pt x="43" y="79"/>
                  </a:lnTo>
                  <a:lnTo>
                    <a:pt x="99" y="102"/>
                  </a:lnTo>
                  <a:lnTo>
                    <a:pt x="93" y="44"/>
                  </a:lnTo>
                  <a:lnTo>
                    <a:pt x="56" y="12"/>
                  </a:lnTo>
                  <a:lnTo>
                    <a:pt x="43" y="23"/>
                  </a:lnTo>
                  <a:lnTo>
                    <a:pt x="38" y="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11" name="Freeform 135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1889373" y="2035175"/>
              <a:ext cx="109538" cy="79375"/>
            </a:xfrm>
            <a:custGeom>
              <a:avLst/>
              <a:gdLst>
                <a:gd name="T0" fmla="*/ 0 w 75"/>
                <a:gd name="T1" fmla="*/ 2147483647 h 100"/>
                <a:gd name="T2" fmla="*/ 2147483647 w 75"/>
                <a:gd name="T3" fmla="*/ 2147483647 h 100"/>
                <a:gd name="T4" fmla="*/ 2147483647 w 75"/>
                <a:gd name="T5" fmla="*/ 2147483647 h 100"/>
                <a:gd name="T6" fmla="*/ 2147483647 w 75"/>
                <a:gd name="T7" fmla="*/ 2147483647 h 100"/>
                <a:gd name="T8" fmla="*/ 2147483647 w 75"/>
                <a:gd name="T9" fmla="*/ 2147483647 h 100"/>
                <a:gd name="T10" fmla="*/ 2147483647 w 75"/>
                <a:gd name="T11" fmla="*/ 2147483647 h 100"/>
                <a:gd name="T12" fmla="*/ 2147483647 w 75"/>
                <a:gd name="T13" fmla="*/ 2147483647 h 100"/>
                <a:gd name="T14" fmla="*/ 2147483647 w 75"/>
                <a:gd name="T15" fmla="*/ 0 h 100"/>
                <a:gd name="T16" fmla="*/ 2147483647 w 75"/>
                <a:gd name="T17" fmla="*/ 2147483647 h 100"/>
                <a:gd name="T18" fmla="*/ 2147483647 w 75"/>
                <a:gd name="T19" fmla="*/ 2147483647 h 100"/>
                <a:gd name="T20" fmla="*/ 2147483647 w 75"/>
                <a:gd name="T21" fmla="*/ 2147483647 h 100"/>
                <a:gd name="T22" fmla="*/ 2147483647 w 75"/>
                <a:gd name="T23" fmla="*/ 2147483647 h 100"/>
                <a:gd name="T24" fmla="*/ 2147483647 w 75"/>
                <a:gd name="T25" fmla="*/ 2147483647 h 100"/>
                <a:gd name="T26" fmla="*/ 2147483647 w 75"/>
                <a:gd name="T27" fmla="*/ 2147483647 h 100"/>
                <a:gd name="T28" fmla="*/ 2147483647 w 75"/>
                <a:gd name="T29" fmla="*/ 2147483647 h 100"/>
                <a:gd name="T30" fmla="*/ 0 w 75"/>
                <a:gd name="T31" fmla="*/ 2147483647 h 1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5" h="100">
                  <a:moveTo>
                    <a:pt x="0" y="66"/>
                  </a:moveTo>
                  <a:lnTo>
                    <a:pt x="6" y="44"/>
                  </a:lnTo>
                  <a:lnTo>
                    <a:pt x="19" y="44"/>
                  </a:lnTo>
                  <a:lnTo>
                    <a:pt x="6" y="21"/>
                  </a:lnTo>
                  <a:lnTo>
                    <a:pt x="6" y="10"/>
                  </a:lnTo>
                  <a:lnTo>
                    <a:pt x="38" y="44"/>
                  </a:lnTo>
                  <a:lnTo>
                    <a:pt x="19" y="10"/>
                  </a:lnTo>
                  <a:lnTo>
                    <a:pt x="69" y="0"/>
                  </a:lnTo>
                  <a:lnTo>
                    <a:pt x="75" y="79"/>
                  </a:lnTo>
                  <a:lnTo>
                    <a:pt x="69" y="66"/>
                  </a:lnTo>
                  <a:lnTo>
                    <a:pt x="69" y="100"/>
                  </a:lnTo>
                  <a:lnTo>
                    <a:pt x="25" y="100"/>
                  </a:lnTo>
                  <a:lnTo>
                    <a:pt x="38" y="89"/>
                  </a:lnTo>
                  <a:lnTo>
                    <a:pt x="25" y="66"/>
                  </a:lnTo>
                  <a:lnTo>
                    <a:pt x="56" y="56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12" name="Freeform 136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1889373" y="2035175"/>
              <a:ext cx="109538" cy="79375"/>
            </a:xfrm>
            <a:custGeom>
              <a:avLst/>
              <a:gdLst>
                <a:gd name="T0" fmla="*/ 0 w 75"/>
                <a:gd name="T1" fmla="*/ 2147483647 h 100"/>
                <a:gd name="T2" fmla="*/ 2147483647 w 75"/>
                <a:gd name="T3" fmla="*/ 2147483647 h 100"/>
                <a:gd name="T4" fmla="*/ 2147483647 w 75"/>
                <a:gd name="T5" fmla="*/ 2147483647 h 100"/>
                <a:gd name="T6" fmla="*/ 2147483647 w 75"/>
                <a:gd name="T7" fmla="*/ 2147483647 h 100"/>
                <a:gd name="T8" fmla="*/ 2147483647 w 75"/>
                <a:gd name="T9" fmla="*/ 2147483647 h 100"/>
                <a:gd name="T10" fmla="*/ 2147483647 w 75"/>
                <a:gd name="T11" fmla="*/ 2147483647 h 100"/>
                <a:gd name="T12" fmla="*/ 2147483647 w 75"/>
                <a:gd name="T13" fmla="*/ 2147483647 h 100"/>
                <a:gd name="T14" fmla="*/ 2147483647 w 75"/>
                <a:gd name="T15" fmla="*/ 0 h 100"/>
                <a:gd name="T16" fmla="*/ 2147483647 w 75"/>
                <a:gd name="T17" fmla="*/ 2147483647 h 100"/>
                <a:gd name="T18" fmla="*/ 2147483647 w 75"/>
                <a:gd name="T19" fmla="*/ 2147483647 h 100"/>
                <a:gd name="T20" fmla="*/ 2147483647 w 75"/>
                <a:gd name="T21" fmla="*/ 2147483647 h 100"/>
                <a:gd name="T22" fmla="*/ 2147483647 w 75"/>
                <a:gd name="T23" fmla="*/ 2147483647 h 100"/>
                <a:gd name="T24" fmla="*/ 2147483647 w 75"/>
                <a:gd name="T25" fmla="*/ 2147483647 h 100"/>
                <a:gd name="T26" fmla="*/ 2147483647 w 75"/>
                <a:gd name="T27" fmla="*/ 2147483647 h 100"/>
                <a:gd name="T28" fmla="*/ 2147483647 w 75"/>
                <a:gd name="T29" fmla="*/ 2147483647 h 100"/>
                <a:gd name="T30" fmla="*/ 0 w 75"/>
                <a:gd name="T31" fmla="*/ 2147483647 h 1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5" h="100">
                  <a:moveTo>
                    <a:pt x="0" y="66"/>
                  </a:moveTo>
                  <a:lnTo>
                    <a:pt x="6" y="44"/>
                  </a:lnTo>
                  <a:lnTo>
                    <a:pt x="19" y="44"/>
                  </a:lnTo>
                  <a:lnTo>
                    <a:pt x="6" y="21"/>
                  </a:lnTo>
                  <a:lnTo>
                    <a:pt x="6" y="10"/>
                  </a:lnTo>
                  <a:lnTo>
                    <a:pt x="38" y="44"/>
                  </a:lnTo>
                  <a:lnTo>
                    <a:pt x="19" y="10"/>
                  </a:lnTo>
                  <a:lnTo>
                    <a:pt x="69" y="0"/>
                  </a:lnTo>
                  <a:lnTo>
                    <a:pt x="75" y="79"/>
                  </a:lnTo>
                  <a:lnTo>
                    <a:pt x="69" y="66"/>
                  </a:lnTo>
                  <a:lnTo>
                    <a:pt x="69" y="100"/>
                  </a:lnTo>
                  <a:lnTo>
                    <a:pt x="25" y="100"/>
                  </a:lnTo>
                  <a:lnTo>
                    <a:pt x="38" y="89"/>
                  </a:lnTo>
                  <a:lnTo>
                    <a:pt x="25" y="66"/>
                  </a:lnTo>
                  <a:lnTo>
                    <a:pt x="56" y="56"/>
                  </a:lnTo>
                  <a:lnTo>
                    <a:pt x="0" y="6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13" name="Freeform 137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1889373" y="2035175"/>
              <a:ext cx="109538" cy="79375"/>
            </a:xfrm>
            <a:custGeom>
              <a:avLst/>
              <a:gdLst>
                <a:gd name="T0" fmla="*/ 0 w 75"/>
                <a:gd name="T1" fmla="*/ 2147483647 h 100"/>
                <a:gd name="T2" fmla="*/ 2147483647 w 75"/>
                <a:gd name="T3" fmla="*/ 2147483647 h 100"/>
                <a:gd name="T4" fmla="*/ 2147483647 w 75"/>
                <a:gd name="T5" fmla="*/ 2147483647 h 100"/>
                <a:gd name="T6" fmla="*/ 2147483647 w 75"/>
                <a:gd name="T7" fmla="*/ 2147483647 h 100"/>
                <a:gd name="T8" fmla="*/ 2147483647 w 75"/>
                <a:gd name="T9" fmla="*/ 2147483647 h 100"/>
                <a:gd name="T10" fmla="*/ 2147483647 w 75"/>
                <a:gd name="T11" fmla="*/ 2147483647 h 100"/>
                <a:gd name="T12" fmla="*/ 2147483647 w 75"/>
                <a:gd name="T13" fmla="*/ 2147483647 h 100"/>
                <a:gd name="T14" fmla="*/ 2147483647 w 75"/>
                <a:gd name="T15" fmla="*/ 0 h 100"/>
                <a:gd name="T16" fmla="*/ 2147483647 w 75"/>
                <a:gd name="T17" fmla="*/ 2147483647 h 100"/>
                <a:gd name="T18" fmla="*/ 2147483647 w 75"/>
                <a:gd name="T19" fmla="*/ 2147483647 h 100"/>
                <a:gd name="T20" fmla="*/ 2147483647 w 75"/>
                <a:gd name="T21" fmla="*/ 2147483647 h 100"/>
                <a:gd name="T22" fmla="*/ 2147483647 w 75"/>
                <a:gd name="T23" fmla="*/ 2147483647 h 100"/>
                <a:gd name="T24" fmla="*/ 2147483647 w 75"/>
                <a:gd name="T25" fmla="*/ 2147483647 h 100"/>
                <a:gd name="T26" fmla="*/ 2147483647 w 75"/>
                <a:gd name="T27" fmla="*/ 2147483647 h 100"/>
                <a:gd name="T28" fmla="*/ 2147483647 w 75"/>
                <a:gd name="T29" fmla="*/ 2147483647 h 100"/>
                <a:gd name="T30" fmla="*/ 0 w 75"/>
                <a:gd name="T31" fmla="*/ 2147483647 h 1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5" h="100">
                  <a:moveTo>
                    <a:pt x="0" y="66"/>
                  </a:moveTo>
                  <a:lnTo>
                    <a:pt x="6" y="44"/>
                  </a:lnTo>
                  <a:lnTo>
                    <a:pt x="19" y="44"/>
                  </a:lnTo>
                  <a:lnTo>
                    <a:pt x="6" y="21"/>
                  </a:lnTo>
                  <a:lnTo>
                    <a:pt x="6" y="10"/>
                  </a:lnTo>
                  <a:lnTo>
                    <a:pt x="38" y="44"/>
                  </a:lnTo>
                  <a:lnTo>
                    <a:pt x="19" y="10"/>
                  </a:lnTo>
                  <a:lnTo>
                    <a:pt x="69" y="0"/>
                  </a:lnTo>
                  <a:lnTo>
                    <a:pt x="75" y="79"/>
                  </a:lnTo>
                  <a:lnTo>
                    <a:pt x="69" y="66"/>
                  </a:lnTo>
                  <a:lnTo>
                    <a:pt x="69" y="100"/>
                  </a:lnTo>
                  <a:lnTo>
                    <a:pt x="25" y="100"/>
                  </a:lnTo>
                  <a:lnTo>
                    <a:pt x="38" y="89"/>
                  </a:lnTo>
                  <a:lnTo>
                    <a:pt x="25" y="66"/>
                  </a:lnTo>
                  <a:lnTo>
                    <a:pt x="56" y="56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14" name="Freeform 138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1889373" y="2035175"/>
              <a:ext cx="109538" cy="79375"/>
            </a:xfrm>
            <a:custGeom>
              <a:avLst/>
              <a:gdLst>
                <a:gd name="T0" fmla="*/ 0 w 75"/>
                <a:gd name="T1" fmla="*/ 2147483647 h 100"/>
                <a:gd name="T2" fmla="*/ 2147483647 w 75"/>
                <a:gd name="T3" fmla="*/ 2147483647 h 100"/>
                <a:gd name="T4" fmla="*/ 2147483647 w 75"/>
                <a:gd name="T5" fmla="*/ 2147483647 h 100"/>
                <a:gd name="T6" fmla="*/ 2147483647 w 75"/>
                <a:gd name="T7" fmla="*/ 2147483647 h 100"/>
                <a:gd name="T8" fmla="*/ 2147483647 w 75"/>
                <a:gd name="T9" fmla="*/ 2147483647 h 100"/>
                <a:gd name="T10" fmla="*/ 2147483647 w 75"/>
                <a:gd name="T11" fmla="*/ 2147483647 h 100"/>
                <a:gd name="T12" fmla="*/ 2147483647 w 75"/>
                <a:gd name="T13" fmla="*/ 2147483647 h 100"/>
                <a:gd name="T14" fmla="*/ 2147483647 w 75"/>
                <a:gd name="T15" fmla="*/ 0 h 100"/>
                <a:gd name="T16" fmla="*/ 2147483647 w 75"/>
                <a:gd name="T17" fmla="*/ 2147483647 h 100"/>
                <a:gd name="T18" fmla="*/ 2147483647 w 75"/>
                <a:gd name="T19" fmla="*/ 2147483647 h 100"/>
                <a:gd name="T20" fmla="*/ 2147483647 w 75"/>
                <a:gd name="T21" fmla="*/ 2147483647 h 100"/>
                <a:gd name="T22" fmla="*/ 2147483647 w 75"/>
                <a:gd name="T23" fmla="*/ 2147483647 h 100"/>
                <a:gd name="T24" fmla="*/ 2147483647 w 75"/>
                <a:gd name="T25" fmla="*/ 2147483647 h 100"/>
                <a:gd name="T26" fmla="*/ 2147483647 w 75"/>
                <a:gd name="T27" fmla="*/ 2147483647 h 100"/>
                <a:gd name="T28" fmla="*/ 2147483647 w 75"/>
                <a:gd name="T29" fmla="*/ 2147483647 h 100"/>
                <a:gd name="T30" fmla="*/ 0 w 75"/>
                <a:gd name="T31" fmla="*/ 2147483647 h 1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5" h="100">
                  <a:moveTo>
                    <a:pt x="0" y="66"/>
                  </a:moveTo>
                  <a:lnTo>
                    <a:pt x="6" y="44"/>
                  </a:lnTo>
                  <a:lnTo>
                    <a:pt x="19" y="44"/>
                  </a:lnTo>
                  <a:lnTo>
                    <a:pt x="6" y="21"/>
                  </a:lnTo>
                  <a:lnTo>
                    <a:pt x="6" y="10"/>
                  </a:lnTo>
                  <a:lnTo>
                    <a:pt x="38" y="44"/>
                  </a:lnTo>
                  <a:lnTo>
                    <a:pt x="19" y="10"/>
                  </a:lnTo>
                  <a:lnTo>
                    <a:pt x="69" y="0"/>
                  </a:lnTo>
                  <a:lnTo>
                    <a:pt x="75" y="79"/>
                  </a:lnTo>
                  <a:lnTo>
                    <a:pt x="69" y="66"/>
                  </a:lnTo>
                  <a:lnTo>
                    <a:pt x="69" y="100"/>
                  </a:lnTo>
                  <a:lnTo>
                    <a:pt x="25" y="100"/>
                  </a:lnTo>
                  <a:lnTo>
                    <a:pt x="38" y="89"/>
                  </a:lnTo>
                  <a:lnTo>
                    <a:pt x="25" y="66"/>
                  </a:lnTo>
                  <a:lnTo>
                    <a:pt x="56" y="56"/>
                  </a:lnTo>
                  <a:lnTo>
                    <a:pt x="0" y="6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15" name="Freeform 139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1889373" y="2168525"/>
              <a:ext cx="138113" cy="122238"/>
            </a:xfrm>
            <a:custGeom>
              <a:avLst/>
              <a:gdLst>
                <a:gd name="T0" fmla="*/ 0 w 94"/>
                <a:gd name="T1" fmla="*/ 2147483647 h 156"/>
                <a:gd name="T2" fmla="*/ 2147483647 w 94"/>
                <a:gd name="T3" fmla="*/ 2147483647 h 156"/>
                <a:gd name="T4" fmla="*/ 2147483647 w 94"/>
                <a:gd name="T5" fmla="*/ 2147483647 h 156"/>
                <a:gd name="T6" fmla="*/ 2147483647 w 94"/>
                <a:gd name="T7" fmla="*/ 2147483647 h 156"/>
                <a:gd name="T8" fmla="*/ 2147483647 w 94"/>
                <a:gd name="T9" fmla="*/ 2147483647 h 156"/>
                <a:gd name="T10" fmla="*/ 2147483647 w 94"/>
                <a:gd name="T11" fmla="*/ 2147483647 h 156"/>
                <a:gd name="T12" fmla="*/ 2147483647 w 94"/>
                <a:gd name="T13" fmla="*/ 2147483647 h 156"/>
                <a:gd name="T14" fmla="*/ 2147483647 w 94"/>
                <a:gd name="T15" fmla="*/ 2147483647 h 156"/>
                <a:gd name="T16" fmla="*/ 2147483647 w 94"/>
                <a:gd name="T17" fmla="*/ 0 h 156"/>
                <a:gd name="T18" fmla="*/ 2147483647 w 94"/>
                <a:gd name="T19" fmla="*/ 2147483647 h 156"/>
                <a:gd name="T20" fmla="*/ 2147483647 w 94"/>
                <a:gd name="T21" fmla="*/ 2147483647 h 156"/>
                <a:gd name="T22" fmla="*/ 2147483647 w 94"/>
                <a:gd name="T23" fmla="*/ 2147483647 h 156"/>
                <a:gd name="T24" fmla="*/ 2147483647 w 94"/>
                <a:gd name="T25" fmla="*/ 2147483647 h 156"/>
                <a:gd name="T26" fmla="*/ 2147483647 w 94"/>
                <a:gd name="T27" fmla="*/ 2147483647 h 156"/>
                <a:gd name="T28" fmla="*/ 2147483647 w 94"/>
                <a:gd name="T29" fmla="*/ 2147483647 h 156"/>
                <a:gd name="T30" fmla="*/ 0 w 94"/>
                <a:gd name="T31" fmla="*/ 2147483647 h 1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4" h="156">
                  <a:moveTo>
                    <a:pt x="0" y="77"/>
                  </a:moveTo>
                  <a:lnTo>
                    <a:pt x="6" y="66"/>
                  </a:lnTo>
                  <a:lnTo>
                    <a:pt x="38" y="77"/>
                  </a:lnTo>
                  <a:lnTo>
                    <a:pt x="30" y="45"/>
                  </a:lnTo>
                  <a:lnTo>
                    <a:pt x="38" y="56"/>
                  </a:lnTo>
                  <a:lnTo>
                    <a:pt x="19" y="33"/>
                  </a:lnTo>
                  <a:lnTo>
                    <a:pt x="25" y="33"/>
                  </a:lnTo>
                  <a:lnTo>
                    <a:pt x="19" y="21"/>
                  </a:lnTo>
                  <a:lnTo>
                    <a:pt x="75" y="0"/>
                  </a:lnTo>
                  <a:lnTo>
                    <a:pt x="80" y="45"/>
                  </a:lnTo>
                  <a:lnTo>
                    <a:pt x="62" y="66"/>
                  </a:lnTo>
                  <a:lnTo>
                    <a:pt x="88" y="77"/>
                  </a:lnTo>
                  <a:lnTo>
                    <a:pt x="94" y="135"/>
                  </a:lnTo>
                  <a:lnTo>
                    <a:pt x="49" y="156"/>
                  </a:lnTo>
                  <a:lnTo>
                    <a:pt x="38" y="121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16" name="Freeform 140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1889373" y="2168525"/>
              <a:ext cx="138113" cy="122238"/>
            </a:xfrm>
            <a:custGeom>
              <a:avLst/>
              <a:gdLst>
                <a:gd name="T0" fmla="*/ 0 w 94"/>
                <a:gd name="T1" fmla="*/ 2147483647 h 156"/>
                <a:gd name="T2" fmla="*/ 2147483647 w 94"/>
                <a:gd name="T3" fmla="*/ 2147483647 h 156"/>
                <a:gd name="T4" fmla="*/ 2147483647 w 94"/>
                <a:gd name="T5" fmla="*/ 2147483647 h 156"/>
                <a:gd name="T6" fmla="*/ 2147483647 w 94"/>
                <a:gd name="T7" fmla="*/ 2147483647 h 156"/>
                <a:gd name="T8" fmla="*/ 2147483647 w 94"/>
                <a:gd name="T9" fmla="*/ 2147483647 h 156"/>
                <a:gd name="T10" fmla="*/ 2147483647 w 94"/>
                <a:gd name="T11" fmla="*/ 2147483647 h 156"/>
                <a:gd name="T12" fmla="*/ 2147483647 w 94"/>
                <a:gd name="T13" fmla="*/ 2147483647 h 156"/>
                <a:gd name="T14" fmla="*/ 2147483647 w 94"/>
                <a:gd name="T15" fmla="*/ 2147483647 h 156"/>
                <a:gd name="T16" fmla="*/ 2147483647 w 94"/>
                <a:gd name="T17" fmla="*/ 0 h 156"/>
                <a:gd name="T18" fmla="*/ 2147483647 w 94"/>
                <a:gd name="T19" fmla="*/ 2147483647 h 156"/>
                <a:gd name="T20" fmla="*/ 2147483647 w 94"/>
                <a:gd name="T21" fmla="*/ 2147483647 h 156"/>
                <a:gd name="T22" fmla="*/ 2147483647 w 94"/>
                <a:gd name="T23" fmla="*/ 2147483647 h 156"/>
                <a:gd name="T24" fmla="*/ 2147483647 w 94"/>
                <a:gd name="T25" fmla="*/ 2147483647 h 156"/>
                <a:gd name="T26" fmla="*/ 2147483647 w 94"/>
                <a:gd name="T27" fmla="*/ 2147483647 h 156"/>
                <a:gd name="T28" fmla="*/ 2147483647 w 94"/>
                <a:gd name="T29" fmla="*/ 2147483647 h 156"/>
                <a:gd name="T30" fmla="*/ 0 w 94"/>
                <a:gd name="T31" fmla="*/ 2147483647 h 1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4" h="156">
                  <a:moveTo>
                    <a:pt x="0" y="77"/>
                  </a:moveTo>
                  <a:lnTo>
                    <a:pt x="6" y="66"/>
                  </a:lnTo>
                  <a:lnTo>
                    <a:pt x="38" y="77"/>
                  </a:lnTo>
                  <a:lnTo>
                    <a:pt x="30" y="45"/>
                  </a:lnTo>
                  <a:lnTo>
                    <a:pt x="38" y="56"/>
                  </a:lnTo>
                  <a:lnTo>
                    <a:pt x="19" y="33"/>
                  </a:lnTo>
                  <a:lnTo>
                    <a:pt x="25" y="33"/>
                  </a:lnTo>
                  <a:lnTo>
                    <a:pt x="19" y="21"/>
                  </a:lnTo>
                  <a:lnTo>
                    <a:pt x="75" y="0"/>
                  </a:lnTo>
                  <a:lnTo>
                    <a:pt x="80" y="45"/>
                  </a:lnTo>
                  <a:lnTo>
                    <a:pt x="62" y="66"/>
                  </a:lnTo>
                  <a:lnTo>
                    <a:pt x="88" y="77"/>
                  </a:lnTo>
                  <a:lnTo>
                    <a:pt x="94" y="135"/>
                  </a:lnTo>
                  <a:lnTo>
                    <a:pt x="49" y="156"/>
                  </a:lnTo>
                  <a:lnTo>
                    <a:pt x="38" y="121"/>
                  </a:lnTo>
                  <a:lnTo>
                    <a:pt x="0" y="7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17" name="Freeform 141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1889373" y="2168525"/>
              <a:ext cx="138113" cy="122238"/>
            </a:xfrm>
            <a:custGeom>
              <a:avLst/>
              <a:gdLst>
                <a:gd name="T0" fmla="*/ 0 w 94"/>
                <a:gd name="T1" fmla="*/ 2147483647 h 156"/>
                <a:gd name="T2" fmla="*/ 2147483647 w 94"/>
                <a:gd name="T3" fmla="*/ 2147483647 h 156"/>
                <a:gd name="T4" fmla="*/ 2147483647 w 94"/>
                <a:gd name="T5" fmla="*/ 2147483647 h 156"/>
                <a:gd name="T6" fmla="*/ 2147483647 w 94"/>
                <a:gd name="T7" fmla="*/ 2147483647 h 156"/>
                <a:gd name="T8" fmla="*/ 2147483647 w 94"/>
                <a:gd name="T9" fmla="*/ 2147483647 h 156"/>
                <a:gd name="T10" fmla="*/ 2147483647 w 94"/>
                <a:gd name="T11" fmla="*/ 2147483647 h 156"/>
                <a:gd name="T12" fmla="*/ 2147483647 w 94"/>
                <a:gd name="T13" fmla="*/ 2147483647 h 156"/>
                <a:gd name="T14" fmla="*/ 2147483647 w 94"/>
                <a:gd name="T15" fmla="*/ 2147483647 h 156"/>
                <a:gd name="T16" fmla="*/ 2147483647 w 94"/>
                <a:gd name="T17" fmla="*/ 0 h 156"/>
                <a:gd name="T18" fmla="*/ 2147483647 w 94"/>
                <a:gd name="T19" fmla="*/ 2147483647 h 156"/>
                <a:gd name="T20" fmla="*/ 2147483647 w 94"/>
                <a:gd name="T21" fmla="*/ 2147483647 h 156"/>
                <a:gd name="T22" fmla="*/ 2147483647 w 94"/>
                <a:gd name="T23" fmla="*/ 2147483647 h 156"/>
                <a:gd name="T24" fmla="*/ 2147483647 w 94"/>
                <a:gd name="T25" fmla="*/ 2147483647 h 156"/>
                <a:gd name="T26" fmla="*/ 2147483647 w 94"/>
                <a:gd name="T27" fmla="*/ 2147483647 h 156"/>
                <a:gd name="T28" fmla="*/ 2147483647 w 94"/>
                <a:gd name="T29" fmla="*/ 2147483647 h 156"/>
                <a:gd name="T30" fmla="*/ 0 w 94"/>
                <a:gd name="T31" fmla="*/ 2147483647 h 1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4" h="156">
                  <a:moveTo>
                    <a:pt x="0" y="77"/>
                  </a:moveTo>
                  <a:lnTo>
                    <a:pt x="6" y="66"/>
                  </a:lnTo>
                  <a:lnTo>
                    <a:pt x="38" y="77"/>
                  </a:lnTo>
                  <a:lnTo>
                    <a:pt x="30" y="45"/>
                  </a:lnTo>
                  <a:lnTo>
                    <a:pt x="38" y="56"/>
                  </a:lnTo>
                  <a:lnTo>
                    <a:pt x="19" y="33"/>
                  </a:lnTo>
                  <a:lnTo>
                    <a:pt x="25" y="33"/>
                  </a:lnTo>
                  <a:lnTo>
                    <a:pt x="19" y="21"/>
                  </a:lnTo>
                  <a:lnTo>
                    <a:pt x="75" y="0"/>
                  </a:lnTo>
                  <a:lnTo>
                    <a:pt x="80" y="45"/>
                  </a:lnTo>
                  <a:lnTo>
                    <a:pt x="62" y="66"/>
                  </a:lnTo>
                  <a:lnTo>
                    <a:pt x="88" y="77"/>
                  </a:lnTo>
                  <a:lnTo>
                    <a:pt x="94" y="135"/>
                  </a:lnTo>
                  <a:lnTo>
                    <a:pt x="49" y="156"/>
                  </a:lnTo>
                  <a:lnTo>
                    <a:pt x="38" y="121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18" name="Freeform 142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1889373" y="2168525"/>
              <a:ext cx="138113" cy="122238"/>
            </a:xfrm>
            <a:custGeom>
              <a:avLst/>
              <a:gdLst>
                <a:gd name="T0" fmla="*/ 0 w 94"/>
                <a:gd name="T1" fmla="*/ 2147483647 h 156"/>
                <a:gd name="T2" fmla="*/ 2147483647 w 94"/>
                <a:gd name="T3" fmla="*/ 2147483647 h 156"/>
                <a:gd name="T4" fmla="*/ 2147483647 w 94"/>
                <a:gd name="T5" fmla="*/ 2147483647 h 156"/>
                <a:gd name="T6" fmla="*/ 2147483647 w 94"/>
                <a:gd name="T7" fmla="*/ 2147483647 h 156"/>
                <a:gd name="T8" fmla="*/ 2147483647 w 94"/>
                <a:gd name="T9" fmla="*/ 2147483647 h 156"/>
                <a:gd name="T10" fmla="*/ 2147483647 w 94"/>
                <a:gd name="T11" fmla="*/ 2147483647 h 156"/>
                <a:gd name="T12" fmla="*/ 2147483647 w 94"/>
                <a:gd name="T13" fmla="*/ 2147483647 h 156"/>
                <a:gd name="T14" fmla="*/ 2147483647 w 94"/>
                <a:gd name="T15" fmla="*/ 2147483647 h 156"/>
                <a:gd name="T16" fmla="*/ 2147483647 w 94"/>
                <a:gd name="T17" fmla="*/ 0 h 156"/>
                <a:gd name="T18" fmla="*/ 2147483647 w 94"/>
                <a:gd name="T19" fmla="*/ 2147483647 h 156"/>
                <a:gd name="T20" fmla="*/ 2147483647 w 94"/>
                <a:gd name="T21" fmla="*/ 2147483647 h 156"/>
                <a:gd name="T22" fmla="*/ 2147483647 w 94"/>
                <a:gd name="T23" fmla="*/ 2147483647 h 156"/>
                <a:gd name="T24" fmla="*/ 2147483647 w 94"/>
                <a:gd name="T25" fmla="*/ 2147483647 h 156"/>
                <a:gd name="T26" fmla="*/ 2147483647 w 94"/>
                <a:gd name="T27" fmla="*/ 2147483647 h 156"/>
                <a:gd name="T28" fmla="*/ 2147483647 w 94"/>
                <a:gd name="T29" fmla="*/ 2147483647 h 156"/>
                <a:gd name="T30" fmla="*/ 0 w 94"/>
                <a:gd name="T31" fmla="*/ 2147483647 h 1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4" h="156">
                  <a:moveTo>
                    <a:pt x="0" y="77"/>
                  </a:moveTo>
                  <a:lnTo>
                    <a:pt x="6" y="66"/>
                  </a:lnTo>
                  <a:lnTo>
                    <a:pt x="38" y="77"/>
                  </a:lnTo>
                  <a:lnTo>
                    <a:pt x="30" y="45"/>
                  </a:lnTo>
                  <a:lnTo>
                    <a:pt x="38" y="56"/>
                  </a:lnTo>
                  <a:lnTo>
                    <a:pt x="19" y="33"/>
                  </a:lnTo>
                  <a:lnTo>
                    <a:pt x="25" y="33"/>
                  </a:lnTo>
                  <a:lnTo>
                    <a:pt x="19" y="21"/>
                  </a:lnTo>
                  <a:lnTo>
                    <a:pt x="75" y="0"/>
                  </a:lnTo>
                  <a:lnTo>
                    <a:pt x="80" y="45"/>
                  </a:lnTo>
                  <a:lnTo>
                    <a:pt x="62" y="66"/>
                  </a:lnTo>
                  <a:lnTo>
                    <a:pt x="88" y="77"/>
                  </a:lnTo>
                  <a:lnTo>
                    <a:pt x="94" y="135"/>
                  </a:lnTo>
                  <a:lnTo>
                    <a:pt x="49" y="156"/>
                  </a:lnTo>
                  <a:lnTo>
                    <a:pt x="38" y="121"/>
                  </a:lnTo>
                  <a:lnTo>
                    <a:pt x="0" y="7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19" name="Freeform 143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1979861" y="1911350"/>
              <a:ext cx="82550" cy="61913"/>
            </a:xfrm>
            <a:custGeom>
              <a:avLst/>
              <a:gdLst>
                <a:gd name="T0" fmla="*/ 0 w 56"/>
                <a:gd name="T1" fmla="*/ 0 h 77"/>
                <a:gd name="T2" fmla="*/ 2147483647 w 56"/>
                <a:gd name="T3" fmla="*/ 2147483647 h 77"/>
                <a:gd name="T4" fmla="*/ 2147483647 w 56"/>
                <a:gd name="T5" fmla="*/ 2147483647 h 77"/>
                <a:gd name="T6" fmla="*/ 2147483647 w 56"/>
                <a:gd name="T7" fmla="*/ 2147483647 h 77"/>
                <a:gd name="T8" fmla="*/ 2147483647 w 56"/>
                <a:gd name="T9" fmla="*/ 2147483647 h 77"/>
                <a:gd name="T10" fmla="*/ 2147483647 w 56"/>
                <a:gd name="T11" fmla="*/ 2147483647 h 77"/>
                <a:gd name="T12" fmla="*/ 2147483647 w 56"/>
                <a:gd name="T13" fmla="*/ 2147483647 h 77"/>
                <a:gd name="T14" fmla="*/ 0 w 56"/>
                <a:gd name="T15" fmla="*/ 0 h 7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77">
                  <a:moveTo>
                    <a:pt x="0" y="0"/>
                  </a:moveTo>
                  <a:lnTo>
                    <a:pt x="7" y="44"/>
                  </a:lnTo>
                  <a:lnTo>
                    <a:pt x="26" y="44"/>
                  </a:lnTo>
                  <a:lnTo>
                    <a:pt x="13" y="53"/>
                  </a:lnTo>
                  <a:lnTo>
                    <a:pt x="18" y="77"/>
                  </a:lnTo>
                  <a:lnTo>
                    <a:pt x="50" y="67"/>
                  </a:lnTo>
                  <a:lnTo>
                    <a:pt x="56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20" name="Freeform 144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1979861" y="1911350"/>
              <a:ext cx="82550" cy="61913"/>
            </a:xfrm>
            <a:custGeom>
              <a:avLst/>
              <a:gdLst>
                <a:gd name="T0" fmla="*/ 0 w 56"/>
                <a:gd name="T1" fmla="*/ 0 h 77"/>
                <a:gd name="T2" fmla="*/ 2147483647 w 56"/>
                <a:gd name="T3" fmla="*/ 2147483647 h 77"/>
                <a:gd name="T4" fmla="*/ 2147483647 w 56"/>
                <a:gd name="T5" fmla="*/ 2147483647 h 77"/>
                <a:gd name="T6" fmla="*/ 2147483647 w 56"/>
                <a:gd name="T7" fmla="*/ 2147483647 h 77"/>
                <a:gd name="T8" fmla="*/ 2147483647 w 56"/>
                <a:gd name="T9" fmla="*/ 2147483647 h 77"/>
                <a:gd name="T10" fmla="*/ 2147483647 w 56"/>
                <a:gd name="T11" fmla="*/ 2147483647 h 77"/>
                <a:gd name="T12" fmla="*/ 2147483647 w 56"/>
                <a:gd name="T13" fmla="*/ 2147483647 h 77"/>
                <a:gd name="T14" fmla="*/ 0 w 56"/>
                <a:gd name="T15" fmla="*/ 0 h 7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77">
                  <a:moveTo>
                    <a:pt x="0" y="0"/>
                  </a:moveTo>
                  <a:lnTo>
                    <a:pt x="7" y="44"/>
                  </a:lnTo>
                  <a:lnTo>
                    <a:pt x="26" y="44"/>
                  </a:lnTo>
                  <a:lnTo>
                    <a:pt x="13" y="53"/>
                  </a:lnTo>
                  <a:lnTo>
                    <a:pt x="18" y="77"/>
                  </a:lnTo>
                  <a:lnTo>
                    <a:pt x="50" y="67"/>
                  </a:lnTo>
                  <a:lnTo>
                    <a:pt x="56" y="32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21" name="Freeform 145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1979861" y="1911350"/>
              <a:ext cx="82550" cy="61913"/>
            </a:xfrm>
            <a:custGeom>
              <a:avLst/>
              <a:gdLst>
                <a:gd name="T0" fmla="*/ 0 w 56"/>
                <a:gd name="T1" fmla="*/ 0 h 77"/>
                <a:gd name="T2" fmla="*/ 2147483647 w 56"/>
                <a:gd name="T3" fmla="*/ 2147483647 h 77"/>
                <a:gd name="T4" fmla="*/ 2147483647 w 56"/>
                <a:gd name="T5" fmla="*/ 2147483647 h 77"/>
                <a:gd name="T6" fmla="*/ 2147483647 w 56"/>
                <a:gd name="T7" fmla="*/ 2147483647 h 77"/>
                <a:gd name="T8" fmla="*/ 2147483647 w 56"/>
                <a:gd name="T9" fmla="*/ 2147483647 h 77"/>
                <a:gd name="T10" fmla="*/ 2147483647 w 56"/>
                <a:gd name="T11" fmla="*/ 2147483647 h 77"/>
                <a:gd name="T12" fmla="*/ 2147483647 w 56"/>
                <a:gd name="T13" fmla="*/ 2147483647 h 77"/>
                <a:gd name="T14" fmla="*/ 0 w 56"/>
                <a:gd name="T15" fmla="*/ 0 h 7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77">
                  <a:moveTo>
                    <a:pt x="0" y="0"/>
                  </a:moveTo>
                  <a:lnTo>
                    <a:pt x="7" y="44"/>
                  </a:lnTo>
                  <a:lnTo>
                    <a:pt x="26" y="44"/>
                  </a:lnTo>
                  <a:lnTo>
                    <a:pt x="13" y="53"/>
                  </a:lnTo>
                  <a:lnTo>
                    <a:pt x="18" y="77"/>
                  </a:lnTo>
                  <a:lnTo>
                    <a:pt x="50" y="67"/>
                  </a:lnTo>
                  <a:lnTo>
                    <a:pt x="56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22" name="Freeform 146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1979861" y="1911350"/>
              <a:ext cx="82550" cy="61913"/>
            </a:xfrm>
            <a:custGeom>
              <a:avLst/>
              <a:gdLst>
                <a:gd name="T0" fmla="*/ 0 w 56"/>
                <a:gd name="T1" fmla="*/ 0 h 77"/>
                <a:gd name="T2" fmla="*/ 2147483647 w 56"/>
                <a:gd name="T3" fmla="*/ 2147483647 h 77"/>
                <a:gd name="T4" fmla="*/ 2147483647 w 56"/>
                <a:gd name="T5" fmla="*/ 2147483647 h 77"/>
                <a:gd name="T6" fmla="*/ 2147483647 w 56"/>
                <a:gd name="T7" fmla="*/ 2147483647 h 77"/>
                <a:gd name="T8" fmla="*/ 2147483647 w 56"/>
                <a:gd name="T9" fmla="*/ 2147483647 h 77"/>
                <a:gd name="T10" fmla="*/ 2147483647 w 56"/>
                <a:gd name="T11" fmla="*/ 2147483647 h 77"/>
                <a:gd name="T12" fmla="*/ 2147483647 w 56"/>
                <a:gd name="T13" fmla="*/ 2147483647 h 77"/>
                <a:gd name="T14" fmla="*/ 0 w 56"/>
                <a:gd name="T15" fmla="*/ 0 h 7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77">
                  <a:moveTo>
                    <a:pt x="0" y="0"/>
                  </a:moveTo>
                  <a:lnTo>
                    <a:pt x="7" y="44"/>
                  </a:lnTo>
                  <a:lnTo>
                    <a:pt x="26" y="44"/>
                  </a:lnTo>
                  <a:lnTo>
                    <a:pt x="13" y="53"/>
                  </a:lnTo>
                  <a:lnTo>
                    <a:pt x="18" y="77"/>
                  </a:lnTo>
                  <a:lnTo>
                    <a:pt x="50" y="67"/>
                  </a:lnTo>
                  <a:lnTo>
                    <a:pt x="56" y="32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23" name="Freeform 147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2006848" y="2009775"/>
              <a:ext cx="395288" cy="131763"/>
            </a:xfrm>
            <a:custGeom>
              <a:avLst/>
              <a:gdLst>
                <a:gd name="T0" fmla="*/ 0 w 270"/>
                <a:gd name="T1" fmla="*/ 2147483647 h 167"/>
                <a:gd name="T2" fmla="*/ 2147483647 w 270"/>
                <a:gd name="T3" fmla="*/ 0 h 167"/>
                <a:gd name="T4" fmla="*/ 2147483647 w 270"/>
                <a:gd name="T5" fmla="*/ 2147483647 h 167"/>
                <a:gd name="T6" fmla="*/ 2147483647 w 270"/>
                <a:gd name="T7" fmla="*/ 2147483647 h 167"/>
                <a:gd name="T8" fmla="*/ 2147483647 w 270"/>
                <a:gd name="T9" fmla="*/ 2147483647 h 167"/>
                <a:gd name="T10" fmla="*/ 2147483647 w 270"/>
                <a:gd name="T11" fmla="*/ 2147483647 h 167"/>
                <a:gd name="T12" fmla="*/ 2147483647 w 270"/>
                <a:gd name="T13" fmla="*/ 2147483647 h 167"/>
                <a:gd name="T14" fmla="*/ 2147483647 w 270"/>
                <a:gd name="T15" fmla="*/ 2147483647 h 167"/>
                <a:gd name="T16" fmla="*/ 2147483647 w 270"/>
                <a:gd name="T17" fmla="*/ 2147483647 h 167"/>
                <a:gd name="T18" fmla="*/ 2147483647 w 270"/>
                <a:gd name="T19" fmla="*/ 2147483647 h 167"/>
                <a:gd name="T20" fmla="*/ 2147483647 w 270"/>
                <a:gd name="T21" fmla="*/ 2147483647 h 167"/>
                <a:gd name="T22" fmla="*/ 2147483647 w 270"/>
                <a:gd name="T23" fmla="*/ 2147483647 h 167"/>
                <a:gd name="T24" fmla="*/ 2147483647 w 270"/>
                <a:gd name="T25" fmla="*/ 2147483647 h 167"/>
                <a:gd name="T26" fmla="*/ 2147483647 w 270"/>
                <a:gd name="T27" fmla="*/ 2147483647 h 167"/>
                <a:gd name="T28" fmla="*/ 2147483647 w 270"/>
                <a:gd name="T29" fmla="*/ 2147483647 h 167"/>
                <a:gd name="T30" fmla="*/ 2147483647 w 270"/>
                <a:gd name="T31" fmla="*/ 2147483647 h 167"/>
                <a:gd name="T32" fmla="*/ 2147483647 w 270"/>
                <a:gd name="T33" fmla="*/ 2147483647 h 167"/>
                <a:gd name="T34" fmla="*/ 2147483647 w 270"/>
                <a:gd name="T35" fmla="*/ 2147483647 h 167"/>
                <a:gd name="T36" fmla="*/ 2147483647 w 270"/>
                <a:gd name="T37" fmla="*/ 2147483647 h 167"/>
                <a:gd name="T38" fmla="*/ 2147483647 w 270"/>
                <a:gd name="T39" fmla="*/ 2147483647 h 167"/>
                <a:gd name="T40" fmla="*/ 2147483647 w 270"/>
                <a:gd name="T41" fmla="*/ 2147483647 h 167"/>
                <a:gd name="T42" fmla="*/ 2147483647 w 270"/>
                <a:gd name="T43" fmla="*/ 2147483647 h 167"/>
                <a:gd name="T44" fmla="*/ 2147483647 w 270"/>
                <a:gd name="T45" fmla="*/ 2147483647 h 167"/>
                <a:gd name="T46" fmla="*/ 2147483647 w 270"/>
                <a:gd name="T47" fmla="*/ 2147483647 h 167"/>
                <a:gd name="T48" fmla="*/ 2147483647 w 270"/>
                <a:gd name="T49" fmla="*/ 2147483647 h 167"/>
                <a:gd name="T50" fmla="*/ 2147483647 w 270"/>
                <a:gd name="T51" fmla="*/ 2147483647 h 167"/>
                <a:gd name="T52" fmla="*/ 2147483647 w 270"/>
                <a:gd name="T53" fmla="*/ 2147483647 h 167"/>
                <a:gd name="T54" fmla="*/ 2147483647 w 270"/>
                <a:gd name="T55" fmla="*/ 2147483647 h 167"/>
                <a:gd name="T56" fmla="*/ 2147483647 w 270"/>
                <a:gd name="T57" fmla="*/ 2147483647 h 167"/>
                <a:gd name="T58" fmla="*/ 2147483647 w 270"/>
                <a:gd name="T59" fmla="*/ 2147483647 h 167"/>
                <a:gd name="T60" fmla="*/ 2147483647 w 270"/>
                <a:gd name="T61" fmla="*/ 2147483647 h 167"/>
                <a:gd name="T62" fmla="*/ 0 w 270"/>
                <a:gd name="T63" fmla="*/ 2147483647 h 1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70" h="167">
                  <a:moveTo>
                    <a:pt x="0" y="21"/>
                  </a:moveTo>
                  <a:lnTo>
                    <a:pt x="19" y="0"/>
                  </a:lnTo>
                  <a:lnTo>
                    <a:pt x="45" y="11"/>
                  </a:lnTo>
                  <a:lnTo>
                    <a:pt x="57" y="21"/>
                  </a:lnTo>
                  <a:lnTo>
                    <a:pt x="50" y="44"/>
                  </a:lnTo>
                  <a:lnTo>
                    <a:pt x="83" y="21"/>
                  </a:lnTo>
                  <a:lnTo>
                    <a:pt x="107" y="44"/>
                  </a:lnTo>
                  <a:lnTo>
                    <a:pt x="88" y="44"/>
                  </a:lnTo>
                  <a:lnTo>
                    <a:pt x="119" y="55"/>
                  </a:lnTo>
                  <a:lnTo>
                    <a:pt x="83" y="65"/>
                  </a:lnTo>
                  <a:lnTo>
                    <a:pt x="107" y="78"/>
                  </a:lnTo>
                  <a:lnTo>
                    <a:pt x="88" y="88"/>
                  </a:lnTo>
                  <a:lnTo>
                    <a:pt x="107" y="78"/>
                  </a:lnTo>
                  <a:lnTo>
                    <a:pt x="126" y="111"/>
                  </a:lnTo>
                  <a:lnTo>
                    <a:pt x="133" y="99"/>
                  </a:lnTo>
                  <a:lnTo>
                    <a:pt x="176" y="111"/>
                  </a:lnTo>
                  <a:lnTo>
                    <a:pt x="233" y="78"/>
                  </a:lnTo>
                  <a:lnTo>
                    <a:pt x="270" y="123"/>
                  </a:lnTo>
                  <a:lnTo>
                    <a:pt x="258" y="132"/>
                  </a:lnTo>
                  <a:lnTo>
                    <a:pt x="264" y="167"/>
                  </a:lnTo>
                  <a:lnTo>
                    <a:pt x="239" y="167"/>
                  </a:lnTo>
                  <a:lnTo>
                    <a:pt x="213" y="144"/>
                  </a:lnTo>
                  <a:lnTo>
                    <a:pt x="213" y="167"/>
                  </a:lnTo>
                  <a:lnTo>
                    <a:pt x="194" y="167"/>
                  </a:lnTo>
                  <a:lnTo>
                    <a:pt x="138" y="167"/>
                  </a:lnTo>
                  <a:lnTo>
                    <a:pt x="133" y="144"/>
                  </a:lnTo>
                  <a:lnTo>
                    <a:pt x="114" y="167"/>
                  </a:lnTo>
                  <a:lnTo>
                    <a:pt x="95" y="144"/>
                  </a:lnTo>
                  <a:lnTo>
                    <a:pt x="83" y="155"/>
                  </a:lnTo>
                  <a:lnTo>
                    <a:pt x="64" y="44"/>
                  </a:lnTo>
                  <a:lnTo>
                    <a:pt x="32" y="55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24" name="Freeform 148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2006848" y="2009775"/>
              <a:ext cx="395288" cy="131763"/>
            </a:xfrm>
            <a:custGeom>
              <a:avLst/>
              <a:gdLst>
                <a:gd name="T0" fmla="*/ 0 w 270"/>
                <a:gd name="T1" fmla="*/ 2147483647 h 167"/>
                <a:gd name="T2" fmla="*/ 2147483647 w 270"/>
                <a:gd name="T3" fmla="*/ 0 h 167"/>
                <a:gd name="T4" fmla="*/ 2147483647 w 270"/>
                <a:gd name="T5" fmla="*/ 2147483647 h 167"/>
                <a:gd name="T6" fmla="*/ 2147483647 w 270"/>
                <a:gd name="T7" fmla="*/ 2147483647 h 167"/>
                <a:gd name="T8" fmla="*/ 2147483647 w 270"/>
                <a:gd name="T9" fmla="*/ 2147483647 h 167"/>
                <a:gd name="T10" fmla="*/ 2147483647 w 270"/>
                <a:gd name="T11" fmla="*/ 2147483647 h 167"/>
                <a:gd name="T12" fmla="*/ 2147483647 w 270"/>
                <a:gd name="T13" fmla="*/ 2147483647 h 167"/>
                <a:gd name="T14" fmla="*/ 2147483647 w 270"/>
                <a:gd name="T15" fmla="*/ 2147483647 h 167"/>
                <a:gd name="T16" fmla="*/ 2147483647 w 270"/>
                <a:gd name="T17" fmla="*/ 2147483647 h 167"/>
                <a:gd name="T18" fmla="*/ 2147483647 w 270"/>
                <a:gd name="T19" fmla="*/ 2147483647 h 167"/>
                <a:gd name="T20" fmla="*/ 2147483647 w 270"/>
                <a:gd name="T21" fmla="*/ 2147483647 h 167"/>
                <a:gd name="T22" fmla="*/ 2147483647 w 270"/>
                <a:gd name="T23" fmla="*/ 2147483647 h 167"/>
                <a:gd name="T24" fmla="*/ 2147483647 w 270"/>
                <a:gd name="T25" fmla="*/ 2147483647 h 167"/>
                <a:gd name="T26" fmla="*/ 2147483647 w 270"/>
                <a:gd name="T27" fmla="*/ 2147483647 h 167"/>
                <a:gd name="T28" fmla="*/ 2147483647 w 270"/>
                <a:gd name="T29" fmla="*/ 2147483647 h 167"/>
                <a:gd name="T30" fmla="*/ 2147483647 w 270"/>
                <a:gd name="T31" fmla="*/ 2147483647 h 167"/>
                <a:gd name="T32" fmla="*/ 2147483647 w 270"/>
                <a:gd name="T33" fmla="*/ 2147483647 h 167"/>
                <a:gd name="T34" fmla="*/ 2147483647 w 270"/>
                <a:gd name="T35" fmla="*/ 2147483647 h 167"/>
                <a:gd name="T36" fmla="*/ 2147483647 w 270"/>
                <a:gd name="T37" fmla="*/ 2147483647 h 167"/>
                <a:gd name="T38" fmla="*/ 2147483647 w 270"/>
                <a:gd name="T39" fmla="*/ 2147483647 h 167"/>
                <a:gd name="T40" fmla="*/ 2147483647 w 270"/>
                <a:gd name="T41" fmla="*/ 2147483647 h 167"/>
                <a:gd name="T42" fmla="*/ 2147483647 w 270"/>
                <a:gd name="T43" fmla="*/ 2147483647 h 167"/>
                <a:gd name="T44" fmla="*/ 2147483647 w 270"/>
                <a:gd name="T45" fmla="*/ 2147483647 h 167"/>
                <a:gd name="T46" fmla="*/ 2147483647 w 270"/>
                <a:gd name="T47" fmla="*/ 2147483647 h 167"/>
                <a:gd name="T48" fmla="*/ 2147483647 w 270"/>
                <a:gd name="T49" fmla="*/ 2147483647 h 167"/>
                <a:gd name="T50" fmla="*/ 2147483647 w 270"/>
                <a:gd name="T51" fmla="*/ 2147483647 h 167"/>
                <a:gd name="T52" fmla="*/ 2147483647 w 270"/>
                <a:gd name="T53" fmla="*/ 2147483647 h 167"/>
                <a:gd name="T54" fmla="*/ 2147483647 w 270"/>
                <a:gd name="T55" fmla="*/ 2147483647 h 167"/>
                <a:gd name="T56" fmla="*/ 2147483647 w 270"/>
                <a:gd name="T57" fmla="*/ 2147483647 h 167"/>
                <a:gd name="T58" fmla="*/ 2147483647 w 270"/>
                <a:gd name="T59" fmla="*/ 2147483647 h 167"/>
                <a:gd name="T60" fmla="*/ 2147483647 w 270"/>
                <a:gd name="T61" fmla="*/ 2147483647 h 167"/>
                <a:gd name="T62" fmla="*/ 0 w 270"/>
                <a:gd name="T63" fmla="*/ 2147483647 h 1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70" h="167">
                  <a:moveTo>
                    <a:pt x="0" y="21"/>
                  </a:moveTo>
                  <a:lnTo>
                    <a:pt x="19" y="0"/>
                  </a:lnTo>
                  <a:lnTo>
                    <a:pt x="45" y="11"/>
                  </a:lnTo>
                  <a:lnTo>
                    <a:pt x="57" y="21"/>
                  </a:lnTo>
                  <a:lnTo>
                    <a:pt x="50" y="44"/>
                  </a:lnTo>
                  <a:lnTo>
                    <a:pt x="83" y="21"/>
                  </a:lnTo>
                  <a:lnTo>
                    <a:pt x="107" y="44"/>
                  </a:lnTo>
                  <a:lnTo>
                    <a:pt x="88" y="44"/>
                  </a:lnTo>
                  <a:lnTo>
                    <a:pt x="119" y="55"/>
                  </a:lnTo>
                  <a:lnTo>
                    <a:pt x="83" y="65"/>
                  </a:lnTo>
                  <a:lnTo>
                    <a:pt x="107" y="78"/>
                  </a:lnTo>
                  <a:lnTo>
                    <a:pt x="88" y="88"/>
                  </a:lnTo>
                  <a:lnTo>
                    <a:pt x="107" y="78"/>
                  </a:lnTo>
                  <a:lnTo>
                    <a:pt x="126" y="111"/>
                  </a:lnTo>
                  <a:lnTo>
                    <a:pt x="133" y="99"/>
                  </a:lnTo>
                  <a:lnTo>
                    <a:pt x="176" y="111"/>
                  </a:lnTo>
                  <a:lnTo>
                    <a:pt x="233" y="78"/>
                  </a:lnTo>
                  <a:lnTo>
                    <a:pt x="270" y="123"/>
                  </a:lnTo>
                  <a:lnTo>
                    <a:pt x="258" y="132"/>
                  </a:lnTo>
                  <a:lnTo>
                    <a:pt x="264" y="167"/>
                  </a:lnTo>
                  <a:lnTo>
                    <a:pt x="239" y="167"/>
                  </a:lnTo>
                  <a:lnTo>
                    <a:pt x="213" y="144"/>
                  </a:lnTo>
                  <a:lnTo>
                    <a:pt x="213" y="167"/>
                  </a:lnTo>
                  <a:lnTo>
                    <a:pt x="194" y="167"/>
                  </a:lnTo>
                  <a:lnTo>
                    <a:pt x="138" y="167"/>
                  </a:lnTo>
                  <a:lnTo>
                    <a:pt x="133" y="144"/>
                  </a:lnTo>
                  <a:lnTo>
                    <a:pt x="114" y="167"/>
                  </a:lnTo>
                  <a:lnTo>
                    <a:pt x="95" y="144"/>
                  </a:lnTo>
                  <a:lnTo>
                    <a:pt x="83" y="155"/>
                  </a:lnTo>
                  <a:lnTo>
                    <a:pt x="64" y="44"/>
                  </a:lnTo>
                  <a:lnTo>
                    <a:pt x="32" y="55"/>
                  </a:lnTo>
                  <a:lnTo>
                    <a:pt x="0" y="2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25" name="Freeform 149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2006848" y="2009775"/>
              <a:ext cx="395288" cy="131763"/>
            </a:xfrm>
            <a:custGeom>
              <a:avLst/>
              <a:gdLst>
                <a:gd name="T0" fmla="*/ 0 w 270"/>
                <a:gd name="T1" fmla="*/ 2147483647 h 167"/>
                <a:gd name="T2" fmla="*/ 2147483647 w 270"/>
                <a:gd name="T3" fmla="*/ 0 h 167"/>
                <a:gd name="T4" fmla="*/ 2147483647 w 270"/>
                <a:gd name="T5" fmla="*/ 2147483647 h 167"/>
                <a:gd name="T6" fmla="*/ 2147483647 w 270"/>
                <a:gd name="T7" fmla="*/ 2147483647 h 167"/>
                <a:gd name="T8" fmla="*/ 2147483647 w 270"/>
                <a:gd name="T9" fmla="*/ 2147483647 h 167"/>
                <a:gd name="T10" fmla="*/ 2147483647 w 270"/>
                <a:gd name="T11" fmla="*/ 2147483647 h 167"/>
                <a:gd name="T12" fmla="*/ 2147483647 w 270"/>
                <a:gd name="T13" fmla="*/ 2147483647 h 167"/>
                <a:gd name="T14" fmla="*/ 2147483647 w 270"/>
                <a:gd name="T15" fmla="*/ 2147483647 h 167"/>
                <a:gd name="T16" fmla="*/ 2147483647 w 270"/>
                <a:gd name="T17" fmla="*/ 2147483647 h 167"/>
                <a:gd name="T18" fmla="*/ 2147483647 w 270"/>
                <a:gd name="T19" fmla="*/ 2147483647 h 167"/>
                <a:gd name="T20" fmla="*/ 2147483647 w 270"/>
                <a:gd name="T21" fmla="*/ 2147483647 h 167"/>
                <a:gd name="T22" fmla="*/ 2147483647 w 270"/>
                <a:gd name="T23" fmla="*/ 2147483647 h 167"/>
                <a:gd name="T24" fmla="*/ 2147483647 w 270"/>
                <a:gd name="T25" fmla="*/ 2147483647 h 167"/>
                <a:gd name="T26" fmla="*/ 2147483647 w 270"/>
                <a:gd name="T27" fmla="*/ 2147483647 h 167"/>
                <a:gd name="T28" fmla="*/ 2147483647 w 270"/>
                <a:gd name="T29" fmla="*/ 2147483647 h 167"/>
                <a:gd name="T30" fmla="*/ 2147483647 w 270"/>
                <a:gd name="T31" fmla="*/ 2147483647 h 167"/>
                <a:gd name="T32" fmla="*/ 2147483647 w 270"/>
                <a:gd name="T33" fmla="*/ 2147483647 h 167"/>
                <a:gd name="T34" fmla="*/ 2147483647 w 270"/>
                <a:gd name="T35" fmla="*/ 2147483647 h 167"/>
                <a:gd name="T36" fmla="*/ 2147483647 w 270"/>
                <a:gd name="T37" fmla="*/ 2147483647 h 167"/>
                <a:gd name="T38" fmla="*/ 2147483647 w 270"/>
                <a:gd name="T39" fmla="*/ 2147483647 h 167"/>
                <a:gd name="T40" fmla="*/ 2147483647 w 270"/>
                <a:gd name="T41" fmla="*/ 2147483647 h 167"/>
                <a:gd name="T42" fmla="*/ 2147483647 w 270"/>
                <a:gd name="T43" fmla="*/ 2147483647 h 167"/>
                <a:gd name="T44" fmla="*/ 2147483647 w 270"/>
                <a:gd name="T45" fmla="*/ 2147483647 h 167"/>
                <a:gd name="T46" fmla="*/ 2147483647 w 270"/>
                <a:gd name="T47" fmla="*/ 2147483647 h 167"/>
                <a:gd name="T48" fmla="*/ 2147483647 w 270"/>
                <a:gd name="T49" fmla="*/ 2147483647 h 167"/>
                <a:gd name="T50" fmla="*/ 2147483647 w 270"/>
                <a:gd name="T51" fmla="*/ 2147483647 h 167"/>
                <a:gd name="T52" fmla="*/ 2147483647 w 270"/>
                <a:gd name="T53" fmla="*/ 2147483647 h 167"/>
                <a:gd name="T54" fmla="*/ 2147483647 w 270"/>
                <a:gd name="T55" fmla="*/ 2147483647 h 167"/>
                <a:gd name="T56" fmla="*/ 2147483647 w 270"/>
                <a:gd name="T57" fmla="*/ 2147483647 h 167"/>
                <a:gd name="T58" fmla="*/ 2147483647 w 270"/>
                <a:gd name="T59" fmla="*/ 2147483647 h 167"/>
                <a:gd name="T60" fmla="*/ 2147483647 w 270"/>
                <a:gd name="T61" fmla="*/ 2147483647 h 167"/>
                <a:gd name="T62" fmla="*/ 0 w 270"/>
                <a:gd name="T63" fmla="*/ 2147483647 h 1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70" h="167">
                  <a:moveTo>
                    <a:pt x="0" y="21"/>
                  </a:moveTo>
                  <a:lnTo>
                    <a:pt x="19" y="0"/>
                  </a:lnTo>
                  <a:lnTo>
                    <a:pt x="45" y="11"/>
                  </a:lnTo>
                  <a:lnTo>
                    <a:pt x="57" y="21"/>
                  </a:lnTo>
                  <a:lnTo>
                    <a:pt x="50" y="44"/>
                  </a:lnTo>
                  <a:lnTo>
                    <a:pt x="83" y="21"/>
                  </a:lnTo>
                  <a:lnTo>
                    <a:pt x="107" y="44"/>
                  </a:lnTo>
                  <a:lnTo>
                    <a:pt x="88" y="44"/>
                  </a:lnTo>
                  <a:lnTo>
                    <a:pt x="119" y="55"/>
                  </a:lnTo>
                  <a:lnTo>
                    <a:pt x="83" y="65"/>
                  </a:lnTo>
                  <a:lnTo>
                    <a:pt x="107" y="78"/>
                  </a:lnTo>
                  <a:lnTo>
                    <a:pt x="88" y="88"/>
                  </a:lnTo>
                  <a:lnTo>
                    <a:pt x="107" y="78"/>
                  </a:lnTo>
                  <a:lnTo>
                    <a:pt x="126" y="111"/>
                  </a:lnTo>
                  <a:lnTo>
                    <a:pt x="133" y="99"/>
                  </a:lnTo>
                  <a:lnTo>
                    <a:pt x="176" y="111"/>
                  </a:lnTo>
                  <a:lnTo>
                    <a:pt x="233" y="78"/>
                  </a:lnTo>
                  <a:lnTo>
                    <a:pt x="270" y="123"/>
                  </a:lnTo>
                  <a:lnTo>
                    <a:pt x="258" y="132"/>
                  </a:lnTo>
                  <a:lnTo>
                    <a:pt x="264" y="167"/>
                  </a:lnTo>
                  <a:lnTo>
                    <a:pt x="239" y="167"/>
                  </a:lnTo>
                  <a:lnTo>
                    <a:pt x="213" y="144"/>
                  </a:lnTo>
                  <a:lnTo>
                    <a:pt x="213" y="167"/>
                  </a:lnTo>
                  <a:lnTo>
                    <a:pt x="194" y="167"/>
                  </a:lnTo>
                  <a:lnTo>
                    <a:pt x="138" y="167"/>
                  </a:lnTo>
                  <a:lnTo>
                    <a:pt x="133" y="144"/>
                  </a:lnTo>
                  <a:lnTo>
                    <a:pt x="114" y="167"/>
                  </a:lnTo>
                  <a:lnTo>
                    <a:pt x="95" y="144"/>
                  </a:lnTo>
                  <a:lnTo>
                    <a:pt x="83" y="155"/>
                  </a:lnTo>
                  <a:lnTo>
                    <a:pt x="64" y="44"/>
                  </a:lnTo>
                  <a:lnTo>
                    <a:pt x="32" y="55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26" name="Freeform 150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006848" y="2009775"/>
              <a:ext cx="395288" cy="131763"/>
            </a:xfrm>
            <a:custGeom>
              <a:avLst/>
              <a:gdLst>
                <a:gd name="T0" fmla="*/ 0 w 270"/>
                <a:gd name="T1" fmla="*/ 2147483647 h 167"/>
                <a:gd name="T2" fmla="*/ 2147483647 w 270"/>
                <a:gd name="T3" fmla="*/ 0 h 167"/>
                <a:gd name="T4" fmla="*/ 2147483647 w 270"/>
                <a:gd name="T5" fmla="*/ 2147483647 h 167"/>
                <a:gd name="T6" fmla="*/ 2147483647 w 270"/>
                <a:gd name="T7" fmla="*/ 2147483647 h 167"/>
                <a:gd name="T8" fmla="*/ 2147483647 w 270"/>
                <a:gd name="T9" fmla="*/ 2147483647 h 167"/>
                <a:gd name="T10" fmla="*/ 2147483647 w 270"/>
                <a:gd name="T11" fmla="*/ 2147483647 h 167"/>
                <a:gd name="T12" fmla="*/ 2147483647 w 270"/>
                <a:gd name="T13" fmla="*/ 2147483647 h 167"/>
                <a:gd name="T14" fmla="*/ 2147483647 w 270"/>
                <a:gd name="T15" fmla="*/ 2147483647 h 167"/>
                <a:gd name="T16" fmla="*/ 2147483647 w 270"/>
                <a:gd name="T17" fmla="*/ 2147483647 h 167"/>
                <a:gd name="T18" fmla="*/ 2147483647 w 270"/>
                <a:gd name="T19" fmla="*/ 2147483647 h 167"/>
                <a:gd name="T20" fmla="*/ 2147483647 w 270"/>
                <a:gd name="T21" fmla="*/ 2147483647 h 167"/>
                <a:gd name="T22" fmla="*/ 2147483647 w 270"/>
                <a:gd name="T23" fmla="*/ 2147483647 h 167"/>
                <a:gd name="T24" fmla="*/ 2147483647 w 270"/>
                <a:gd name="T25" fmla="*/ 2147483647 h 167"/>
                <a:gd name="T26" fmla="*/ 2147483647 w 270"/>
                <a:gd name="T27" fmla="*/ 2147483647 h 167"/>
                <a:gd name="T28" fmla="*/ 2147483647 w 270"/>
                <a:gd name="T29" fmla="*/ 2147483647 h 167"/>
                <a:gd name="T30" fmla="*/ 2147483647 w 270"/>
                <a:gd name="T31" fmla="*/ 2147483647 h 167"/>
                <a:gd name="T32" fmla="*/ 2147483647 w 270"/>
                <a:gd name="T33" fmla="*/ 2147483647 h 167"/>
                <a:gd name="T34" fmla="*/ 2147483647 w 270"/>
                <a:gd name="T35" fmla="*/ 2147483647 h 167"/>
                <a:gd name="T36" fmla="*/ 2147483647 w 270"/>
                <a:gd name="T37" fmla="*/ 2147483647 h 167"/>
                <a:gd name="T38" fmla="*/ 2147483647 w 270"/>
                <a:gd name="T39" fmla="*/ 2147483647 h 167"/>
                <a:gd name="T40" fmla="*/ 2147483647 w 270"/>
                <a:gd name="T41" fmla="*/ 2147483647 h 167"/>
                <a:gd name="T42" fmla="*/ 2147483647 w 270"/>
                <a:gd name="T43" fmla="*/ 2147483647 h 167"/>
                <a:gd name="T44" fmla="*/ 2147483647 w 270"/>
                <a:gd name="T45" fmla="*/ 2147483647 h 167"/>
                <a:gd name="T46" fmla="*/ 2147483647 w 270"/>
                <a:gd name="T47" fmla="*/ 2147483647 h 167"/>
                <a:gd name="T48" fmla="*/ 2147483647 w 270"/>
                <a:gd name="T49" fmla="*/ 2147483647 h 167"/>
                <a:gd name="T50" fmla="*/ 2147483647 w 270"/>
                <a:gd name="T51" fmla="*/ 2147483647 h 167"/>
                <a:gd name="T52" fmla="*/ 2147483647 w 270"/>
                <a:gd name="T53" fmla="*/ 2147483647 h 167"/>
                <a:gd name="T54" fmla="*/ 2147483647 w 270"/>
                <a:gd name="T55" fmla="*/ 2147483647 h 167"/>
                <a:gd name="T56" fmla="*/ 2147483647 w 270"/>
                <a:gd name="T57" fmla="*/ 2147483647 h 167"/>
                <a:gd name="T58" fmla="*/ 2147483647 w 270"/>
                <a:gd name="T59" fmla="*/ 2147483647 h 167"/>
                <a:gd name="T60" fmla="*/ 2147483647 w 270"/>
                <a:gd name="T61" fmla="*/ 2147483647 h 167"/>
                <a:gd name="T62" fmla="*/ 0 w 270"/>
                <a:gd name="T63" fmla="*/ 2147483647 h 1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70" h="167">
                  <a:moveTo>
                    <a:pt x="0" y="21"/>
                  </a:moveTo>
                  <a:lnTo>
                    <a:pt x="19" y="0"/>
                  </a:lnTo>
                  <a:lnTo>
                    <a:pt x="45" y="11"/>
                  </a:lnTo>
                  <a:lnTo>
                    <a:pt x="57" y="21"/>
                  </a:lnTo>
                  <a:lnTo>
                    <a:pt x="50" y="44"/>
                  </a:lnTo>
                  <a:lnTo>
                    <a:pt x="83" y="21"/>
                  </a:lnTo>
                  <a:lnTo>
                    <a:pt x="107" y="44"/>
                  </a:lnTo>
                  <a:lnTo>
                    <a:pt x="88" y="44"/>
                  </a:lnTo>
                  <a:lnTo>
                    <a:pt x="119" y="55"/>
                  </a:lnTo>
                  <a:lnTo>
                    <a:pt x="83" y="65"/>
                  </a:lnTo>
                  <a:lnTo>
                    <a:pt x="107" y="78"/>
                  </a:lnTo>
                  <a:lnTo>
                    <a:pt x="88" y="88"/>
                  </a:lnTo>
                  <a:lnTo>
                    <a:pt x="107" y="78"/>
                  </a:lnTo>
                  <a:lnTo>
                    <a:pt x="126" y="111"/>
                  </a:lnTo>
                  <a:lnTo>
                    <a:pt x="133" y="99"/>
                  </a:lnTo>
                  <a:lnTo>
                    <a:pt x="176" y="111"/>
                  </a:lnTo>
                  <a:lnTo>
                    <a:pt x="233" y="78"/>
                  </a:lnTo>
                  <a:lnTo>
                    <a:pt x="270" y="123"/>
                  </a:lnTo>
                  <a:lnTo>
                    <a:pt x="258" y="132"/>
                  </a:lnTo>
                  <a:lnTo>
                    <a:pt x="264" y="167"/>
                  </a:lnTo>
                  <a:lnTo>
                    <a:pt x="239" y="167"/>
                  </a:lnTo>
                  <a:lnTo>
                    <a:pt x="213" y="144"/>
                  </a:lnTo>
                  <a:lnTo>
                    <a:pt x="213" y="167"/>
                  </a:lnTo>
                  <a:lnTo>
                    <a:pt x="194" y="167"/>
                  </a:lnTo>
                  <a:lnTo>
                    <a:pt x="138" y="167"/>
                  </a:lnTo>
                  <a:lnTo>
                    <a:pt x="133" y="144"/>
                  </a:lnTo>
                  <a:lnTo>
                    <a:pt x="114" y="167"/>
                  </a:lnTo>
                  <a:lnTo>
                    <a:pt x="95" y="144"/>
                  </a:lnTo>
                  <a:lnTo>
                    <a:pt x="83" y="155"/>
                  </a:lnTo>
                  <a:lnTo>
                    <a:pt x="64" y="44"/>
                  </a:lnTo>
                  <a:lnTo>
                    <a:pt x="32" y="55"/>
                  </a:lnTo>
                  <a:lnTo>
                    <a:pt x="0" y="2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27" name="Freeform 151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027486" y="1770063"/>
              <a:ext cx="254000" cy="185737"/>
            </a:xfrm>
            <a:custGeom>
              <a:avLst/>
              <a:gdLst>
                <a:gd name="T0" fmla="*/ 0 w 174"/>
                <a:gd name="T1" fmla="*/ 2147483647 h 234"/>
                <a:gd name="T2" fmla="*/ 2147483647 w 174"/>
                <a:gd name="T3" fmla="*/ 2147483647 h 234"/>
                <a:gd name="T4" fmla="*/ 2147483647 w 174"/>
                <a:gd name="T5" fmla="*/ 2147483647 h 234"/>
                <a:gd name="T6" fmla="*/ 2147483647 w 174"/>
                <a:gd name="T7" fmla="*/ 2147483647 h 234"/>
                <a:gd name="T8" fmla="*/ 2147483647 w 174"/>
                <a:gd name="T9" fmla="*/ 0 h 234"/>
                <a:gd name="T10" fmla="*/ 2147483647 w 174"/>
                <a:gd name="T11" fmla="*/ 2147483647 h 234"/>
                <a:gd name="T12" fmla="*/ 2147483647 w 174"/>
                <a:gd name="T13" fmla="*/ 2147483647 h 234"/>
                <a:gd name="T14" fmla="*/ 2147483647 w 174"/>
                <a:gd name="T15" fmla="*/ 2147483647 h 234"/>
                <a:gd name="T16" fmla="*/ 2147483647 w 174"/>
                <a:gd name="T17" fmla="*/ 2147483647 h 234"/>
                <a:gd name="T18" fmla="*/ 2147483647 w 174"/>
                <a:gd name="T19" fmla="*/ 2147483647 h 234"/>
                <a:gd name="T20" fmla="*/ 2147483647 w 174"/>
                <a:gd name="T21" fmla="*/ 2147483647 h 234"/>
                <a:gd name="T22" fmla="*/ 2147483647 w 174"/>
                <a:gd name="T23" fmla="*/ 2147483647 h 234"/>
                <a:gd name="T24" fmla="*/ 2147483647 w 174"/>
                <a:gd name="T25" fmla="*/ 2147483647 h 234"/>
                <a:gd name="T26" fmla="*/ 2147483647 w 174"/>
                <a:gd name="T27" fmla="*/ 2147483647 h 234"/>
                <a:gd name="T28" fmla="*/ 2147483647 w 174"/>
                <a:gd name="T29" fmla="*/ 2147483647 h 234"/>
                <a:gd name="T30" fmla="*/ 2147483647 w 174"/>
                <a:gd name="T31" fmla="*/ 2147483647 h 234"/>
                <a:gd name="T32" fmla="*/ 2147483647 w 174"/>
                <a:gd name="T33" fmla="*/ 2147483647 h 234"/>
                <a:gd name="T34" fmla="*/ 2147483647 w 174"/>
                <a:gd name="T35" fmla="*/ 2147483647 h 234"/>
                <a:gd name="T36" fmla="*/ 2147483647 w 174"/>
                <a:gd name="T37" fmla="*/ 2147483647 h 234"/>
                <a:gd name="T38" fmla="*/ 2147483647 w 174"/>
                <a:gd name="T39" fmla="*/ 2147483647 h 234"/>
                <a:gd name="T40" fmla="*/ 2147483647 w 174"/>
                <a:gd name="T41" fmla="*/ 2147483647 h 234"/>
                <a:gd name="T42" fmla="*/ 2147483647 w 174"/>
                <a:gd name="T43" fmla="*/ 2147483647 h 234"/>
                <a:gd name="T44" fmla="*/ 2147483647 w 174"/>
                <a:gd name="T45" fmla="*/ 2147483647 h 234"/>
                <a:gd name="T46" fmla="*/ 2147483647 w 174"/>
                <a:gd name="T47" fmla="*/ 2147483647 h 234"/>
                <a:gd name="T48" fmla="*/ 2147483647 w 174"/>
                <a:gd name="T49" fmla="*/ 2147483647 h 234"/>
                <a:gd name="T50" fmla="*/ 2147483647 w 174"/>
                <a:gd name="T51" fmla="*/ 2147483647 h 234"/>
                <a:gd name="T52" fmla="*/ 2147483647 w 174"/>
                <a:gd name="T53" fmla="*/ 2147483647 h 234"/>
                <a:gd name="T54" fmla="*/ 2147483647 w 174"/>
                <a:gd name="T55" fmla="*/ 2147483647 h 234"/>
                <a:gd name="T56" fmla="*/ 2147483647 w 174"/>
                <a:gd name="T57" fmla="*/ 2147483647 h 234"/>
                <a:gd name="T58" fmla="*/ 2147483647 w 174"/>
                <a:gd name="T59" fmla="*/ 2147483647 h 234"/>
                <a:gd name="T60" fmla="*/ 2147483647 w 174"/>
                <a:gd name="T61" fmla="*/ 2147483647 h 234"/>
                <a:gd name="T62" fmla="*/ 2147483647 w 174"/>
                <a:gd name="T63" fmla="*/ 2147483647 h 234"/>
                <a:gd name="T64" fmla="*/ 2147483647 w 174"/>
                <a:gd name="T65" fmla="*/ 2147483647 h 234"/>
                <a:gd name="T66" fmla="*/ 2147483647 w 174"/>
                <a:gd name="T67" fmla="*/ 2147483647 h 234"/>
                <a:gd name="T68" fmla="*/ 2147483647 w 174"/>
                <a:gd name="T69" fmla="*/ 2147483647 h 234"/>
                <a:gd name="T70" fmla="*/ 0 w 174"/>
                <a:gd name="T71" fmla="*/ 2147483647 h 234"/>
                <a:gd name="T72" fmla="*/ 2147483647 w 174"/>
                <a:gd name="T73" fmla="*/ 2147483647 h 234"/>
                <a:gd name="T74" fmla="*/ 0 w 174"/>
                <a:gd name="T75" fmla="*/ 2147483647 h 2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74" h="234">
                  <a:moveTo>
                    <a:pt x="0" y="65"/>
                  </a:moveTo>
                  <a:lnTo>
                    <a:pt x="43" y="56"/>
                  </a:lnTo>
                  <a:lnTo>
                    <a:pt x="18" y="21"/>
                  </a:lnTo>
                  <a:lnTo>
                    <a:pt x="55" y="10"/>
                  </a:lnTo>
                  <a:lnTo>
                    <a:pt x="31" y="0"/>
                  </a:lnTo>
                  <a:lnTo>
                    <a:pt x="74" y="10"/>
                  </a:lnTo>
                  <a:lnTo>
                    <a:pt x="87" y="56"/>
                  </a:lnTo>
                  <a:lnTo>
                    <a:pt x="112" y="56"/>
                  </a:lnTo>
                  <a:lnTo>
                    <a:pt x="118" y="88"/>
                  </a:lnTo>
                  <a:lnTo>
                    <a:pt x="124" y="65"/>
                  </a:lnTo>
                  <a:lnTo>
                    <a:pt x="137" y="65"/>
                  </a:lnTo>
                  <a:lnTo>
                    <a:pt x="131" y="88"/>
                  </a:lnTo>
                  <a:lnTo>
                    <a:pt x="143" y="100"/>
                  </a:lnTo>
                  <a:lnTo>
                    <a:pt x="137" y="123"/>
                  </a:lnTo>
                  <a:lnTo>
                    <a:pt x="162" y="123"/>
                  </a:lnTo>
                  <a:lnTo>
                    <a:pt x="174" y="158"/>
                  </a:lnTo>
                  <a:lnTo>
                    <a:pt x="143" y="167"/>
                  </a:lnTo>
                  <a:lnTo>
                    <a:pt x="131" y="190"/>
                  </a:lnTo>
                  <a:lnTo>
                    <a:pt x="131" y="167"/>
                  </a:lnTo>
                  <a:lnTo>
                    <a:pt x="118" y="234"/>
                  </a:lnTo>
                  <a:lnTo>
                    <a:pt x="100" y="190"/>
                  </a:lnTo>
                  <a:lnTo>
                    <a:pt x="105" y="234"/>
                  </a:lnTo>
                  <a:lnTo>
                    <a:pt x="68" y="223"/>
                  </a:lnTo>
                  <a:lnTo>
                    <a:pt x="55" y="213"/>
                  </a:lnTo>
                  <a:lnTo>
                    <a:pt x="74" y="202"/>
                  </a:lnTo>
                  <a:lnTo>
                    <a:pt x="55" y="202"/>
                  </a:lnTo>
                  <a:lnTo>
                    <a:pt x="50" y="190"/>
                  </a:lnTo>
                  <a:lnTo>
                    <a:pt x="55" y="190"/>
                  </a:lnTo>
                  <a:lnTo>
                    <a:pt x="43" y="167"/>
                  </a:lnTo>
                  <a:lnTo>
                    <a:pt x="93" y="144"/>
                  </a:lnTo>
                  <a:lnTo>
                    <a:pt x="31" y="158"/>
                  </a:lnTo>
                  <a:lnTo>
                    <a:pt x="18" y="135"/>
                  </a:lnTo>
                  <a:lnTo>
                    <a:pt x="43" y="123"/>
                  </a:lnTo>
                  <a:lnTo>
                    <a:pt x="5" y="100"/>
                  </a:lnTo>
                  <a:lnTo>
                    <a:pt x="12" y="100"/>
                  </a:lnTo>
                  <a:lnTo>
                    <a:pt x="0" y="88"/>
                  </a:lnTo>
                  <a:lnTo>
                    <a:pt x="43" y="88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28" name="Freeform 152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027486" y="1770063"/>
              <a:ext cx="254000" cy="185737"/>
            </a:xfrm>
            <a:custGeom>
              <a:avLst/>
              <a:gdLst>
                <a:gd name="T0" fmla="*/ 0 w 174"/>
                <a:gd name="T1" fmla="*/ 2147483647 h 234"/>
                <a:gd name="T2" fmla="*/ 2147483647 w 174"/>
                <a:gd name="T3" fmla="*/ 2147483647 h 234"/>
                <a:gd name="T4" fmla="*/ 2147483647 w 174"/>
                <a:gd name="T5" fmla="*/ 2147483647 h 234"/>
                <a:gd name="T6" fmla="*/ 2147483647 w 174"/>
                <a:gd name="T7" fmla="*/ 2147483647 h 234"/>
                <a:gd name="T8" fmla="*/ 2147483647 w 174"/>
                <a:gd name="T9" fmla="*/ 0 h 234"/>
                <a:gd name="T10" fmla="*/ 2147483647 w 174"/>
                <a:gd name="T11" fmla="*/ 2147483647 h 234"/>
                <a:gd name="T12" fmla="*/ 2147483647 w 174"/>
                <a:gd name="T13" fmla="*/ 2147483647 h 234"/>
                <a:gd name="T14" fmla="*/ 2147483647 w 174"/>
                <a:gd name="T15" fmla="*/ 2147483647 h 234"/>
                <a:gd name="T16" fmla="*/ 2147483647 w 174"/>
                <a:gd name="T17" fmla="*/ 2147483647 h 234"/>
                <a:gd name="T18" fmla="*/ 2147483647 w 174"/>
                <a:gd name="T19" fmla="*/ 2147483647 h 234"/>
                <a:gd name="T20" fmla="*/ 2147483647 w 174"/>
                <a:gd name="T21" fmla="*/ 2147483647 h 234"/>
                <a:gd name="T22" fmla="*/ 2147483647 w 174"/>
                <a:gd name="T23" fmla="*/ 2147483647 h 234"/>
                <a:gd name="T24" fmla="*/ 2147483647 w 174"/>
                <a:gd name="T25" fmla="*/ 2147483647 h 234"/>
                <a:gd name="T26" fmla="*/ 2147483647 w 174"/>
                <a:gd name="T27" fmla="*/ 2147483647 h 234"/>
                <a:gd name="T28" fmla="*/ 2147483647 w 174"/>
                <a:gd name="T29" fmla="*/ 2147483647 h 234"/>
                <a:gd name="T30" fmla="*/ 2147483647 w 174"/>
                <a:gd name="T31" fmla="*/ 2147483647 h 234"/>
                <a:gd name="T32" fmla="*/ 2147483647 w 174"/>
                <a:gd name="T33" fmla="*/ 2147483647 h 234"/>
                <a:gd name="T34" fmla="*/ 2147483647 w 174"/>
                <a:gd name="T35" fmla="*/ 2147483647 h 234"/>
                <a:gd name="T36" fmla="*/ 2147483647 w 174"/>
                <a:gd name="T37" fmla="*/ 2147483647 h 234"/>
                <a:gd name="T38" fmla="*/ 2147483647 w 174"/>
                <a:gd name="T39" fmla="*/ 2147483647 h 234"/>
                <a:gd name="T40" fmla="*/ 2147483647 w 174"/>
                <a:gd name="T41" fmla="*/ 2147483647 h 234"/>
                <a:gd name="T42" fmla="*/ 2147483647 w 174"/>
                <a:gd name="T43" fmla="*/ 2147483647 h 234"/>
                <a:gd name="T44" fmla="*/ 2147483647 w 174"/>
                <a:gd name="T45" fmla="*/ 2147483647 h 234"/>
                <a:gd name="T46" fmla="*/ 2147483647 w 174"/>
                <a:gd name="T47" fmla="*/ 2147483647 h 234"/>
                <a:gd name="T48" fmla="*/ 2147483647 w 174"/>
                <a:gd name="T49" fmla="*/ 2147483647 h 234"/>
                <a:gd name="T50" fmla="*/ 2147483647 w 174"/>
                <a:gd name="T51" fmla="*/ 2147483647 h 234"/>
                <a:gd name="T52" fmla="*/ 2147483647 w 174"/>
                <a:gd name="T53" fmla="*/ 2147483647 h 234"/>
                <a:gd name="T54" fmla="*/ 2147483647 w 174"/>
                <a:gd name="T55" fmla="*/ 2147483647 h 234"/>
                <a:gd name="T56" fmla="*/ 2147483647 w 174"/>
                <a:gd name="T57" fmla="*/ 2147483647 h 234"/>
                <a:gd name="T58" fmla="*/ 2147483647 w 174"/>
                <a:gd name="T59" fmla="*/ 2147483647 h 234"/>
                <a:gd name="T60" fmla="*/ 2147483647 w 174"/>
                <a:gd name="T61" fmla="*/ 2147483647 h 234"/>
                <a:gd name="T62" fmla="*/ 2147483647 w 174"/>
                <a:gd name="T63" fmla="*/ 2147483647 h 234"/>
                <a:gd name="T64" fmla="*/ 2147483647 w 174"/>
                <a:gd name="T65" fmla="*/ 2147483647 h 234"/>
                <a:gd name="T66" fmla="*/ 2147483647 w 174"/>
                <a:gd name="T67" fmla="*/ 2147483647 h 234"/>
                <a:gd name="T68" fmla="*/ 2147483647 w 174"/>
                <a:gd name="T69" fmla="*/ 2147483647 h 234"/>
                <a:gd name="T70" fmla="*/ 0 w 174"/>
                <a:gd name="T71" fmla="*/ 2147483647 h 234"/>
                <a:gd name="T72" fmla="*/ 2147483647 w 174"/>
                <a:gd name="T73" fmla="*/ 2147483647 h 234"/>
                <a:gd name="T74" fmla="*/ 0 w 174"/>
                <a:gd name="T75" fmla="*/ 2147483647 h 2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74" h="234">
                  <a:moveTo>
                    <a:pt x="0" y="65"/>
                  </a:moveTo>
                  <a:lnTo>
                    <a:pt x="43" y="56"/>
                  </a:lnTo>
                  <a:lnTo>
                    <a:pt x="18" y="21"/>
                  </a:lnTo>
                  <a:lnTo>
                    <a:pt x="55" y="10"/>
                  </a:lnTo>
                  <a:lnTo>
                    <a:pt x="31" y="0"/>
                  </a:lnTo>
                  <a:lnTo>
                    <a:pt x="74" y="10"/>
                  </a:lnTo>
                  <a:lnTo>
                    <a:pt x="87" y="56"/>
                  </a:lnTo>
                  <a:lnTo>
                    <a:pt x="112" y="56"/>
                  </a:lnTo>
                  <a:lnTo>
                    <a:pt x="118" y="88"/>
                  </a:lnTo>
                  <a:lnTo>
                    <a:pt x="124" y="65"/>
                  </a:lnTo>
                  <a:lnTo>
                    <a:pt x="137" y="65"/>
                  </a:lnTo>
                  <a:lnTo>
                    <a:pt x="131" y="88"/>
                  </a:lnTo>
                  <a:lnTo>
                    <a:pt x="143" y="100"/>
                  </a:lnTo>
                  <a:lnTo>
                    <a:pt x="137" y="123"/>
                  </a:lnTo>
                  <a:lnTo>
                    <a:pt x="162" y="123"/>
                  </a:lnTo>
                  <a:lnTo>
                    <a:pt x="174" y="158"/>
                  </a:lnTo>
                  <a:lnTo>
                    <a:pt x="143" y="167"/>
                  </a:lnTo>
                  <a:lnTo>
                    <a:pt x="131" y="190"/>
                  </a:lnTo>
                  <a:lnTo>
                    <a:pt x="131" y="167"/>
                  </a:lnTo>
                  <a:lnTo>
                    <a:pt x="118" y="234"/>
                  </a:lnTo>
                  <a:lnTo>
                    <a:pt x="100" y="190"/>
                  </a:lnTo>
                  <a:lnTo>
                    <a:pt x="105" y="234"/>
                  </a:lnTo>
                  <a:lnTo>
                    <a:pt x="68" y="223"/>
                  </a:lnTo>
                  <a:lnTo>
                    <a:pt x="55" y="213"/>
                  </a:lnTo>
                  <a:lnTo>
                    <a:pt x="74" y="202"/>
                  </a:lnTo>
                  <a:lnTo>
                    <a:pt x="55" y="202"/>
                  </a:lnTo>
                  <a:lnTo>
                    <a:pt x="50" y="190"/>
                  </a:lnTo>
                  <a:lnTo>
                    <a:pt x="55" y="190"/>
                  </a:lnTo>
                  <a:lnTo>
                    <a:pt x="43" y="167"/>
                  </a:lnTo>
                  <a:lnTo>
                    <a:pt x="93" y="144"/>
                  </a:lnTo>
                  <a:lnTo>
                    <a:pt x="31" y="158"/>
                  </a:lnTo>
                  <a:lnTo>
                    <a:pt x="18" y="135"/>
                  </a:lnTo>
                  <a:lnTo>
                    <a:pt x="43" y="123"/>
                  </a:lnTo>
                  <a:lnTo>
                    <a:pt x="5" y="100"/>
                  </a:lnTo>
                  <a:lnTo>
                    <a:pt x="12" y="100"/>
                  </a:lnTo>
                  <a:lnTo>
                    <a:pt x="0" y="88"/>
                  </a:lnTo>
                  <a:lnTo>
                    <a:pt x="43" y="88"/>
                  </a:lnTo>
                  <a:lnTo>
                    <a:pt x="0" y="6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29" name="Freeform 153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027486" y="1770063"/>
              <a:ext cx="254000" cy="185737"/>
            </a:xfrm>
            <a:custGeom>
              <a:avLst/>
              <a:gdLst>
                <a:gd name="T0" fmla="*/ 0 w 174"/>
                <a:gd name="T1" fmla="*/ 2147483647 h 234"/>
                <a:gd name="T2" fmla="*/ 2147483647 w 174"/>
                <a:gd name="T3" fmla="*/ 2147483647 h 234"/>
                <a:gd name="T4" fmla="*/ 2147483647 w 174"/>
                <a:gd name="T5" fmla="*/ 2147483647 h 234"/>
                <a:gd name="T6" fmla="*/ 2147483647 w 174"/>
                <a:gd name="T7" fmla="*/ 2147483647 h 234"/>
                <a:gd name="T8" fmla="*/ 2147483647 w 174"/>
                <a:gd name="T9" fmla="*/ 0 h 234"/>
                <a:gd name="T10" fmla="*/ 2147483647 w 174"/>
                <a:gd name="T11" fmla="*/ 2147483647 h 234"/>
                <a:gd name="T12" fmla="*/ 2147483647 w 174"/>
                <a:gd name="T13" fmla="*/ 2147483647 h 234"/>
                <a:gd name="T14" fmla="*/ 2147483647 w 174"/>
                <a:gd name="T15" fmla="*/ 2147483647 h 234"/>
                <a:gd name="T16" fmla="*/ 2147483647 w 174"/>
                <a:gd name="T17" fmla="*/ 2147483647 h 234"/>
                <a:gd name="T18" fmla="*/ 2147483647 w 174"/>
                <a:gd name="T19" fmla="*/ 2147483647 h 234"/>
                <a:gd name="T20" fmla="*/ 2147483647 w 174"/>
                <a:gd name="T21" fmla="*/ 2147483647 h 234"/>
                <a:gd name="T22" fmla="*/ 2147483647 w 174"/>
                <a:gd name="T23" fmla="*/ 2147483647 h 234"/>
                <a:gd name="T24" fmla="*/ 2147483647 w 174"/>
                <a:gd name="T25" fmla="*/ 2147483647 h 234"/>
                <a:gd name="T26" fmla="*/ 2147483647 w 174"/>
                <a:gd name="T27" fmla="*/ 2147483647 h 234"/>
                <a:gd name="T28" fmla="*/ 2147483647 w 174"/>
                <a:gd name="T29" fmla="*/ 2147483647 h 234"/>
                <a:gd name="T30" fmla="*/ 2147483647 w 174"/>
                <a:gd name="T31" fmla="*/ 2147483647 h 234"/>
                <a:gd name="T32" fmla="*/ 2147483647 w 174"/>
                <a:gd name="T33" fmla="*/ 2147483647 h 234"/>
                <a:gd name="T34" fmla="*/ 2147483647 w 174"/>
                <a:gd name="T35" fmla="*/ 2147483647 h 234"/>
                <a:gd name="T36" fmla="*/ 2147483647 w 174"/>
                <a:gd name="T37" fmla="*/ 2147483647 h 234"/>
                <a:gd name="T38" fmla="*/ 2147483647 w 174"/>
                <a:gd name="T39" fmla="*/ 2147483647 h 234"/>
                <a:gd name="T40" fmla="*/ 2147483647 w 174"/>
                <a:gd name="T41" fmla="*/ 2147483647 h 234"/>
                <a:gd name="T42" fmla="*/ 2147483647 w 174"/>
                <a:gd name="T43" fmla="*/ 2147483647 h 234"/>
                <a:gd name="T44" fmla="*/ 2147483647 w 174"/>
                <a:gd name="T45" fmla="*/ 2147483647 h 234"/>
                <a:gd name="T46" fmla="*/ 2147483647 w 174"/>
                <a:gd name="T47" fmla="*/ 2147483647 h 234"/>
                <a:gd name="T48" fmla="*/ 2147483647 w 174"/>
                <a:gd name="T49" fmla="*/ 2147483647 h 234"/>
                <a:gd name="T50" fmla="*/ 2147483647 w 174"/>
                <a:gd name="T51" fmla="*/ 2147483647 h 234"/>
                <a:gd name="T52" fmla="*/ 2147483647 w 174"/>
                <a:gd name="T53" fmla="*/ 2147483647 h 234"/>
                <a:gd name="T54" fmla="*/ 2147483647 w 174"/>
                <a:gd name="T55" fmla="*/ 2147483647 h 234"/>
                <a:gd name="T56" fmla="*/ 2147483647 w 174"/>
                <a:gd name="T57" fmla="*/ 2147483647 h 234"/>
                <a:gd name="T58" fmla="*/ 2147483647 w 174"/>
                <a:gd name="T59" fmla="*/ 2147483647 h 234"/>
                <a:gd name="T60" fmla="*/ 2147483647 w 174"/>
                <a:gd name="T61" fmla="*/ 2147483647 h 234"/>
                <a:gd name="T62" fmla="*/ 2147483647 w 174"/>
                <a:gd name="T63" fmla="*/ 2147483647 h 234"/>
                <a:gd name="T64" fmla="*/ 2147483647 w 174"/>
                <a:gd name="T65" fmla="*/ 2147483647 h 234"/>
                <a:gd name="T66" fmla="*/ 2147483647 w 174"/>
                <a:gd name="T67" fmla="*/ 2147483647 h 234"/>
                <a:gd name="T68" fmla="*/ 2147483647 w 174"/>
                <a:gd name="T69" fmla="*/ 2147483647 h 234"/>
                <a:gd name="T70" fmla="*/ 0 w 174"/>
                <a:gd name="T71" fmla="*/ 2147483647 h 234"/>
                <a:gd name="T72" fmla="*/ 2147483647 w 174"/>
                <a:gd name="T73" fmla="*/ 2147483647 h 234"/>
                <a:gd name="T74" fmla="*/ 0 w 174"/>
                <a:gd name="T75" fmla="*/ 2147483647 h 2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74" h="234">
                  <a:moveTo>
                    <a:pt x="0" y="65"/>
                  </a:moveTo>
                  <a:lnTo>
                    <a:pt x="43" y="56"/>
                  </a:lnTo>
                  <a:lnTo>
                    <a:pt x="18" y="21"/>
                  </a:lnTo>
                  <a:lnTo>
                    <a:pt x="55" y="10"/>
                  </a:lnTo>
                  <a:lnTo>
                    <a:pt x="31" y="0"/>
                  </a:lnTo>
                  <a:lnTo>
                    <a:pt x="74" y="10"/>
                  </a:lnTo>
                  <a:lnTo>
                    <a:pt x="87" y="56"/>
                  </a:lnTo>
                  <a:lnTo>
                    <a:pt x="112" y="56"/>
                  </a:lnTo>
                  <a:lnTo>
                    <a:pt x="118" y="88"/>
                  </a:lnTo>
                  <a:lnTo>
                    <a:pt x="124" y="65"/>
                  </a:lnTo>
                  <a:lnTo>
                    <a:pt x="137" y="65"/>
                  </a:lnTo>
                  <a:lnTo>
                    <a:pt x="131" y="88"/>
                  </a:lnTo>
                  <a:lnTo>
                    <a:pt x="143" y="100"/>
                  </a:lnTo>
                  <a:lnTo>
                    <a:pt x="137" y="123"/>
                  </a:lnTo>
                  <a:lnTo>
                    <a:pt x="162" y="123"/>
                  </a:lnTo>
                  <a:lnTo>
                    <a:pt x="174" y="158"/>
                  </a:lnTo>
                  <a:lnTo>
                    <a:pt x="143" y="167"/>
                  </a:lnTo>
                  <a:lnTo>
                    <a:pt x="131" y="190"/>
                  </a:lnTo>
                  <a:lnTo>
                    <a:pt x="131" y="167"/>
                  </a:lnTo>
                  <a:lnTo>
                    <a:pt x="118" y="234"/>
                  </a:lnTo>
                  <a:lnTo>
                    <a:pt x="100" y="190"/>
                  </a:lnTo>
                  <a:lnTo>
                    <a:pt x="105" y="234"/>
                  </a:lnTo>
                  <a:lnTo>
                    <a:pt x="68" y="223"/>
                  </a:lnTo>
                  <a:lnTo>
                    <a:pt x="55" y="213"/>
                  </a:lnTo>
                  <a:lnTo>
                    <a:pt x="74" y="202"/>
                  </a:lnTo>
                  <a:lnTo>
                    <a:pt x="55" y="202"/>
                  </a:lnTo>
                  <a:lnTo>
                    <a:pt x="50" y="190"/>
                  </a:lnTo>
                  <a:lnTo>
                    <a:pt x="55" y="190"/>
                  </a:lnTo>
                  <a:lnTo>
                    <a:pt x="43" y="167"/>
                  </a:lnTo>
                  <a:lnTo>
                    <a:pt x="93" y="144"/>
                  </a:lnTo>
                  <a:lnTo>
                    <a:pt x="31" y="158"/>
                  </a:lnTo>
                  <a:lnTo>
                    <a:pt x="18" y="135"/>
                  </a:lnTo>
                  <a:lnTo>
                    <a:pt x="43" y="123"/>
                  </a:lnTo>
                  <a:lnTo>
                    <a:pt x="5" y="100"/>
                  </a:lnTo>
                  <a:lnTo>
                    <a:pt x="12" y="100"/>
                  </a:lnTo>
                  <a:lnTo>
                    <a:pt x="0" y="88"/>
                  </a:lnTo>
                  <a:lnTo>
                    <a:pt x="43" y="88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30" name="Freeform 154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027486" y="1770063"/>
              <a:ext cx="254000" cy="185737"/>
            </a:xfrm>
            <a:custGeom>
              <a:avLst/>
              <a:gdLst>
                <a:gd name="T0" fmla="*/ 0 w 174"/>
                <a:gd name="T1" fmla="*/ 2147483647 h 234"/>
                <a:gd name="T2" fmla="*/ 2147483647 w 174"/>
                <a:gd name="T3" fmla="*/ 2147483647 h 234"/>
                <a:gd name="T4" fmla="*/ 2147483647 w 174"/>
                <a:gd name="T5" fmla="*/ 2147483647 h 234"/>
                <a:gd name="T6" fmla="*/ 2147483647 w 174"/>
                <a:gd name="T7" fmla="*/ 2147483647 h 234"/>
                <a:gd name="T8" fmla="*/ 2147483647 w 174"/>
                <a:gd name="T9" fmla="*/ 0 h 234"/>
                <a:gd name="T10" fmla="*/ 2147483647 w 174"/>
                <a:gd name="T11" fmla="*/ 2147483647 h 234"/>
                <a:gd name="T12" fmla="*/ 2147483647 w 174"/>
                <a:gd name="T13" fmla="*/ 2147483647 h 234"/>
                <a:gd name="T14" fmla="*/ 2147483647 w 174"/>
                <a:gd name="T15" fmla="*/ 2147483647 h 234"/>
                <a:gd name="T16" fmla="*/ 2147483647 w 174"/>
                <a:gd name="T17" fmla="*/ 2147483647 h 234"/>
                <a:gd name="T18" fmla="*/ 2147483647 w 174"/>
                <a:gd name="T19" fmla="*/ 2147483647 h 234"/>
                <a:gd name="T20" fmla="*/ 2147483647 w 174"/>
                <a:gd name="T21" fmla="*/ 2147483647 h 234"/>
                <a:gd name="T22" fmla="*/ 2147483647 w 174"/>
                <a:gd name="T23" fmla="*/ 2147483647 h 234"/>
                <a:gd name="T24" fmla="*/ 2147483647 w 174"/>
                <a:gd name="T25" fmla="*/ 2147483647 h 234"/>
                <a:gd name="T26" fmla="*/ 2147483647 w 174"/>
                <a:gd name="T27" fmla="*/ 2147483647 h 234"/>
                <a:gd name="T28" fmla="*/ 2147483647 w 174"/>
                <a:gd name="T29" fmla="*/ 2147483647 h 234"/>
                <a:gd name="T30" fmla="*/ 2147483647 w 174"/>
                <a:gd name="T31" fmla="*/ 2147483647 h 234"/>
                <a:gd name="T32" fmla="*/ 2147483647 w 174"/>
                <a:gd name="T33" fmla="*/ 2147483647 h 234"/>
                <a:gd name="T34" fmla="*/ 2147483647 w 174"/>
                <a:gd name="T35" fmla="*/ 2147483647 h 234"/>
                <a:gd name="T36" fmla="*/ 2147483647 w 174"/>
                <a:gd name="T37" fmla="*/ 2147483647 h 234"/>
                <a:gd name="T38" fmla="*/ 2147483647 w 174"/>
                <a:gd name="T39" fmla="*/ 2147483647 h 234"/>
                <a:gd name="T40" fmla="*/ 2147483647 w 174"/>
                <a:gd name="T41" fmla="*/ 2147483647 h 234"/>
                <a:gd name="T42" fmla="*/ 2147483647 w 174"/>
                <a:gd name="T43" fmla="*/ 2147483647 h 234"/>
                <a:gd name="T44" fmla="*/ 2147483647 w 174"/>
                <a:gd name="T45" fmla="*/ 2147483647 h 234"/>
                <a:gd name="T46" fmla="*/ 2147483647 w 174"/>
                <a:gd name="T47" fmla="*/ 2147483647 h 234"/>
                <a:gd name="T48" fmla="*/ 2147483647 w 174"/>
                <a:gd name="T49" fmla="*/ 2147483647 h 234"/>
                <a:gd name="T50" fmla="*/ 2147483647 w 174"/>
                <a:gd name="T51" fmla="*/ 2147483647 h 234"/>
                <a:gd name="T52" fmla="*/ 2147483647 w 174"/>
                <a:gd name="T53" fmla="*/ 2147483647 h 234"/>
                <a:gd name="T54" fmla="*/ 2147483647 w 174"/>
                <a:gd name="T55" fmla="*/ 2147483647 h 234"/>
                <a:gd name="T56" fmla="*/ 2147483647 w 174"/>
                <a:gd name="T57" fmla="*/ 2147483647 h 234"/>
                <a:gd name="T58" fmla="*/ 2147483647 w 174"/>
                <a:gd name="T59" fmla="*/ 2147483647 h 234"/>
                <a:gd name="T60" fmla="*/ 2147483647 w 174"/>
                <a:gd name="T61" fmla="*/ 2147483647 h 234"/>
                <a:gd name="T62" fmla="*/ 2147483647 w 174"/>
                <a:gd name="T63" fmla="*/ 2147483647 h 234"/>
                <a:gd name="T64" fmla="*/ 2147483647 w 174"/>
                <a:gd name="T65" fmla="*/ 2147483647 h 234"/>
                <a:gd name="T66" fmla="*/ 2147483647 w 174"/>
                <a:gd name="T67" fmla="*/ 2147483647 h 234"/>
                <a:gd name="T68" fmla="*/ 2147483647 w 174"/>
                <a:gd name="T69" fmla="*/ 2147483647 h 234"/>
                <a:gd name="T70" fmla="*/ 0 w 174"/>
                <a:gd name="T71" fmla="*/ 2147483647 h 234"/>
                <a:gd name="T72" fmla="*/ 2147483647 w 174"/>
                <a:gd name="T73" fmla="*/ 2147483647 h 234"/>
                <a:gd name="T74" fmla="*/ 0 w 174"/>
                <a:gd name="T75" fmla="*/ 2147483647 h 2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74" h="234">
                  <a:moveTo>
                    <a:pt x="0" y="65"/>
                  </a:moveTo>
                  <a:lnTo>
                    <a:pt x="43" y="56"/>
                  </a:lnTo>
                  <a:lnTo>
                    <a:pt x="18" y="21"/>
                  </a:lnTo>
                  <a:lnTo>
                    <a:pt x="55" y="10"/>
                  </a:lnTo>
                  <a:lnTo>
                    <a:pt x="31" y="0"/>
                  </a:lnTo>
                  <a:lnTo>
                    <a:pt x="74" y="10"/>
                  </a:lnTo>
                  <a:lnTo>
                    <a:pt x="87" y="56"/>
                  </a:lnTo>
                  <a:lnTo>
                    <a:pt x="112" y="56"/>
                  </a:lnTo>
                  <a:lnTo>
                    <a:pt x="118" y="88"/>
                  </a:lnTo>
                  <a:lnTo>
                    <a:pt x="124" y="65"/>
                  </a:lnTo>
                  <a:lnTo>
                    <a:pt x="137" y="65"/>
                  </a:lnTo>
                  <a:lnTo>
                    <a:pt x="131" y="88"/>
                  </a:lnTo>
                  <a:lnTo>
                    <a:pt x="143" y="100"/>
                  </a:lnTo>
                  <a:lnTo>
                    <a:pt x="137" y="123"/>
                  </a:lnTo>
                  <a:lnTo>
                    <a:pt x="162" y="123"/>
                  </a:lnTo>
                  <a:lnTo>
                    <a:pt x="174" y="158"/>
                  </a:lnTo>
                  <a:lnTo>
                    <a:pt x="143" y="167"/>
                  </a:lnTo>
                  <a:lnTo>
                    <a:pt x="131" y="190"/>
                  </a:lnTo>
                  <a:lnTo>
                    <a:pt x="131" y="167"/>
                  </a:lnTo>
                  <a:lnTo>
                    <a:pt x="118" y="234"/>
                  </a:lnTo>
                  <a:lnTo>
                    <a:pt x="100" y="190"/>
                  </a:lnTo>
                  <a:lnTo>
                    <a:pt x="105" y="234"/>
                  </a:lnTo>
                  <a:lnTo>
                    <a:pt x="68" y="223"/>
                  </a:lnTo>
                  <a:lnTo>
                    <a:pt x="55" y="213"/>
                  </a:lnTo>
                  <a:lnTo>
                    <a:pt x="74" y="202"/>
                  </a:lnTo>
                  <a:lnTo>
                    <a:pt x="55" y="202"/>
                  </a:lnTo>
                  <a:lnTo>
                    <a:pt x="50" y="190"/>
                  </a:lnTo>
                  <a:lnTo>
                    <a:pt x="55" y="190"/>
                  </a:lnTo>
                  <a:lnTo>
                    <a:pt x="43" y="167"/>
                  </a:lnTo>
                  <a:lnTo>
                    <a:pt x="93" y="144"/>
                  </a:lnTo>
                  <a:lnTo>
                    <a:pt x="31" y="158"/>
                  </a:lnTo>
                  <a:lnTo>
                    <a:pt x="18" y="135"/>
                  </a:lnTo>
                  <a:lnTo>
                    <a:pt x="43" y="123"/>
                  </a:lnTo>
                  <a:lnTo>
                    <a:pt x="5" y="100"/>
                  </a:lnTo>
                  <a:lnTo>
                    <a:pt x="12" y="100"/>
                  </a:lnTo>
                  <a:lnTo>
                    <a:pt x="0" y="88"/>
                  </a:lnTo>
                  <a:lnTo>
                    <a:pt x="43" y="88"/>
                  </a:lnTo>
                  <a:lnTo>
                    <a:pt x="0" y="6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31" name="Freeform 155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027486" y="2087563"/>
              <a:ext cx="61912" cy="46037"/>
            </a:xfrm>
            <a:custGeom>
              <a:avLst/>
              <a:gdLst>
                <a:gd name="T0" fmla="*/ 0 w 43"/>
                <a:gd name="T1" fmla="*/ 2147483647 h 57"/>
                <a:gd name="T2" fmla="*/ 2147483647 w 43"/>
                <a:gd name="T3" fmla="*/ 0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0 w 43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7">
                  <a:moveTo>
                    <a:pt x="0" y="34"/>
                  </a:moveTo>
                  <a:lnTo>
                    <a:pt x="5" y="0"/>
                  </a:lnTo>
                  <a:lnTo>
                    <a:pt x="37" y="13"/>
                  </a:lnTo>
                  <a:lnTo>
                    <a:pt x="43" y="57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32" name="Freeform 156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027486" y="2087563"/>
              <a:ext cx="61912" cy="46037"/>
            </a:xfrm>
            <a:custGeom>
              <a:avLst/>
              <a:gdLst>
                <a:gd name="T0" fmla="*/ 0 w 43"/>
                <a:gd name="T1" fmla="*/ 2147483647 h 57"/>
                <a:gd name="T2" fmla="*/ 2147483647 w 43"/>
                <a:gd name="T3" fmla="*/ 0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0 w 43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7">
                  <a:moveTo>
                    <a:pt x="0" y="34"/>
                  </a:moveTo>
                  <a:lnTo>
                    <a:pt x="5" y="0"/>
                  </a:lnTo>
                  <a:lnTo>
                    <a:pt x="37" y="13"/>
                  </a:lnTo>
                  <a:lnTo>
                    <a:pt x="43" y="57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33" name="Freeform 157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027486" y="2087563"/>
              <a:ext cx="61912" cy="46037"/>
            </a:xfrm>
            <a:custGeom>
              <a:avLst/>
              <a:gdLst>
                <a:gd name="T0" fmla="*/ 0 w 43"/>
                <a:gd name="T1" fmla="*/ 2147483647 h 57"/>
                <a:gd name="T2" fmla="*/ 2147483647 w 43"/>
                <a:gd name="T3" fmla="*/ 0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0 w 43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7">
                  <a:moveTo>
                    <a:pt x="0" y="34"/>
                  </a:moveTo>
                  <a:lnTo>
                    <a:pt x="5" y="0"/>
                  </a:lnTo>
                  <a:lnTo>
                    <a:pt x="37" y="13"/>
                  </a:lnTo>
                  <a:lnTo>
                    <a:pt x="43" y="57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34" name="Freeform 158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027486" y="2087563"/>
              <a:ext cx="61912" cy="46037"/>
            </a:xfrm>
            <a:custGeom>
              <a:avLst/>
              <a:gdLst>
                <a:gd name="T0" fmla="*/ 0 w 43"/>
                <a:gd name="T1" fmla="*/ 2147483647 h 57"/>
                <a:gd name="T2" fmla="*/ 2147483647 w 43"/>
                <a:gd name="T3" fmla="*/ 0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0 w 43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7">
                  <a:moveTo>
                    <a:pt x="0" y="34"/>
                  </a:moveTo>
                  <a:lnTo>
                    <a:pt x="5" y="0"/>
                  </a:lnTo>
                  <a:lnTo>
                    <a:pt x="37" y="13"/>
                  </a:lnTo>
                  <a:lnTo>
                    <a:pt x="43" y="57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35" name="Freeform 159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027486" y="1973263"/>
              <a:ext cx="71437" cy="26987"/>
            </a:xfrm>
            <a:custGeom>
              <a:avLst/>
              <a:gdLst>
                <a:gd name="T0" fmla="*/ 0 w 49"/>
                <a:gd name="T1" fmla="*/ 2147483647 h 34"/>
                <a:gd name="T2" fmla="*/ 2147483647 w 49"/>
                <a:gd name="T3" fmla="*/ 2147483647 h 34"/>
                <a:gd name="T4" fmla="*/ 2147483647 w 49"/>
                <a:gd name="T5" fmla="*/ 2147483647 h 34"/>
                <a:gd name="T6" fmla="*/ 2147483647 w 49"/>
                <a:gd name="T7" fmla="*/ 0 h 34"/>
                <a:gd name="T8" fmla="*/ 0 w 49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4">
                  <a:moveTo>
                    <a:pt x="0" y="11"/>
                  </a:moveTo>
                  <a:lnTo>
                    <a:pt x="12" y="34"/>
                  </a:lnTo>
                  <a:lnTo>
                    <a:pt x="49" y="11"/>
                  </a:lnTo>
                  <a:lnTo>
                    <a:pt x="12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36" name="Freeform 160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027486" y="1973263"/>
              <a:ext cx="71437" cy="26987"/>
            </a:xfrm>
            <a:custGeom>
              <a:avLst/>
              <a:gdLst>
                <a:gd name="T0" fmla="*/ 0 w 49"/>
                <a:gd name="T1" fmla="*/ 2147483647 h 34"/>
                <a:gd name="T2" fmla="*/ 2147483647 w 49"/>
                <a:gd name="T3" fmla="*/ 2147483647 h 34"/>
                <a:gd name="T4" fmla="*/ 2147483647 w 49"/>
                <a:gd name="T5" fmla="*/ 2147483647 h 34"/>
                <a:gd name="T6" fmla="*/ 2147483647 w 49"/>
                <a:gd name="T7" fmla="*/ 0 h 34"/>
                <a:gd name="T8" fmla="*/ 0 w 49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4">
                  <a:moveTo>
                    <a:pt x="0" y="11"/>
                  </a:moveTo>
                  <a:lnTo>
                    <a:pt x="12" y="34"/>
                  </a:lnTo>
                  <a:lnTo>
                    <a:pt x="49" y="11"/>
                  </a:lnTo>
                  <a:lnTo>
                    <a:pt x="12" y="0"/>
                  </a:lnTo>
                  <a:lnTo>
                    <a:pt x="0" y="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37" name="Freeform 161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027486" y="1973263"/>
              <a:ext cx="71437" cy="26987"/>
            </a:xfrm>
            <a:custGeom>
              <a:avLst/>
              <a:gdLst>
                <a:gd name="T0" fmla="*/ 0 w 49"/>
                <a:gd name="T1" fmla="*/ 2147483647 h 34"/>
                <a:gd name="T2" fmla="*/ 2147483647 w 49"/>
                <a:gd name="T3" fmla="*/ 2147483647 h 34"/>
                <a:gd name="T4" fmla="*/ 2147483647 w 49"/>
                <a:gd name="T5" fmla="*/ 2147483647 h 34"/>
                <a:gd name="T6" fmla="*/ 2147483647 w 49"/>
                <a:gd name="T7" fmla="*/ 0 h 34"/>
                <a:gd name="T8" fmla="*/ 0 w 49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4">
                  <a:moveTo>
                    <a:pt x="0" y="11"/>
                  </a:moveTo>
                  <a:lnTo>
                    <a:pt x="12" y="34"/>
                  </a:lnTo>
                  <a:lnTo>
                    <a:pt x="49" y="11"/>
                  </a:lnTo>
                  <a:lnTo>
                    <a:pt x="12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38" name="Freeform 162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2027486" y="1973263"/>
              <a:ext cx="71437" cy="26987"/>
            </a:xfrm>
            <a:custGeom>
              <a:avLst/>
              <a:gdLst>
                <a:gd name="T0" fmla="*/ 0 w 49"/>
                <a:gd name="T1" fmla="*/ 2147483647 h 34"/>
                <a:gd name="T2" fmla="*/ 2147483647 w 49"/>
                <a:gd name="T3" fmla="*/ 2147483647 h 34"/>
                <a:gd name="T4" fmla="*/ 2147483647 w 49"/>
                <a:gd name="T5" fmla="*/ 2147483647 h 34"/>
                <a:gd name="T6" fmla="*/ 2147483647 w 49"/>
                <a:gd name="T7" fmla="*/ 0 h 34"/>
                <a:gd name="T8" fmla="*/ 0 w 49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4">
                  <a:moveTo>
                    <a:pt x="0" y="11"/>
                  </a:moveTo>
                  <a:lnTo>
                    <a:pt x="12" y="34"/>
                  </a:lnTo>
                  <a:lnTo>
                    <a:pt x="49" y="11"/>
                  </a:lnTo>
                  <a:lnTo>
                    <a:pt x="12" y="0"/>
                  </a:lnTo>
                  <a:lnTo>
                    <a:pt x="0" y="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39" name="Freeform 163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2044948" y="2168525"/>
              <a:ext cx="117475" cy="95250"/>
            </a:xfrm>
            <a:custGeom>
              <a:avLst/>
              <a:gdLst>
                <a:gd name="T0" fmla="*/ 0 w 81"/>
                <a:gd name="T1" fmla="*/ 2147483647 h 121"/>
                <a:gd name="T2" fmla="*/ 0 w 81"/>
                <a:gd name="T3" fmla="*/ 2147483647 h 121"/>
                <a:gd name="T4" fmla="*/ 2147483647 w 81"/>
                <a:gd name="T5" fmla="*/ 2147483647 h 121"/>
                <a:gd name="T6" fmla="*/ 2147483647 w 81"/>
                <a:gd name="T7" fmla="*/ 2147483647 h 121"/>
                <a:gd name="T8" fmla="*/ 2147483647 w 81"/>
                <a:gd name="T9" fmla="*/ 2147483647 h 121"/>
                <a:gd name="T10" fmla="*/ 2147483647 w 81"/>
                <a:gd name="T11" fmla="*/ 2147483647 h 121"/>
                <a:gd name="T12" fmla="*/ 2147483647 w 81"/>
                <a:gd name="T13" fmla="*/ 2147483647 h 121"/>
                <a:gd name="T14" fmla="*/ 2147483647 w 81"/>
                <a:gd name="T15" fmla="*/ 2147483647 h 121"/>
                <a:gd name="T16" fmla="*/ 2147483647 w 81"/>
                <a:gd name="T17" fmla="*/ 0 h 121"/>
                <a:gd name="T18" fmla="*/ 2147483647 w 81"/>
                <a:gd name="T19" fmla="*/ 0 h 121"/>
                <a:gd name="T20" fmla="*/ 2147483647 w 81"/>
                <a:gd name="T21" fmla="*/ 2147483647 h 121"/>
                <a:gd name="T22" fmla="*/ 0 w 81"/>
                <a:gd name="T23" fmla="*/ 2147483647 h 1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1" h="121">
                  <a:moveTo>
                    <a:pt x="0" y="21"/>
                  </a:moveTo>
                  <a:lnTo>
                    <a:pt x="0" y="66"/>
                  </a:lnTo>
                  <a:lnTo>
                    <a:pt x="7" y="89"/>
                  </a:lnTo>
                  <a:lnTo>
                    <a:pt x="7" y="121"/>
                  </a:lnTo>
                  <a:lnTo>
                    <a:pt x="19" y="121"/>
                  </a:lnTo>
                  <a:lnTo>
                    <a:pt x="31" y="89"/>
                  </a:lnTo>
                  <a:lnTo>
                    <a:pt x="19" y="66"/>
                  </a:lnTo>
                  <a:lnTo>
                    <a:pt x="57" y="66"/>
                  </a:lnTo>
                  <a:lnTo>
                    <a:pt x="81" y="0"/>
                  </a:lnTo>
                  <a:lnTo>
                    <a:pt x="7" y="0"/>
                  </a:lnTo>
                  <a:lnTo>
                    <a:pt x="12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40" name="Freeform 164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2044948" y="2168525"/>
              <a:ext cx="117475" cy="95250"/>
            </a:xfrm>
            <a:custGeom>
              <a:avLst/>
              <a:gdLst>
                <a:gd name="T0" fmla="*/ 0 w 81"/>
                <a:gd name="T1" fmla="*/ 2147483647 h 121"/>
                <a:gd name="T2" fmla="*/ 0 w 81"/>
                <a:gd name="T3" fmla="*/ 2147483647 h 121"/>
                <a:gd name="T4" fmla="*/ 2147483647 w 81"/>
                <a:gd name="T5" fmla="*/ 2147483647 h 121"/>
                <a:gd name="T6" fmla="*/ 2147483647 w 81"/>
                <a:gd name="T7" fmla="*/ 2147483647 h 121"/>
                <a:gd name="T8" fmla="*/ 2147483647 w 81"/>
                <a:gd name="T9" fmla="*/ 2147483647 h 121"/>
                <a:gd name="T10" fmla="*/ 2147483647 w 81"/>
                <a:gd name="T11" fmla="*/ 2147483647 h 121"/>
                <a:gd name="T12" fmla="*/ 2147483647 w 81"/>
                <a:gd name="T13" fmla="*/ 2147483647 h 121"/>
                <a:gd name="T14" fmla="*/ 2147483647 w 81"/>
                <a:gd name="T15" fmla="*/ 2147483647 h 121"/>
                <a:gd name="T16" fmla="*/ 2147483647 w 81"/>
                <a:gd name="T17" fmla="*/ 0 h 121"/>
                <a:gd name="T18" fmla="*/ 2147483647 w 81"/>
                <a:gd name="T19" fmla="*/ 0 h 121"/>
                <a:gd name="T20" fmla="*/ 2147483647 w 81"/>
                <a:gd name="T21" fmla="*/ 2147483647 h 121"/>
                <a:gd name="T22" fmla="*/ 0 w 81"/>
                <a:gd name="T23" fmla="*/ 2147483647 h 1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1" h="121">
                  <a:moveTo>
                    <a:pt x="0" y="21"/>
                  </a:moveTo>
                  <a:lnTo>
                    <a:pt x="0" y="66"/>
                  </a:lnTo>
                  <a:lnTo>
                    <a:pt x="7" y="89"/>
                  </a:lnTo>
                  <a:lnTo>
                    <a:pt x="7" y="121"/>
                  </a:lnTo>
                  <a:lnTo>
                    <a:pt x="19" y="121"/>
                  </a:lnTo>
                  <a:lnTo>
                    <a:pt x="31" y="89"/>
                  </a:lnTo>
                  <a:lnTo>
                    <a:pt x="19" y="66"/>
                  </a:lnTo>
                  <a:lnTo>
                    <a:pt x="57" y="66"/>
                  </a:lnTo>
                  <a:lnTo>
                    <a:pt x="81" y="0"/>
                  </a:lnTo>
                  <a:lnTo>
                    <a:pt x="7" y="0"/>
                  </a:lnTo>
                  <a:lnTo>
                    <a:pt x="12" y="21"/>
                  </a:lnTo>
                  <a:lnTo>
                    <a:pt x="0" y="2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41" name="Freeform 165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2044948" y="2168525"/>
              <a:ext cx="117475" cy="95250"/>
            </a:xfrm>
            <a:custGeom>
              <a:avLst/>
              <a:gdLst>
                <a:gd name="T0" fmla="*/ 0 w 81"/>
                <a:gd name="T1" fmla="*/ 2147483647 h 121"/>
                <a:gd name="T2" fmla="*/ 0 w 81"/>
                <a:gd name="T3" fmla="*/ 2147483647 h 121"/>
                <a:gd name="T4" fmla="*/ 2147483647 w 81"/>
                <a:gd name="T5" fmla="*/ 2147483647 h 121"/>
                <a:gd name="T6" fmla="*/ 2147483647 w 81"/>
                <a:gd name="T7" fmla="*/ 2147483647 h 121"/>
                <a:gd name="T8" fmla="*/ 2147483647 w 81"/>
                <a:gd name="T9" fmla="*/ 2147483647 h 121"/>
                <a:gd name="T10" fmla="*/ 2147483647 w 81"/>
                <a:gd name="T11" fmla="*/ 2147483647 h 121"/>
                <a:gd name="T12" fmla="*/ 2147483647 w 81"/>
                <a:gd name="T13" fmla="*/ 2147483647 h 121"/>
                <a:gd name="T14" fmla="*/ 2147483647 w 81"/>
                <a:gd name="T15" fmla="*/ 2147483647 h 121"/>
                <a:gd name="T16" fmla="*/ 2147483647 w 81"/>
                <a:gd name="T17" fmla="*/ 0 h 121"/>
                <a:gd name="T18" fmla="*/ 2147483647 w 81"/>
                <a:gd name="T19" fmla="*/ 0 h 121"/>
                <a:gd name="T20" fmla="*/ 2147483647 w 81"/>
                <a:gd name="T21" fmla="*/ 2147483647 h 121"/>
                <a:gd name="T22" fmla="*/ 0 w 81"/>
                <a:gd name="T23" fmla="*/ 2147483647 h 1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1" h="121">
                  <a:moveTo>
                    <a:pt x="0" y="21"/>
                  </a:moveTo>
                  <a:lnTo>
                    <a:pt x="0" y="66"/>
                  </a:lnTo>
                  <a:lnTo>
                    <a:pt x="7" y="89"/>
                  </a:lnTo>
                  <a:lnTo>
                    <a:pt x="7" y="121"/>
                  </a:lnTo>
                  <a:lnTo>
                    <a:pt x="19" y="121"/>
                  </a:lnTo>
                  <a:lnTo>
                    <a:pt x="31" y="89"/>
                  </a:lnTo>
                  <a:lnTo>
                    <a:pt x="19" y="66"/>
                  </a:lnTo>
                  <a:lnTo>
                    <a:pt x="57" y="66"/>
                  </a:lnTo>
                  <a:lnTo>
                    <a:pt x="81" y="0"/>
                  </a:lnTo>
                  <a:lnTo>
                    <a:pt x="7" y="0"/>
                  </a:lnTo>
                  <a:lnTo>
                    <a:pt x="12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42" name="Freeform 166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2044948" y="2168525"/>
              <a:ext cx="117475" cy="95250"/>
            </a:xfrm>
            <a:custGeom>
              <a:avLst/>
              <a:gdLst>
                <a:gd name="T0" fmla="*/ 0 w 81"/>
                <a:gd name="T1" fmla="*/ 2147483647 h 121"/>
                <a:gd name="T2" fmla="*/ 0 w 81"/>
                <a:gd name="T3" fmla="*/ 2147483647 h 121"/>
                <a:gd name="T4" fmla="*/ 2147483647 w 81"/>
                <a:gd name="T5" fmla="*/ 2147483647 h 121"/>
                <a:gd name="T6" fmla="*/ 2147483647 w 81"/>
                <a:gd name="T7" fmla="*/ 2147483647 h 121"/>
                <a:gd name="T8" fmla="*/ 2147483647 w 81"/>
                <a:gd name="T9" fmla="*/ 2147483647 h 121"/>
                <a:gd name="T10" fmla="*/ 2147483647 w 81"/>
                <a:gd name="T11" fmla="*/ 2147483647 h 121"/>
                <a:gd name="T12" fmla="*/ 2147483647 w 81"/>
                <a:gd name="T13" fmla="*/ 2147483647 h 121"/>
                <a:gd name="T14" fmla="*/ 2147483647 w 81"/>
                <a:gd name="T15" fmla="*/ 2147483647 h 121"/>
                <a:gd name="T16" fmla="*/ 2147483647 w 81"/>
                <a:gd name="T17" fmla="*/ 0 h 121"/>
                <a:gd name="T18" fmla="*/ 2147483647 w 81"/>
                <a:gd name="T19" fmla="*/ 0 h 121"/>
                <a:gd name="T20" fmla="*/ 2147483647 w 81"/>
                <a:gd name="T21" fmla="*/ 2147483647 h 121"/>
                <a:gd name="T22" fmla="*/ 0 w 81"/>
                <a:gd name="T23" fmla="*/ 2147483647 h 1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1" h="121">
                  <a:moveTo>
                    <a:pt x="0" y="21"/>
                  </a:moveTo>
                  <a:lnTo>
                    <a:pt x="0" y="66"/>
                  </a:lnTo>
                  <a:lnTo>
                    <a:pt x="7" y="89"/>
                  </a:lnTo>
                  <a:lnTo>
                    <a:pt x="7" y="121"/>
                  </a:lnTo>
                  <a:lnTo>
                    <a:pt x="19" y="121"/>
                  </a:lnTo>
                  <a:lnTo>
                    <a:pt x="31" y="89"/>
                  </a:lnTo>
                  <a:lnTo>
                    <a:pt x="19" y="66"/>
                  </a:lnTo>
                  <a:lnTo>
                    <a:pt x="57" y="66"/>
                  </a:lnTo>
                  <a:lnTo>
                    <a:pt x="81" y="0"/>
                  </a:lnTo>
                  <a:lnTo>
                    <a:pt x="7" y="0"/>
                  </a:lnTo>
                  <a:lnTo>
                    <a:pt x="12" y="21"/>
                  </a:lnTo>
                  <a:lnTo>
                    <a:pt x="0" y="2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43" name="Freeform 167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2125911" y="1655763"/>
              <a:ext cx="696912" cy="404812"/>
            </a:xfrm>
            <a:custGeom>
              <a:avLst/>
              <a:gdLst>
                <a:gd name="T0" fmla="*/ 2147483647 w 475"/>
                <a:gd name="T1" fmla="*/ 2147483647 h 511"/>
                <a:gd name="T2" fmla="*/ 2147483647 w 475"/>
                <a:gd name="T3" fmla="*/ 2147483647 h 511"/>
                <a:gd name="T4" fmla="*/ 2147483647 w 475"/>
                <a:gd name="T5" fmla="*/ 2147483647 h 511"/>
                <a:gd name="T6" fmla="*/ 2147483647 w 475"/>
                <a:gd name="T7" fmla="*/ 2147483647 h 511"/>
                <a:gd name="T8" fmla="*/ 2147483647 w 475"/>
                <a:gd name="T9" fmla="*/ 2147483647 h 511"/>
                <a:gd name="T10" fmla="*/ 2147483647 w 475"/>
                <a:gd name="T11" fmla="*/ 2147483647 h 511"/>
                <a:gd name="T12" fmla="*/ 2147483647 w 475"/>
                <a:gd name="T13" fmla="*/ 2147483647 h 511"/>
                <a:gd name="T14" fmla="*/ 2147483647 w 475"/>
                <a:gd name="T15" fmla="*/ 2147483647 h 511"/>
                <a:gd name="T16" fmla="*/ 2147483647 w 475"/>
                <a:gd name="T17" fmla="*/ 2147483647 h 511"/>
                <a:gd name="T18" fmla="*/ 2147483647 w 475"/>
                <a:gd name="T19" fmla="*/ 2147483647 h 511"/>
                <a:gd name="T20" fmla="*/ 2147483647 w 475"/>
                <a:gd name="T21" fmla="*/ 2147483647 h 511"/>
                <a:gd name="T22" fmla="*/ 2147483647 w 475"/>
                <a:gd name="T23" fmla="*/ 2147483647 h 511"/>
                <a:gd name="T24" fmla="*/ 2147483647 w 475"/>
                <a:gd name="T25" fmla="*/ 2147483647 h 511"/>
                <a:gd name="T26" fmla="*/ 2147483647 w 475"/>
                <a:gd name="T27" fmla="*/ 2147483647 h 511"/>
                <a:gd name="T28" fmla="*/ 2147483647 w 475"/>
                <a:gd name="T29" fmla="*/ 2147483647 h 511"/>
                <a:gd name="T30" fmla="*/ 2147483647 w 475"/>
                <a:gd name="T31" fmla="*/ 2147483647 h 511"/>
                <a:gd name="T32" fmla="*/ 2147483647 w 475"/>
                <a:gd name="T33" fmla="*/ 2147483647 h 511"/>
                <a:gd name="T34" fmla="*/ 2147483647 w 475"/>
                <a:gd name="T35" fmla="*/ 2147483647 h 511"/>
                <a:gd name="T36" fmla="*/ 2147483647 w 475"/>
                <a:gd name="T37" fmla="*/ 2147483647 h 511"/>
                <a:gd name="T38" fmla="*/ 2147483647 w 475"/>
                <a:gd name="T39" fmla="*/ 2147483647 h 511"/>
                <a:gd name="T40" fmla="*/ 2147483647 w 475"/>
                <a:gd name="T41" fmla="*/ 2147483647 h 511"/>
                <a:gd name="T42" fmla="*/ 2147483647 w 475"/>
                <a:gd name="T43" fmla="*/ 2147483647 h 511"/>
                <a:gd name="T44" fmla="*/ 2147483647 w 475"/>
                <a:gd name="T45" fmla="*/ 2147483647 h 511"/>
                <a:gd name="T46" fmla="*/ 2147483647 w 475"/>
                <a:gd name="T47" fmla="*/ 2147483647 h 511"/>
                <a:gd name="T48" fmla="*/ 2147483647 w 475"/>
                <a:gd name="T49" fmla="*/ 2147483647 h 511"/>
                <a:gd name="T50" fmla="*/ 2147483647 w 475"/>
                <a:gd name="T51" fmla="*/ 2147483647 h 511"/>
                <a:gd name="T52" fmla="*/ 2147483647 w 475"/>
                <a:gd name="T53" fmla="*/ 2147483647 h 511"/>
                <a:gd name="T54" fmla="*/ 2147483647 w 475"/>
                <a:gd name="T55" fmla="*/ 2147483647 h 511"/>
                <a:gd name="T56" fmla="*/ 2147483647 w 475"/>
                <a:gd name="T57" fmla="*/ 2147483647 h 511"/>
                <a:gd name="T58" fmla="*/ 2147483647 w 475"/>
                <a:gd name="T59" fmla="*/ 2147483647 h 511"/>
                <a:gd name="T60" fmla="*/ 2147483647 w 475"/>
                <a:gd name="T61" fmla="*/ 2147483647 h 511"/>
                <a:gd name="T62" fmla="*/ 2147483647 w 475"/>
                <a:gd name="T63" fmla="*/ 2147483647 h 511"/>
                <a:gd name="T64" fmla="*/ 2147483647 w 475"/>
                <a:gd name="T65" fmla="*/ 2147483647 h 511"/>
                <a:gd name="T66" fmla="*/ 2147483647 w 475"/>
                <a:gd name="T67" fmla="*/ 2147483647 h 511"/>
                <a:gd name="T68" fmla="*/ 2147483647 w 475"/>
                <a:gd name="T69" fmla="*/ 2147483647 h 511"/>
                <a:gd name="T70" fmla="*/ 2147483647 w 475"/>
                <a:gd name="T71" fmla="*/ 2147483647 h 511"/>
                <a:gd name="T72" fmla="*/ 2147483647 w 475"/>
                <a:gd name="T73" fmla="*/ 2147483647 h 511"/>
                <a:gd name="T74" fmla="*/ 2147483647 w 475"/>
                <a:gd name="T75" fmla="*/ 0 h 511"/>
                <a:gd name="T76" fmla="*/ 2147483647 w 475"/>
                <a:gd name="T77" fmla="*/ 2147483647 h 511"/>
                <a:gd name="T78" fmla="*/ 2147483647 w 475"/>
                <a:gd name="T79" fmla="*/ 2147483647 h 511"/>
                <a:gd name="T80" fmla="*/ 2147483647 w 475"/>
                <a:gd name="T81" fmla="*/ 2147483647 h 511"/>
                <a:gd name="T82" fmla="*/ 2147483647 w 475"/>
                <a:gd name="T83" fmla="*/ 2147483647 h 511"/>
                <a:gd name="T84" fmla="*/ 2147483647 w 475"/>
                <a:gd name="T85" fmla="*/ 2147483647 h 511"/>
                <a:gd name="T86" fmla="*/ 2147483647 w 475"/>
                <a:gd name="T87" fmla="*/ 2147483647 h 51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5" h="511">
                  <a:moveTo>
                    <a:pt x="0" y="121"/>
                  </a:moveTo>
                  <a:lnTo>
                    <a:pt x="37" y="121"/>
                  </a:lnTo>
                  <a:lnTo>
                    <a:pt x="25" y="144"/>
                  </a:lnTo>
                  <a:lnTo>
                    <a:pt x="81" y="133"/>
                  </a:lnTo>
                  <a:lnTo>
                    <a:pt x="31" y="144"/>
                  </a:lnTo>
                  <a:lnTo>
                    <a:pt x="50" y="144"/>
                  </a:lnTo>
                  <a:lnTo>
                    <a:pt x="31" y="154"/>
                  </a:lnTo>
                  <a:lnTo>
                    <a:pt x="37" y="165"/>
                  </a:lnTo>
                  <a:lnTo>
                    <a:pt x="112" y="144"/>
                  </a:lnTo>
                  <a:lnTo>
                    <a:pt x="37" y="177"/>
                  </a:lnTo>
                  <a:lnTo>
                    <a:pt x="75" y="200"/>
                  </a:lnTo>
                  <a:lnTo>
                    <a:pt x="100" y="165"/>
                  </a:lnTo>
                  <a:lnTo>
                    <a:pt x="151" y="154"/>
                  </a:lnTo>
                  <a:lnTo>
                    <a:pt x="100" y="165"/>
                  </a:lnTo>
                  <a:lnTo>
                    <a:pt x="87" y="200"/>
                  </a:lnTo>
                  <a:lnTo>
                    <a:pt x="119" y="200"/>
                  </a:lnTo>
                  <a:lnTo>
                    <a:pt x="151" y="177"/>
                  </a:lnTo>
                  <a:lnTo>
                    <a:pt x="131" y="200"/>
                  </a:lnTo>
                  <a:lnTo>
                    <a:pt x="151" y="200"/>
                  </a:lnTo>
                  <a:lnTo>
                    <a:pt x="187" y="177"/>
                  </a:lnTo>
                  <a:lnTo>
                    <a:pt x="181" y="154"/>
                  </a:lnTo>
                  <a:lnTo>
                    <a:pt x="220" y="133"/>
                  </a:lnTo>
                  <a:lnTo>
                    <a:pt x="194" y="177"/>
                  </a:lnTo>
                  <a:lnTo>
                    <a:pt x="257" y="165"/>
                  </a:lnTo>
                  <a:lnTo>
                    <a:pt x="131" y="209"/>
                  </a:lnTo>
                  <a:lnTo>
                    <a:pt x="156" y="267"/>
                  </a:lnTo>
                  <a:lnTo>
                    <a:pt x="181" y="267"/>
                  </a:lnTo>
                  <a:lnTo>
                    <a:pt x="169" y="277"/>
                  </a:lnTo>
                  <a:lnTo>
                    <a:pt x="125" y="223"/>
                  </a:lnTo>
                  <a:lnTo>
                    <a:pt x="81" y="209"/>
                  </a:lnTo>
                  <a:lnTo>
                    <a:pt x="81" y="232"/>
                  </a:lnTo>
                  <a:lnTo>
                    <a:pt x="100" y="244"/>
                  </a:lnTo>
                  <a:lnTo>
                    <a:pt x="81" y="255"/>
                  </a:lnTo>
                  <a:lnTo>
                    <a:pt x="131" y="311"/>
                  </a:lnTo>
                  <a:lnTo>
                    <a:pt x="112" y="311"/>
                  </a:lnTo>
                  <a:lnTo>
                    <a:pt x="162" y="311"/>
                  </a:lnTo>
                  <a:lnTo>
                    <a:pt x="131" y="321"/>
                  </a:lnTo>
                  <a:lnTo>
                    <a:pt x="144" y="344"/>
                  </a:lnTo>
                  <a:lnTo>
                    <a:pt x="106" y="321"/>
                  </a:lnTo>
                  <a:lnTo>
                    <a:pt x="75" y="332"/>
                  </a:lnTo>
                  <a:lnTo>
                    <a:pt x="69" y="376"/>
                  </a:lnTo>
                  <a:lnTo>
                    <a:pt x="94" y="355"/>
                  </a:lnTo>
                  <a:lnTo>
                    <a:pt x="87" y="376"/>
                  </a:lnTo>
                  <a:lnTo>
                    <a:pt x="100" y="376"/>
                  </a:lnTo>
                  <a:lnTo>
                    <a:pt x="112" y="344"/>
                  </a:lnTo>
                  <a:lnTo>
                    <a:pt x="106" y="367"/>
                  </a:lnTo>
                  <a:lnTo>
                    <a:pt x="119" y="376"/>
                  </a:lnTo>
                  <a:lnTo>
                    <a:pt x="94" y="390"/>
                  </a:lnTo>
                  <a:lnTo>
                    <a:pt x="112" y="390"/>
                  </a:lnTo>
                  <a:lnTo>
                    <a:pt x="100" y="400"/>
                  </a:lnTo>
                  <a:lnTo>
                    <a:pt x="106" y="421"/>
                  </a:lnTo>
                  <a:lnTo>
                    <a:pt x="131" y="421"/>
                  </a:lnTo>
                  <a:lnTo>
                    <a:pt x="144" y="376"/>
                  </a:lnTo>
                  <a:lnTo>
                    <a:pt x="112" y="434"/>
                  </a:lnTo>
                  <a:lnTo>
                    <a:pt x="81" y="390"/>
                  </a:lnTo>
                  <a:lnTo>
                    <a:pt x="56" y="400"/>
                  </a:lnTo>
                  <a:lnTo>
                    <a:pt x="81" y="444"/>
                  </a:lnTo>
                  <a:lnTo>
                    <a:pt x="37" y="455"/>
                  </a:lnTo>
                  <a:lnTo>
                    <a:pt x="44" y="488"/>
                  </a:lnTo>
                  <a:lnTo>
                    <a:pt x="50" y="465"/>
                  </a:lnTo>
                  <a:lnTo>
                    <a:pt x="50" y="488"/>
                  </a:lnTo>
                  <a:lnTo>
                    <a:pt x="81" y="478"/>
                  </a:lnTo>
                  <a:lnTo>
                    <a:pt x="100" y="499"/>
                  </a:lnTo>
                  <a:lnTo>
                    <a:pt x="112" y="499"/>
                  </a:lnTo>
                  <a:lnTo>
                    <a:pt x="106" y="478"/>
                  </a:lnTo>
                  <a:lnTo>
                    <a:pt x="131" y="488"/>
                  </a:lnTo>
                  <a:lnTo>
                    <a:pt x="131" y="465"/>
                  </a:lnTo>
                  <a:lnTo>
                    <a:pt x="144" y="488"/>
                  </a:lnTo>
                  <a:lnTo>
                    <a:pt x="151" y="488"/>
                  </a:lnTo>
                  <a:lnTo>
                    <a:pt x="144" y="465"/>
                  </a:lnTo>
                  <a:lnTo>
                    <a:pt x="169" y="488"/>
                  </a:lnTo>
                  <a:lnTo>
                    <a:pt x="169" y="511"/>
                  </a:lnTo>
                  <a:lnTo>
                    <a:pt x="206" y="488"/>
                  </a:lnTo>
                  <a:lnTo>
                    <a:pt x="220" y="455"/>
                  </a:lnTo>
                  <a:lnTo>
                    <a:pt x="194" y="465"/>
                  </a:lnTo>
                  <a:lnTo>
                    <a:pt x="194" y="444"/>
                  </a:lnTo>
                  <a:lnTo>
                    <a:pt x="151" y="434"/>
                  </a:lnTo>
                  <a:lnTo>
                    <a:pt x="212" y="434"/>
                  </a:lnTo>
                  <a:lnTo>
                    <a:pt x="220" y="411"/>
                  </a:lnTo>
                  <a:lnTo>
                    <a:pt x="212" y="390"/>
                  </a:lnTo>
                  <a:lnTo>
                    <a:pt x="244" y="390"/>
                  </a:lnTo>
                  <a:lnTo>
                    <a:pt x="257" y="376"/>
                  </a:lnTo>
                  <a:lnTo>
                    <a:pt x="231" y="367"/>
                  </a:lnTo>
                  <a:lnTo>
                    <a:pt x="262" y="367"/>
                  </a:lnTo>
                  <a:lnTo>
                    <a:pt x="244" y="344"/>
                  </a:lnTo>
                  <a:lnTo>
                    <a:pt x="269" y="332"/>
                  </a:lnTo>
                  <a:lnTo>
                    <a:pt x="262" y="321"/>
                  </a:lnTo>
                  <a:lnTo>
                    <a:pt x="220" y="321"/>
                  </a:lnTo>
                  <a:lnTo>
                    <a:pt x="244" y="311"/>
                  </a:lnTo>
                  <a:lnTo>
                    <a:pt x="220" y="300"/>
                  </a:lnTo>
                  <a:lnTo>
                    <a:pt x="269" y="311"/>
                  </a:lnTo>
                  <a:lnTo>
                    <a:pt x="269" y="300"/>
                  </a:lnTo>
                  <a:lnTo>
                    <a:pt x="220" y="288"/>
                  </a:lnTo>
                  <a:lnTo>
                    <a:pt x="281" y="277"/>
                  </a:lnTo>
                  <a:lnTo>
                    <a:pt x="269" y="255"/>
                  </a:lnTo>
                  <a:lnTo>
                    <a:pt x="312" y="267"/>
                  </a:lnTo>
                  <a:lnTo>
                    <a:pt x="326" y="232"/>
                  </a:lnTo>
                  <a:lnTo>
                    <a:pt x="307" y="232"/>
                  </a:lnTo>
                  <a:lnTo>
                    <a:pt x="337" y="232"/>
                  </a:lnTo>
                  <a:lnTo>
                    <a:pt x="331" y="209"/>
                  </a:lnTo>
                  <a:lnTo>
                    <a:pt x="345" y="209"/>
                  </a:lnTo>
                  <a:lnTo>
                    <a:pt x="425" y="133"/>
                  </a:lnTo>
                  <a:lnTo>
                    <a:pt x="337" y="165"/>
                  </a:lnTo>
                  <a:lnTo>
                    <a:pt x="387" y="133"/>
                  </a:lnTo>
                  <a:lnTo>
                    <a:pt x="356" y="133"/>
                  </a:lnTo>
                  <a:lnTo>
                    <a:pt x="350" y="110"/>
                  </a:lnTo>
                  <a:lnTo>
                    <a:pt x="406" y="121"/>
                  </a:lnTo>
                  <a:lnTo>
                    <a:pt x="475" y="77"/>
                  </a:lnTo>
                  <a:lnTo>
                    <a:pt x="475" y="56"/>
                  </a:lnTo>
                  <a:lnTo>
                    <a:pt x="445" y="56"/>
                  </a:lnTo>
                  <a:lnTo>
                    <a:pt x="438" y="21"/>
                  </a:lnTo>
                  <a:lnTo>
                    <a:pt x="356" y="44"/>
                  </a:lnTo>
                  <a:lnTo>
                    <a:pt x="395" y="21"/>
                  </a:lnTo>
                  <a:lnTo>
                    <a:pt x="281" y="0"/>
                  </a:lnTo>
                  <a:lnTo>
                    <a:pt x="275" y="21"/>
                  </a:lnTo>
                  <a:lnTo>
                    <a:pt x="281" y="33"/>
                  </a:lnTo>
                  <a:lnTo>
                    <a:pt x="262" y="10"/>
                  </a:lnTo>
                  <a:lnTo>
                    <a:pt x="212" y="10"/>
                  </a:lnTo>
                  <a:lnTo>
                    <a:pt x="244" y="56"/>
                  </a:lnTo>
                  <a:lnTo>
                    <a:pt x="238" y="56"/>
                  </a:lnTo>
                  <a:lnTo>
                    <a:pt x="220" y="21"/>
                  </a:lnTo>
                  <a:lnTo>
                    <a:pt x="175" y="21"/>
                  </a:lnTo>
                  <a:lnTo>
                    <a:pt x="181" y="33"/>
                  </a:lnTo>
                  <a:lnTo>
                    <a:pt x="151" y="33"/>
                  </a:lnTo>
                  <a:lnTo>
                    <a:pt x="162" y="56"/>
                  </a:lnTo>
                  <a:lnTo>
                    <a:pt x="137" y="44"/>
                  </a:lnTo>
                  <a:lnTo>
                    <a:pt x="144" y="56"/>
                  </a:lnTo>
                  <a:lnTo>
                    <a:pt x="131" y="56"/>
                  </a:lnTo>
                  <a:lnTo>
                    <a:pt x="169" y="88"/>
                  </a:lnTo>
                  <a:lnTo>
                    <a:pt x="87" y="56"/>
                  </a:lnTo>
                  <a:lnTo>
                    <a:pt x="75" y="77"/>
                  </a:lnTo>
                  <a:lnTo>
                    <a:pt x="100" y="88"/>
                  </a:lnTo>
                  <a:lnTo>
                    <a:pt x="50" y="88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44" name="Freeform 168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2125911" y="1655763"/>
              <a:ext cx="696912" cy="404812"/>
            </a:xfrm>
            <a:custGeom>
              <a:avLst/>
              <a:gdLst>
                <a:gd name="T0" fmla="*/ 2147483647 w 475"/>
                <a:gd name="T1" fmla="*/ 2147483647 h 511"/>
                <a:gd name="T2" fmla="*/ 2147483647 w 475"/>
                <a:gd name="T3" fmla="*/ 2147483647 h 511"/>
                <a:gd name="T4" fmla="*/ 2147483647 w 475"/>
                <a:gd name="T5" fmla="*/ 2147483647 h 511"/>
                <a:gd name="T6" fmla="*/ 2147483647 w 475"/>
                <a:gd name="T7" fmla="*/ 2147483647 h 511"/>
                <a:gd name="T8" fmla="*/ 2147483647 w 475"/>
                <a:gd name="T9" fmla="*/ 2147483647 h 511"/>
                <a:gd name="T10" fmla="*/ 2147483647 w 475"/>
                <a:gd name="T11" fmla="*/ 2147483647 h 511"/>
                <a:gd name="T12" fmla="*/ 2147483647 w 475"/>
                <a:gd name="T13" fmla="*/ 2147483647 h 511"/>
                <a:gd name="T14" fmla="*/ 2147483647 w 475"/>
                <a:gd name="T15" fmla="*/ 2147483647 h 511"/>
                <a:gd name="T16" fmla="*/ 2147483647 w 475"/>
                <a:gd name="T17" fmla="*/ 2147483647 h 511"/>
                <a:gd name="T18" fmla="*/ 2147483647 w 475"/>
                <a:gd name="T19" fmla="*/ 2147483647 h 511"/>
                <a:gd name="T20" fmla="*/ 2147483647 w 475"/>
                <a:gd name="T21" fmla="*/ 2147483647 h 511"/>
                <a:gd name="T22" fmla="*/ 2147483647 w 475"/>
                <a:gd name="T23" fmla="*/ 2147483647 h 511"/>
                <a:gd name="T24" fmla="*/ 2147483647 w 475"/>
                <a:gd name="T25" fmla="*/ 2147483647 h 511"/>
                <a:gd name="T26" fmla="*/ 2147483647 w 475"/>
                <a:gd name="T27" fmla="*/ 2147483647 h 511"/>
                <a:gd name="T28" fmla="*/ 2147483647 w 475"/>
                <a:gd name="T29" fmla="*/ 2147483647 h 511"/>
                <a:gd name="T30" fmla="*/ 2147483647 w 475"/>
                <a:gd name="T31" fmla="*/ 2147483647 h 511"/>
                <a:gd name="T32" fmla="*/ 2147483647 w 475"/>
                <a:gd name="T33" fmla="*/ 2147483647 h 511"/>
                <a:gd name="T34" fmla="*/ 2147483647 w 475"/>
                <a:gd name="T35" fmla="*/ 2147483647 h 511"/>
                <a:gd name="T36" fmla="*/ 2147483647 w 475"/>
                <a:gd name="T37" fmla="*/ 2147483647 h 511"/>
                <a:gd name="T38" fmla="*/ 2147483647 w 475"/>
                <a:gd name="T39" fmla="*/ 2147483647 h 511"/>
                <a:gd name="T40" fmla="*/ 2147483647 w 475"/>
                <a:gd name="T41" fmla="*/ 2147483647 h 511"/>
                <a:gd name="T42" fmla="*/ 2147483647 w 475"/>
                <a:gd name="T43" fmla="*/ 2147483647 h 511"/>
                <a:gd name="T44" fmla="*/ 2147483647 w 475"/>
                <a:gd name="T45" fmla="*/ 2147483647 h 511"/>
                <a:gd name="T46" fmla="*/ 2147483647 w 475"/>
                <a:gd name="T47" fmla="*/ 2147483647 h 511"/>
                <a:gd name="T48" fmla="*/ 2147483647 w 475"/>
                <a:gd name="T49" fmla="*/ 2147483647 h 511"/>
                <a:gd name="T50" fmla="*/ 2147483647 w 475"/>
                <a:gd name="T51" fmla="*/ 2147483647 h 511"/>
                <a:gd name="T52" fmla="*/ 2147483647 w 475"/>
                <a:gd name="T53" fmla="*/ 2147483647 h 511"/>
                <a:gd name="T54" fmla="*/ 2147483647 w 475"/>
                <a:gd name="T55" fmla="*/ 2147483647 h 511"/>
                <a:gd name="T56" fmla="*/ 2147483647 w 475"/>
                <a:gd name="T57" fmla="*/ 2147483647 h 511"/>
                <a:gd name="T58" fmla="*/ 2147483647 w 475"/>
                <a:gd name="T59" fmla="*/ 2147483647 h 511"/>
                <a:gd name="T60" fmla="*/ 2147483647 w 475"/>
                <a:gd name="T61" fmla="*/ 2147483647 h 511"/>
                <a:gd name="T62" fmla="*/ 2147483647 w 475"/>
                <a:gd name="T63" fmla="*/ 2147483647 h 511"/>
                <a:gd name="T64" fmla="*/ 2147483647 w 475"/>
                <a:gd name="T65" fmla="*/ 2147483647 h 511"/>
                <a:gd name="T66" fmla="*/ 2147483647 w 475"/>
                <a:gd name="T67" fmla="*/ 2147483647 h 511"/>
                <a:gd name="T68" fmla="*/ 2147483647 w 475"/>
                <a:gd name="T69" fmla="*/ 2147483647 h 511"/>
                <a:gd name="T70" fmla="*/ 2147483647 w 475"/>
                <a:gd name="T71" fmla="*/ 2147483647 h 511"/>
                <a:gd name="T72" fmla="*/ 2147483647 w 475"/>
                <a:gd name="T73" fmla="*/ 2147483647 h 511"/>
                <a:gd name="T74" fmla="*/ 2147483647 w 475"/>
                <a:gd name="T75" fmla="*/ 0 h 511"/>
                <a:gd name="T76" fmla="*/ 2147483647 w 475"/>
                <a:gd name="T77" fmla="*/ 2147483647 h 511"/>
                <a:gd name="T78" fmla="*/ 2147483647 w 475"/>
                <a:gd name="T79" fmla="*/ 2147483647 h 511"/>
                <a:gd name="T80" fmla="*/ 2147483647 w 475"/>
                <a:gd name="T81" fmla="*/ 2147483647 h 511"/>
                <a:gd name="T82" fmla="*/ 2147483647 w 475"/>
                <a:gd name="T83" fmla="*/ 2147483647 h 511"/>
                <a:gd name="T84" fmla="*/ 2147483647 w 475"/>
                <a:gd name="T85" fmla="*/ 2147483647 h 511"/>
                <a:gd name="T86" fmla="*/ 2147483647 w 475"/>
                <a:gd name="T87" fmla="*/ 2147483647 h 51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5" h="511">
                  <a:moveTo>
                    <a:pt x="0" y="121"/>
                  </a:moveTo>
                  <a:lnTo>
                    <a:pt x="37" y="121"/>
                  </a:lnTo>
                  <a:lnTo>
                    <a:pt x="25" y="144"/>
                  </a:lnTo>
                  <a:lnTo>
                    <a:pt x="81" y="133"/>
                  </a:lnTo>
                  <a:lnTo>
                    <a:pt x="31" y="144"/>
                  </a:lnTo>
                  <a:lnTo>
                    <a:pt x="50" y="144"/>
                  </a:lnTo>
                  <a:lnTo>
                    <a:pt x="31" y="154"/>
                  </a:lnTo>
                  <a:lnTo>
                    <a:pt x="37" y="165"/>
                  </a:lnTo>
                  <a:lnTo>
                    <a:pt x="112" y="144"/>
                  </a:lnTo>
                  <a:lnTo>
                    <a:pt x="37" y="177"/>
                  </a:lnTo>
                  <a:lnTo>
                    <a:pt x="75" y="200"/>
                  </a:lnTo>
                  <a:lnTo>
                    <a:pt x="100" y="165"/>
                  </a:lnTo>
                  <a:lnTo>
                    <a:pt x="151" y="154"/>
                  </a:lnTo>
                  <a:lnTo>
                    <a:pt x="100" y="165"/>
                  </a:lnTo>
                  <a:lnTo>
                    <a:pt x="87" y="200"/>
                  </a:lnTo>
                  <a:lnTo>
                    <a:pt x="119" y="200"/>
                  </a:lnTo>
                  <a:lnTo>
                    <a:pt x="151" y="177"/>
                  </a:lnTo>
                  <a:lnTo>
                    <a:pt x="131" y="200"/>
                  </a:lnTo>
                  <a:lnTo>
                    <a:pt x="151" y="200"/>
                  </a:lnTo>
                  <a:lnTo>
                    <a:pt x="187" y="177"/>
                  </a:lnTo>
                  <a:lnTo>
                    <a:pt x="181" y="154"/>
                  </a:lnTo>
                  <a:lnTo>
                    <a:pt x="220" y="133"/>
                  </a:lnTo>
                  <a:lnTo>
                    <a:pt x="194" y="177"/>
                  </a:lnTo>
                  <a:lnTo>
                    <a:pt x="257" y="165"/>
                  </a:lnTo>
                  <a:lnTo>
                    <a:pt x="131" y="209"/>
                  </a:lnTo>
                  <a:lnTo>
                    <a:pt x="156" y="267"/>
                  </a:lnTo>
                  <a:lnTo>
                    <a:pt x="181" y="267"/>
                  </a:lnTo>
                  <a:lnTo>
                    <a:pt x="169" y="277"/>
                  </a:lnTo>
                  <a:lnTo>
                    <a:pt x="125" y="223"/>
                  </a:lnTo>
                  <a:lnTo>
                    <a:pt x="81" y="209"/>
                  </a:lnTo>
                  <a:lnTo>
                    <a:pt x="81" y="232"/>
                  </a:lnTo>
                  <a:lnTo>
                    <a:pt x="100" y="244"/>
                  </a:lnTo>
                  <a:lnTo>
                    <a:pt x="81" y="255"/>
                  </a:lnTo>
                  <a:lnTo>
                    <a:pt x="131" y="311"/>
                  </a:lnTo>
                  <a:lnTo>
                    <a:pt x="112" y="311"/>
                  </a:lnTo>
                  <a:lnTo>
                    <a:pt x="162" y="311"/>
                  </a:lnTo>
                  <a:lnTo>
                    <a:pt x="131" y="321"/>
                  </a:lnTo>
                  <a:lnTo>
                    <a:pt x="144" y="344"/>
                  </a:lnTo>
                  <a:lnTo>
                    <a:pt x="106" y="321"/>
                  </a:lnTo>
                  <a:lnTo>
                    <a:pt x="75" y="332"/>
                  </a:lnTo>
                  <a:lnTo>
                    <a:pt x="69" y="376"/>
                  </a:lnTo>
                  <a:lnTo>
                    <a:pt x="94" y="355"/>
                  </a:lnTo>
                  <a:lnTo>
                    <a:pt x="87" y="376"/>
                  </a:lnTo>
                  <a:lnTo>
                    <a:pt x="100" y="376"/>
                  </a:lnTo>
                  <a:lnTo>
                    <a:pt x="112" y="344"/>
                  </a:lnTo>
                  <a:lnTo>
                    <a:pt x="106" y="367"/>
                  </a:lnTo>
                  <a:lnTo>
                    <a:pt x="119" y="376"/>
                  </a:lnTo>
                  <a:lnTo>
                    <a:pt x="94" y="390"/>
                  </a:lnTo>
                  <a:lnTo>
                    <a:pt x="112" y="390"/>
                  </a:lnTo>
                  <a:lnTo>
                    <a:pt x="100" y="400"/>
                  </a:lnTo>
                  <a:lnTo>
                    <a:pt x="106" y="421"/>
                  </a:lnTo>
                  <a:lnTo>
                    <a:pt x="131" y="421"/>
                  </a:lnTo>
                  <a:lnTo>
                    <a:pt x="144" y="376"/>
                  </a:lnTo>
                  <a:lnTo>
                    <a:pt x="112" y="434"/>
                  </a:lnTo>
                  <a:lnTo>
                    <a:pt x="81" y="390"/>
                  </a:lnTo>
                  <a:lnTo>
                    <a:pt x="56" y="400"/>
                  </a:lnTo>
                  <a:lnTo>
                    <a:pt x="81" y="444"/>
                  </a:lnTo>
                  <a:lnTo>
                    <a:pt x="37" y="455"/>
                  </a:lnTo>
                  <a:lnTo>
                    <a:pt x="44" y="488"/>
                  </a:lnTo>
                  <a:lnTo>
                    <a:pt x="50" y="465"/>
                  </a:lnTo>
                  <a:lnTo>
                    <a:pt x="50" y="488"/>
                  </a:lnTo>
                  <a:lnTo>
                    <a:pt x="81" y="478"/>
                  </a:lnTo>
                  <a:lnTo>
                    <a:pt x="100" y="499"/>
                  </a:lnTo>
                  <a:lnTo>
                    <a:pt x="112" y="499"/>
                  </a:lnTo>
                  <a:lnTo>
                    <a:pt x="106" y="478"/>
                  </a:lnTo>
                  <a:lnTo>
                    <a:pt x="131" y="488"/>
                  </a:lnTo>
                  <a:lnTo>
                    <a:pt x="131" y="465"/>
                  </a:lnTo>
                  <a:lnTo>
                    <a:pt x="144" y="488"/>
                  </a:lnTo>
                  <a:lnTo>
                    <a:pt x="151" y="488"/>
                  </a:lnTo>
                  <a:lnTo>
                    <a:pt x="144" y="465"/>
                  </a:lnTo>
                  <a:lnTo>
                    <a:pt x="169" y="488"/>
                  </a:lnTo>
                  <a:lnTo>
                    <a:pt x="169" y="511"/>
                  </a:lnTo>
                  <a:lnTo>
                    <a:pt x="206" y="488"/>
                  </a:lnTo>
                  <a:lnTo>
                    <a:pt x="220" y="455"/>
                  </a:lnTo>
                  <a:lnTo>
                    <a:pt x="194" y="465"/>
                  </a:lnTo>
                  <a:lnTo>
                    <a:pt x="194" y="444"/>
                  </a:lnTo>
                  <a:lnTo>
                    <a:pt x="151" y="434"/>
                  </a:lnTo>
                  <a:lnTo>
                    <a:pt x="212" y="434"/>
                  </a:lnTo>
                  <a:lnTo>
                    <a:pt x="220" y="411"/>
                  </a:lnTo>
                  <a:lnTo>
                    <a:pt x="212" y="390"/>
                  </a:lnTo>
                  <a:lnTo>
                    <a:pt x="244" y="390"/>
                  </a:lnTo>
                  <a:lnTo>
                    <a:pt x="257" y="376"/>
                  </a:lnTo>
                  <a:lnTo>
                    <a:pt x="231" y="367"/>
                  </a:lnTo>
                  <a:lnTo>
                    <a:pt x="262" y="367"/>
                  </a:lnTo>
                  <a:lnTo>
                    <a:pt x="244" y="344"/>
                  </a:lnTo>
                  <a:lnTo>
                    <a:pt x="269" y="332"/>
                  </a:lnTo>
                  <a:lnTo>
                    <a:pt x="262" y="321"/>
                  </a:lnTo>
                  <a:lnTo>
                    <a:pt x="220" y="321"/>
                  </a:lnTo>
                  <a:lnTo>
                    <a:pt x="244" y="311"/>
                  </a:lnTo>
                  <a:lnTo>
                    <a:pt x="220" y="300"/>
                  </a:lnTo>
                  <a:lnTo>
                    <a:pt x="269" y="311"/>
                  </a:lnTo>
                  <a:lnTo>
                    <a:pt x="269" y="300"/>
                  </a:lnTo>
                  <a:lnTo>
                    <a:pt x="220" y="288"/>
                  </a:lnTo>
                  <a:lnTo>
                    <a:pt x="281" y="277"/>
                  </a:lnTo>
                  <a:lnTo>
                    <a:pt x="269" y="255"/>
                  </a:lnTo>
                  <a:lnTo>
                    <a:pt x="312" y="267"/>
                  </a:lnTo>
                  <a:lnTo>
                    <a:pt x="326" y="232"/>
                  </a:lnTo>
                  <a:lnTo>
                    <a:pt x="307" y="232"/>
                  </a:lnTo>
                  <a:lnTo>
                    <a:pt x="337" y="232"/>
                  </a:lnTo>
                  <a:lnTo>
                    <a:pt x="331" y="209"/>
                  </a:lnTo>
                  <a:lnTo>
                    <a:pt x="345" y="209"/>
                  </a:lnTo>
                  <a:lnTo>
                    <a:pt x="425" y="133"/>
                  </a:lnTo>
                  <a:lnTo>
                    <a:pt x="337" y="165"/>
                  </a:lnTo>
                  <a:lnTo>
                    <a:pt x="387" y="133"/>
                  </a:lnTo>
                  <a:lnTo>
                    <a:pt x="356" y="133"/>
                  </a:lnTo>
                  <a:lnTo>
                    <a:pt x="350" y="110"/>
                  </a:lnTo>
                  <a:lnTo>
                    <a:pt x="406" y="121"/>
                  </a:lnTo>
                  <a:lnTo>
                    <a:pt x="475" y="77"/>
                  </a:lnTo>
                  <a:lnTo>
                    <a:pt x="475" y="56"/>
                  </a:lnTo>
                  <a:lnTo>
                    <a:pt x="445" y="56"/>
                  </a:lnTo>
                  <a:lnTo>
                    <a:pt x="438" y="21"/>
                  </a:lnTo>
                  <a:lnTo>
                    <a:pt x="356" y="44"/>
                  </a:lnTo>
                  <a:lnTo>
                    <a:pt x="395" y="21"/>
                  </a:lnTo>
                  <a:lnTo>
                    <a:pt x="281" y="0"/>
                  </a:lnTo>
                  <a:lnTo>
                    <a:pt x="275" y="21"/>
                  </a:lnTo>
                  <a:lnTo>
                    <a:pt x="281" y="33"/>
                  </a:lnTo>
                  <a:lnTo>
                    <a:pt x="262" y="10"/>
                  </a:lnTo>
                  <a:lnTo>
                    <a:pt x="212" y="10"/>
                  </a:lnTo>
                  <a:lnTo>
                    <a:pt x="244" y="56"/>
                  </a:lnTo>
                  <a:lnTo>
                    <a:pt x="238" y="56"/>
                  </a:lnTo>
                  <a:lnTo>
                    <a:pt x="220" y="21"/>
                  </a:lnTo>
                  <a:lnTo>
                    <a:pt x="175" y="21"/>
                  </a:lnTo>
                  <a:lnTo>
                    <a:pt x="181" y="33"/>
                  </a:lnTo>
                  <a:lnTo>
                    <a:pt x="151" y="33"/>
                  </a:lnTo>
                  <a:lnTo>
                    <a:pt x="162" y="56"/>
                  </a:lnTo>
                  <a:lnTo>
                    <a:pt x="137" y="44"/>
                  </a:lnTo>
                  <a:lnTo>
                    <a:pt x="144" y="56"/>
                  </a:lnTo>
                  <a:lnTo>
                    <a:pt x="131" y="56"/>
                  </a:lnTo>
                  <a:lnTo>
                    <a:pt x="169" y="88"/>
                  </a:lnTo>
                  <a:lnTo>
                    <a:pt x="87" y="56"/>
                  </a:lnTo>
                  <a:lnTo>
                    <a:pt x="75" y="77"/>
                  </a:lnTo>
                  <a:lnTo>
                    <a:pt x="100" y="88"/>
                  </a:lnTo>
                  <a:lnTo>
                    <a:pt x="50" y="88"/>
                  </a:lnTo>
                  <a:lnTo>
                    <a:pt x="0" y="12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45" name="Freeform 169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2125911" y="1655763"/>
              <a:ext cx="696912" cy="404812"/>
            </a:xfrm>
            <a:custGeom>
              <a:avLst/>
              <a:gdLst>
                <a:gd name="T0" fmla="*/ 2147483647 w 475"/>
                <a:gd name="T1" fmla="*/ 2147483647 h 511"/>
                <a:gd name="T2" fmla="*/ 2147483647 w 475"/>
                <a:gd name="T3" fmla="*/ 2147483647 h 511"/>
                <a:gd name="T4" fmla="*/ 2147483647 w 475"/>
                <a:gd name="T5" fmla="*/ 2147483647 h 511"/>
                <a:gd name="T6" fmla="*/ 2147483647 w 475"/>
                <a:gd name="T7" fmla="*/ 2147483647 h 511"/>
                <a:gd name="T8" fmla="*/ 2147483647 w 475"/>
                <a:gd name="T9" fmla="*/ 2147483647 h 511"/>
                <a:gd name="T10" fmla="*/ 2147483647 w 475"/>
                <a:gd name="T11" fmla="*/ 2147483647 h 511"/>
                <a:gd name="T12" fmla="*/ 2147483647 w 475"/>
                <a:gd name="T13" fmla="*/ 2147483647 h 511"/>
                <a:gd name="T14" fmla="*/ 2147483647 w 475"/>
                <a:gd name="T15" fmla="*/ 2147483647 h 511"/>
                <a:gd name="T16" fmla="*/ 2147483647 w 475"/>
                <a:gd name="T17" fmla="*/ 2147483647 h 511"/>
                <a:gd name="T18" fmla="*/ 2147483647 w 475"/>
                <a:gd name="T19" fmla="*/ 2147483647 h 511"/>
                <a:gd name="T20" fmla="*/ 2147483647 w 475"/>
                <a:gd name="T21" fmla="*/ 2147483647 h 511"/>
                <a:gd name="T22" fmla="*/ 2147483647 w 475"/>
                <a:gd name="T23" fmla="*/ 2147483647 h 511"/>
                <a:gd name="T24" fmla="*/ 2147483647 w 475"/>
                <a:gd name="T25" fmla="*/ 2147483647 h 511"/>
                <a:gd name="T26" fmla="*/ 2147483647 w 475"/>
                <a:gd name="T27" fmla="*/ 2147483647 h 511"/>
                <a:gd name="T28" fmla="*/ 2147483647 w 475"/>
                <a:gd name="T29" fmla="*/ 2147483647 h 511"/>
                <a:gd name="T30" fmla="*/ 2147483647 w 475"/>
                <a:gd name="T31" fmla="*/ 2147483647 h 511"/>
                <a:gd name="T32" fmla="*/ 2147483647 w 475"/>
                <a:gd name="T33" fmla="*/ 2147483647 h 511"/>
                <a:gd name="T34" fmla="*/ 2147483647 w 475"/>
                <a:gd name="T35" fmla="*/ 2147483647 h 511"/>
                <a:gd name="T36" fmla="*/ 2147483647 w 475"/>
                <a:gd name="T37" fmla="*/ 2147483647 h 511"/>
                <a:gd name="T38" fmla="*/ 2147483647 w 475"/>
                <a:gd name="T39" fmla="*/ 2147483647 h 511"/>
                <a:gd name="T40" fmla="*/ 2147483647 w 475"/>
                <a:gd name="T41" fmla="*/ 2147483647 h 511"/>
                <a:gd name="T42" fmla="*/ 2147483647 w 475"/>
                <a:gd name="T43" fmla="*/ 2147483647 h 511"/>
                <a:gd name="T44" fmla="*/ 2147483647 w 475"/>
                <a:gd name="T45" fmla="*/ 2147483647 h 511"/>
                <a:gd name="T46" fmla="*/ 2147483647 w 475"/>
                <a:gd name="T47" fmla="*/ 2147483647 h 511"/>
                <a:gd name="T48" fmla="*/ 2147483647 w 475"/>
                <a:gd name="T49" fmla="*/ 2147483647 h 511"/>
                <a:gd name="T50" fmla="*/ 2147483647 w 475"/>
                <a:gd name="T51" fmla="*/ 2147483647 h 511"/>
                <a:gd name="T52" fmla="*/ 2147483647 w 475"/>
                <a:gd name="T53" fmla="*/ 2147483647 h 511"/>
                <a:gd name="T54" fmla="*/ 2147483647 w 475"/>
                <a:gd name="T55" fmla="*/ 2147483647 h 511"/>
                <a:gd name="T56" fmla="*/ 2147483647 w 475"/>
                <a:gd name="T57" fmla="*/ 2147483647 h 511"/>
                <a:gd name="T58" fmla="*/ 2147483647 w 475"/>
                <a:gd name="T59" fmla="*/ 2147483647 h 511"/>
                <a:gd name="T60" fmla="*/ 2147483647 w 475"/>
                <a:gd name="T61" fmla="*/ 2147483647 h 511"/>
                <a:gd name="T62" fmla="*/ 2147483647 w 475"/>
                <a:gd name="T63" fmla="*/ 2147483647 h 511"/>
                <a:gd name="T64" fmla="*/ 2147483647 w 475"/>
                <a:gd name="T65" fmla="*/ 2147483647 h 511"/>
                <a:gd name="T66" fmla="*/ 2147483647 w 475"/>
                <a:gd name="T67" fmla="*/ 2147483647 h 511"/>
                <a:gd name="T68" fmla="*/ 2147483647 w 475"/>
                <a:gd name="T69" fmla="*/ 2147483647 h 511"/>
                <a:gd name="T70" fmla="*/ 2147483647 w 475"/>
                <a:gd name="T71" fmla="*/ 2147483647 h 511"/>
                <a:gd name="T72" fmla="*/ 2147483647 w 475"/>
                <a:gd name="T73" fmla="*/ 2147483647 h 511"/>
                <a:gd name="T74" fmla="*/ 2147483647 w 475"/>
                <a:gd name="T75" fmla="*/ 0 h 511"/>
                <a:gd name="T76" fmla="*/ 2147483647 w 475"/>
                <a:gd name="T77" fmla="*/ 2147483647 h 511"/>
                <a:gd name="T78" fmla="*/ 2147483647 w 475"/>
                <a:gd name="T79" fmla="*/ 2147483647 h 511"/>
                <a:gd name="T80" fmla="*/ 2147483647 w 475"/>
                <a:gd name="T81" fmla="*/ 2147483647 h 511"/>
                <a:gd name="T82" fmla="*/ 2147483647 w 475"/>
                <a:gd name="T83" fmla="*/ 2147483647 h 511"/>
                <a:gd name="T84" fmla="*/ 2147483647 w 475"/>
                <a:gd name="T85" fmla="*/ 2147483647 h 511"/>
                <a:gd name="T86" fmla="*/ 2147483647 w 475"/>
                <a:gd name="T87" fmla="*/ 2147483647 h 51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5" h="511">
                  <a:moveTo>
                    <a:pt x="0" y="121"/>
                  </a:moveTo>
                  <a:lnTo>
                    <a:pt x="37" y="121"/>
                  </a:lnTo>
                  <a:lnTo>
                    <a:pt x="25" y="144"/>
                  </a:lnTo>
                  <a:lnTo>
                    <a:pt x="81" y="133"/>
                  </a:lnTo>
                  <a:lnTo>
                    <a:pt x="31" y="144"/>
                  </a:lnTo>
                  <a:lnTo>
                    <a:pt x="50" y="144"/>
                  </a:lnTo>
                  <a:lnTo>
                    <a:pt x="31" y="154"/>
                  </a:lnTo>
                  <a:lnTo>
                    <a:pt x="37" y="165"/>
                  </a:lnTo>
                  <a:lnTo>
                    <a:pt x="112" y="144"/>
                  </a:lnTo>
                  <a:lnTo>
                    <a:pt x="37" y="177"/>
                  </a:lnTo>
                  <a:lnTo>
                    <a:pt x="75" y="200"/>
                  </a:lnTo>
                  <a:lnTo>
                    <a:pt x="100" y="165"/>
                  </a:lnTo>
                  <a:lnTo>
                    <a:pt x="151" y="154"/>
                  </a:lnTo>
                  <a:lnTo>
                    <a:pt x="100" y="165"/>
                  </a:lnTo>
                  <a:lnTo>
                    <a:pt x="87" y="200"/>
                  </a:lnTo>
                  <a:lnTo>
                    <a:pt x="119" y="200"/>
                  </a:lnTo>
                  <a:lnTo>
                    <a:pt x="151" y="177"/>
                  </a:lnTo>
                  <a:lnTo>
                    <a:pt x="131" y="200"/>
                  </a:lnTo>
                  <a:lnTo>
                    <a:pt x="151" y="200"/>
                  </a:lnTo>
                  <a:lnTo>
                    <a:pt x="187" y="177"/>
                  </a:lnTo>
                  <a:lnTo>
                    <a:pt x="181" y="154"/>
                  </a:lnTo>
                  <a:lnTo>
                    <a:pt x="220" y="133"/>
                  </a:lnTo>
                  <a:lnTo>
                    <a:pt x="194" y="177"/>
                  </a:lnTo>
                  <a:lnTo>
                    <a:pt x="257" y="165"/>
                  </a:lnTo>
                  <a:lnTo>
                    <a:pt x="131" y="209"/>
                  </a:lnTo>
                  <a:lnTo>
                    <a:pt x="156" y="267"/>
                  </a:lnTo>
                  <a:lnTo>
                    <a:pt x="181" y="267"/>
                  </a:lnTo>
                  <a:lnTo>
                    <a:pt x="169" y="277"/>
                  </a:lnTo>
                  <a:lnTo>
                    <a:pt x="125" y="223"/>
                  </a:lnTo>
                  <a:lnTo>
                    <a:pt x="81" y="209"/>
                  </a:lnTo>
                  <a:lnTo>
                    <a:pt x="81" y="232"/>
                  </a:lnTo>
                  <a:lnTo>
                    <a:pt x="100" y="244"/>
                  </a:lnTo>
                  <a:lnTo>
                    <a:pt x="81" y="255"/>
                  </a:lnTo>
                  <a:lnTo>
                    <a:pt x="131" y="311"/>
                  </a:lnTo>
                  <a:lnTo>
                    <a:pt x="112" y="311"/>
                  </a:lnTo>
                  <a:lnTo>
                    <a:pt x="162" y="311"/>
                  </a:lnTo>
                  <a:lnTo>
                    <a:pt x="131" y="321"/>
                  </a:lnTo>
                  <a:lnTo>
                    <a:pt x="144" y="344"/>
                  </a:lnTo>
                  <a:lnTo>
                    <a:pt x="106" y="321"/>
                  </a:lnTo>
                  <a:lnTo>
                    <a:pt x="75" y="332"/>
                  </a:lnTo>
                  <a:lnTo>
                    <a:pt x="69" y="376"/>
                  </a:lnTo>
                  <a:lnTo>
                    <a:pt x="94" y="355"/>
                  </a:lnTo>
                  <a:lnTo>
                    <a:pt x="87" y="376"/>
                  </a:lnTo>
                  <a:lnTo>
                    <a:pt x="100" y="376"/>
                  </a:lnTo>
                  <a:lnTo>
                    <a:pt x="112" y="344"/>
                  </a:lnTo>
                  <a:lnTo>
                    <a:pt x="106" y="367"/>
                  </a:lnTo>
                  <a:lnTo>
                    <a:pt x="119" y="376"/>
                  </a:lnTo>
                  <a:lnTo>
                    <a:pt x="94" y="390"/>
                  </a:lnTo>
                  <a:lnTo>
                    <a:pt x="112" y="390"/>
                  </a:lnTo>
                  <a:lnTo>
                    <a:pt x="100" y="400"/>
                  </a:lnTo>
                  <a:lnTo>
                    <a:pt x="106" y="421"/>
                  </a:lnTo>
                  <a:lnTo>
                    <a:pt x="131" y="421"/>
                  </a:lnTo>
                  <a:lnTo>
                    <a:pt x="144" y="376"/>
                  </a:lnTo>
                  <a:lnTo>
                    <a:pt x="112" y="434"/>
                  </a:lnTo>
                  <a:lnTo>
                    <a:pt x="81" y="390"/>
                  </a:lnTo>
                  <a:lnTo>
                    <a:pt x="56" y="400"/>
                  </a:lnTo>
                  <a:lnTo>
                    <a:pt x="81" y="444"/>
                  </a:lnTo>
                  <a:lnTo>
                    <a:pt x="37" y="455"/>
                  </a:lnTo>
                  <a:lnTo>
                    <a:pt x="44" y="488"/>
                  </a:lnTo>
                  <a:lnTo>
                    <a:pt x="50" y="465"/>
                  </a:lnTo>
                  <a:lnTo>
                    <a:pt x="50" y="488"/>
                  </a:lnTo>
                  <a:lnTo>
                    <a:pt x="81" y="478"/>
                  </a:lnTo>
                  <a:lnTo>
                    <a:pt x="100" y="499"/>
                  </a:lnTo>
                  <a:lnTo>
                    <a:pt x="112" y="499"/>
                  </a:lnTo>
                  <a:lnTo>
                    <a:pt x="106" y="478"/>
                  </a:lnTo>
                  <a:lnTo>
                    <a:pt x="131" y="488"/>
                  </a:lnTo>
                  <a:lnTo>
                    <a:pt x="131" y="465"/>
                  </a:lnTo>
                  <a:lnTo>
                    <a:pt x="144" y="488"/>
                  </a:lnTo>
                  <a:lnTo>
                    <a:pt x="151" y="488"/>
                  </a:lnTo>
                  <a:lnTo>
                    <a:pt x="144" y="465"/>
                  </a:lnTo>
                  <a:lnTo>
                    <a:pt x="169" y="488"/>
                  </a:lnTo>
                  <a:lnTo>
                    <a:pt x="169" y="511"/>
                  </a:lnTo>
                  <a:lnTo>
                    <a:pt x="206" y="488"/>
                  </a:lnTo>
                  <a:lnTo>
                    <a:pt x="220" y="455"/>
                  </a:lnTo>
                  <a:lnTo>
                    <a:pt x="194" y="465"/>
                  </a:lnTo>
                  <a:lnTo>
                    <a:pt x="194" y="444"/>
                  </a:lnTo>
                  <a:lnTo>
                    <a:pt x="151" y="434"/>
                  </a:lnTo>
                  <a:lnTo>
                    <a:pt x="212" y="434"/>
                  </a:lnTo>
                  <a:lnTo>
                    <a:pt x="220" y="411"/>
                  </a:lnTo>
                  <a:lnTo>
                    <a:pt x="212" y="390"/>
                  </a:lnTo>
                  <a:lnTo>
                    <a:pt x="244" y="390"/>
                  </a:lnTo>
                  <a:lnTo>
                    <a:pt x="257" y="376"/>
                  </a:lnTo>
                  <a:lnTo>
                    <a:pt x="231" y="367"/>
                  </a:lnTo>
                  <a:lnTo>
                    <a:pt x="262" y="367"/>
                  </a:lnTo>
                  <a:lnTo>
                    <a:pt x="244" y="344"/>
                  </a:lnTo>
                  <a:lnTo>
                    <a:pt x="269" y="332"/>
                  </a:lnTo>
                  <a:lnTo>
                    <a:pt x="262" y="321"/>
                  </a:lnTo>
                  <a:lnTo>
                    <a:pt x="220" y="321"/>
                  </a:lnTo>
                  <a:lnTo>
                    <a:pt x="244" y="311"/>
                  </a:lnTo>
                  <a:lnTo>
                    <a:pt x="220" y="300"/>
                  </a:lnTo>
                  <a:lnTo>
                    <a:pt x="269" y="311"/>
                  </a:lnTo>
                  <a:lnTo>
                    <a:pt x="269" y="300"/>
                  </a:lnTo>
                  <a:lnTo>
                    <a:pt x="220" y="288"/>
                  </a:lnTo>
                  <a:lnTo>
                    <a:pt x="281" y="277"/>
                  </a:lnTo>
                  <a:lnTo>
                    <a:pt x="269" y="255"/>
                  </a:lnTo>
                  <a:lnTo>
                    <a:pt x="312" y="267"/>
                  </a:lnTo>
                  <a:lnTo>
                    <a:pt x="326" y="232"/>
                  </a:lnTo>
                  <a:lnTo>
                    <a:pt x="307" y="232"/>
                  </a:lnTo>
                  <a:lnTo>
                    <a:pt x="337" y="232"/>
                  </a:lnTo>
                  <a:lnTo>
                    <a:pt x="331" y="209"/>
                  </a:lnTo>
                  <a:lnTo>
                    <a:pt x="345" y="209"/>
                  </a:lnTo>
                  <a:lnTo>
                    <a:pt x="425" y="133"/>
                  </a:lnTo>
                  <a:lnTo>
                    <a:pt x="337" y="165"/>
                  </a:lnTo>
                  <a:lnTo>
                    <a:pt x="387" y="133"/>
                  </a:lnTo>
                  <a:lnTo>
                    <a:pt x="356" y="133"/>
                  </a:lnTo>
                  <a:lnTo>
                    <a:pt x="350" y="110"/>
                  </a:lnTo>
                  <a:lnTo>
                    <a:pt x="406" y="121"/>
                  </a:lnTo>
                  <a:lnTo>
                    <a:pt x="475" y="77"/>
                  </a:lnTo>
                  <a:lnTo>
                    <a:pt x="475" y="56"/>
                  </a:lnTo>
                  <a:lnTo>
                    <a:pt x="445" y="56"/>
                  </a:lnTo>
                  <a:lnTo>
                    <a:pt x="438" y="21"/>
                  </a:lnTo>
                  <a:lnTo>
                    <a:pt x="356" y="44"/>
                  </a:lnTo>
                  <a:lnTo>
                    <a:pt x="395" y="21"/>
                  </a:lnTo>
                  <a:lnTo>
                    <a:pt x="281" y="0"/>
                  </a:lnTo>
                  <a:lnTo>
                    <a:pt x="275" y="21"/>
                  </a:lnTo>
                  <a:lnTo>
                    <a:pt x="281" y="33"/>
                  </a:lnTo>
                  <a:lnTo>
                    <a:pt x="262" y="10"/>
                  </a:lnTo>
                  <a:lnTo>
                    <a:pt x="212" y="10"/>
                  </a:lnTo>
                  <a:lnTo>
                    <a:pt x="244" y="56"/>
                  </a:lnTo>
                  <a:lnTo>
                    <a:pt x="238" y="56"/>
                  </a:lnTo>
                  <a:lnTo>
                    <a:pt x="220" y="21"/>
                  </a:lnTo>
                  <a:lnTo>
                    <a:pt x="175" y="21"/>
                  </a:lnTo>
                  <a:lnTo>
                    <a:pt x="181" y="33"/>
                  </a:lnTo>
                  <a:lnTo>
                    <a:pt x="151" y="33"/>
                  </a:lnTo>
                  <a:lnTo>
                    <a:pt x="162" y="56"/>
                  </a:lnTo>
                  <a:lnTo>
                    <a:pt x="137" y="44"/>
                  </a:lnTo>
                  <a:lnTo>
                    <a:pt x="144" y="56"/>
                  </a:lnTo>
                  <a:lnTo>
                    <a:pt x="131" y="56"/>
                  </a:lnTo>
                  <a:lnTo>
                    <a:pt x="169" y="88"/>
                  </a:lnTo>
                  <a:lnTo>
                    <a:pt x="87" y="56"/>
                  </a:lnTo>
                  <a:lnTo>
                    <a:pt x="75" y="77"/>
                  </a:lnTo>
                  <a:lnTo>
                    <a:pt x="100" y="88"/>
                  </a:lnTo>
                  <a:lnTo>
                    <a:pt x="50" y="88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46" name="Freeform 170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2125911" y="1655763"/>
              <a:ext cx="696912" cy="404812"/>
            </a:xfrm>
            <a:custGeom>
              <a:avLst/>
              <a:gdLst>
                <a:gd name="T0" fmla="*/ 2147483647 w 475"/>
                <a:gd name="T1" fmla="*/ 2147483647 h 511"/>
                <a:gd name="T2" fmla="*/ 2147483647 w 475"/>
                <a:gd name="T3" fmla="*/ 2147483647 h 511"/>
                <a:gd name="T4" fmla="*/ 2147483647 w 475"/>
                <a:gd name="T5" fmla="*/ 2147483647 h 511"/>
                <a:gd name="T6" fmla="*/ 2147483647 w 475"/>
                <a:gd name="T7" fmla="*/ 2147483647 h 511"/>
                <a:gd name="T8" fmla="*/ 2147483647 w 475"/>
                <a:gd name="T9" fmla="*/ 2147483647 h 511"/>
                <a:gd name="T10" fmla="*/ 2147483647 w 475"/>
                <a:gd name="T11" fmla="*/ 2147483647 h 511"/>
                <a:gd name="T12" fmla="*/ 2147483647 w 475"/>
                <a:gd name="T13" fmla="*/ 2147483647 h 511"/>
                <a:gd name="T14" fmla="*/ 2147483647 w 475"/>
                <a:gd name="T15" fmla="*/ 2147483647 h 511"/>
                <a:gd name="T16" fmla="*/ 2147483647 w 475"/>
                <a:gd name="T17" fmla="*/ 2147483647 h 511"/>
                <a:gd name="T18" fmla="*/ 2147483647 w 475"/>
                <a:gd name="T19" fmla="*/ 2147483647 h 511"/>
                <a:gd name="T20" fmla="*/ 2147483647 w 475"/>
                <a:gd name="T21" fmla="*/ 2147483647 h 511"/>
                <a:gd name="T22" fmla="*/ 2147483647 w 475"/>
                <a:gd name="T23" fmla="*/ 2147483647 h 511"/>
                <a:gd name="T24" fmla="*/ 2147483647 w 475"/>
                <a:gd name="T25" fmla="*/ 2147483647 h 511"/>
                <a:gd name="T26" fmla="*/ 2147483647 w 475"/>
                <a:gd name="T27" fmla="*/ 2147483647 h 511"/>
                <a:gd name="T28" fmla="*/ 2147483647 w 475"/>
                <a:gd name="T29" fmla="*/ 2147483647 h 511"/>
                <a:gd name="T30" fmla="*/ 2147483647 w 475"/>
                <a:gd name="T31" fmla="*/ 2147483647 h 511"/>
                <a:gd name="T32" fmla="*/ 2147483647 w 475"/>
                <a:gd name="T33" fmla="*/ 2147483647 h 511"/>
                <a:gd name="T34" fmla="*/ 2147483647 w 475"/>
                <a:gd name="T35" fmla="*/ 2147483647 h 511"/>
                <a:gd name="T36" fmla="*/ 2147483647 w 475"/>
                <a:gd name="T37" fmla="*/ 2147483647 h 511"/>
                <a:gd name="T38" fmla="*/ 2147483647 w 475"/>
                <a:gd name="T39" fmla="*/ 2147483647 h 511"/>
                <a:gd name="T40" fmla="*/ 2147483647 w 475"/>
                <a:gd name="T41" fmla="*/ 2147483647 h 511"/>
                <a:gd name="T42" fmla="*/ 2147483647 w 475"/>
                <a:gd name="T43" fmla="*/ 2147483647 h 511"/>
                <a:gd name="T44" fmla="*/ 2147483647 w 475"/>
                <a:gd name="T45" fmla="*/ 2147483647 h 511"/>
                <a:gd name="T46" fmla="*/ 2147483647 w 475"/>
                <a:gd name="T47" fmla="*/ 2147483647 h 511"/>
                <a:gd name="T48" fmla="*/ 2147483647 w 475"/>
                <a:gd name="T49" fmla="*/ 2147483647 h 511"/>
                <a:gd name="T50" fmla="*/ 2147483647 w 475"/>
                <a:gd name="T51" fmla="*/ 2147483647 h 511"/>
                <a:gd name="T52" fmla="*/ 2147483647 w 475"/>
                <a:gd name="T53" fmla="*/ 2147483647 h 511"/>
                <a:gd name="T54" fmla="*/ 2147483647 w 475"/>
                <a:gd name="T55" fmla="*/ 2147483647 h 511"/>
                <a:gd name="T56" fmla="*/ 2147483647 w 475"/>
                <a:gd name="T57" fmla="*/ 2147483647 h 511"/>
                <a:gd name="T58" fmla="*/ 2147483647 w 475"/>
                <a:gd name="T59" fmla="*/ 2147483647 h 511"/>
                <a:gd name="T60" fmla="*/ 2147483647 w 475"/>
                <a:gd name="T61" fmla="*/ 2147483647 h 511"/>
                <a:gd name="T62" fmla="*/ 2147483647 w 475"/>
                <a:gd name="T63" fmla="*/ 2147483647 h 511"/>
                <a:gd name="T64" fmla="*/ 2147483647 w 475"/>
                <a:gd name="T65" fmla="*/ 2147483647 h 511"/>
                <a:gd name="T66" fmla="*/ 2147483647 w 475"/>
                <a:gd name="T67" fmla="*/ 2147483647 h 511"/>
                <a:gd name="T68" fmla="*/ 2147483647 w 475"/>
                <a:gd name="T69" fmla="*/ 2147483647 h 511"/>
                <a:gd name="T70" fmla="*/ 2147483647 w 475"/>
                <a:gd name="T71" fmla="*/ 2147483647 h 511"/>
                <a:gd name="T72" fmla="*/ 2147483647 w 475"/>
                <a:gd name="T73" fmla="*/ 2147483647 h 511"/>
                <a:gd name="T74" fmla="*/ 2147483647 w 475"/>
                <a:gd name="T75" fmla="*/ 0 h 511"/>
                <a:gd name="T76" fmla="*/ 2147483647 w 475"/>
                <a:gd name="T77" fmla="*/ 2147483647 h 511"/>
                <a:gd name="T78" fmla="*/ 2147483647 w 475"/>
                <a:gd name="T79" fmla="*/ 2147483647 h 511"/>
                <a:gd name="T80" fmla="*/ 2147483647 w 475"/>
                <a:gd name="T81" fmla="*/ 2147483647 h 511"/>
                <a:gd name="T82" fmla="*/ 2147483647 w 475"/>
                <a:gd name="T83" fmla="*/ 2147483647 h 511"/>
                <a:gd name="T84" fmla="*/ 2147483647 w 475"/>
                <a:gd name="T85" fmla="*/ 2147483647 h 511"/>
                <a:gd name="T86" fmla="*/ 2147483647 w 475"/>
                <a:gd name="T87" fmla="*/ 2147483647 h 51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5" h="511">
                  <a:moveTo>
                    <a:pt x="0" y="121"/>
                  </a:moveTo>
                  <a:lnTo>
                    <a:pt x="37" y="121"/>
                  </a:lnTo>
                  <a:lnTo>
                    <a:pt x="25" y="144"/>
                  </a:lnTo>
                  <a:lnTo>
                    <a:pt x="81" y="133"/>
                  </a:lnTo>
                  <a:lnTo>
                    <a:pt x="31" y="144"/>
                  </a:lnTo>
                  <a:lnTo>
                    <a:pt x="50" y="144"/>
                  </a:lnTo>
                  <a:lnTo>
                    <a:pt x="31" y="154"/>
                  </a:lnTo>
                  <a:lnTo>
                    <a:pt x="37" y="165"/>
                  </a:lnTo>
                  <a:lnTo>
                    <a:pt x="112" y="144"/>
                  </a:lnTo>
                  <a:lnTo>
                    <a:pt x="37" y="177"/>
                  </a:lnTo>
                  <a:lnTo>
                    <a:pt x="75" y="200"/>
                  </a:lnTo>
                  <a:lnTo>
                    <a:pt x="100" y="165"/>
                  </a:lnTo>
                  <a:lnTo>
                    <a:pt x="151" y="154"/>
                  </a:lnTo>
                  <a:lnTo>
                    <a:pt x="100" y="165"/>
                  </a:lnTo>
                  <a:lnTo>
                    <a:pt x="87" y="200"/>
                  </a:lnTo>
                  <a:lnTo>
                    <a:pt x="119" y="200"/>
                  </a:lnTo>
                  <a:lnTo>
                    <a:pt x="151" y="177"/>
                  </a:lnTo>
                  <a:lnTo>
                    <a:pt x="131" y="200"/>
                  </a:lnTo>
                  <a:lnTo>
                    <a:pt x="151" y="200"/>
                  </a:lnTo>
                  <a:lnTo>
                    <a:pt x="187" y="177"/>
                  </a:lnTo>
                  <a:lnTo>
                    <a:pt x="181" y="154"/>
                  </a:lnTo>
                  <a:lnTo>
                    <a:pt x="220" y="133"/>
                  </a:lnTo>
                  <a:lnTo>
                    <a:pt x="194" y="177"/>
                  </a:lnTo>
                  <a:lnTo>
                    <a:pt x="257" y="165"/>
                  </a:lnTo>
                  <a:lnTo>
                    <a:pt x="131" y="209"/>
                  </a:lnTo>
                  <a:lnTo>
                    <a:pt x="156" y="267"/>
                  </a:lnTo>
                  <a:lnTo>
                    <a:pt x="181" y="267"/>
                  </a:lnTo>
                  <a:lnTo>
                    <a:pt x="169" y="277"/>
                  </a:lnTo>
                  <a:lnTo>
                    <a:pt x="125" y="223"/>
                  </a:lnTo>
                  <a:lnTo>
                    <a:pt x="81" y="209"/>
                  </a:lnTo>
                  <a:lnTo>
                    <a:pt x="81" y="232"/>
                  </a:lnTo>
                  <a:lnTo>
                    <a:pt x="100" y="244"/>
                  </a:lnTo>
                  <a:lnTo>
                    <a:pt x="81" y="255"/>
                  </a:lnTo>
                  <a:lnTo>
                    <a:pt x="131" y="311"/>
                  </a:lnTo>
                  <a:lnTo>
                    <a:pt x="112" y="311"/>
                  </a:lnTo>
                  <a:lnTo>
                    <a:pt x="162" y="311"/>
                  </a:lnTo>
                  <a:lnTo>
                    <a:pt x="131" y="321"/>
                  </a:lnTo>
                  <a:lnTo>
                    <a:pt x="144" y="344"/>
                  </a:lnTo>
                  <a:lnTo>
                    <a:pt x="106" y="321"/>
                  </a:lnTo>
                  <a:lnTo>
                    <a:pt x="75" y="332"/>
                  </a:lnTo>
                  <a:lnTo>
                    <a:pt x="69" y="376"/>
                  </a:lnTo>
                  <a:lnTo>
                    <a:pt x="94" y="355"/>
                  </a:lnTo>
                  <a:lnTo>
                    <a:pt x="87" y="376"/>
                  </a:lnTo>
                  <a:lnTo>
                    <a:pt x="100" y="376"/>
                  </a:lnTo>
                  <a:lnTo>
                    <a:pt x="112" y="344"/>
                  </a:lnTo>
                  <a:lnTo>
                    <a:pt x="106" y="367"/>
                  </a:lnTo>
                  <a:lnTo>
                    <a:pt x="119" y="376"/>
                  </a:lnTo>
                  <a:lnTo>
                    <a:pt x="94" y="390"/>
                  </a:lnTo>
                  <a:lnTo>
                    <a:pt x="112" y="390"/>
                  </a:lnTo>
                  <a:lnTo>
                    <a:pt x="100" y="400"/>
                  </a:lnTo>
                  <a:lnTo>
                    <a:pt x="106" y="421"/>
                  </a:lnTo>
                  <a:lnTo>
                    <a:pt x="131" y="421"/>
                  </a:lnTo>
                  <a:lnTo>
                    <a:pt x="144" y="376"/>
                  </a:lnTo>
                  <a:lnTo>
                    <a:pt x="112" y="434"/>
                  </a:lnTo>
                  <a:lnTo>
                    <a:pt x="81" y="390"/>
                  </a:lnTo>
                  <a:lnTo>
                    <a:pt x="56" y="400"/>
                  </a:lnTo>
                  <a:lnTo>
                    <a:pt x="81" y="444"/>
                  </a:lnTo>
                  <a:lnTo>
                    <a:pt x="37" y="455"/>
                  </a:lnTo>
                  <a:lnTo>
                    <a:pt x="44" y="488"/>
                  </a:lnTo>
                  <a:lnTo>
                    <a:pt x="50" y="465"/>
                  </a:lnTo>
                  <a:lnTo>
                    <a:pt x="50" y="488"/>
                  </a:lnTo>
                  <a:lnTo>
                    <a:pt x="81" y="478"/>
                  </a:lnTo>
                  <a:lnTo>
                    <a:pt x="100" y="499"/>
                  </a:lnTo>
                  <a:lnTo>
                    <a:pt x="112" y="499"/>
                  </a:lnTo>
                  <a:lnTo>
                    <a:pt x="106" y="478"/>
                  </a:lnTo>
                  <a:lnTo>
                    <a:pt x="131" y="488"/>
                  </a:lnTo>
                  <a:lnTo>
                    <a:pt x="131" y="465"/>
                  </a:lnTo>
                  <a:lnTo>
                    <a:pt x="144" y="488"/>
                  </a:lnTo>
                  <a:lnTo>
                    <a:pt x="151" y="488"/>
                  </a:lnTo>
                  <a:lnTo>
                    <a:pt x="144" y="465"/>
                  </a:lnTo>
                  <a:lnTo>
                    <a:pt x="169" y="488"/>
                  </a:lnTo>
                  <a:lnTo>
                    <a:pt x="169" y="511"/>
                  </a:lnTo>
                  <a:lnTo>
                    <a:pt x="206" y="488"/>
                  </a:lnTo>
                  <a:lnTo>
                    <a:pt x="220" y="455"/>
                  </a:lnTo>
                  <a:lnTo>
                    <a:pt x="194" y="465"/>
                  </a:lnTo>
                  <a:lnTo>
                    <a:pt x="194" y="444"/>
                  </a:lnTo>
                  <a:lnTo>
                    <a:pt x="151" y="434"/>
                  </a:lnTo>
                  <a:lnTo>
                    <a:pt x="212" y="434"/>
                  </a:lnTo>
                  <a:lnTo>
                    <a:pt x="220" y="411"/>
                  </a:lnTo>
                  <a:lnTo>
                    <a:pt x="212" y="390"/>
                  </a:lnTo>
                  <a:lnTo>
                    <a:pt x="244" y="390"/>
                  </a:lnTo>
                  <a:lnTo>
                    <a:pt x="257" y="376"/>
                  </a:lnTo>
                  <a:lnTo>
                    <a:pt x="231" y="367"/>
                  </a:lnTo>
                  <a:lnTo>
                    <a:pt x="262" y="367"/>
                  </a:lnTo>
                  <a:lnTo>
                    <a:pt x="244" y="344"/>
                  </a:lnTo>
                  <a:lnTo>
                    <a:pt x="269" y="332"/>
                  </a:lnTo>
                  <a:lnTo>
                    <a:pt x="262" y="321"/>
                  </a:lnTo>
                  <a:lnTo>
                    <a:pt x="220" y="321"/>
                  </a:lnTo>
                  <a:lnTo>
                    <a:pt x="244" y="311"/>
                  </a:lnTo>
                  <a:lnTo>
                    <a:pt x="220" y="300"/>
                  </a:lnTo>
                  <a:lnTo>
                    <a:pt x="269" y="311"/>
                  </a:lnTo>
                  <a:lnTo>
                    <a:pt x="269" y="300"/>
                  </a:lnTo>
                  <a:lnTo>
                    <a:pt x="220" y="288"/>
                  </a:lnTo>
                  <a:lnTo>
                    <a:pt x="281" y="277"/>
                  </a:lnTo>
                  <a:lnTo>
                    <a:pt x="269" y="255"/>
                  </a:lnTo>
                  <a:lnTo>
                    <a:pt x="312" y="267"/>
                  </a:lnTo>
                  <a:lnTo>
                    <a:pt x="326" y="232"/>
                  </a:lnTo>
                  <a:lnTo>
                    <a:pt x="307" y="232"/>
                  </a:lnTo>
                  <a:lnTo>
                    <a:pt x="337" y="232"/>
                  </a:lnTo>
                  <a:lnTo>
                    <a:pt x="331" y="209"/>
                  </a:lnTo>
                  <a:lnTo>
                    <a:pt x="345" y="209"/>
                  </a:lnTo>
                  <a:lnTo>
                    <a:pt x="425" y="133"/>
                  </a:lnTo>
                  <a:lnTo>
                    <a:pt x="337" y="165"/>
                  </a:lnTo>
                  <a:lnTo>
                    <a:pt x="387" y="133"/>
                  </a:lnTo>
                  <a:lnTo>
                    <a:pt x="356" y="133"/>
                  </a:lnTo>
                  <a:lnTo>
                    <a:pt x="350" y="110"/>
                  </a:lnTo>
                  <a:lnTo>
                    <a:pt x="406" y="121"/>
                  </a:lnTo>
                  <a:lnTo>
                    <a:pt x="475" y="77"/>
                  </a:lnTo>
                  <a:lnTo>
                    <a:pt x="475" y="56"/>
                  </a:lnTo>
                  <a:lnTo>
                    <a:pt x="445" y="56"/>
                  </a:lnTo>
                  <a:lnTo>
                    <a:pt x="438" y="21"/>
                  </a:lnTo>
                  <a:lnTo>
                    <a:pt x="356" y="44"/>
                  </a:lnTo>
                  <a:lnTo>
                    <a:pt x="395" y="21"/>
                  </a:lnTo>
                  <a:lnTo>
                    <a:pt x="281" y="0"/>
                  </a:lnTo>
                  <a:lnTo>
                    <a:pt x="275" y="21"/>
                  </a:lnTo>
                  <a:lnTo>
                    <a:pt x="281" y="33"/>
                  </a:lnTo>
                  <a:lnTo>
                    <a:pt x="262" y="10"/>
                  </a:lnTo>
                  <a:lnTo>
                    <a:pt x="212" y="10"/>
                  </a:lnTo>
                  <a:lnTo>
                    <a:pt x="244" y="56"/>
                  </a:lnTo>
                  <a:lnTo>
                    <a:pt x="238" y="56"/>
                  </a:lnTo>
                  <a:lnTo>
                    <a:pt x="220" y="21"/>
                  </a:lnTo>
                  <a:lnTo>
                    <a:pt x="175" y="21"/>
                  </a:lnTo>
                  <a:lnTo>
                    <a:pt x="181" y="33"/>
                  </a:lnTo>
                  <a:lnTo>
                    <a:pt x="151" y="33"/>
                  </a:lnTo>
                  <a:lnTo>
                    <a:pt x="162" y="56"/>
                  </a:lnTo>
                  <a:lnTo>
                    <a:pt x="137" y="44"/>
                  </a:lnTo>
                  <a:lnTo>
                    <a:pt x="144" y="56"/>
                  </a:lnTo>
                  <a:lnTo>
                    <a:pt x="131" y="56"/>
                  </a:lnTo>
                  <a:lnTo>
                    <a:pt x="169" y="88"/>
                  </a:lnTo>
                  <a:lnTo>
                    <a:pt x="87" y="56"/>
                  </a:lnTo>
                  <a:lnTo>
                    <a:pt x="75" y="77"/>
                  </a:lnTo>
                  <a:lnTo>
                    <a:pt x="100" y="88"/>
                  </a:lnTo>
                  <a:lnTo>
                    <a:pt x="50" y="88"/>
                  </a:lnTo>
                  <a:lnTo>
                    <a:pt x="0" y="12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47" name="Freeform 171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2162423" y="2168525"/>
              <a:ext cx="660400" cy="520700"/>
            </a:xfrm>
            <a:custGeom>
              <a:avLst/>
              <a:gdLst>
                <a:gd name="T0" fmla="*/ 2147483647 w 450"/>
                <a:gd name="T1" fmla="*/ 2147483647 h 657"/>
                <a:gd name="T2" fmla="*/ 2147483647 w 450"/>
                <a:gd name="T3" fmla="*/ 0 h 657"/>
                <a:gd name="T4" fmla="*/ 2147483647 w 450"/>
                <a:gd name="T5" fmla="*/ 2147483647 h 657"/>
                <a:gd name="T6" fmla="*/ 2147483647 w 450"/>
                <a:gd name="T7" fmla="*/ 2147483647 h 657"/>
                <a:gd name="T8" fmla="*/ 2147483647 w 450"/>
                <a:gd name="T9" fmla="*/ 2147483647 h 657"/>
                <a:gd name="T10" fmla="*/ 2147483647 w 450"/>
                <a:gd name="T11" fmla="*/ 2147483647 h 657"/>
                <a:gd name="T12" fmla="*/ 2147483647 w 450"/>
                <a:gd name="T13" fmla="*/ 2147483647 h 657"/>
                <a:gd name="T14" fmla="*/ 2147483647 w 450"/>
                <a:gd name="T15" fmla="*/ 2147483647 h 657"/>
                <a:gd name="T16" fmla="*/ 2147483647 w 450"/>
                <a:gd name="T17" fmla="*/ 2147483647 h 657"/>
                <a:gd name="T18" fmla="*/ 2147483647 w 450"/>
                <a:gd name="T19" fmla="*/ 2147483647 h 657"/>
                <a:gd name="T20" fmla="*/ 2147483647 w 450"/>
                <a:gd name="T21" fmla="*/ 2147483647 h 657"/>
                <a:gd name="T22" fmla="*/ 2147483647 w 450"/>
                <a:gd name="T23" fmla="*/ 2147483647 h 657"/>
                <a:gd name="T24" fmla="*/ 2147483647 w 450"/>
                <a:gd name="T25" fmla="*/ 2147483647 h 657"/>
                <a:gd name="T26" fmla="*/ 2147483647 w 450"/>
                <a:gd name="T27" fmla="*/ 2147483647 h 657"/>
                <a:gd name="T28" fmla="*/ 2147483647 w 450"/>
                <a:gd name="T29" fmla="*/ 2147483647 h 657"/>
                <a:gd name="T30" fmla="*/ 2147483647 w 450"/>
                <a:gd name="T31" fmla="*/ 2147483647 h 657"/>
                <a:gd name="T32" fmla="*/ 2147483647 w 450"/>
                <a:gd name="T33" fmla="*/ 2147483647 h 657"/>
                <a:gd name="T34" fmla="*/ 2147483647 w 450"/>
                <a:gd name="T35" fmla="*/ 2147483647 h 657"/>
                <a:gd name="T36" fmla="*/ 2147483647 w 450"/>
                <a:gd name="T37" fmla="*/ 2147483647 h 657"/>
                <a:gd name="T38" fmla="*/ 2147483647 w 450"/>
                <a:gd name="T39" fmla="*/ 2147483647 h 657"/>
                <a:gd name="T40" fmla="*/ 2147483647 w 450"/>
                <a:gd name="T41" fmla="*/ 2147483647 h 657"/>
                <a:gd name="T42" fmla="*/ 2147483647 w 450"/>
                <a:gd name="T43" fmla="*/ 2147483647 h 657"/>
                <a:gd name="T44" fmla="*/ 2147483647 w 450"/>
                <a:gd name="T45" fmla="*/ 2147483647 h 657"/>
                <a:gd name="T46" fmla="*/ 2147483647 w 450"/>
                <a:gd name="T47" fmla="*/ 2147483647 h 657"/>
                <a:gd name="T48" fmla="*/ 2147483647 w 450"/>
                <a:gd name="T49" fmla="*/ 2147483647 h 657"/>
                <a:gd name="T50" fmla="*/ 2147483647 w 450"/>
                <a:gd name="T51" fmla="*/ 2147483647 h 657"/>
                <a:gd name="T52" fmla="*/ 2147483647 w 450"/>
                <a:gd name="T53" fmla="*/ 2147483647 h 657"/>
                <a:gd name="T54" fmla="*/ 2147483647 w 450"/>
                <a:gd name="T55" fmla="*/ 2147483647 h 657"/>
                <a:gd name="T56" fmla="*/ 2147483647 w 450"/>
                <a:gd name="T57" fmla="*/ 2147483647 h 657"/>
                <a:gd name="T58" fmla="*/ 2147483647 w 450"/>
                <a:gd name="T59" fmla="*/ 2147483647 h 657"/>
                <a:gd name="T60" fmla="*/ 2147483647 w 450"/>
                <a:gd name="T61" fmla="*/ 2147483647 h 657"/>
                <a:gd name="T62" fmla="*/ 2147483647 w 450"/>
                <a:gd name="T63" fmla="*/ 2147483647 h 657"/>
                <a:gd name="T64" fmla="*/ 2147483647 w 450"/>
                <a:gd name="T65" fmla="*/ 2147483647 h 657"/>
                <a:gd name="T66" fmla="*/ 2147483647 w 450"/>
                <a:gd name="T67" fmla="*/ 2147483647 h 657"/>
                <a:gd name="T68" fmla="*/ 2147483647 w 450"/>
                <a:gd name="T69" fmla="*/ 2147483647 h 657"/>
                <a:gd name="T70" fmla="*/ 2147483647 w 450"/>
                <a:gd name="T71" fmla="*/ 2147483647 h 657"/>
                <a:gd name="T72" fmla="*/ 2147483647 w 450"/>
                <a:gd name="T73" fmla="*/ 2147483647 h 657"/>
                <a:gd name="T74" fmla="*/ 2147483647 w 450"/>
                <a:gd name="T75" fmla="*/ 2147483647 h 657"/>
                <a:gd name="T76" fmla="*/ 2147483647 w 450"/>
                <a:gd name="T77" fmla="*/ 2147483647 h 657"/>
                <a:gd name="T78" fmla="*/ 2147483647 w 450"/>
                <a:gd name="T79" fmla="*/ 2147483647 h 657"/>
                <a:gd name="T80" fmla="*/ 2147483647 w 450"/>
                <a:gd name="T81" fmla="*/ 2147483647 h 657"/>
                <a:gd name="T82" fmla="*/ 2147483647 w 450"/>
                <a:gd name="T83" fmla="*/ 2147483647 h 657"/>
                <a:gd name="T84" fmla="*/ 2147483647 w 450"/>
                <a:gd name="T85" fmla="*/ 2147483647 h 657"/>
                <a:gd name="T86" fmla="*/ 2147483647 w 450"/>
                <a:gd name="T87" fmla="*/ 2147483647 h 657"/>
                <a:gd name="T88" fmla="*/ 2147483647 w 450"/>
                <a:gd name="T89" fmla="*/ 2147483647 h 657"/>
                <a:gd name="T90" fmla="*/ 2147483647 w 450"/>
                <a:gd name="T91" fmla="*/ 2147483647 h 657"/>
                <a:gd name="T92" fmla="*/ 2147483647 w 450"/>
                <a:gd name="T93" fmla="*/ 2147483647 h 657"/>
                <a:gd name="T94" fmla="*/ 2147483647 w 450"/>
                <a:gd name="T95" fmla="*/ 2147483647 h 657"/>
                <a:gd name="T96" fmla="*/ 2147483647 w 450"/>
                <a:gd name="T97" fmla="*/ 2147483647 h 657"/>
                <a:gd name="T98" fmla="*/ 2147483647 w 450"/>
                <a:gd name="T99" fmla="*/ 2147483647 h 657"/>
                <a:gd name="T100" fmla="*/ 2147483647 w 450"/>
                <a:gd name="T101" fmla="*/ 2147483647 h 657"/>
                <a:gd name="T102" fmla="*/ 2147483647 w 450"/>
                <a:gd name="T103" fmla="*/ 2147483647 h 657"/>
                <a:gd name="T104" fmla="*/ 0 w 450"/>
                <a:gd name="T105" fmla="*/ 2147483647 h 65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50" h="657">
                  <a:moveTo>
                    <a:pt x="0" y="156"/>
                  </a:moveTo>
                  <a:lnTo>
                    <a:pt x="7" y="77"/>
                  </a:lnTo>
                  <a:lnTo>
                    <a:pt x="26" y="33"/>
                  </a:lnTo>
                  <a:lnTo>
                    <a:pt x="57" y="0"/>
                  </a:lnTo>
                  <a:lnTo>
                    <a:pt x="81" y="12"/>
                  </a:lnTo>
                  <a:lnTo>
                    <a:pt x="57" y="77"/>
                  </a:lnTo>
                  <a:lnTo>
                    <a:pt x="62" y="121"/>
                  </a:lnTo>
                  <a:lnTo>
                    <a:pt x="81" y="156"/>
                  </a:lnTo>
                  <a:lnTo>
                    <a:pt x="57" y="179"/>
                  </a:lnTo>
                  <a:lnTo>
                    <a:pt x="81" y="179"/>
                  </a:lnTo>
                  <a:lnTo>
                    <a:pt x="87" y="144"/>
                  </a:lnTo>
                  <a:lnTo>
                    <a:pt x="69" y="112"/>
                  </a:lnTo>
                  <a:lnTo>
                    <a:pt x="81" y="91"/>
                  </a:lnTo>
                  <a:lnTo>
                    <a:pt x="69" y="68"/>
                  </a:lnTo>
                  <a:lnTo>
                    <a:pt x="95" y="77"/>
                  </a:lnTo>
                  <a:lnTo>
                    <a:pt x="76" y="56"/>
                  </a:lnTo>
                  <a:lnTo>
                    <a:pt x="100" y="68"/>
                  </a:lnTo>
                  <a:lnTo>
                    <a:pt x="81" y="45"/>
                  </a:lnTo>
                  <a:lnTo>
                    <a:pt x="100" y="45"/>
                  </a:lnTo>
                  <a:lnTo>
                    <a:pt x="119" y="12"/>
                  </a:lnTo>
                  <a:lnTo>
                    <a:pt x="137" y="12"/>
                  </a:lnTo>
                  <a:lnTo>
                    <a:pt x="137" y="45"/>
                  </a:lnTo>
                  <a:lnTo>
                    <a:pt x="150" y="56"/>
                  </a:lnTo>
                  <a:lnTo>
                    <a:pt x="145" y="121"/>
                  </a:lnTo>
                  <a:lnTo>
                    <a:pt x="163" y="91"/>
                  </a:lnTo>
                  <a:lnTo>
                    <a:pt x="175" y="100"/>
                  </a:lnTo>
                  <a:lnTo>
                    <a:pt x="201" y="77"/>
                  </a:lnTo>
                  <a:lnTo>
                    <a:pt x="237" y="91"/>
                  </a:lnTo>
                  <a:lnTo>
                    <a:pt x="251" y="121"/>
                  </a:lnTo>
                  <a:lnTo>
                    <a:pt x="237" y="144"/>
                  </a:lnTo>
                  <a:lnTo>
                    <a:pt x="256" y="135"/>
                  </a:lnTo>
                  <a:lnTo>
                    <a:pt x="256" y="156"/>
                  </a:lnTo>
                  <a:lnTo>
                    <a:pt x="270" y="156"/>
                  </a:lnTo>
                  <a:lnTo>
                    <a:pt x="275" y="135"/>
                  </a:lnTo>
                  <a:lnTo>
                    <a:pt x="294" y="144"/>
                  </a:lnTo>
                  <a:lnTo>
                    <a:pt x="301" y="166"/>
                  </a:lnTo>
                  <a:lnTo>
                    <a:pt x="282" y="179"/>
                  </a:lnTo>
                  <a:lnTo>
                    <a:pt x="306" y="179"/>
                  </a:lnTo>
                  <a:lnTo>
                    <a:pt x="301" y="200"/>
                  </a:lnTo>
                  <a:lnTo>
                    <a:pt x="320" y="189"/>
                  </a:lnTo>
                  <a:lnTo>
                    <a:pt x="306" y="214"/>
                  </a:lnTo>
                  <a:lnTo>
                    <a:pt x="344" y="200"/>
                  </a:lnTo>
                  <a:lnTo>
                    <a:pt x="325" y="223"/>
                  </a:lnTo>
                  <a:lnTo>
                    <a:pt x="338" y="223"/>
                  </a:lnTo>
                  <a:lnTo>
                    <a:pt x="331" y="235"/>
                  </a:lnTo>
                  <a:lnTo>
                    <a:pt x="344" y="223"/>
                  </a:lnTo>
                  <a:lnTo>
                    <a:pt x="362" y="244"/>
                  </a:lnTo>
                  <a:lnTo>
                    <a:pt x="331" y="258"/>
                  </a:lnTo>
                  <a:lnTo>
                    <a:pt x="375" y="279"/>
                  </a:lnTo>
                  <a:lnTo>
                    <a:pt x="338" y="279"/>
                  </a:lnTo>
                  <a:lnTo>
                    <a:pt x="351" y="288"/>
                  </a:lnTo>
                  <a:lnTo>
                    <a:pt x="344" y="311"/>
                  </a:lnTo>
                  <a:lnTo>
                    <a:pt x="381" y="358"/>
                  </a:lnTo>
                  <a:lnTo>
                    <a:pt x="394" y="346"/>
                  </a:lnTo>
                  <a:lnTo>
                    <a:pt x="407" y="390"/>
                  </a:lnTo>
                  <a:lnTo>
                    <a:pt x="426" y="390"/>
                  </a:lnTo>
                  <a:lnTo>
                    <a:pt x="426" y="411"/>
                  </a:lnTo>
                  <a:lnTo>
                    <a:pt x="450" y="411"/>
                  </a:lnTo>
                  <a:lnTo>
                    <a:pt x="444" y="446"/>
                  </a:lnTo>
                  <a:lnTo>
                    <a:pt x="431" y="434"/>
                  </a:lnTo>
                  <a:lnTo>
                    <a:pt x="439" y="456"/>
                  </a:lnTo>
                  <a:lnTo>
                    <a:pt x="431" y="479"/>
                  </a:lnTo>
                  <a:lnTo>
                    <a:pt x="420" y="467"/>
                  </a:lnTo>
                  <a:lnTo>
                    <a:pt x="420" y="513"/>
                  </a:lnTo>
                  <a:lnTo>
                    <a:pt x="370" y="423"/>
                  </a:lnTo>
                  <a:lnTo>
                    <a:pt x="344" y="434"/>
                  </a:lnTo>
                  <a:lnTo>
                    <a:pt x="362" y="456"/>
                  </a:lnTo>
                  <a:lnTo>
                    <a:pt x="351" y="479"/>
                  </a:lnTo>
                  <a:lnTo>
                    <a:pt x="357" y="479"/>
                  </a:lnTo>
                  <a:lnTo>
                    <a:pt x="370" y="513"/>
                  </a:lnTo>
                  <a:lnTo>
                    <a:pt x="394" y="525"/>
                  </a:lnTo>
                  <a:lnTo>
                    <a:pt x="394" y="557"/>
                  </a:lnTo>
                  <a:lnTo>
                    <a:pt x="407" y="569"/>
                  </a:lnTo>
                  <a:lnTo>
                    <a:pt x="400" y="623"/>
                  </a:lnTo>
                  <a:lnTo>
                    <a:pt x="331" y="569"/>
                  </a:lnTo>
                  <a:lnTo>
                    <a:pt x="375" y="657"/>
                  </a:lnTo>
                  <a:lnTo>
                    <a:pt x="294" y="613"/>
                  </a:lnTo>
                  <a:lnTo>
                    <a:pt x="288" y="578"/>
                  </a:lnTo>
                  <a:lnTo>
                    <a:pt x="294" y="578"/>
                  </a:lnTo>
                  <a:lnTo>
                    <a:pt x="270" y="557"/>
                  </a:lnTo>
                  <a:lnTo>
                    <a:pt x="262" y="525"/>
                  </a:lnTo>
                  <a:lnTo>
                    <a:pt x="244" y="513"/>
                  </a:lnTo>
                  <a:lnTo>
                    <a:pt x="244" y="534"/>
                  </a:lnTo>
                  <a:lnTo>
                    <a:pt x="232" y="525"/>
                  </a:lnTo>
                  <a:lnTo>
                    <a:pt x="213" y="546"/>
                  </a:lnTo>
                  <a:lnTo>
                    <a:pt x="187" y="525"/>
                  </a:lnTo>
                  <a:lnTo>
                    <a:pt x="201" y="479"/>
                  </a:lnTo>
                  <a:lnTo>
                    <a:pt x="256" y="479"/>
                  </a:lnTo>
                  <a:lnTo>
                    <a:pt x="251" y="446"/>
                  </a:lnTo>
                  <a:lnTo>
                    <a:pt x="282" y="390"/>
                  </a:lnTo>
                  <a:lnTo>
                    <a:pt x="256" y="311"/>
                  </a:lnTo>
                  <a:lnTo>
                    <a:pt x="237" y="302"/>
                  </a:lnTo>
                  <a:lnTo>
                    <a:pt x="251" y="288"/>
                  </a:lnTo>
                  <a:lnTo>
                    <a:pt x="213" y="311"/>
                  </a:lnTo>
                  <a:lnTo>
                    <a:pt x="213" y="288"/>
                  </a:lnTo>
                  <a:lnTo>
                    <a:pt x="225" y="279"/>
                  </a:lnTo>
                  <a:lnTo>
                    <a:pt x="201" y="244"/>
                  </a:lnTo>
                  <a:lnTo>
                    <a:pt x="201" y="223"/>
                  </a:lnTo>
                  <a:lnTo>
                    <a:pt x="175" y="214"/>
                  </a:lnTo>
                  <a:lnTo>
                    <a:pt x="175" y="244"/>
                  </a:lnTo>
                  <a:lnTo>
                    <a:pt x="137" y="235"/>
                  </a:lnTo>
                  <a:lnTo>
                    <a:pt x="145" y="244"/>
                  </a:lnTo>
                  <a:lnTo>
                    <a:pt x="31" y="223"/>
                  </a:lnTo>
                  <a:lnTo>
                    <a:pt x="12" y="179"/>
                  </a:lnTo>
                  <a:lnTo>
                    <a:pt x="50" y="179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48" name="Freeform 172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2162423" y="2168525"/>
              <a:ext cx="660400" cy="520700"/>
            </a:xfrm>
            <a:custGeom>
              <a:avLst/>
              <a:gdLst>
                <a:gd name="T0" fmla="*/ 2147483647 w 450"/>
                <a:gd name="T1" fmla="*/ 2147483647 h 657"/>
                <a:gd name="T2" fmla="*/ 2147483647 w 450"/>
                <a:gd name="T3" fmla="*/ 0 h 657"/>
                <a:gd name="T4" fmla="*/ 2147483647 w 450"/>
                <a:gd name="T5" fmla="*/ 2147483647 h 657"/>
                <a:gd name="T6" fmla="*/ 2147483647 w 450"/>
                <a:gd name="T7" fmla="*/ 2147483647 h 657"/>
                <a:gd name="T8" fmla="*/ 2147483647 w 450"/>
                <a:gd name="T9" fmla="*/ 2147483647 h 657"/>
                <a:gd name="T10" fmla="*/ 2147483647 w 450"/>
                <a:gd name="T11" fmla="*/ 2147483647 h 657"/>
                <a:gd name="T12" fmla="*/ 2147483647 w 450"/>
                <a:gd name="T13" fmla="*/ 2147483647 h 657"/>
                <a:gd name="T14" fmla="*/ 2147483647 w 450"/>
                <a:gd name="T15" fmla="*/ 2147483647 h 657"/>
                <a:gd name="T16" fmla="*/ 2147483647 w 450"/>
                <a:gd name="T17" fmla="*/ 2147483647 h 657"/>
                <a:gd name="T18" fmla="*/ 2147483647 w 450"/>
                <a:gd name="T19" fmla="*/ 2147483647 h 657"/>
                <a:gd name="T20" fmla="*/ 2147483647 w 450"/>
                <a:gd name="T21" fmla="*/ 2147483647 h 657"/>
                <a:gd name="T22" fmla="*/ 2147483647 w 450"/>
                <a:gd name="T23" fmla="*/ 2147483647 h 657"/>
                <a:gd name="T24" fmla="*/ 2147483647 w 450"/>
                <a:gd name="T25" fmla="*/ 2147483647 h 657"/>
                <a:gd name="T26" fmla="*/ 2147483647 w 450"/>
                <a:gd name="T27" fmla="*/ 2147483647 h 657"/>
                <a:gd name="T28" fmla="*/ 2147483647 w 450"/>
                <a:gd name="T29" fmla="*/ 2147483647 h 657"/>
                <a:gd name="T30" fmla="*/ 2147483647 w 450"/>
                <a:gd name="T31" fmla="*/ 2147483647 h 657"/>
                <a:gd name="T32" fmla="*/ 2147483647 w 450"/>
                <a:gd name="T33" fmla="*/ 2147483647 h 657"/>
                <a:gd name="T34" fmla="*/ 2147483647 w 450"/>
                <a:gd name="T35" fmla="*/ 2147483647 h 657"/>
                <a:gd name="T36" fmla="*/ 2147483647 w 450"/>
                <a:gd name="T37" fmla="*/ 2147483647 h 657"/>
                <a:gd name="T38" fmla="*/ 2147483647 w 450"/>
                <a:gd name="T39" fmla="*/ 2147483647 h 657"/>
                <a:gd name="T40" fmla="*/ 2147483647 w 450"/>
                <a:gd name="T41" fmla="*/ 2147483647 h 657"/>
                <a:gd name="T42" fmla="*/ 2147483647 w 450"/>
                <a:gd name="T43" fmla="*/ 2147483647 h 657"/>
                <a:gd name="T44" fmla="*/ 2147483647 w 450"/>
                <a:gd name="T45" fmla="*/ 2147483647 h 657"/>
                <a:gd name="T46" fmla="*/ 2147483647 w 450"/>
                <a:gd name="T47" fmla="*/ 2147483647 h 657"/>
                <a:gd name="T48" fmla="*/ 2147483647 w 450"/>
                <a:gd name="T49" fmla="*/ 2147483647 h 657"/>
                <a:gd name="T50" fmla="*/ 2147483647 w 450"/>
                <a:gd name="T51" fmla="*/ 2147483647 h 657"/>
                <a:gd name="T52" fmla="*/ 2147483647 w 450"/>
                <a:gd name="T53" fmla="*/ 2147483647 h 657"/>
                <a:gd name="T54" fmla="*/ 2147483647 w 450"/>
                <a:gd name="T55" fmla="*/ 2147483647 h 657"/>
                <a:gd name="T56" fmla="*/ 2147483647 w 450"/>
                <a:gd name="T57" fmla="*/ 2147483647 h 657"/>
                <a:gd name="T58" fmla="*/ 2147483647 w 450"/>
                <a:gd name="T59" fmla="*/ 2147483647 h 657"/>
                <a:gd name="T60" fmla="*/ 2147483647 w 450"/>
                <a:gd name="T61" fmla="*/ 2147483647 h 657"/>
                <a:gd name="T62" fmla="*/ 2147483647 w 450"/>
                <a:gd name="T63" fmla="*/ 2147483647 h 657"/>
                <a:gd name="T64" fmla="*/ 2147483647 w 450"/>
                <a:gd name="T65" fmla="*/ 2147483647 h 657"/>
                <a:gd name="T66" fmla="*/ 2147483647 w 450"/>
                <a:gd name="T67" fmla="*/ 2147483647 h 657"/>
                <a:gd name="T68" fmla="*/ 2147483647 w 450"/>
                <a:gd name="T69" fmla="*/ 2147483647 h 657"/>
                <a:gd name="T70" fmla="*/ 2147483647 w 450"/>
                <a:gd name="T71" fmla="*/ 2147483647 h 657"/>
                <a:gd name="T72" fmla="*/ 2147483647 w 450"/>
                <a:gd name="T73" fmla="*/ 2147483647 h 657"/>
                <a:gd name="T74" fmla="*/ 2147483647 w 450"/>
                <a:gd name="T75" fmla="*/ 2147483647 h 657"/>
                <a:gd name="T76" fmla="*/ 2147483647 w 450"/>
                <a:gd name="T77" fmla="*/ 2147483647 h 657"/>
                <a:gd name="T78" fmla="*/ 2147483647 w 450"/>
                <a:gd name="T79" fmla="*/ 2147483647 h 657"/>
                <a:gd name="T80" fmla="*/ 2147483647 w 450"/>
                <a:gd name="T81" fmla="*/ 2147483647 h 657"/>
                <a:gd name="T82" fmla="*/ 2147483647 w 450"/>
                <a:gd name="T83" fmla="*/ 2147483647 h 657"/>
                <a:gd name="T84" fmla="*/ 2147483647 w 450"/>
                <a:gd name="T85" fmla="*/ 2147483647 h 657"/>
                <a:gd name="T86" fmla="*/ 2147483647 w 450"/>
                <a:gd name="T87" fmla="*/ 2147483647 h 657"/>
                <a:gd name="T88" fmla="*/ 2147483647 w 450"/>
                <a:gd name="T89" fmla="*/ 2147483647 h 657"/>
                <a:gd name="T90" fmla="*/ 2147483647 w 450"/>
                <a:gd name="T91" fmla="*/ 2147483647 h 657"/>
                <a:gd name="T92" fmla="*/ 2147483647 w 450"/>
                <a:gd name="T93" fmla="*/ 2147483647 h 657"/>
                <a:gd name="T94" fmla="*/ 2147483647 w 450"/>
                <a:gd name="T95" fmla="*/ 2147483647 h 657"/>
                <a:gd name="T96" fmla="*/ 2147483647 w 450"/>
                <a:gd name="T97" fmla="*/ 2147483647 h 657"/>
                <a:gd name="T98" fmla="*/ 2147483647 w 450"/>
                <a:gd name="T99" fmla="*/ 2147483647 h 657"/>
                <a:gd name="T100" fmla="*/ 2147483647 w 450"/>
                <a:gd name="T101" fmla="*/ 2147483647 h 657"/>
                <a:gd name="T102" fmla="*/ 2147483647 w 450"/>
                <a:gd name="T103" fmla="*/ 2147483647 h 657"/>
                <a:gd name="T104" fmla="*/ 0 w 450"/>
                <a:gd name="T105" fmla="*/ 2147483647 h 65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50" h="657">
                  <a:moveTo>
                    <a:pt x="0" y="156"/>
                  </a:moveTo>
                  <a:lnTo>
                    <a:pt x="7" y="77"/>
                  </a:lnTo>
                  <a:lnTo>
                    <a:pt x="26" y="33"/>
                  </a:lnTo>
                  <a:lnTo>
                    <a:pt x="57" y="0"/>
                  </a:lnTo>
                  <a:lnTo>
                    <a:pt x="81" y="12"/>
                  </a:lnTo>
                  <a:lnTo>
                    <a:pt x="57" y="77"/>
                  </a:lnTo>
                  <a:lnTo>
                    <a:pt x="62" y="121"/>
                  </a:lnTo>
                  <a:lnTo>
                    <a:pt x="81" y="156"/>
                  </a:lnTo>
                  <a:lnTo>
                    <a:pt x="57" y="179"/>
                  </a:lnTo>
                  <a:lnTo>
                    <a:pt x="81" y="179"/>
                  </a:lnTo>
                  <a:lnTo>
                    <a:pt x="87" y="144"/>
                  </a:lnTo>
                  <a:lnTo>
                    <a:pt x="69" y="112"/>
                  </a:lnTo>
                  <a:lnTo>
                    <a:pt x="81" y="91"/>
                  </a:lnTo>
                  <a:lnTo>
                    <a:pt x="69" y="68"/>
                  </a:lnTo>
                  <a:lnTo>
                    <a:pt x="95" y="77"/>
                  </a:lnTo>
                  <a:lnTo>
                    <a:pt x="76" y="56"/>
                  </a:lnTo>
                  <a:lnTo>
                    <a:pt x="100" y="68"/>
                  </a:lnTo>
                  <a:lnTo>
                    <a:pt x="81" y="45"/>
                  </a:lnTo>
                  <a:lnTo>
                    <a:pt x="100" y="45"/>
                  </a:lnTo>
                  <a:lnTo>
                    <a:pt x="119" y="12"/>
                  </a:lnTo>
                  <a:lnTo>
                    <a:pt x="137" y="12"/>
                  </a:lnTo>
                  <a:lnTo>
                    <a:pt x="137" y="45"/>
                  </a:lnTo>
                  <a:lnTo>
                    <a:pt x="150" y="56"/>
                  </a:lnTo>
                  <a:lnTo>
                    <a:pt x="145" y="121"/>
                  </a:lnTo>
                  <a:lnTo>
                    <a:pt x="163" y="91"/>
                  </a:lnTo>
                  <a:lnTo>
                    <a:pt x="175" y="100"/>
                  </a:lnTo>
                  <a:lnTo>
                    <a:pt x="201" y="77"/>
                  </a:lnTo>
                  <a:lnTo>
                    <a:pt x="237" y="91"/>
                  </a:lnTo>
                  <a:lnTo>
                    <a:pt x="251" y="121"/>
                  </a:lnTo>
                  <a:lnTo>
                    <a:pt x="237" y="144"/>
                  </a:lnTo>
                  <a:lnTo>
                    <a:pt x="256" y="135"/>
                  </a:lnTo>
                  <a:lnTo>
                    <a:pt x="256" y="156"/>
                  </a:lnTo>
                  <a:lnTo>
                    <a:pt x="270" y="156"/>
                  </a:lnTo>
                  <a:lnTo>
                    <a:pt x="275" y="135"/>
                  </a:lnTo>
                  <a:lnTo>
                    <a:pt x="294" y="144"/>
                  </a:lnTo>
                  <a:lnTo>
                    <a:pt x="301" y="166"/>
                  </a:lnTo>
                  <a:lnTo>
                    <a:pt x="282" y="179"/>
                  </a:lnTo>
                  <a:lnTo>
                    <a:pt x="306" y="179"/>
                  </a:lnTo>
                  <a:lnTo>
                    <a:pt x="301" y="200"/>
                  </a:lnTo>
                  <a:lnTo>
                    <a:pt x="320" y="189"/>
                  </a:lnTo>
                  <a:lnTo>
                    <a:pt x="306" y="214"/>
                  </a:lnTo>
                  <a:lnTo>
                    <a:pt x="344" y="200"/>
                  </a:lnTo>
                  <a:lnTo>
                    <a:pt x="325" y="223"/>
                  </a:lnTo>
                  <a:lnTo>
                    <a:pt x="338" y="223"/>
                  </a:lnTo>
                  <a:lnTo>
                    <a:pt x="331" y="235"/>
                  </a:lnTo>
                  <a:lnTo>
                    <a:pt x="344" y="223"/>
                  </a:lnTo>
                  <a:lnTo>
                    <a:pt x="362" y="244"/>
                  </a:lnTo>
                  <a:lnTo>
                    <a:pt x="331" y="258"/>
                  </a:lnTo>
                  <a:lnTo>
                    <a:pt x="375" y="279"/>
                  </a:lnTo>
                  <a:lnTo>
                    <a:pt x="338" y="279"/>
                  </a:lnTo>
                  <a:lnTo>
                    <a:pt x="351" y="288"/>
                  </a:lnTo>
                  <a:lnTo>
                    <a:pt x="344" y="311"/>
                  </a:lnTo>
                  <a:lnTo>
                    <a:pt x="381" y="358"/>
                  </a:lnTo>
                  <a:lnTo>
                    <a:pt x="394" y="346"/>
                  </a:lnTo>
                  <a:lnTo>
                    <a:pt x="407" y="390"/>
                  </a:lnTo>
                  <a:lnTo>
                    <a:pt x="426" y="390"/>
                  </a:lnTo>
                  <a:lnTo>
                    <a:pt x="426" y="411"/>
                  </a:lnTo>
                  <a:lnTo>
                    <a:pt x="450" y="411"/>
                  </a:lnTo>
                  <a:lnTo>
                    <a:pt x="444" y="446"/>
                  </a:lnTo>
                  <a:lnTo>
                    <a:pt x="431" y="434"/>
                  </a:lnTo>
                  <a:lnTo>
                    <a:pt x="439" y="456"/>
                  </a:lnTo>
                  <a:lnTo>
                    <a:pt x="431" y="479"/>
                  </a:lnTo>
                  <a:lnTo>
                    <a:pt x="420" y="467"/>
                  </a:lnTo>
                  <a:lnTo>
                    <a:pt x="420" y="513"/>
                  </a:lnTo>
                  <a:lnTo>
                    <a:pt x="370" y="423"/>
                  </a:lnTo>
                  <a:lnTo>
                    <a:pt x="344" y="434"/>
                  </a:lnTo>
                  <a:lnTo>
                    <a:pt x="362" y="456"/>
                  </a:lnTo>
                  <a:lnTo>
                    <a:pt x="351" y="479"/>
                  </a:lnTo>
                  <a:lnTo>
                    <a:pt x="357" y="479"/>
                  </a:lnTo>
                  <a:lnTo>
                    <a:pt x="370" y="513"/>
                  </a:lnTo>
                  <a:lnTo>
                    <a:pt x="394" y="525"/>
                  </a:lnTo>
                  <a:lnTo>
                    <a:pt x="394" y="557"/>
                  </a:lnTo>
                  <a:lnTo>
                    <a:pt x="407" y="569"/>
                  </a:lnTo>
                  <a:lnTo>
                    <a:pt x="400" y="623"/>
                  </a:lnTo>
                  <a:lnTo>
                    <a:pt x="331" y="569"/>
                  </a:lnTo>
                  <a:lnTo>
                    <a:pt x="375" y="657"/>
                  </a:lnTo>
                  <a:lnTo>
                    <a:pt x="294" y="613"/>
                  </a:lnTo>
                  <a:lnTo>
                    <a:pt x="288" y="578"/>
                  </a:lnTo>
                  <a:lnTo>
                    <a:pt x="294" y="578"/>
                  </a:lnTo>
                  <a:lnTo>
                    <a:pt x="270" y="557"/>
                  </a:lnTo>
                  <a:lnTo>
                    <a:pt x="262" y="525"/>
                  </a:lnTo>
                  <a:lnTo>
                    <a:pt x="244" y="513"/>
                  </a:lnTo>
                  <a:lnTo>
                    <a:pt x="244" y="534"/>
                  </a:lnTo>
                  <a:lnTo>
                    <a:pt x="232" y="525"/>
                  </a:lnTo>
                  <a:lnTo>
                    <a:pt x="213" y="546"/>
                  </a:lnTo>
                  <a:lnTo>
                    <a:pt x="187" y="525"/>
                  </a:lnTo>
                  <a:lnTo>
                    <a:pt x="201" y="479"/>
                  </a:lnTo>
                  <a:lnTo>
                    <a:pt x="256" y="479"/>
                  </a:lnTo>
                  <a:lnTo>
                    <a:pt x="251" y="446"/>
                  </a:lnTo>
                  <a:lnTo>
                    <a:pt x="282" y="390"/>
                  </a:lnTo>
                  <a:lnTo>
                    <a:pt x="256" y="311"/>
                  </a:lnTo>
                  <a:lnTo>
                    <a:pt x="237" y="302"/>
                  </a:lnTo>
                  <a:lnTo>
                    <a:pt x="251" y="288"/>
                  </a:lnTo>
                  <a:lnTo>
                    <a:pt x="213" y="311"/>
                  </a:lnTo>
                  <a:lnTo>
                    <a:pt x="213" y="288"/>
                  </a:lnTo>
                  <a:lnTo>
                    <a:pt x="225" y="279"/>
                  </a:lnTo>
                  <a:lnTo>
                    <a:pt x="201" y="244"/>
                  </a:lnTo>
                  <a:lnTo>
                    <a:pt x="201" y="223"/>
                  </a:lnTo>
                  <a:lnTo>
                    <a:pt x="175" y="214"/>
                  </a:lnTo>
                  <a:lnTo>
                    <a:pt x="175" y="244"/>
                  </a:lnTo>
                  <a:lnTo>
                    <a:pt x="137" y="235"/>
                  </a:lnTo>
                  <a:lnTo>
                    <a:pt x="145" y="244"/>
                  </a:lnTo>
                  <a:lnTo>
                    <a:pt x="31" y="223"/>
                  </a:lnTo>
                  <a:lnTo>
                    <a:pt x="12" y="179"/>
                  </a:lnTo>
                  <a:lnTo>
                    <a:pt x="50" y="179"/>
                  </a:lnTo>
                  <a:lnTo>
                    <a:pt x="0" y="1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49" name="Freeform 173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2162423" y="2168525"/>
              <a:ext cx="660400" cy="520700"/>
            </a:xfrm>
            <a:custGeom>
              <a:avLst/>
              <a:gdLst>
                <a:gd name="T0" fmla="*/ 2147483647 w 450"/>
                <a:gd name="T1" fmla="*/ 2147483647 h 657"/>
                <a:gd name="T2" fmla="*/ 2147483647 w 450"/>
                <a:gd name="T3" fmla="*/ 0 h 657"/>
                <a:gd name="T4" fmla="*/ 2147483647 w 450"/>
                <a:gd name="T5" fmla="*/ 2147483647 h 657"/>
                <a:gd name="T6" fmla="*/ 2147483647 w 450"/>
                <a:gd name="T7" fmla="*/ 2147483647 h 657"/>
                <a:gd name="T8" fmla="*/ 2147483647 w 450"/>
                <a:gd name="T9" fmla="*/ 2147483647 h 657"/>
                <a:gd name="T10" fmla="*/ 2147483647 w 450"/>
                <a:gd name="T11" fmla="*/ 2147483647 h 657"/>
                <a:gd name="T12" fmla="*/ 2147483647 w 450"/>
                <a:gd name="T13" fmla="*/ 2147483647 h 657"/>
                <a:gd name="T14" fmla="*/ 2147483647 w 450"/>
                <a:gd name="T15" fmla="*/ 2147483647 h 657"/>
                <a:gd name="T16" fmla="*/ 2147483647 w 450"/>
                <a:gd name="T17" fmla="*/ 2147483647 h 657"/>
                <a:gd name="T18" fmla="*/ 2147483647 w 450"/>
                <a:gd name="T19" fmla="*/ 2147483647 h 657"/>
                <a:gd name="T20" fmla="*/ 2147483647 w 450"/>
                <a:gd name="T21" fmla="*/ 2147483647 h 657"/>
                <a:gd name="T22" fmla="*/ 2147483647 w 450"/>
                <a:gd name="T23" fmla="*/ 2147483647 h 657"/>
                <a:gd name="T24" fmla="*/ 2147483647 w 450"/>
                <a:gd name="T25" fmla="*/ 2147483647 h 657"/>
                <a:gd name="T26" fmla="*/ 2147483647 w 450"/>
                <a:gd name="T27" fmla="*/ 2147483647 h 657"/>
                <a:gd name="T28" fmla="*/ 2147483647 w 450"/>
                <a:gd name="T29" fmla="*/ 2147483647 h 657"/>
                <a:gd name="T30" fmla="*/ 2147483647 w 450"/>
                <a:gd name="T31" fmla="*/ 2147483647 h 657"/>
                <a:gd name="T32" fmla="*/ 2147483647 w 450"/>
                <a:gd name="T33" fmla="*/ 2147483647 h 657"/>
                <a:gd name="T34" fmla="*/ 2147483647 w 450"/>
                <a:gd name="T35" fmla="*/ 2147483647 h 657"/>
                <a:gd name="T36" fmla="*/ 2147483647 w 450"/>
                <a:gd name="T37" fmla="*/ 2147483647 h 657"/>
                <a:gd name="T38" fmla="*/ 2147483647 w 450"/>
                <a:gd name="T39" fmla="*/ 2147483647 h 657"/>
                <a:gd name="T40" fmla="*/ 2147483647 w 450"/>
                <a:gd name="T41" fmla="*/ 2147483647 h 657"/>
                <a:gd name="T42" fmla="*/ 2147483647 w 450"/>
                <a:gd name="T43" fmla="*/ 2147483647 h 657"/>
                <a:gd name="T44" fmla="*/ 2147483647 w 450"/>
                <a:gd name="T45" fmla="*/ 2147483647 h 657"/>
                <a:gd name="T46" fmla="*/ 2147483647 w 450"/>
                <a:gd name="T47" fmla="*/ 2147483647 h 657"/>
                <a:gd name="T48" fmla="*/ 2147483647 w 450"/>
                <a:gd name="T49" fmla="*/ 2147483647 h 657"/>
                <a:gd name="T50" fmla="*/ 2147483647 w 450"/>
                <a:gd name="T51" fmla="*/ 2147483647 h 657"/>
                <a:gd name="T52" fmla="*/ 2147483647 w 450"/>
                <a:gd name="T53" fmla="*/ 2147483647 h 657"/>
                <a:gd name="T54" fmla="*/ 2147483647 w 450"/>
                <a:gd name="T55" fmla="*/ 2147483647 h 657"/>
                <a:gd name="T56" fmla="*/ 2147483647 w 450"/>
                <a:gd name="T57" fmla="*/ 2147483647 h 657"/>
                <a:gd name="T58" fmla="*/ 2147483647 w 450"/>
                <a:gd name="T59" fmla="*/ 2147483647 h 657"/>
                <a:gd name="T60" fmla="*/ 2147483647 w 450"/>
                <a:gd name="T61" fmla="*/ 2147483647 h 657"/>
                <a:gd name="T62" fmla="*/ 2147483647 w 450"/>
                <a:gd name="T63" fmla="*/ 2147483647 h 657"/>
                <a:gd name="T64" fmla="*/ 2147483647 w 450"/>
                <a:gd name="T65" fmla="*/ 2147483647 h 657"/>
                <a:gd name="T66" fmla="*/ 2147483647 w 450"/>
                <a:gd name="T67" fmla="*/ 2147483647 h 657"/>
                <a:gd name="T68" fmla="*/ 2147483647 w 450"/>
                <a:gd name="T69" fmla="*/ 2147483647 h 657"/>
                <a:gd name="T70" fmla="*/ 2147483647 w 450"/>
                <a:gd name="T71" fmla="*/ 2147483647 h 657"/>
                <a:gd name="T72" fmla="*/ 2147483647 w 450"/>
                <a:gd name="T73" fmla="*/ 2147483647 h 657"/>
                <a:gd name="T74" fmla="*/ 2147483647 w 450"/>
                <a:gd name="T75" fmla="*/ 2147483647 h 657"/>
                <a:gd name="T76" fmla="*/ 2147483647 w 450"/>
                <a:gd name="T77" fmla="*/ 2147483647 h 657"/>
                <a:gd name="T78" fmla="*/ 2147483647 w 450"/>
                <a:gd name="T79" fmla="*/ 2147483647 h 657"/>
                <a:gd name="T80" fmla="*/ 2147483647 w 450"/>
                <a:gd name="T81" fmla="*/ 2147483647 h 657"/>
                <a:gd name="T82" fmla="*/ 2147483647 w 450"/>
                <a:gd name="T83" fmla="*/ 2147483647 h 657"/>
                <a:gd name="T84" fmla="*/ 2147483647 w 450"/>
                <a:gd name="T85" fmla="*/ 2147483647 h 657"/>
                <a:gd name="T86" fmla="*/ 2147483647 w 450"/>
                <a:gd name="T87" fmla="*/ 2147483647 h 657"/>
                <a:gd name="T88" fmla="*/ 2147483647 w 450"/>
                <a:gd name="T89" fmla="*/ 2147483647 h 657"/>
                <a:gd name="T90" fmla="*/ 2147483647 w 450"/>
                <a:gd name="T91" fmla="*/ 2147483647 h 657"/>
                <a:gd name="T92" fmla="*/ 2147483647 w 450"/>
                <a:gd name="T93" fmla="*/ 2147483647 h 657"/>
                <a:gd name="T94" fmla="*/ 2147483647 w 450"/>
                <a:gd name="T95" fmla="*/ 2147483647 h 657"/>
                <a:gd name="T96" fmla="*/ 2147483647 w 450"/>
                <a:gd name="T97" fmla="*/ 2147483647 h 657"/>
                <a:gd name="T98" fmla="*/ 2147483647 w 450"/>
                <a:gd name="T99" fmla="*/ 2147483647 h 657"/>
                <a:gd name="T100" fmla="*/ 2147483647 w 450"/>
                <a:gd name="T101" fmla="*/ 2147483647 h 657"/>
                <a:gd name="T102" fmla="*/ 2147483647 w 450"/>
                <a:gd name="T103" fmla="*/ 2147483647 h 657"/>
                <a:gd name="T104" fmla="*/ 0 w 450"/>
                <a:gd name="T105" fmla="*/ 2147483647 h 65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50" h="657">
                  <a:moveTo>
                    <a:pt x="0" y="156"/>
                  </a:moveTo>
                  <a:lnTo>
                    <a:pt x="7" y="77"/>
                  </a:lnTo>
                  <a:lnTo>
                    <a:pt x="26" y="33"/>
                  </a:lnTo>
                  <a:lnTo>
                    <a:pt x="57" y="0"/>
                  </a:lnTo>
                  <a:lnTo>
                    <a:pt x="81" y="12"/>
                  </a:lnTo>
                  <a:lnTo>
                    <a:pt x="57" y="77"/>
                  </a:lnTo>
                  <a:lnTo>
                    <a:pt x="62" y="121"/>
                  </a:lnTo>
                  <a:lnTo>
                    <a:pt x="81" y="156"/>
                  </a:lnTo>
                  <a:lnTo>
                    <a:pt x="57" y="179"/>
                  </a:lnTo>
                  <a:lnTo>
                    <a:pt x="81" y="179"/>
                  </a:lnTo>
                  <a:lnTo>
                    <a:pt x="87" y="144"/>
                  </a:lnTo>
                  <a:lnTo>
                    <a:pt x="69" y="112"/>
                  </a:lnTo>
                  <a:lnTo>
                    <a:pt x="81" y="91"/>
                  </a:lnTo>
                  <a:lnTo>
                    <a:pt x="69" y="68"/>
                  </a:lnTo>
                  <a:lnTo>
                    <a:pt x="95" y="77"/>
                  </a:lnTo>
                  <a:lnTo>
                    <a:pt x="76" y="56"/>
                  </a:lnTo>
                  <a:lnTo>
                    <a:pt x="100" y="68"/>
                  </a:lnTo>
                  <a:lnTo>
                    <a:pt x="81" y="45"/>
                  </a:lnTo>
                  <a:lnTo>
                    <a:pt x="100" y="45"/>
                  </a:lnTo>
                  <a:lnTo>
                    <a:pt x="119" y="12"/>
                  </a:lnTo>
                  <a:lnTo>
                    <a:pt x="137" y="12"/>
                  </a:lnTo>
                  <a:lnTo>
                    <a:pt x="137" y="45"/>
                  </a:lnTo>
                  <a:lnTo>
                    <a:pt x="150" y="56"/>
                  </a:lnTo>
                  <a:lnTo>
                    <a:pt x="145" y="121"/>
                  </a:lnTo>
                  <a:lnTo>
                    <a:pt x="163" y="91"/>
                  </a:lnTo>
                  <a:lnTo>
                    <a:pt x="175" y="100"/>
                  </a:lnTo>
                  <a:lnTo>
                    <a:pt x="201" y="77"/>
                  </a:lnTo>
                  <a:lnTo>
                    <a:pt x="237" y="91"/>
                  </a:lnTo>
                  <a:lnTo>
                    <a:pt x="251" y="121"/>
                  </a:lnTo>
                  <a:lnTo>
                    <a:pt x="237" y="144"/>
                  </a:lnTo>
                  <a:lnTo>
                    <a:pt x="256" y="135"/>
                  </a:lnTo>
                  <a:lnTo>
                    <a:pt x="256" y="156"/>
                  </a:lnTo>
                  <a:lnTo>
                    <a:pt x="270" y="156"/>
                  </a:lnTo>
                  <a:lnTo>
                    <a:pt x="275" y="135"/>
                  </a:lnTo>
                  <a:lnTo>
                    <a:pt x="294" y="144"/>
                  </a:lnTo>
                  <a:lnTo>
                    <a:pt x="301" y="166"/>
                  </a:lnTo>
                  <a:lnTo>
                    <a:pt x="282" y="179"/>
                  </a:lnTo>
                  <a:lnTo>
                    <a:pt x="306" y="179"/>
                  </a:lnTo>
                  <a:lnTo>
                    <a:pt x="301" y="200"/>
                  </a:lnTo>
                  <a:lnTo>
                    <a:pt x="320" y="189"/>
                  </a:lnTo>
                  <a:lnTo>
                    <a:pt x="306" y="214"/>
                  </a:lnTo>
                  <a:lnTo>
                    <a:pt x="344" y="200"/>
                  </a:lnTo>
                  <a:lnTo>
                    <a:pt x="325" y="223"/>
                  </a:lnTo>
                  <a:lnTo>
                    <a:pt x="338" y="223"/>
                  </a:lnTo>
                  <a:lnTo>
                    <a:pt x="331" y="235"/>
                  </a:lnTo>
                  <a:lnTo>
                    <a:pt x="344" y="223"/>
                  </a:lnTo>
                  <a:lnTo>
                    <a:pt x="362" y="244"/>
                  </a:lnTo>
                  <a:lnTo>
                    <a:pt x="331" y="258"/>
                  </a:lnTo>
                  <a:lnTo>
                    <a:pt x="375" y="279"/>
                  </a:lnTo>
                  <a:lnTo>
                    <a:pt x="338" y="279"/>
                  </a:lnTo>
                  <a:lnTo>
                    <a:pt x="351" y="288"/>
                  </a:lnTo>
                  <a:lnTo>
                    <a:pt x="344" y="311"/>
                  </a:lnTo>
                  <a:lnTo>
                    <a:pt x="381" y="358"/>
                  </a:lnTo>
                  <a:lnTo>
                    <a:pt x="394" y="346"/>
                  </a:lnTo>
                  <a:lnTo>
                    <a:pt x="407" y="390"/>
                  </a:lnTo>
                  <a:lnTo>
                    <a:pt x="426" y="390"/>
                  </a:lnTo>
                  <a:lnTo>
                    <a:pt x="426" y="411"/>
                  </a:lnTo>
                  <a:lnTo>
                    <a:pt x="450" y="411"/>
                  </a:lnTo>
                  <a:lnTo>
                    <a:pt x="444" y="446"/>
                  </a:lnTo>
                  <a:lnTo>
                    <a:pt x="431" y="434"/>
                  </a:lnTo>
                  <a:lnTo>
                    <a:pt x="439" y="456"/>
                  </a:lnTo>
                  <a:lnTo>
                    <a:pt x="431" y="479"/>
                  </a:lnTo>
                  <a:lnTo>
                    <a:pt x="420" y="467"/>
                  </a:lnTo>
                  <a:lnTo>
                    <a:pt x="420" y="513"/>
                  </a:lnTo>
                  <a:lnTo>
                    <a:pt x="370" y="423"/>
                  </a:lnTo>
                  <a:lnTo>
                    <a:pt x="344" y="434"/>
                  </a:lnTo>
                  <a:lnTo>
                    <a:pt x="362" y="456"/>
                  </a:lnTo>
                  <a:lnTo>
                    <a:pt x="351" y="479"/>
                  </a:lnTo>
                  <a:lnTo>
                    <a:pt x="357" y="479"/>
                  </a:lnTo>
                  <a:lnTo>
                    <a:pt x="370" y="513"/>
                  </a:lnTo>
                  <a:lnTo>
                    <a:pt x="394" y="525"/>
                  </a:lnTo>
                  <a:lnTo>
                    <a:pt x="394" y="557"/>
                  </a:lnTo>
                  <a:lnTo>
                    <a:pt x="407" y="569"/>
                  </a:lnTo>
                  <a:lnTo>
                    <a:pt x="400" y="623"/>
                  </a:lnTo>
                  <a:lnTo>
                    <a:pt x="331" y="569"/>
                  </a:lnTo>
                  <a:lnTo>
                    <a:pt x="375" y="657"/>
                  </a:lnTo>
                  <a:lnTo>
                    <a:pt x="294" y="613"/>
                  </a:lnTo>
                  <a:lnTo>
                    <a:pt x="288" y="578"/>
                  </a:lnTo>
                  <a:lnTo>
                    <a:pt x="294" y="578"/>
                  </a:lnTo>
                  <a:lnTo>
                    <a:pt x="270" y="557"/>
                  </a:lnTo>
                  <a:lnTo>
                    <a:pt x="262" y="525"/>
                  </a:lnTo>
                  <a:lnTo>
                    <a:pt x="244" y="513"/>
                  </a:lnTo>
                  <a:lnTo>
                    <a:pt x="244" y="534"/>
                  </a:lnTo>
                  <a:lnTo>
                    <a:pt x="232" y="525"/>
                  </a:lnTo>
                  <a:lnTo>
                    <a:pt x="213" y="546"/>
                  </a:lnTo>
                  <a:lnTo>
                    <a:pt x="187" y="525"/>
                  </a:lnTo>
                  <a:lnTo>
                    <a:pt x="201" y="479"/>
                  </a:lnTo>
                  <a:lnTo>
                    <a:pt x="256" y="479"/>
                  </a:lnTo>
                  <a:lnTo>
                    <a:pt x="251" y="446"/>
                  </a:lnTo>
                  <a:lnTo>
                    <a:pt x="282" y="390"/>
                  </a:lnTo>
                  <a:lnTo>
                    <a:pt x="256" y="311"/>
                  </a:lnTo>
                  <a:lnTo>
                    <a:pt x="237" y="302"/>
                  </a:lnTo>
                  <a:lnTo>
                    <a:pt x="251" y="288"/>
                  </a:lnTo>
                  <a:lnTo>
                    <a:pt x="213" y="311"/>
                  </a:lnTo>
                  <a:lnTo>
                    <a:pt x="213" y="288"/>
                  </a:lnTo>
                  <a:lnTo>
                    <a:pt x="225" y="279"/>
                  </a:lnTo>
                  <a:lnTo>
                    <a:pt x="201" y="244"/>
                  </a:lnTo>
                  <a:lnTo>
                    <a:pt x="201" y="223"/>
                  </a:lnTo>
                  <a:lnTo>
                    <a:pt x="175" y="214"/>
                  </a:lnTo>
                  <a:lnTo>
                    <a:pt x="175" y="244"/>
                  </a:lnTo>
                  <a:lnTo>
                    <a:pt x="137" y="235"/>
                  </a:lnTo>
                  <a:lnTo>
                    <a:pt x="145" y="244"/>
                  </a:lnTo>
                  <a:lnTo>
                    <a:pt x="31" y="223"/>
                  </a:lnTo>
                  <a:lnTo>
                    <a:pt x="12" y="179"/>
                  </a:lnTo>
                  <a:lnTo>
                    <a:pt x="50" y="179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50" name="Freeform 174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2162423" y="2168525"/>
              <a:ext cx="660400" cy="520700"/>
            </a:xfrm>
            <a:custGeom>
              <a:avLst/>
              <a:gdLst>
                <a:gd name="T0" fmla="*/ 2147483647 w 450"/>
                <a:gd name="T1" fmla="*/ 2147483647 h 657"/>
                <a:gd name="T2" fmla="*/ 2147483647 w 450"/>
                <a:gd name="T3" fmla="*/ 0 h 657"/>
                <a:gd name="T4" fmla="*/ 2147483647 w 450"/>
                <a:gd name="T5" fmla="*/ 2147483647 h 657"/>
                <a:gd name="T6" fmla="*/ 2147483647 w 450"/>
                <a:gd name="T7" fmla="*/ 2147483647 h 657"/>
                <a:gd name="T8" fmla="*/ 2147483647 w 450"/>
                <a:gd name="T9" fmla="*/ 2147483647 h 657"/>
                <a:gd name="T10" fmla="*/ 2147483647 w 450"/>
                <a:gd name="T11" fmla="*/ 2147483647 h 657"/>
                <a:gd name="T12" fmla="*/ 2147483647 w 450"/>
                <a:gd name="T13" fmla="*/ 2147483647 h 657"/>
                <a:gd name="T14" fmla="*/ 2147483647 w 450"/>
                <a:gd name="T15" fmla="*/ 2147483647 h 657"/>
                <a:gd name="T16" fmla="*/ 2147483647 w 450"/>
                <a:gd name="T17" fmla="*/ 2147483647 h 657"/>
                <a:gd name="T18" fmla="*/ 2147483647 w 450"/>
                <a:gd name="T19" fmla="*/ 2147483647 h 657"/>
                <a:gd name="T20" fmla="*/ 2147483647 w 450"/>
                <a:gd name="T21" fmla="*/ 2147483647 h 657"/>
                <a:gd name="T22" fmla="*/ 2147483647 w 450"/>
                <a:gd name="T23" fmla="*/ 2147483647 h 657"/>
                <a:gd name="T24" fmla="*/ 2147483647 w 450"/>
                <a:gd name="T25" fmla="*/ 2147483647 h 657"/>
                <a:gd name="T26" fmla="*/ 2147483647 w 450"/>
                <a:gd name="T27" fmla="*/ 2147483647 h 657"/>
                <a:gd name="T28" fmla="*/ 2147483647 w 450"/>
                <a:gd name="T29" fmla="*/ 2147483647 h 657"/>
                <a:gd name="T30" fmla="*/ 2147483647 w 450"/>
                <a:gd name="T31" fmla="*/ 2147483647 h 657"/>
                <a:gd name="T32" fmla="*/ 2147483647 w 450"/>
                <a:gd name="T33" fmla="*/ 2147483647 h 657"/>
                <a:gd name="T34" fmla="*/ 2147483647 w 450"/>
                <a:gd name="T35" fmla="*/ 2147483647 h 657"/>
                <a:gd name="T36" fmla="*/ 2147483647 w 450"/>
                <a:gd name="T37" fmla="*/ 2147483647 h 657"/>
                <a:gd name="T38" fmla="*/ 2147483647 w 450"/>
                <a:gd name="T39" fmla="*/ 2147483647 h 657"/>
                <a:gd name="T40" fmla="*/ 2147483647 w 450"/>
                <a:gd name="T41" fmla="*/ 2147483647 h 657"/>
                <a:gd name="T42" fmla="*/ 2147483647 w 450"/>
                <a:gd name="T43" fmla="*/ 2147483647 h 657"/>
                <a:gd name="T44" fmla="*/ 2147483647 w 450"/>
                <a:gd name="T45" fmla="*/ 2147483647 h 657"/>
                <a:gd name="T46" fmla="*/ 2147483647 w 450"/>
                <a:gd name="T47" fmla="*/ 2147483647 h 657"/>
                <a:gd name="T48" fmla="*/ 2147483647 w 450"/>
                <a:gd name="T49" fmla="*/ 2147483647 h 657"/>
                <a:gd name="T50" fmla="*/ 2147483647 w 450"/>
                <a:gd name="T51" fmla="*/ 2147483647 h 657"/>
                <a:gd name="T52" fmla="*/ 2147483647 w 450"/>
                <a:gd name="T53" fmla="*/ 2147483647 h 657"/>
                <a:gd name="T54" fmla="*/ 2147483647 w 450"/>
                <a:gd name="T55" fmla="*/ 2147483647 h 657"/>
                <a:gd name="T56" fmla="*/ 2147483647 w 450"/>
                <a:gd name="T57" fmla="*/ 2147483647 h 657"/>
                <a:gd name="T58" fmla="*/ 2147483647 w 450"/>
                <a:gd name="T59" fmla="*/ 2147483647 h 657"/>
                <a:gd name="T60" fmla="*/ 2147483647 w 450"/>
                <a:gd name="T61" fmla="*/ 2147483647 h 657"/>
                <a:gd name="T62" fmla="*/ 2147483647 w 450"/>
                <a:gd name="T63" fmla="*/ 2147483647 h 657"/>
                <a:gd name="T64" fmla="*/ 2147483647 w 450"/>
                <a:gd name="T65" fmla="*/ 2147483647 h 657"/>
                <a:gd name="T66" fmla="*/ 2147483647 w 450"/>
                <a:gd name="T67" fmla="*/ 2147483647 h 657"/>
                <a:gd name="T68" fmla="*/ 2147483647 w 450"/>
                <a:gd name="T69" fmla="*/ 2147483647 h 657"/>
                <a:gd name="T70" fmla="*/ 2147483647 w 450"/>
                <a:gd name="T71" fmla="*/ 2147483647 h 657"/>
                <a:gd name="T72" fmla="*/ 2147483647 w 450"/>
                <a:gd name="T73" fmla="*/ 2147483647 h 657"/>
                <a:gd name="T74" fmla="*/ 2147483647 w 450"/>
                <a:gd name="T75" fmla="*/ 2147483647 h 657"/>
                <a:gd name="T76" fmla="*/ 2147483647 w 450"/>
                <a:gd name="T77" fmla="*/ 2147483647 h 657"/>
                <a:gd name="T78" fmla="*/ 2147483647 w 450"/>
                <a:gd name="T79" fmla="*/ 2147483647 h 657"/>
                <a:gd name="T80" fmla="*/ 2147483647 w 450"/>
                <a:gd name="T81" fmla="*/ 2147483647 h 657"/>
                <a:gd name="T82" fmla="*/ 2147483647 w 450"/>
                <a:gd name="T83" fmla="*/ 2147483647 h 657"/>
                <a:gd name="T84" fmla="*/ 2147483647 w 450"/>
                <a:gd name="T85" fmla="*/ 2147483647 h 657"/>
                <a:gd name="T86" fmla="*/ 2147483647 w 450"/>
                <a:gd name="T87" fmla="*/ 2147483647 h 657"/>
                <a:gd name="T88" fmla="*/ 2147483647 w 450"/>
                <a:gd name="T89" fmla="*/ 2147483647 h 657"/>
                <a:gd name="T90" fmla="*/ 2147483647 w 450"/>
                <a:gd name="T91" fmla="*/ 2147483647 h 657"/>
                <a:gd name="T92" fmla="*/ 2147483647 w 450"/>
                <a:gd name="T93" fmla="*/ 2147483647 h 657"/>
                <a:gd name="T94" fmla="*/ 2147483647 w 450"/>
                <a:gd name="T95" fmla="*/ 2147483647 h 657"/>
                <a:gd name="T96" fmla="*/ 2147483647 w 450"/>
                <a:gd name="T97" fmla="*/ 2147483647 h 657"/>
                <a:gd name="T98" fmla="*/ 2147483647 w 450"/>
                <a:gd name="T99" fmla="*/ 2147483647 h 657"/>
                <a:gd name="T100" fmla="*/ 2147483647 w 450"/>
                <a:gd name="T101" fmla="*/ 2147483647 h 657"/>
                <a:gd name="T102" fmla="*/ 2147483647 w 450"/>
                <a:gd name="T103" fmla="*/ 2147483647 h 657"/>
                <a:gd name="T104" fmla="*/ 0 w 450"/>
                <a:gd name="T105" fmla="*/ 2147483647 h 65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50" h="657">
                  <a:moveTo>
                    <a:pt x="0" y="156"/>
                  </a:moveTo>
                  <a:lnTo>
                    <a:pt x="7" y="77"/>
                  </a:lnTo>
                  <a:lnTo>
                    <a:pt x="26" y="33"/>
                  </a:lnTo>
                  <a:lnTo>
                    <a:pt x="57" y="0"/>
                  </a:lnTo>
                  <a:lnTo>
                    <a:pt x="81" y="12"/>
                  </a:lnTo>
                  <a:lnTo>
                    <a:pt x="57" y="77"/>
                  </a:lnTo>
                  <a:lnTo>
                    <a:pt x="62" y="121"/>
                  </a:lnTo>
                  <a:lnTo>
                    <a:pt x="81" y="156"/>
                  </a:lnTo>
                  <a:lnTo>
                    <a:pt x="57" y="179"/>
                  </a:lnTo>
                  <a:lnTo>
                    <a:pt x="81" y="179"/>
                  </a:lnTo>
                  <a:lnTo>
                    <a:pt x="87" y="144"/>
                  </a:lnTo>
                  <a:lnTo>
                    <a:pt x="69" y="112"/>
                  </a:lnTo>
                  <a:lnTo>
                    <a:pt x="81" y="91"/>
                  </a:lnTo>
                  <a:lnTo>
                    <a:pt x="69" y="68"/>
                  </a:lnTo>
                  <a:lnTo>
                    <a:pt x="95" y="77"/>
                  </a:lnTo>
                  <a:lnTo>
                    <a:pt x="76" y="56"/>
                  </a:lnTo>
                  <a:lnTo>
                    <a:pt x="100" y="68"/>
                  </a:lnTo>
                  <a:lnTo>
                    <a:pt x="81" y="45"/>
                  </a:lnTo>
                  <a:lnTo>
                    <a:pt x="100" y="45"/>
                  </a:lnTo>
                  <a:lnTo>
                    <a:pt x="119" y="12"/>
                  </a:lnTo>
                  <a:lnTo>
                    <a:pt x="137" y="12"/>
                  </a:lnTo>
                  <a:lnTo>
                    <a:pt x="137" y="45"/>
                  </a:lnTo>
                  <a:lnTo>
                    <a:pt x="150" y="56"/>
                  </a:lnTo>
                  <a:lnTo>
                    <a:pt x="145" y="121"/>
                  </a:lnTo>
                  <a:lnTo>
                    <a:pt x="163" y="91"/>
                  </a:lnTo>
                  <a:lnTo>
                    <a:pt x="175" y="100"/>
                  </a:lnTo>
                  <a:lnTo>
                    <a:pt x="201" y="77"/>
                  </a:lnTo>
                  <a:lnTo>
                    <a:pt x="237" y="91"/>
                  </a:lnTo>
                  <a:lnTo>
                    <a:pt x="251" y="121"/>
                  </a:lnTo>
                  <a:lnTo>
                    <a:pt x="237" y="144"/>
                  </a:lnTo>
                  <a:lnTo>
                    <a:pt x="256" y="135"/>
                  </a:lnTo>
                  <a:lnTo>
                    <a:pt x="256" y="156"/>
                  </a:lnTo>
                  <a:lnTo>
                    <a:pt x="270" y="156"/>
                  </a:lnTo>
                  <a:lnTo>
                    <a:pt x="275" y="135"/>
                  </a:lnTo>
                  <a:lnTo>
                    <a:pt x="294" y="144"/>
                  </a:lnTo>
                  <a:lnTo>
                    <a:pt x="301" y="166"/>
                  </a:lnTo>
                  <a:lnTo>
                    <a:pt x="282" y="179"/>
                  </a:lnTo>
                  <a:lnTo>
                    <a:pt x="306" y="179"/>
                  </a:lnTo>
                  <a:lnTo>
                    <a:pt x="301" y="200"/>
                  </a:lnTo>
                  <a:lnTo>
                    <a:pt x="320" y="189"/>
                  </a:lnTo>
                  <a:lnTo>
                    <a:pt x="306" y="214"/>
                  </a:lnTo>
                  <a:lnTo>
                    <a:pt x="344" y="200"/>
                  </a:lnTo>
                  <a:lnTo>
                    <a:pt x="325" y="223"/>
                  </a:lnTo>
                  <a:lnTo>
                    <a:pt x="338" y="223"/>
                  </a:lnTo>
                  <a:lnTo>
                    <a:pt x="331" y="235"/>
                  </a:lnTo>
                  <a:lnTo>
                    <a:pt x="344" y="223"/>
                  </a:lnTo>
                  <a:lnTo>
                    <a:pt x="362" y="244"/>
                  </a:lnTo>
                  <a:lnTo>
                    <a:pt x="331" y="258"/>
                  </a:lnTo>
                  <a:lnTo>
                    <a:pt x="375" y="279"/>
                  </a:lnTo>
                  <a:lnTo>
                    <a:pt x="338" y="279"/>
                  </a:lnTo>
                  <a:lnTo>
                    <a:pt x="351" y="288"/>
                  </a:lnTo>
                  <a:lnTo>
                    <a:pt x="344" y="311"/>
                  </a:lnTo>
                  <a:lnTo>
                    <a:pt x="381" y="358"/>
                  </a:lnTo>
                  <a:lnTo>
                    <a:pt x="394" y="346"/>
                  </a:lnTo>
                  <a:lnTo>
                    <a:pt x="407" y="390"/>
                  </a:lnTo>
                  <a:lnTo>
                    <a:pt x="426" y="390"/>
                  </a:lnTo>
                  <a:lnTo>
                    <a:pt x="426" y="411"/>
                  </a:lnTo>
                  <a:lnTo>
                    <a:pt x="450" y="411"/>
                  </a:lnTo>
                  <a:lnTo>
                    <a:pt x="444" y="446"/>
                  </a:lnTo>
                  <a:lnTo>
                    <a:pt x="431" y="434"/>
                  </a:lnTo>
                  <a:lnTo>
                    <a:pt x="439" y="456"/>
                  </a:lnTo>
                  <a:lnTo>
                    <a:pt x="431" y="479"/>
                  </a:lnTo>
                  <a:lnTo>
                    <a:pt x="420" y="467"/>
                  </a:lnTo>
                  <a:lnTo>
                    <a:pt x="420" y="513"/>
                  </a:lnTo>
                  <a:lnTo>
                    <a:pt x="370" y="423"/>
                  </a:lnTo>
                  <a:lnTo>
                    <a:pt x="344" y="434"/>
                  </a:lnTo>
                  <a:lnTo>
                    <a:pt x="362" y="456"/>
                  </a:lnTo>
                  <a:lnTo>
                    <a:pt x="351" y="479"/>
                  </a:lnTo>
                  <a:lnTo>
                    <a:pt x="357" y="479"/>
                  </a:lnTo>
                  <a:lnTo>
                    <a:pt x="370" y="513"/>
                  </a:lnTo>
                  <a:lnTo>
                    <a:pt x="394" y="525"/>
                  </a:lnTo>
                  <a:lnTo>
                    <a:pt x="394" y="557"/>
                  </a:lnTo>
                  <a:lnTo>
                    <a:pt x="407" y="569"/>
                  </a:lnTo>
                  <a:lnTo>
                    <a:pt x="400" y="623"/>
                  </a:lnTo>
                  <a:lnTo>
                    <a:pt x="331" y="569"/>
                  </a:lnTo>
                  <a:lnTo>
                    <a:pt x="375" y="657"/>
                  </a:lnTo>
                  <a:lnTo>
                    <a:pt x="294" y="613"/>
                  </a:lnTo>
                  <a:lnTo>
                    <a:pt x="288" y="578"/>
                  </a:lnTo>
                  <a:lnTo>
                    <a:pt x="294" y="578"/>
                  </a:lnTo>
                  <a:lnTo>
                    <a:pt x="270" y="557"/>
                  </a:lnTo>
                  <a:lnTo>
                    <a:pt x="262" y="525"/>
                  </a:lnTo>
                  <a:lnTo>
                    <a:pt x="244" y="513"/>
                  </a:lnTo>
                  <a:lnTo>
                    <a:pt x="244" y="534"/>
                  </a:lnTo>
                  <a:lnTo>
                    <a:pt x="232" y="525"/>
                  </a:lnTo>
                  <a:lnTo>
                    <a:pt x="213" y="546"/>
                  </a:lnTo>
                  <a:lnTo>
                    <a:pt x="187" y="525"/>
                  </a:lnTo>
                  <a:lnTo>
                    <a:pt x="201" y="479"/>
                  </a:lnTo>
                  <a:lnTo>
                    <a:pt x="256" y="479"/>
                  </a:lnTo>
                  <a:lnTo>
                    <a:pt x="251" y="446"/>
                  </a:lnTo>
                  <a:lnTo>
                    <a:pt x="282" y="390"/>
                  </a:lnTo>
                  <a:lnTo>
                    <a:pt x="256" y="311"/>
                  </a:lnTo>
                  <a:lnTo>
                    <a:pt x="237" y="302"/>
                  </a:lnTo>
                  <a:lnTo>
                    <a:pt x="251" y="288"/>
                  </a:lnTo>
                  <a:lnTo>
                    <a:pt x="213" y="311"/>
                  </a:lnTo>
                  <a:lnTo>
                    <a:pt x="213" y="288"/>
                  </a:lnTo>
                  <a:lnTo>
                    <a:pt x="225" y="279"/>
                  </a:lnTo>
                  <a:lnTo>
                    <a:pt x="201" y="244"/>
                  </a:lnTo>
                  <a:lnTo>
                    <a:pt x="201" y="223"/>
                  </a:lnTo>
                  <a:lnTo>
                    <a:pt x="175" y="214"/>
                  </a:lnTo>
                  <a:lnTo>
                    <a:pt x="175" y="244"/>
                  </a:lnTo>
                  <a:lnTo>
                    <a:pt x="137" y="235"/>
                  </a:lnTo>
                  <a:lnTo>
                    <a:pt x="145" y="244"/>
                  </a:lnTo>
                  <a:lnTo>
                    <a:pt x="31" y="223"/>
                  </a:lnTo>
                  <a:lnTo>
                    <a:pt x="12" y="179"/>
                  </a:lnTo>
                  <a:lnTo>
                    <a:pt x="50" y="179"/>
                  </a:lnTo>
                  <a:lnTo>
                    <a:pt x="0" y="1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51" name="Freeform 175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2237036" y="2530475"/>
              <a:ext cx="147637" cy="114300"/>
            </a:xfrm>
            <a:custGeom>
              <a:avLst/>
              <a:gdLst>
                <a:gd name="T0" fmla="*/ 0 w 101"/>
                <a:gd name="T1" fmla="*/ 2147483647 h 144"/>
                <a:gd name="T2" fmla="*/ 2147483647 w 101"/>
                <a:gd name="T3" fmla="*/ 2147483647 h 144"/>
                <a:gd name="T4" fmla="*/ 2147483647 w 101"/>
                <a:gd name="T5" fmla="*/ 0 h 144"/>
                <a:gd name="T6" fmla="*/ 2147483647 w 101"/>
                <a:gd name="T7" fmla="*/ 2147483647 h 144"/>
                <a:gd name="T8" fmla="*/ 2147483647 w 101"/>
                <a:gd name="T9" fmla="*/ 2147483647 h 144"/>
                <a:gd name="T10" fmla="*/ 2147483647 w 101"/>
                <a:gd name="T11" fmla="*/ 2147483647 h 144"/>
                <a:gd name="T12" fmla="*/ 2147483647 w 101"/>
                <a:gd name="T13" fmla="*/ 2147483647 h 144"/>
                <a:gd name="T14" fmla="*/ 2147483647 w 101"/>
                <a:gd name="T15" fmla="*/ 2147483647 h 144"/>
                <a:gd name="T16" fmla="*/ 2147483647 w 101"/>
                <a:gd name="T17" fmla="*/ 2147483647 h 144"/>
                <a:gd name="T18" fmla="*/ 2147483647 w 101"/>
                <a:gd name="T19" fmla="*/ 2147483647 h 144"/>
                <a:gd name="T20" fmla="*/ 0 w 101"/>
                <a:gd name="T21" fmla="*/ 2147483647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1" h="144">
                  <a:moveTo>
                    <a:pt x="0" y="112"/>
                  </a:moveTo>
                  <a:lnTo>
                    <a:pt x="12" y="89"/>
                  </a:lnTo>
                  <a:lnTo>
                    <a:pt x="26" y="0"/>
                  </a:lnTo>
                  <a:lnTo>
                    <a:pt x="31" y="33"/>
                  </a:lnTo>
                  <a:lnTo>
                    <a:pt x="56" y="45"/>
                  </a:lnTo>
                  <a:lnTo>
                    <a:pt x="101" y="112"/>
                  </a:lnTo>
                  <a:lnTo>
                    <a:pt x="95" y="133"/>
                  </a:lnTo>
                  <a:lnTo>
                    <a:pt x="56" y="100"/>
                  </a:lnTo>
                  <a:lnTo>
                    <a:pt x="26" y="144"/>
                  </a:lnTo>
                  <a:lnTo>
                    <a:pt x="26" y="1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52" name="Freeform 176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2237036" y="2530475"/>
              <a:ext cx="147637" cy="114300"/>
            </a:xfrm>
            <a:custGeom>
              <a:avLst/>
              <a:gdLst>
                <a:gd name="T0" fmla="*/ 0 w 101"/>
                <a:gd name="T1" fmla="*/ 2147483647 h 144"/>
                <a:gd name="T2" fmla="*/ 2147483647 w 101"/>
                <a:gd name="T3" fmla="*/ 2147483647 h 144"/>
                <a:gd name="T4" fmla="*/ 2147483647 w 101"/>
                <a:gd name="T5" fmla="*/ 0 h 144"/>
                <a:gd name="T6" fmla="*/ 2147483647 w 101"/>
                <a:gd name="T7" fmla="*/ 2147483647 h 144"/>
                <a:gd name="T8" fmla="*/ 2147483647 w 101"/>
                <a:gd name="T9" fmla="*/ 2147483647 h 144"/>
                <a:gd name="T10" fmla="*/ 2147483647 w 101"/>
                <a:gd name="T11" fmla="*/ 2147483647 h 144"/>
                <a:gd name="T12" fmla="*/ 2147483647 w 101"/>
                <a:gd name="T13" fmla="*/ 2147483647 h 144"/>
                <a:gd name="T14" fmla="*/ 2147483647 w 101"/>
                <a:gd name="T15" fmla="*/ 2147483647 h 144"/>
                <a:gd name="T16" fmla="*/ 2147483647 w 101"/>
                <a:gd name="T17" fmla="*/ 2147483647 h 144"/>
                <a:gd name="T18" fmla="*/ 2147483647 w 101"/>
                <a:gd name="T19" fmla="*/ 2147483647 h 144"/>
                <a:gd name="T20" fmla="*/ 0 w 101"/>
                <a:gd name="T21" fmla="*/ 2147483647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1" h="144">
                  <a:moveTo>
                    <a:pt x="0" y="112"/>
                  </a:moveTo>
                  <a:lnTo>
                    <a:pt x="12" y="89"/>
                  </a:lnTo>
                  <a:lnTo>
                    <a:pt x="26" y="0"/>
                  </a:lnTo>
                  <a:lnTo>
                    <a:pt x="31" y="33"/>
                  </a:lnTo>
                  <a:lnTo>
                    <a:pt x="56" y="45"/>
                  </a:lnTo>
                  <a:lnTo>
                    <a:pt x="101" y="112"/>
                  </a:lnTo>
                  <a:lnTo>
                    <a:pt x="95" y="133"/>
                  </a:lnTo>
                  <a:lnTo>
                    <a:pt x="56" y="100"/>
                  </a:lnTo>
                  <a:lnTo>
                    <a:pt x="26" y="144"/>
                  </a:lnTo>
                  <a:lnTo>
                    <a:pt x="26" y="112"/>
                  </a:lnTo>
                  <a:lnTo>
                    <a:pt x="0" y="1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53" name="Freeform 177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2237036" y="2530475"/>
              <a:ext cx="147637" cy="114300"/>
            </a:xfrm>
            <a:custGeom>
              <a:avLst/>
              <a:gdLst>
                <a:gd name="T0" fmla="*/ 0 w 101"/>
                <a:gd name="T1" fmla="*/ 2147483647 h 144"/>
                <a:gd name="T2" fmla="*/ 2147483647 w 101"/>
                <a:gd name="T3" fmla="*/ 2147483647 h 144"/>
                <a:gd name="T4" fmla="*/ 2147483647 w 101"/>
                <a:gd name="T5" fmla="*/ 0 h 144"/>
                <a:gd name="T6" fmla="*/ 2147483647 w 101"/>
                <a:gd name="T7" fmla="*/ 2147483647 h 144"/>
                <a:gd name="T8" fmla="*/ 2147483647 w 101"/>
                <a:gd name="T9" fmla="*/ 2147483647 h 144"/>
                <a:gd name="T10" fmla="*/ 2147483647 w 101"/>
                <a:gd name="T11" fmla="*/ 2147483647 h 144"/>
                <a:gd name="T12" fmla="*/ 2147483647 w 101"/>
                <a:gd name="T13" fmla="*/ 2147483647 h 144"/>
                <a:gd name="T14" fmla="*/ 2147483647 w 101"/>
                <a:gd name="T15" fmla="*/ 2147483647 h 144"/>
                <a:gd name="T16" fmla="*/ 2147483647 w 101"/>
                <a:gd name="T17" fmla="*/ 2147483647 h 144"/>
                <a:gd name="T18" fmla="*/ 2147483647 w 101"/>
                <a:gd name="T19" fmla="*/ 2147483647 h 144"/>
                <a:gd name="T20" fmla="*/ 0 w 101"/>
                <a:gd name="T21" fmla="*/ 2147483647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1" h="144">
                  <a:moveTo>
                    <a:pt x="0" y="112"/>
                  </a:moveTo>
                  <a:lnTo>
                    <a:pt x="12" y="89"/>
                  </a:lnTo>
                  <a:lnTo>
                    <a:pt x="26" y="0"/>
                  </a:lnTo>
                  <a:lnTo>
                    <a:pt x="31" y="33"/>
                  </a:lnTo>
                  <a:lnTo>
                    <a:pt x="56" y="45"/>
                  </a:lnTo>
                  <a:lnTo>
                    <a:pt x="101" y="112"/>
                  </a:lnTo>
                  <a:lnTo>
                    <a:pt x="95" y="133"/>
                  </a:lnTo>
                  <a:lnTo>
                    <a:pt x="56" y="100"/>
                  </a:lnTo>
                  <a:lnTo>
                    <a:pt x="26" y="144"/>
                  </a:lnTo>
                  <a:lnTo>
                    <a:pt x="26" y="1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54" name="Freeform 178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2237036" y="2530475"/>
              <a:ext cx="147637" cy="114300"/>
            </a:xfrm>
            <a:custGeom>
              <a:avLst/>
              <a:gdLst>
                <a:gd name="T0" fmla="*/ 0 w 101"/>
                <a:gd name="T1" fmla="*/ 2147483647 h 144"/>
                <a:gd name="T2" fmla="*/ 2147483647 w 101"/>
                <a:gd name="T3" fmla="*/ 2147483647 h 144"/>
                <a:gd name="T4" fmla="*/ 2147483647 w 101"/>
                <a:gd name="T5" fmla="*/ 0 h 144"/>
                <a:gd name="T6" fmla="*/ 2147483647 w 101"/>
                <a:gd name="T7" fmla="*/ 2147483647 h 144"/>
                <a:gd name="T8" fmla="*/ 2147483647 w 101"/>
                <a:gd name="T9" fmla="*/ 2147483647 h 144"/>
                <a:gd name="T10" fmla="*/ 2147483647 w 101"/>
                <a:gd name="T11" fmla="*/ 2147483647 h 144"/>
                <a:gd name="T12" fmla="*/ 2147483647 w 101"/>
                <a:gd name="T13" fmla="*/ 2147483647 h 144"/>
                <a:gd name="T14" fmla="*/ 2147483647 w 101"/>
                <a:gd name="T15" fmla="*/ 2147483647 h 144"/>
                <a:gd name="T16" fmla="*/ 2147483647 w 101"/>
                <a:gd name="T17" fmla="*/ 2147483647 h 144"/>
                <a:gd name="T18" fmla="*/ 2147483647 w 101"/>
                <a:gd name="T19" fmla="*/ 2147483647 h 144"/>
                <a:gd name="T20" fmla="*/ 0 w 101"/>
                <a:gd name="T21" fmla="*/ 2147483647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1" h="144">
                  <a:moveTo>
                    <a:pt x="0" y="112"/>
                  </a:moveTo>
                  <a:lnTo>
                    <a:pt x="12" y="89"/>
                  </a:lnTo>
                  <a:lnTo>
                    <a:pt x="26" y="0"/>
                  </a:lnTo>
                  <a:lnTo>
                    <a:pt x="31" y="33"/>
                  </a:lnTo>
                  <a:lnTo>
                    <a:pt x="56" y="45"/>
                  </a:lnTo>
                  <a:lnTo>
                    <a:pt x="101" y="112"/>
                  </a:lnTo>
                  <a:lnTo>
                    <a:pt x="95" y="133"/>
                  </a:lnTo>
                  <a:lnTo>
                    <a:pt x="56" y="100"/>
                  </a:lnTo>
                  <a:lnTo>
                    <a:pt x="26" y="144"/>
                  </a:lnTo>
                  <a:lnTo>
                    <a:pt x="26" y="112"/>
                  </a:lnTo>
                  <a:lnTo>
                    <a:pt x="0" y="1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55" name="Freeform 179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2867273" y="3060700"/>
              <a:ext cx="157163" cy="168275"/>
            </a:xfrm>
            <a:custGeom>
              <a:avLst/>
              <a:gdLst>
                <a:gd name="T0" fmla="*/ 0 w 107"/>
                <a:gd name="T1" fmla="*/ 2147483647 h 211"/>
                <a:gd name="T2" fmla="*/ 2147483647 w 107"/>
                <a:gd name="T3" fmla="*/ 2147483647 h 211"/>
                <a:gd name="T4" fmla="*/ 2147483647 w 107"/>
                <a:gd name="T5" fmla="*/ 0 h 211"/>
                <a:gd name="T6" fmla="*/ 2147483647 w 107"/>
                <a:gd name="T7" fmla="*/ 2147483647 h 211"/>
                <a:gd name="T8" fmla="*/ 2147483647 w 107"/>
                <a:gd name="T9" fmla="*/ 2147483647 h 211"/>
                <a:gd name="T10" fmla="*/ 2147483647 w 107"/>
                <a:gd name="T11" fmla="*/ 2147483647 h 211"/>
                <a:gd name="T12" fmla="*/ 2147483647 w 107"/>
                <a:gd name="T13" fmla="*/ 2147483647 h 211"/>
                <a:gd name="T14" fmla="*/ 2147483647 w 107"/>
                <a:gd name="T15" fmla="*/ 2147483647 h 211"/>
                <a:gd name="T16" fmla="*/ 2147483647 w 107"/>
                <a:gd name="T17" fmla="*/ 2147483647 h 211"/>
                <a:gd name="T18" fmla="*/ 2147483647 w 107"/>
                <a:gd name="T19" fmla="*/ 2147483647 h 211"/>
                <a:gd name="T20" fmla="*/ 2147483647 w 107"/>
                <a:gd name="T21" fmla="*/ 2147483647 h 211"/>
                <a:gd name="T22" fmla="*/ 2147483647 w 107"/>
                <a:gd name="T23" fmla="*/ 2147483647 h 211"/>
                <a:gd name="T24" fmla="*/ 2147483647 w 107"/>
                <a:gd name="T25" fmla="*/ 2147483647 h 211"/>
                <a:gd name="T26" fmla="*/ 2147483647 w 107"/>
                <a:gd name="T27" fmla="*/ 2147483647 h 211"/>
                <a:gd name="T28" fmla="*/ 2147483647 w 107"/>
                <a:gd name="T29" fmla="*/ 2147483647 h 211"/>
                <a:gd name="T30" fmla="*/ 2147483647 w 107"/>
                <a:gd name="T31" fmla="*/ 2147483647 h 211"/>
                <a:gd name="T32" fmla="*/ 2147483647 w 107"/>
                <a:gd name="T33" fmla="*/ 2147483647 h 211"/>
                <a:gd name="T34" fmla="*/ 2147483647 w 107"/>
                <a:gd name="T35" fmla="*/ 2147483647 h 211"/>
                <a:gd name="T36" fmla="*/ 2147483647 w 107"/>
                <a:gd name="T37" fmla="*/ 2147483647 h 211"/>
                <a:gd name="T38" fmla="*/ 2147483647 w 107"/>
                <a:gd name="T39" fmla="*/ 2147483647 h 211"/>
                <a:gd name="T40" fmla="*/ 0 w 107"/>
                <a:gd name="T41" fmla="*/ 2147483647 h 2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7" h="211">
                  <a:moveTo>
                    <a:pt x="0" y="167"/>
                  </a:moveTo>
                  <a:lnTo>
                    <a:pt x="45" y="9"/>
                  </a:lnTo>
                  <a:lnTo>
                    <a:pt x="64" y="0"/>
                  </a:lnTo>
                  <a:lnTo>
                    <a:pt x="38" y="88"/>
                  </a:lnTo>
                  <a:lnTo>
                    <a:pt x="57" y="65"/>
                  </a:lnTo>
                  <a:lnTo>
                    <a:pt x="64" y="100"/>
                  </a:lnTo>
                  <a:lnTo>
                    <a:pt x="88" y="100"/>
                  </a:lnTo>
                  <a:lnTo>
                    <a:pt x="83" y="132"/>
                  </a:lnTo>
                  <a:lnTo>
                    <a:pt x="101" y="132"/>
                  </a:lnTo>
                  <a:lnTo>
                    <a:pt x="88" y="167"/>
                  </a:lnTo>
                  <a:lnTo>
                    <a:pt x="101" y="144"/>
                  </a:lnTo>
                  <a:lnTo>
                    <a:pt x="107" y="178"/>
                  </a:lnTo>
                  <a:lnTo>
                    <a:pt x="88" y="211"/>
                  </a:lnTo>
                  <a:lnTo>
                    <a:pt x="88" y="188"/>
                  </a:lnTo>
                  <a:lnTo>
                    <a:pt x="83" y="200"/>
                  </a:lnTo>
                  <a:lnTo>
                    <a:pt x="83" y="155"/>
                  </a:lnTo>
                  <a:lnTo>
                    <a:pt x="57" y="200"/>
                  </a:lnTo>
                  <a:lnTo>
                    <a:pt x="75" y="178"/>
                  </a:lnTo>
                  <a:lnTo>
                    <a:pt x="50" y="178"/>
                  </a:lnTo>
                  <a:lnTo>
                    <a:pt x="57" y="155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56" name="Freeform 180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2867273" y="3060700"/>
              <a:ext cx="157163" cy="168275"/>
            </a:xfrm>
            <a:custGeom>
              <a:avLst/>
              <a:gdLst>
                <a:gd name="T0" fmla="*/ 0 w 107"/>
                <a:gd name="T1" fmla="*/ 2147483647 h 211"/>
                <a:gd name="T2" fmla="*/ 2147483647 w 107"/>
                <a:gd name="T3" fmla="*/ 2147483647 h 211"/>
                <a:gd name="T4" fmla="*/ 2147483647 w 107"/>
                <a:gd name="T5" fmla="*/ 0 h 211"/>
                <a:gd name="T6" fmla="*/ 2147483647 w 107"/>
                <a:gd name="T7" fmla="*/ 2147483647 h 211"/>
                <a:gd name="T8" fmla="*/ 2147483647 w 107"/>
                <a:gd name="T9" fmla="*/ 2147483647 h 211"/>
                <a:gd name="T10" fmla="*/ 2147483647 w 107"/>
                <a:gd name="T11" fmla="*/ 2147483647 h 211"/>
                <a:gd name="T12" fmla="*/ 2147483647 w 107"/>
                <a:gd name="T13" fmla="*/ 2147483647 h 211"/>
                <a:gd name="T14" fmla="*/ 2147483647 w 107"/>
                <a:gd name="T15" fmla="*/ 2147483647 h 211"/>
                <a:gd name="T16" fmla="*/ 2147483647 w 107"/>
                <a:gd name="T17" fmla="*/ 2147483647 h 211"/>
                <a:gd name="T18" fmla="*/ 2147483647 w 107"/>
                <a:gd name="T19" fmla="*/ 2147483647 h 211"/>
                <a:gd name="T20" fmla="*/ 2147483647 w 107"/>
                <a:gd name="T21" fmla="*/ 2147483647 h 211"/>
                <a:gd name="T22" fmla="*/ 2147483647 w 107"/>
                <a:gd name="T23" fmla="*/ 2147483647 h 211"/>
                <a:gd name="T24" fmla="*/ 2147483647 w 107"/>
                <a:gd name="T25" fmla="*/ 2147483647 h 211"/>
                <a:gd name="T26" fmla="*/ 2147483647 w 107"/>
                <a:gd name="T27" fmla="*/ 2147483647 h 211"/>
                <a:gd name="T28" fmla="*/ 2147483647 w 107"/>
                <a:gd name="T29" fmla="*/ 2147483647 h 211"/>
                <a:gd name="T30" fmla="*/ 2147483647 w 107"/>
                <a:gd name="T31" fmla="*/ 2147483647 h 211"/>
                <a:gd name="T32" fmla="*/ 2147483647 w 107"/>
                <a:gd name="T33" fmla="*/ 2147483647 h 211"/>
                <a:gd name="T34" fmla="*/ 2147483647 w 107"/>
                <a:gd name="T35" fmla="*/ 2147483647 h 211"/>
                <a:gd name="T36" fmla="*/ 2147483647 w 107"/>
                <a:gd name="T37" fmla="*/ 2147483647 h 211"/>
                <a:gd name="T38" fmla="*/ 2147483647 w 107"/>
                <a:gd name="T39" fmla="*/ 2147483647 h 211"/>
                <a:gd name="T40" fmla="*/ 0 w 107"/>
                <a:gd name="T41" fmla="*/ 2147483647 h 2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7" h="211">
                  <a:moveTo>
                    <a:pt x="0" y="167"/>
                  </a:moveTo>
                  <a:lnTo>
                    <a:pt x="45" y="9"/>
                  </a:lnTo>
                  <a:lnTo>
                    <a:pt x="64" y="0"/>
                  </a:lnTo>
                  <a:lnTo>
                    <a:pt x="38" y="88"/>
                  </a:lnTo>
                  <a:lnTo>
                    <a:pt x="57" y="65"/>
                  </a:lnTo>
                  <a:lnTo>
                    <a:pt x="64" y="100"/>
                  </a:lnTo>
                  <a:lnTo>
                    <a:pt x="88" y="100"/>
                  </a:lnTo>
                  <a:lnTo>
                    <a:pt x="83" y="132"/>
                  </a:lnTo>
                  <a:lnTo>
                    <a:pt x="101" y="132"/>
                  </a:lnTo>
                  <a:lnTo>
                    <a:pt x="88" y="167"/>
                  </a:lnTo>
                  <a:lnTo>
                    <a:pt x="101" y="144"/>
                  </a:lnTo>
                  <a:lnTo>
                    <a:pt x="107" y="178"/>
                  </a:lnTo>
                  <a:lnTo>
                    <a:pt x="88" y="211"/>
                  </a:lnTo>
                  <a:lnTo>
                    <a:pt x="88" y="188"/>
                  </a:lnTo>
                  <a:lnTo>
                    <a:pt x="83" y="200"/>
                  </a:lnTo>
                  <a:lnTo>
                    <a:pt x="83" y="155"/>
                  </a:lnTo>
                  <a:lnTo>
                    <a:pt x="57" y="200"/>
                  </a:lnTo>
                  <a:lnTo>
                    <a:pt x="75" y="178"/>
                  </a:lnTo>
                  <a:lnTo>
                    <a:pt x="50" y="178"/>
                  </a:lnTo>
                  <a:lnTo>
                    <a:pt x="57" y="155"/>
                  </a:lnTo>
                  <a:lnTo>
                    <a:pt x="0" y="16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57" name="Freeform 181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2867273" y="3060700"/>
              <a:ext cx="157163" cy="168275"/>
            </a:xfrm>
            <a:custGeom>
              <a:avLst/>
              <a:gdLst>
                <a:gd name="T0" fmla="*/ 0 w 107"/>
                <a:gd name="T1" fmla="*/ 2147483647 h 211"/>
                <a:gd name="T2" fmla="*/ 2147483647 w 107"/>
                <a:gd name="T3" fmla="*/ 2147483647 h 211"/>
                <a:gd name="T4" fmla="*/ 2147483647 w 107"/>
                <a:gd name="T5" fmla="*/ 0 h 211"/>
                <a:gd name="T6" fmla="*/ 2147483647 w 107"/>
                <a:gd name="T7" fmla="*/ 2147483647 h 211"/>
                <a:gd name="T8" fmla="*/ 2147483647 w 107"/>
                <a:gd name="T9" fmla="*/ 2147483647 h 211"/>
                <a:gd name="T10" fmla="*/ 2147483647 w 107"/>
                <a:gd name="T11" fmla="*/ 2147483647 h 211"/>
                <a:gd name="T12" fmla="*/ 2147483647 w 107"/>
                <a:gd name="T13" fmla="*/ 2147483647 h 211"/>
                <a:gd name="T14" fmla="*/ 2147483647 w 107"/>
                <a:gd name="T15" fmla="*/ 2147483647 h 211"/>
                <a:gd name="T16" fmla="*/ 2147483647 w 107"/>
                <a:gd name="T17" fmla="*/ 2147483647 h 211"/>
                <a:gd name="T18" fmla="*/ 2147483647 w 107"/>
                <a:gd name="T19" fmla="*/ 2147483647 h 211"/>
                <a:gd name="T20" fmla="*/ 2147483647 w 107"/>
                <a:gd name="T21" fmla="*/ 2147483647 h 211"/>
                <a:gd name="T22" fmla="*/ 2147483647 w 107"/>
                <a:gd name="T23" fmla="*/ 2147483647 h 211"/>
                <a:gd name="T24" fmla="*/ 2147483647 w 107"/>
                <a:gd name="T25" fmla="*/ 2147483647 h 211"/>
                <a:gd name="T26" fmla="*/ 2147483647 w 107"/>
                <a:gd name="T27" fmla="*/ 2147483647 h 211"/>
                <a:gd name="T28" fmla="*/ 2147483647 w 107"/>
                <a:gd name="T29" fmla="*/ 2147483647 h 211"/>
                <a:gd name="T30" fmla="*/ 2147483647 w 107"/>
                <a:gd name="T31" fmla="*/ 2147483647 h 211"/>
                <a:gd name="T32" fmla="*/ 2147483647 w 107"/>
                <a:gd name="T33" fmla="*/ 2147483647 h 211"/>
                <a:gd name="T34" fmla="*/ 2147483647 w 107"/>
                <a:gd name="T35" fmla="*/ 2147483647 h 211"/>
                <a:gd name="T36" fmla="*/ 2147483647 w 107"/>
                <a:gd name="T37" fmla="*/ 2147483647 h 211"/>
                <a:gd name="T38" fmla="*/ 2147483647 w 107"/>
                <a:gd name="T39" fmla="*/ 2147483647 h 211"/>
                <a:gd name="T40" fmla="*/ 0 w 107"/>
                <a:gd name="T41" fmla="*/ 2147483647 h 2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7" h="211">
                  <a:moveTo>
                    <a:pt x="0" y="167"/>
                  </a:moveTo>
                  <a:lnTo>
                    <a:pt x="45" y="9"/>
                  </a:lnTo>
                  <a:lnTo>
                    <a:pt x="64" y="0"/>
                  </a:lnTo>
                  <a:lnTo>
                    <a:pt x="38" y="88"/>
                  </a:lnTo>
                  <a:lnTo>
                    <a:pt x="57" y="65"/>
                  </a:lnTo>
                  <a:lnTo>
                    <a:pt x="64" y="100"/>
                  </a:lnTo>
                  <a:lnTo>
                    <a:pt x="88" y="100"/>
                  </a:lnTo>
                  <a:lnTo>
                    <a:pt x="83" y="132"/>
                  </a:lnTo>
                  <a:lnTo>
                    <a:pt x="101" y="132"/>
                  </a:lnTo>
                  <a:lnTo>
                    <a:pt x="88" y="167"/>
                  </a:lnTo>
                  <a:lnTo>
                    <a:pt x="101" y="144"/>
                  </a:lnTo>
                  <a:lnTo>
                    <a:pt x="107" y="178"/>
                  </a:lnTo>
                  <a:lnTo>
                    <a:pt x="88" y="211"/>
                  </a:lnTo>
                  <a:lnTo>
                    <a:pt x="88" y="188"/>
                  </a:lnTo>
                  <a:lnTo>
                    <a:pt x="83" y="200"/>
                  </a:lnTo>
                  <a:lnTo>
                    <a:pt x="83" y="155"/>
                  </a:lnTo>
                  <a:lnTo>
                    <a:pt x="57" y="200"/>
                  </a:lnTo>
                  <a:lnTo>
                    <a:pt x="75" y="178"/>
                  </a:lnTo>
                  <a:lnTo>
                    <a:pt x="50" y="178"/>
                  </a:lnTo>
                  <a:lnTo>
                    <a:pt x="57" y="155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58" name="Freeform 182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2867273" y="3060700"/>
              <a:ext cx="157163" cy="168275"/>
            </a:xfrm>
            <a:custGeom>
              <a:avLst/>
              <a:gdLst>
                <a:gd name="T0" fmla="*/ 0 w 107"/>
                <a:gd name="T1" fmla="*/ 2147483647 h 211"/>
                <a:gd name="T2" fmla="*/ 2147483647 w 107"/>
                <a:gd name="T3" fmla="*/ 2147483647 h 211"/>
                <a:gd name="T4" fmla="*/ 2147483647 w 107"/>
                <a:gd name="T5" fmla="*/ 0 h 211"/>
                <a:gd name="T6" fmla="*/ 2147483647 w 107"/>
                <a:gd name="T7" fmla="*/ 2147483647 h 211"/>
                <a:gd name="T8" fmla="*/ 2147483647 w 107"/>
                <a:gd name="T9" fmla="*/ 2147483647 h 211"/>
                <a:gd name="T10" fmla="*/ 2147483647 w 107"/>
                <a:gd name="T11" fmla="*/ 2147483647 h 211"/>
                <a:gd name="T12" fmla="*/ 2147483647 w 107"/>
                <a:gd name="T13" fmla="*/ 2147483647 h 211"/>
                <a:gd name="T14" fmla="*/ 2147483647 w 107"/>
                <a:gd name="T15" fmla="*/ 2147483647 h 211"/>
                <a:gd name="T16" fmla="*/ 2147483647 w 107"/>
                <a:gd name="T17" fmla="*/ 2147483647 h 211"/>
                <a:gd name="T18" fmla="*/ 2147483647 w 107"/>
                <a:gd name="T19" fmla="*/ 2147483647 h 211"/>
                <a:gd name="T20" fmla="*/ 2147483647 w 107"/>
                <a:gd name="T21" fmla="*/ 2147483647 h 211"/>
                <a:gd name="T22" fmla="*/ 2147483647 w 107"/>
                <a:gd name="T23" fmla="*/ 2147483647 h 211"/>
                <a:gd name="T24" fmla="*/ 2147483647 w 107"/>
                <a:gd name="T25" fmla="*/ 2147483647 h 211"/>
                <a:gd name="T26" fmla="*/ 2147483647 w 107"/>
                <a:gd name="T27" fmla="*/ 2147483647 h 211"/>
                <a:gd name="T28" fmla="*/ 2147483647 w 107"/>
                <a:gd name="T29" fmla="*/ 2147483647 h 211"/>
                <a:gd name="T30" fmla="*/ 2147483647 w 107"/>
                <a:gd name="T31" fmla="*/ 2147483647 h 211"/>
                <a:gd name="T32" fmla="*/ 2147483647 w 107"/>
                <a:gd name="T33" fmla="*/ 2147483647 h 211"/>
                <a:gd name="T34" fmla="*/ 2147483647 w 107"/>
                <a:gd name="T35" fmla="*/ 2147483647 h 211"/>
                <a:gd name="T36" fmla="*/ 2147483647 w 107"/>
                <a:gd name="T37" fmla="*/ 2147483647 h 211"/>
                <a:gd name="T38" fmla="*/ 2147483647 w 107"/>
                <a:gd name="T39" fmla="*/ 2147483647 h 211"/>
                <a:gd name="T40" fmla="*/ 0 w 107"/>
                <a:gd name="T41" fmla="*/ 2147483647 h 2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7" h="211">
                  <a:moveTo>
                    <a:pt x="0" y="167"/>
                  </a:moveTo>
                  <a:lnTo>
                    <a:pt x="45" y="9"/>
                  </a:lnTo>
                  <a:lnTo>
                    <a:pt x="64" y="0"/>
                  </a:lnTo>
                  <a:lnTo>
                    <a:pt x="38" y="88"/>
                  </a:lnTo>
                  <a:lnTo>
                    <a:pt x="57" y="65"/>
                  </a:lnTo>
                  <a:lnTo>
                    <a:pt x="64" y="100"/>
                  </a:lnTo>
                  <a:lnTo>
                    <a:pt x="88" y="100"/>
                  </a:lnTo>
                  <a:lnTo>
                    <a:pt x="83" y="132"/>
                  </a:lnTo>
                  <a:lnTo>
                    <a:pt x="101" y="132"/>
                  </a:lnTo>
                  <a:lnTo>
                    <a:pt x="88" y="167"/>
                  </a:lnTo>
                  <a:lnTo>
                    <a:pt x="101" y="144"/>
                  </a:lnTo>
                  <a:lnTo>
                    <a:pt x="107" y="178"/>
                  </a:lnTo>
                  <a:lnTo>
                    <a:pt x="88" y="211"/>
                  </a:lnTo>
                  <a:lnTo>
                    <a:pt x="88" y="188"/>
                  </a:lnTo>
                  <a:lnTo>
                    <a:pt x="83" y="200"/>
                  </a:lnTo>
                  <a:lnTo>
                    <a:pt x="83" y="155"/>
                  </a:lnTo>
                  <a:lnTo>
                    <a:pt x="57" y="200"/>
                  </a:lnTo>
                  <a:lnTo>
                    <a:pt x="75" y="178"/>
                  </a:lnTo>
                  <a:lnTo>
                    <a:pt x="50" y="178"/>
                  </a:lnTo>
                  <a:lnTo>
                    <a:pt x="57" y="155"/>
                  </a:lnTo>
                  <a:lnTo>
                    <a:pt x="0" y="16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59" name="Freeform 183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6234361" y="4252913"/>
              <a:ext cx="36512" cy="87312"/>
            </a:xfrm>
            <a:custGeom>
              <a:avLst/>
              <a:gdLst>
                <a:gd name="T0" fmla="*/ 0 w 25"/>
                <a:gd name="T1" fmla="*/ 0 h 109"/>
                <a:gd name="T2" fmla="*/ 0 w 25"/>
                <a:gd name="T3" fmla="*/ 2147483647 h 109"/>
                <a:gd name="T4" fmla="*/ 2147483647 w 25"/>
                <a:gd name="T5" fmla="*/ 2147483647 h 109"/>
                <a:gd name="T6" fmla="*/ 2147483647 w 25"/>
                <a:gd name="T7" fmla="*/ 2147483647 h 109"/>
                <a:gd name="T8" fmla="*/ 0 w 25"/>
                <a:gd name="T9" fmla="*/ 0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109">
                  <a:moveTo>
                    <a:pt x="0" y="0"/>
                  </a:moveTo>
                  <a:lnTo>
                    <a:pt x="0" y="109"/>
                  </a:lnTo>
                  <a:lnTo>
                    <a:pt x="25" y="100"/>
                  </a:lnTo>
                  <a:lnTo>
                    <a:pt x="13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60" name="Freeform 184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6234361" y="4252913"/>
              <a:ext cx="36512" cy="87312"/>
            </a:xfrm>
            <a:custGeom>
              <a:avLst/>
              <a:gdLst>
                <a:gd name="T0" fmla="*/ 0 w 25"/>
                <a:gd name="T1" fmla="*/ 0 h 109"/>
                <a:gd name="T2" fmla="*/ 0 w 25"/>
                <a:gd name="T3" fmla="*/ 2147483647 h 109"/>
                <a:gd name="T4" fmla="*/ 2147483647 w 25"/>
                <a:gd name="T5" fmla="*/ 2147483647 h 109"/>
                <a:gd name="T6" fmla="*/ 2147483647 w 25"/>
                <a:gd name="T7" fmla="*/ 2147483647 h 109"/>
                <a:gd name="T8" fmla="*/ 0 w 25"/>
                <a:gd name="T9" fmla="*/ 0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109">
                  <a:moveTo>
                    <a:pt x="0" y="0"/>
                  </a:moveTo>
                  <a:lnTo>
                    <a:pt x="0" y="109"/>
                  </a:lnTo>
                  <a:lnTo>
                    <a:pt x="25" y="100"/>
                  </a:lnTo>
                  <a:lnTo>
                    <a:pt x="13" y="21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61" name="Freeform 185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6234361" y="4252913"/>
              <a:ext cx="36512" cy="87312"/>
            </a:xfrm>
            <a:custGeom>
              <a:avLst/>
              <a:gdLst>
                <a:gd name="T0" fmla="*/ 0 w 25"/>
                <a:gd name="T1" fmla="*/ 0 h 109"/>
                <a:gd name="T2" fmla="*/ 0 w 25"/>
                <a:gd name="T3" fmla="*/ 2147483647 h 109"/>
                <a:gd name="T4" fmla="*/ 2147483647 w 25"/>
                <a:gd name="T5" fmla="*/ 2147483647 h 109"/>
                <a:gd name="T6" fmla="*/ 2147483647 w 25"/>
                <a:gd name="T7" fmla="*/ 2147483647 h 109"/>
                <a:gd name="T8" fmla="*/ 0 w 25"/>
                <a:gd name="T9" fmla="*/ 0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109">
                  <a:moveTo>
                    <a:pt x="0" y="0"/>
                  </a:moveTo>
                  <a:lnTo>
                    <a:pt x="0" y="109"/>
                  </a:lnTo>
                  <a:lnTo>
                    <a:pt x="25" y="100"/>
                  </a:lnTo>
                  <a:lnTo>
                    <a:pt x="13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62" name="Freeform 186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6234361" y="4252913"/>
              <a:ext cx="36512" cy="87312"/>
            </a:xfrm>
            <a:custGeom>
              <a:avLst/>
              <a:gdLst>
                <a:gd name="T0" fmla="*/ 0 w 25"/>
                <a:gd name="T1" fmla="*/ 0 h 109"/>
                <a:gd name="T2" fmla="*/ 0 w 25"/>
                <a:gd name="T3" fmla="*/ 2147483647 h 109"/>
                <a:gd name="T4" fmla="*/ 2147483647 w 25"/>
                <a:gd name="T5" fmla="*/ 2147483647 h 109"/>
                <a:gd name="T6" fmla="*/ 2147483647 w 25"/>
                <a:gd name="T7" fmla="*/ 2147483647 h 109"/>
                <a:gd name="T8" fmla="*/ 0 w 25"/>
                <a:gd name="T9" fmla="*/ 0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109">
                  <a:moveTo>
                    <a:pt x="0" y="0"/>
                  </a:moveTo>
                  <a:lnTo>
                    <a:pt x="0" y="109"/>
                  </a:lnTo>
                  <a:lnTo>
                    <a:pt x="25" y="100"/>
                  </a:lnTo>
                  <a:lnTo>
                    <a:pt x="13" y="21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63" name="Freeform 187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2503736" y="4941888"/>
              <a:ext cx="182562" cy="1069975"/>
            </a:xfrm>
            <a:custGeom>
              <a:avLst/>
              <a:gdLst>
                <a:gd name="T0" fmla="*/ 0 w 125"/>
                <a:gd name="T1" fmla="*/ 2147483647 h 1346"/>
                <a:gd name="T2" fmla="*/ 2147483647 w 125"/>
                <a:gd name="T3" fmla="*/ 2147483647 h 1346"/>
                <a:gd name="T4" fmla="*/ 2147483647 w 125"/>
                <a:gd name="T5" fmla="*/ 2147483647 h 1346"/>
                <a:gd name="T6" fmla="*/ 2147483647 w 125"/>
                <a:gd name="T7" fmla="*/ 2147483647 h 1346"/>
                <a:gd name="T8" fmla="*/ 2147483647 w 125"/>
                <a:gd name="T9" fmla="*/ 2147483647 h 1346"/>
                <a:gd name="T10" fmla="*/ 2147483647 w 125"/>
                <a:gd name="T11" fmla="*/ 2147483647 h 1346"/>
                <a:gd name="T12" fmla="*/ 2147483647 w 125"/>
                <a:gd name="T13" fmla="*/ 2147483647 h 1346"/>
                <a:gd name="T14" fmla="*/ 2147483647 w 125"/>
                <a:gd name="T15" fmla="*/ 2147483647 h 1346"/>
                <a:gd name="T16" fmla="*/ 2147483647 w 125"/>
                <a:gd name="T17" fmla="*/ 2147483647 h 1346"/>
                <a:gd name="T18" fmla="*/ 2147483647 w 125"/>
                <a:gd name="T19" fmla="*/ 2147483647 h 1346"/>
                <a:gd name="T20" fmla="*/ 2147483647 w 125"/>
                <a:gd name="T21" fmla="*/ 2147483647 h 1346"/>
                <a:gd name="T22" fmla="*/ 2147483647 w 125"/>
                <a:gd name="T23" fmla="*/ 2147483647 h 1346"/>
                <a:gd name="T24" fmla="*/ 2147483647 w 125"/>
                <a:gd name="T25" fmla="*/ 0 h 1346"/>
                <a:gd name="T26" fmla="*/ 2147483647 w 125"/>
                <a:gd name="T27" fmla="*/ 2147483647 h 1346"/>
                <a:gd name="T28" fmla="*/ 2147483647 w 125"/>
                <a:gd name="T29" fmla="*/ 2147483647 h 1346"/>
                <a:gd name="T30" fmla="*/ 2147483647 w 125"/>
                <a:gd name="T31" fmla="*/ 2147483647 h 1346"/>
                <a:gd name="T32" fmla="*/ 2147483647 w 125"/>
                <a:gd name="T33" fmla="*/ 2147483647 h 1346"/>
                <a:gd name="T34" fmla="*/ 2147483647 w 125"/>
                <a:gd name="T35" fmla="*/ 2147483647 h 1346"/>
                <a:gd name="T36" fmla="*/ 2147483647 w 125"/>
                <a:gd name="T37" fmla="*/ 2147483647 h 1346"/>
                <a:gd name="T38" fmla="*/ 2147483647 w 125"/>
                <a:gd name="T39" fmla="*/ 2147483647 h 1346"/>
                <a:gd name="T40" fmla="*/ 2147483647 w 125"/>
                <a:gd name="T41" fmla="*/ 2147483647 h 1346"/>
                <a:gd name="T42" fmla="*/ 2147483647 w 125"/>
                <a:gd name="T43" fmla="*/ 2147483647 h 1346"/>
                <a:gd name="T44" fmla="*/ 2147483647 w 125"/>
                <a:gd name="T45" fmla="*/ 2147483647 h 1346"/>
                <a:gd name="T46" fmla="*/ 2147483647 w 125"/>
                <a:gd name="T47" fmla="*/ 2147483647 h 1346"/>
                <a:gd name="T48" fmla="*/ 2147483647 w 125"/>
                <a:gd name="T49" fmla="*/ 2147483647 h 1346"/>
                <a:gd name="T50" fmla="*/ 2147483647 w 125"/>
                <a:gd name="T51" fmla="*/ 2147483647 h 1346"/>
                <a:gd name="T52" fmla="*/ 2147483647 w 125"/>
                <a:gd name="T53" fmla="*/ 2147483647 h 1346"/>
                <a:gd name="T54" fmla="*/ 2147483647 w 125"/>
                <a:gd name="T55" fmla="*/ 2147483647 h 1346"/>
                <a:gd name="T56" fmla="*/ 2147483647 w 125"/>
                <a:gd name="T57" fmla="*/ 2147483647 h 1346"/>
                <a:gd name="T58" fmla="*/ 2147483647 w 125"/>
                <a:gd name="T59" fmla="*/ 2147483647 h 1346"/>
                <a:gd name="T60" fmla="*/ 2147483647 w 125"/>
                <a:gd name="T61" fmla="*/ 2147483647 h 1346"/>
                <a:gd name="T62" fmla="*/ 2147483647 w 125"/>
                <a:gd name="T63" fmla="*/ 2147483647 h 1346"/>
                <a:gd name="T64" fmla="*/ 2147483647 w 125"/>
                <a:gd name="T65" fmla="*/ 2147483647 h 1346"/>
                <a:gd name="T66" fmla="*/ 2147483647 w 125"/>
                <a:gd name="T67" fmla="*/ 2147483647 h 1346"/>
                <a:gd name="T68" fmla="*/ 2147483647 w 125"/>
                <a:gd name="T69" fmla="*/ 2147483647 h 1346"/>
                <a:gd name="T70" fmla="*/ 2147483647 w 125"/>
                <a:gd name="T71" fmla="*/ 2147483647 h 1346"/>
                <a:gd name="T72" fmla="*/ 2147483647 w 125"/>
                <a:gd name="T73" fmla="*/ 2147483647 h 1346"/>
                <a:gd name="T74" fmla="*/ 2147483647 w 125"/>
                <a:gd name="T75" fmla="*/ 2147483647 h 1346"/>
                <a:gd name="T76" fmla="*/ 2147483647 w 125"/>
                <a:gd name="T77" fmla="*/ 2147483647 h 1346"/>
                <a:gd name="T78" fmla="*/ 2147483647 w 125"/>
                <a:gd name="T79" fmla="*/ 2147483647 h 1346"/>
                <a:gd name="T80" fmla="*/ 2147483647 w 125"/>
                <a:gd name="T81" fmla="*/ 2147483647 h 1346"/>
                <a:gd name="T82" fmla="*/ 2147483647 w 125"/>
                <a:gd name="T83" fmla="*/ 2147483647 h 1346"/>
                <a:gd name="T84" fmla="*/ 2147483647 w 125"/>
                <a:gd name="T85" fmla="*/ 2147483647 h 1346"/>
                <a:gd name="T86" fmla="*/ 2147483647 w 125"/>
                <a:gd name="T87" fmla="*/ 2147483647 h 1346"/>
                <a:gd name="T88" fmla="*/ 2147483647 w 125"/>
                <a:gd name="T89" fmla="*/ 2147483647 h 1346"/>
                <a:gd name="T90" fmla="*/ 2147483647 w 125"/>
                <a:gd name="T91" fmla="*/ 2147483647 h 1346"/>
                <a:gd name="T92" fmla="*/ 2147483647 w 125"/>
                <a:gd name="T93" fmla="*/ 2147483647 h 1346"/>
                <a:gd name="T94" fmla="*/ 0 w 125"/>
                <a:gd name="T95" fmla="*/ 2147483647 h 134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5" h="1346">
                  <a:moveTo>
                    <a:pt x="0" y="1047"/>
                  </a:moveTo>
                  <a:lnTo>
                    <a:pt x="5" y="1014"/>
                  </a:lnTo>
                  <a:lnTo>
                    <a:pt x="24" y="1035"/>
                  </a:lnTo>
                  <a:lnTo>
                    <a:pt x="43" y="970"/>
                  </a:lnTo>
                  <a:lnTo>
                    <a:pt x="38" y="947"/>
                  </a:lnTo>
                  <a:lnTo>
                    <a:pt x="50" y="847"/>
                  </a:lnTo>
                  <a:lnTo>
                    <a:pt x="24" y="847"/>
                  </a:lnTo>
                  <a:lnTo>
                    <a:pt x="30" y="689"/>
                  </a:lnTo>
                  <a:lnTo>
                    <a:pt x="62" y="522"/>
                  </a:lnTo>
                  <a:lnTo>
                    <a:pt x="62" y="390"/>
                  </a:lnTo>
                  <a:lnTo>
                    <a:pt x="80" y="134"/>
                  </a:lnTo>
                  <a:lnTo>
                    <a:pt x="74" y="23"/>
                  </a:lnTo>
                  <a:lnTo>
                    <a:pt x="93" y="0"/>
                  </a:lnTo>
                  <a:lnTo>
                    <a:pt x="106" y="55"/>
                  </a:lnTo>
                  <a:lnTo>
                    <a:pt x="119" y="178"/>
                  </a:lnTo>
                  <a:lnTo>
                    <a:pt x="125" y="178"/>
                  </a:lnTo>
                  <a:lnTo>
                    <a:pt x="125" y="223"/>
                  </a:lnTo>
                  <a:lnTo>
                    <a:pt x="112" y="232"/>
                  </a:lnTo>
                  <a:lnTo>
                    <a:pt x="112" y="311"/>
                  </a:lnTo>
                  <a:lnTo>
                    <a:pt x="93" y="355"/>
                  </a:lnTo>
                  <a:lnTo>
                    <a:pt x="74" y="468"/>
                  </a:lnTo>
                  <a:lnTo>
                    <a:pt x="88" y="578"/>
                  </a:lnTo>
                  <a:lnTo>
                    <a:pt x="69" y="657"/>
                  </a:lnTo>
                  <a:lnTo>
                    <a:pt x="56" y="879"/>
                  </a:lnTo>
                  <a:lnTo>
                    <a:pt x="62" y="970"/>
                  </a:lnTo>
                  <a:lnTo>
                    <a:pt x="56" y="970"/>
                  </a:lnTo>
                  <a:lnTo>
                    <a:pt x="62" y="1047"/>
                  </a:lnTo>
                  <a:lnTo>
                    <a:pt x="30" y="1192"/>
                  </a:lnTo>
                  <a:lnTo>
                    <a:pt x="38" y="1214"/>
                  </a:lnTo>
                  <a:lnTo>
                    <a:pt x="50" y="1214"/>
                  </a:lnTo>
                  <a:lnTo>
                    <a:pt x="56" y="1269"/>
                  </a:lnTo>
                  <a:lnTo>
                    <a:pt x="112" y="1281"/>
                  </a:lnTo>
                  <a:lnTo>
                    <a:pt x="74" y="1292"/>
                  </a:lnTo>
                  <a:lnTo>
                    <a:pt x="69" y="1346"/>
                  </a:lnTo>
                  <a:lnTo>
                    <a:pt x="50" y="1337"/>
                  </a:lnTo>
                  <a:lnTo>
                    <a:pt x="69" y="1302"/>
                  </a:lnTo>
                  <a:lnTo>
                    <a:pt x="43" y="1292"/>
                  </a:lnTo>
                  <a:lnTo>
                    <a:pt x="38" y="1246"/>
                  </a:lnTo>
                  <a:lnTo>
                    <a:pt x="30" y="1269"/>
                  </a:lnTo>
                  <a:lnTo>
                    <a:pt x="24" y="1225"/>
                  </a:lnTo>
                  <a:lnTo>
                    <a:pt x="24" y="1214"/>
                  </a:lnTo>
                  <a:lnTo>
                    <a:pt x="12" y="1192"/>
                  </a:lnTo>
                  <a:lnTo>
                    <a:pt x="24" y="1169"/>
                  </a:lnTo>
                  <a:lnTo>
                    <a:pt x="12" y="1102"/>
                  </a:lnTo>
                  <a:lnTo>
                    <a:pt x="38" y="1102"/>
                  </a:lnTo>
                  <a:lnTo>
                    <a:pt x="12" y="1070"/>
                  </a:lnTo>
                  <a:lnTo>
                    <a:pt x="19" y="1047"/>
                  </a:lnTo>
                  <a:lnTo>
                    <a:pt x="0" y="104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64" name="Freeform 188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2503736" y="4941888"/>
              <a:ext cx="182562" cy="1069975"/>
            </a:xfrm>
            <a:custGeom>
              <a:avLst/>
              <a:gdLst>
                <a:gd name="T0" fmla="*/ 0 w 125"/>
                <a:gd name="T1" fmla="*/ 2147483647 h 1346"/>
                <a:gd name="T2" fmla="*/ 2147483647 w 125"/>
                <a:gd name="T3" fmla="*/ 2147483647 h 1346"/>
                <a:gd name="T4" fmla="*/ 2147483647 w 125"/>
                <a:gd name="T5" fmla="*/ 2147483647 h 1346"/>
                <a:gd name="T6" fmla="*/ 2147483647 w 125"/>
                <a:gd name="T7" fmla="*/ 2147483647 h 1346"/>
                <a:gd name="T8" fmla="*/ 2147483647 w 125"/>
                <a:gd name="T9" fmla="*/ 2147483647 h 1346"/>
                <a:gd name="T10" fmla="*/ 2147483647 w 125"/>
                <a:gd name="T11" fmla="*/ 2147483647 h 1346"/>
                <a:gd name="T12" fmla="*/ 2147483647 w 125"/>
                <a:gd name="T13" fmla="*/ 2147483647 h 1346"/>
                <a:gd name="T14" fmla="*/ 2147483647 w 125"/>
                <a:gd name="T15" fmla="*/ 2147483647 h 1346"/>
                <a:gd name="T16" fmla="*/ 2147483647 w 125"/>
                <a:gd name="T17" fmla="*/ 2147483647 h 1346"/>
                <a:gd name="T18" fmla="*/ 2147483647 w 125"/>
                <a:gd name="T19" fmla="*/ 2147483647 h 1346"/>
                <a:gd name="T20" fmla="*/ 2147483647 w 125"/>
                <a:gd name="T21" fmla="*/ 2147483647 h 1346"/>
                <a:gd name="T22" fmla="*/ 2147483647 w 125"/>
                <a:gd name="T23" fmla="*/ 2147483647 h 1346"/>
                <a:gd name="T24" fmla="*/ 2147483647 w 125"/>
                <a:gd name="T25" fmla="*/ 0 h 1346"/>
                <a:gd name="T26" fmla="*/ 2147483647 w 125"/>
                <a:gd name="T27" fmla="*/ 2147483647 h 1346"/>
                <a:gd name="T28" fmla="*/ 2147483647 w 125"/>
                <a:gd name="T29" fmla="*/ 2147483647 h 1346"/>
                <a:gd name="T30" fmla="*/ 2147483647 w 125"/>
                <a:gd name="T31" fmla="*/ 2147483647 h 1346"/>
                <a:gd name="T32" fmla="*/ 2147483647 w 125"/>
                <a:gd name="T33" fmla="*/ 2147483647 h 1346"/>
                <a:gd name="T34" fmla="*/ 2147483647 w 125"/>
                <a:gd name="T35" fmla="*/ 2147483647 h 1346"/>
                <a:gd name="T36" fmla="*/ 2147483647 w 125"/>
                <a:gd name="T37" fmla="*/ 2147483647 h 1346"/>
                <a:gd name="T38" fmla="*/ 2147483647 w 125"/>
                <a:gd name="T39" fmla="*/ 2147483647 h 1346"/>
                <a:gd name="T40" fmla="*/ 2147483647 w 125"/>
                <a:gd name="T41" fmla="*/ 2147483647 h 1346"/>
                <a:gd name="T42" fmla="*/ 2147483647 w 125"/>
                <a:gd name="T43" fmla="*/ 2147483647 h 1346"/>
                <a:gd name="T44" fmla="*/ 2147483647 w 125"/>
                <a:gd name="T45" fmla="*/ 2147483647 h 1346"/>
                <a:gd name="T46" fmla="*/ 2147483647 w 125"/>
                <a:gd name="T47" fmla="*/ 2147483647 h 1346"/>
                <a:gd name="T48" fmla="*/ 2147483647 w 125"/>
                <a:gd name="T49" fmla="*/ 2147483647 h 1346"/>
                <a:gd name="T50" fmla="*/ 2147483647 w 125"/>
                <a:gd name="T51" fmla="*/ 2147483647 h 1346"/>
                <a:gd name="T52" fmla="*/ 2147483647 w 125"/>
                <a:gd name="T53" fmla="*/ 2147483647 h 1346"/>
                <a:gd name="T54" fmla="*/ 2147483647 w 125"/>
                <a:gd name="T55" fmla="*/ 2147483647 h 1346"/>
                <a:gd name="T56" fmla="*/ 2147483647 w 125"/>
                <a:gd name="T57" fmla="*/ 2147483647 h 1346"/>
                <a:gd name="T58" fmla="*/ 2147483647 w 125"/>
                <a:gd name="T59" fmla="*/ 2147483647 h 1346"/>
                <a:gd name="T60" fmla="*/ 2147483647 w 125"/>
                <a:gd name="T61" fmla="*/ 2147483647 h 1346"/>
                <a:gd name="T62" fmla="*/ 2147483647 w 125"/>
                <a:gd name="T63" fmla="*/ 2147483647 h 1346"/>
                <a:gd name="T64" fmla="*/ 2147483647 w 125"/>
                <a:gd name="T65" fmla="*/ 2147483647 h 1346"/>
                <a:gd name="T66" fmla="*/ 2147483647 w 125"/>
                <a:gd name="T67" fmla="*/ 2147483647 h 1346"/>
                <a:gd name="T68" fmla="*/ 2147483647 w 125"/>
                <a:gd name="T69" fmla="*/ 2147483647 h 1346"/>
                <a:gd name="T70" fmla="*/ 2147483647 w 125"/>
                <a:gd name="T71" fmla="*/ 2147483647 h 1346"/>
                <a:gd name="T72" fmla="*/ 2147483647 w 125"/>
                <a:gd name="T73" fmla="*/ 2147483647 h 1346"/>
                <a:gd name="T74" fmla="*/ 2147483647 w 125"/>
                <a:gd name="T75" fmla="*/ 2147483647 h 1346"/>
                <a:gd name="T76" fmla="*/ 2147483647 w 125"/>
                <a:gd name="T77" fmla="*/ 2147483647 h 1346"/>
                <a:gd name="T78" fmla="*/ 2147483647 w 125"/>
                <a:gd name="T79" fmla="*/ 2147483647 h 1346"/>
                <a:gd name="T80" fmla="*/ 2147483647 w 125"/>
                <a:gd name="T81" fmla="*/ 2147483647 h 1346"/>
                <a:gd name="T82" fmla="*/ 2147483647 w 125"/>
                <a:gd name="T83" fmla="*/ 2147483647 h 1346"/>
                <a:gd name="T84" fmla="*/ 2147483647 w 125"/>
                <a:gd name="T85" fmla="*/ 2147483647 h 1346"/>
                <a:gd name="T86" fmla="*/ 2147483647 w 125"/>
                <a:gd name="T87" fmla="*/ 2147483647 h 1346"/>
                <a:gd name="T88" fmla="*/ 2147483647 w 125"/>
                <a:gd name="T89" fmla="*/ 2147483647 h 1346"/>
                <a:gd name="T90" fmla="*/ 2147483647 w 125"/>
                <a:gd name="T91" fmla="*/ 2147483647 h 1346"/>
                <a:gd name="T92" fmla="*/ 2147483647 w 125"/>
                <a:gd name="T93" fmla="*/ 2147483647 h 1346"/>
                <a:gd name="T94" fmla="*/ 0 w 125"/>
                <a:gd name="T95" fmla="*/ 2147483647 h 134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5" h="1346">
                  <a:moveTo>
                    <a:pt x="0" y="1047"/>
                  </a:moveTo>
                  <a:lnTo>
                    <a:pt x="5" y="1014"/>
                  </a:lnTo>
                  <a:lnTo>
                    <a:pt x="24" y="1035"/>
                  </a:lnTo>
                  <a:lnTo>
                    <a:pt x="43" y="970"/>
                  </a:lnTo>
                  <a:lnTo>
                    <a:pt x="38" y="947"/>
                  </a:lnTo>
                  <a:lnTo>
                    <a:pt x="50" y="847"/>
                  </a:lnTo>
                  <a:lnTo>
                    <a:pt x="24" y="847"/>
                  </a:lnTo>
                  <a:lnTo>
                    <a:pt x="30" y="689"/>
                  </a:lnTo>
                  <a:lnTo>
                    <a:pt x="62" y="522"/>
                  </a:lnTo>
                  <a:lnTo>
                    <a:pt x="62" y="390"/>
                  </a:lnTo>
                  <a:lnTo>
                    <a:pt x="80" y="134"/>
                  </a:lnTo>
                  <a:lnTo>
                    <a:pt x="74" y="23"/>
                  </a:lnTo>
                  <a:lnTo>
                    <a:pt x="93" y="0"/>
                  </a:lnTo>
                  <a:lnTo>
                    <a:pt x="106" y="55"/>
                  </a:lnTo>
                  <a:lnTo>
                    <a:pt x="119" y="178"/>
                  </a:lnTo>
                  <a:lnTo>
                    <a:pt x="125" y="178"/>
                  </a:lnTo>
                  <a:lnTo>
                    <a:pt x="125" y="223"/>
                  </a:lnTo>
                  <a:lnTo>
                    <a:pt x="112" y="232"/>
                  </a:lnTo>
                  <a:lnTo>
                    <a:pt x="112" y="311"/>
                  </a:lnTo>
                  <a:lnTo>
                    <a:pt x="93" y="355"/>
                  </a:lnTo>
                  <a:lnTo>
                    <a:pt x="74" y="468"/>
                  </a:lnTo>
                  <a:lnTo>
                    <a:pt x="88" y="578"/>
                  </a:lnTo>
                  <a:lnTo>
                    <a:pt x="69" y="657"/>
                  </a:lnTo>
                  <a:lnTo>
                    <a:pt x="56" y="879"/>
                  </a:lnTo>
                  <a:lnTo>
                    <a:pt x="62" y="970"/>
                  </a:lnTo>
                  <a:lnTo>
                    <a:pt x="56" y="970"/>
                  </a:lnTo>
                  <a:lnTo>
                    <a:pt x="62" y="1047"/>
                  </a:lnTo>
                  <a:lnTo>
                    <a:pt x="30" y="1192"/>
                  </a:lnTo>
                  <a:lnTo>
                    <a:pt x="38" y="1214"/>
                  </a:lnTo>
                  <a:lnTo>
                    <a:pt x="50" y="1214"/>
                  </a:lnTo>
                  <a:lnTo>
                    <a:pt x="56" y="1269"/>
                  </a:lnTo>
                  <a:lnTo>
                    <a:pt x="112" y="1281"/>
                  </a:lnTo>
                  <a:lnTo>
                    <a:pt x="74" y="1292"/>
                  </a:lnTo>
                  <a:lnTo>
                    <a:pt x="69" y="1346"/>
                  </a:lnTo>
                  <a:lnTo>
                    <a:pt x="50" y="1337"/>
                  </a:lnTo>
                  <a:lnTo>
                    <a:pt x="69" y="1302"/>
                  </a:lnTo>
                  <a:lnTo>
                    <a:pt x="43" y="1292"/>
                  </a:lnTo>
                  <a:lnTo>
                    <a:pt x="38" y="1246"/>
                  </a:lnTo>
                  <a:lnTo>
                    <a:pt x="30" y="1269"/>
                  </a:lnTo>
                  <a:lnTo>
                    <a:pt x="24" y="1225"/>
                  </a:lnTo>
                  <a:lnTo>
                    <a:pt x="24" y="1214"/>
                  </a:lnTo>
                  <a:lnTo>
                    <a:pt x="12" y="1192"/>
                  </a:lnTo>
                  <a:lnTo>
                    <a:pt x="24" y="1169"/>
                  </a:lnTo>
                  <a:lnTo>
                    <a:pt x="12" y="1102"/>
                  </a:lnTo>
                  <a:lnTo>
                    <a:pt x="38" y="1102"/>
                  </a:lnTo>
                  <a:lnTo>
                    <a:pt x="12" y="1070"/>
                  </a:lnTo>
                  <a:lnTo>
                    <a:pt x="19" y="1047"/>
                  </a:lnTo>
                  <a:lnTo>
                    <a:pt x="0" y="104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65" name="Freeform 189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2503736" y="4941888"/>
              <a:ext cx="182562" cy="1069975"/>
            </a:xfrm>
            <a:custGeom>
              <a:avLst/>
              <a:gdLst>
                <a:gd name="T0" fmla="*/ 0 w 125"/>
                <a:gd name="T1" fmla="*/ 2147483647 h 1346"/>
                <a:gd name="T2" fmla="*/ 2147483647 w 125"/>
                <a:gd name="T3" fmla="*/ 2147483647 h 1346"/>
                <a:gd name="T4" fmla="*/ 2147483647 w 125"/>
                <a:gd name="T5" fmla="*/ 2147483647 h 1346"/>
                <a:gd name="T6" fmla="*/ 2147483647 w 125"/>
                <a:gd name="T7" fmla="*/ 2147483647 h 1346"/>
                <a:gd name="T8" fmla="*/ 2147483647 w 125"/>
                <a:gd name="T9" fmla="*/ 2147483647 h 1346"/>
                <a:gd name="T10" fmla="*/ 2147483647 w 125"/>
                <a:gd name="T11" fmla="*/ 2147483647 h 1346"/>
                <a:gd name="T12" fmla="*/ 2147483647 w 125"/>
                <a:gd name="T13" fmla="*/ 2147483647 h 1346"/>
                <a:gd name="T14" fmla="*/ 2147483647 w 125"/>
                <a:gd name="T15" fmla="*/ 2147483647 h 1346"/>
                <a:gd name="T16" fmla="*/ 2147483647 w 125"/>
                <a:gd name="T17" fmla="*/ 2147483647 h 1346"/>
                <a:gd name="T18" fmla="*/ 2147483647 w 125"/>
                <a:gd name="T19" fmla="*/ 2147483647 h 1346"/>
                <a:gd name="T20" fmla="*/ 2147483647 w 125"/>
                <a:gd name="T21" fmla="*/ 2147483647 h 1346"/>
                <a:gd name="T22" fmla="*/ 2147483647 w 125"/>
                <a:gd name="T23" fmla="*/ 2147483647 h 1346"/>
                <a:gd name="T24" fmla="*/ 2147483647 w 125"/>
                <a:gd name="T25" fmla="*/ 0 h 1346"/>
                <a:gd name="T26" fmla="*/ 2147483647 w 125"/>
                <a:gd name="T27" fmla="*/ 2147483647 h 1346"/>
                <a:gd name="T28" fmla="*/ 2147483647 w 125"/>
                <a:gd name="T29" fmla="*/ 2147483647 h 1346"/>
                <a:gd name="T30" fmla="*/ 2147483647 w 125"/>
                <a:gd name="T31" fmla="*/ 2147483647 h 1346"/>
                <a:gd name="T32" fmla="*/ 2147483647 w 125"/>
                <a:gd name="T33" fmla="*/ 2147483647 h 1346"/>
                <a:gd name="T34" fmla="*/ 2147483647 w 125"/>
                <a:gd name="T35" fmla="*/ 2147483647 h 1346"/>
                <a:gd name="T36" fmla="*/ 2147483647 w 125"/>
                <a:gd name="T37" fmla="*/ 2147483647 h 1346"/>
                <a:gd name="T38" fmla="*/ 2147483647 w 125"/>
                <a:gd name="T39" fmla="*/ 2147483647 h 1346"/>
                <a:gd name="T40" fmla="*/ 2147483647 w 125"/>
                <a:gd name="T41" fmla="*/ 2147483647 h 1346"/>
                <a:gd name="T42" fmla="*/ 2147483647 w 125"/>
                <a:gd name="T43" fmla="*/ 2147483647 h 1346"/>
                <a:gd name="T44" fmla="*/ 2147483647 w 125"/>
                <a:gd name="T45" fmla="*/ 2147483647 h 1346"/>
                <a:gd name="T46" fmla="*/ 2147483647 w 125"/>
                <a:gd name="T47" fmla="*/ 2147483647 h 1346"/>
                <a:gd name="T48" fmla="*/ 2147483647 w 125"/>
                <a:gd name="T49" fmla="*/ 2147483647 h 1346"/>
                <a:gd name="T50" fmla="*/ 2147483647 w 125"/>
                <a:gd name="T51" fmla="*/ 2147483647 h 1346"/>
                <a:gd name="T52" fmla="*/ 2147483647 w 125"/>
                <a:gd name="T53" fmla="*/ 2147483647 h 1346"/>
                <a:gd name="T54" fmla="*/ 2147483647 w 125"/>
                <a:gd name="T55" fmla="*/ 2147483647 h 1346"/>
                <a:gd name="T56" fmla="*/ 2147483647 w 125"/>
                <a:gd name="T57" fmla="*/ 2147483647 h 1346"/>
                <a:gd name="T58" fmla="*/ 2147483647 w 125"/>
                <a:gd name="T59" fmla="*/ 2147483647 h 1346"/>
                <a:gd name="T60" fmla="*/ 2147483647 w 125"/>
                <a:gd name="T61" fmla="*/ 2147483647 h 1346"/>
                <a:gd name="T62" fmla="*/ 2147483647 w 125"/>
                <a:gd name="T63" fmla="*/ 2147483647 h 1346"/>
                <a:gd name="T64" fmla="*/ 2147483647 w 125"/>
                <a:gd name="T65" fmla="*/ 2147483647 h 1346"/>
                <a:gd name="T66" fmla="*/ 2147483647 w 125"/>
                <a:gd name="T67" fmla="*/ 2147483647 h 1346"/>
                <a:gd name="T68" fmla="*/ 2147483647 w 125"/>
                <a:gd name="T69" fmla="*/ 2147483647 h 1346"/>
                <a:gd name="T70" fmla="*/ 2147483647 w 125"/>
                <a:gd name="T71" fmla="*/ 2147483647 h 1346"/>
                <a:gd name="T72" fmla="*/ 2147483647 w 125"/>
                <a:gd name="T73" fmla="*/ 2147483647 h 1346"/>
                <a:gd name="T74" fmla="*/ 2147483647 w 125"/>
                <a:gd name="T75" fmla="*/ 2147483647 h 1346"/>
                <a:gd name="T76" fmla="*/ 2147483647 w 125"/>
                <a:gd name="T77" fmla="*/ 2147483647 h 1346"/>
                <a:gd name="T78" fmla="*/ 2147483647 w 125"/>
                <a:gd name="T79" fmla="*/ 2147483647 h 1346"/>
                <a:gd name="T80" fmla="*/ 2147483647 w 125"/>
                <a:gd name="T81" fmla="*/ 2147483647 h 1346"/>
                <a:gd name="T82" fmla="*/ 2147483647 w 125"/>
                <a:gd name="T83" fmla="*/ 2147483647 h 1346"/>
                <a:gd name="T84" fmla="*/ 2147483647 w 125"/>
                <a:gd name="T85" fmla="*/ 2147483647 h 1346"/>
                <a:gd name="T86" fmla="*/ 2147483647 w 125"/>
                <a:gd name="T87" fmla="*/ 2147483647 h 1346"/>
                <a:gd name="T88" fmla="*/ 2147483647 w 125"/>
                <a:gd name="T89" fmla="*/ 2147483647 h 1346"/>
                <a:gd name="T90" fmla="*/ 2147483647 w 125"/>
                <a:gd name="T91" fmla="*/ 2147483647 h 1346"/>
                <a:gd name="T92" fmla="*/ 2147483647 w 125"/>
                <a:gd name="T93" fmla="*/ 2147483647 h 1346"/>
                <a:gd name="T94" fmla="*/ 0 w 125"/>
                <a:gd name="T95" fmla="*/ 2147483647 h 134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5" h="1346">
                  <a:moveTo>
                    <a:pt x="0" y="1047"/>
                  </a:moveTo>
                  <a:lnTo>
                    <a:pt x="5" y="1014"/>
                  </a:lnTo>
                  <a:lnTo>
                    <a:pt x="24" y="1035"/>
                  </a:lnTo>
                  <a:lnTo>
                    <a:pt x="43" y="970"/>
                  </a:lnTo>
                  <a:lnTo>
                    <a:pt x="38" y="947"/>
                  </a:lnTo>
                  <a:lnTo>
                    <a:pt x="50" y="847"/>
                  </a:lnTo>
                  <a:lnTo>
                    <a:pt x="24" y="847"/>
                  </a:lnTo>
                  <a:lnTo>
                    <a:pt x="30" y="689"/>
                  </a:lnTo>
                  <a:lnTo>
                    <a:pt x="62" y="522"/>
                  </a:lnTo>
                  <a:lnTo>
                    <a:pt x="62" y="390"/>
                  </a:lnTo>
                  <a:lnTo>
                    <a:pt x="80" y="134"/>
                  </a:lnTo>
                  <a:lnTo>
                    <a:pt x="74" y="23"/>
                  </a:lnTo>
                  <a:lnTo>
                    <a:pt x="93" y="0"/>
                  </a:lnTo>
                  <a:lnTo>
                    <a:pt x="106" y="55"/>
                  </a:lnTo>
                  <a:lnTo>
                    <a:pt x="119" y="178"/>
                  </a:lnTo>
                  <a:lnTo>
                    <a:pt x="125" y="178"/>
                  </a:lnTo>
                  <a:lnTo>
                    <a:pt x="125" y="223"/>
                  </a:lnTo>
                  <a:lnTo>
                    <a:pt x="112" y="232"/>
                  </a:lnTo>
                  <a:lnTo>
                    <a:pt x="112" y="311"/>
                  </a:lnTo>
                  <a:lnTo>
                    <a:pt x="93" y="355"/>
                  </a:lnTo>
                  <a:lnTo>
                    <a:pt x="74" y="468"/>
                  </a:lnTo>
                  <a:lnTo>
                    <a:pt x="88" y="578"/>
                  </a:lnTo>
                  <a:lnTo>
                    <a:pt x="69" y="657"/>
                  </a:lnTo>
                  <a:lnTo>
                    <a:pt x="56" y="879"/>
                  </a:lnTo>
                  <a:lnTo>
                    <a:pt x="62" y="970"/>
                  </a:lnTo>
                  <a:lnTo>
                    <a:pt x="56" y="970"/>
                  </a:lnTo>
                  <a:lnTo>
                    <a:pt x="62" y="1047"/>
                  </a:lnTo>
                  <a:lnTo>
                    <a:pt x="30" y="1192"/>
                  </a:lnTo>
                  <a:lnTo>
                    <a:pt x="38" y="1214"/>
                  </a:lnTo>
                  <a:lnTo>
                    <a:pt x="50" y="1214"/>
                  </a:lnTo>
                  <a:lnTo>
                    <a:pt x="56" y="1269"/>
                  </a:lnTo>
                  <a:lnTo>
                    <a:pt x="112" y="1281"/>
                  </a:lnTo>
                  <a:lnTo>
                    <a:pt x="74" y="1292"/>
                  </a:lnTo>
                  <a:lnTo>
                    <a:pt x="69" y="1346"/>
                  </a:lnTo>
                  <a:lnTo>
                    <a:pt x="50" y="1337"/>
                  </a:lnTo>
                  <a:lnTo>
                    <a:pt x="69" y="1302"/>
                  </a:lnTo>
                  <a:lnTo>
                    <a:pt x="43" y="1292"/>
                  </a:lnTo>
                  <a:lnTo>
                    <a:pt x="38" y="1246"/>
                  </a:lnTo>
                  <a:lnTo>
                    <a:pt x="30" y="1269"/>
                  </a:lnTo>
                  <a:lnTo>
                    <a:pt x="24" y="1225"/>
                  </a:lnTo>
                  <a:lnTo>
                    <a:pt x="24" y="1214"/>
                  </a:lnTo>
                  <a:lnTo>
                    <a:pt x="12" y="1192"/>
                  </a:lnTo>
                  <a:lnTo>
                    <a:pt x="24" y="1169"/>
                  </a:lnTo>
                  <a:lnTo>
                    <a:pt x="12" y="1102"/>
                  </a:lnTo>
                  <a:lnTo>
                    <a:pt x="38" y="1102"/>
                  </a:lnTo>
                  <a:lnTo>
                    <a:pt x="12" y="1070"/>
                  </a:lnTo>
                  <a:lnTo>
                    <a:pt x="19" y="1047"/>
                  </a:lnTo>
                  <a:lnTo>
                    <a:pt x="0" y="104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66" name="Freeform 190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2503736" y="4941888"/>
              <a:ext cx="182562" cy="1069975"/>
            </a:xfrm>
            <a:custGeom>
              <a:avLst/>
              <a:gdLst>
                <a:gd name="T0" fmla="*/ 0 w 125"/>
                <a:gd name="T1" fmla="*/ 2147483647 h 1346"/>
                <a:gd name="T2" fmla="*/ 2147483647 w 125"/>
                <a:gd name="T3" fmla="*/ 2147483647 h 1346"/>
                <a:gd name="T4" fmla="*/ 2147483647 w 125"/>
                <a:gd name="T5" fmla="*/ 2147483647 h 1346"/>
                <a:gd name="T6" fmla="*/ 2147483647 w 125"/>
                <a:gd name="T7" fmla="*/ 2147483647 h 1346"/>
                <a:gd name="T8" fmla="*/ 2147483647 w 125"/>
                <a:gd name="T9" fmla="*/ 2147483647 h 1346"/>
                <a:gd name="T10" fmla="*/ 2147483647 w 125"/>
                <a:gd name="T11" fmla="*/ 2147483647 h 1346"/>
                <a:gd name="T12" fmla="*/ 2147483647 w 125"/>
                <a:gd name="T13" fmla="*/ 2147483647 h 1346"/>
                <a:gd name="T14" fmla="*/ 2147483647 w 125"/>
                <a:gd name="T15" fmla="*/ 2147483647 h 1346"/>
                <a:gd name="T16" fmla="*/ 2147483647 w 125"/>
                <a:gd name="T17" fmla="*/ 2147483647 h 1346"/>
                <a:gd name="T18" fmla="*/ 2147483647 w 125"/>
                <a:gd name="T19" fmla="*/ 2147483647 h 1346"/>
                <a:gd name="T20" fmla="*/ 2147483647 w 125"/>
                <a:gd name="T21" fmla="*/ 2147483647 h 1346"/>
                <a:gd name="T22" fmla="*/ 2147483647 w 125"/>
                <a:gd name="T23" fmla="*/ 2147483647 h 1346"/>
                <a:gd name="T24" fmla="*/ 2147483647 w 125"/>
                <a:gd name="T25" fmla="*/ 0 h 1346"/>
                <a:gd name="T26" fmla="*/ 2147483647 w 125"/>
                <a:gd name="T27" fmla="*/ 2147483647 h 1346"/>
                <a:gd name="T28" fmla="*/ 2147483647 w 125"/>
                <a:gd name="T29" fmla="*/ 2147483647 h 1346"/>
                <a:gd name="T30" fmla="*/ 2147483647 w 125"/>
                <a:gd name="T31" fmla="*/ 2147483647 h 1346"/>
                <a:gd name="T32" fmla="*/ 2147483647 w 125"/>
                <a:gd name="T33" fmla="*/ 2147483647 h 1346"/>
                <a:gd name="T34" fmla="*/ 2147483647 w 125"/>
                <a:gd name="T35" fmla="*/ 2147483647 h 1346"/>
                <a:gd name="T36" fmla="*/ 2147483647 w 125"/>
                <a:gd name="T37" fmla="*/ 2147483647 h 1346"/>
                <a:gd name="T38" fmla="*/ 2147483647 w 125"/>
                <a:gd name="T39" fmla="*/ 2147483647 h 1346"/>
                <a:gd name="T40" fmla="*/ 2147483647 w 125"/>
                <a:gd name="T41" fmla="*/ 2147483647 h 1346"/>
                <a:gd name="T42" fmla="*/ 2147483647 w 125"/>
                <a:gd name="T43" fmla="*/ 2147483647 h 1346"/>
                <a:gd name="T44" fmla="*/ 2147483647 w 125"/>
                <a:gd name="T45" fmla="*/ 2147483647 h 1346"/>
                <a:gd name="T46" fmla="*/ 2147483647 w 125"/>
                <a:gd name="T47" fmla="*/ 2147483647 h 1346"/>
                <a:gd name="T48" fmla="*/ 2147483647 w 125"/>
                <a:gd name="T49" fmla="*/ 2147483647 h 1346"/>
                <a:gd name="T50" fmla="*/ 2147483647 w 125"/>
                <a:gd name="T51" fmla="*/ 2147483647 h 1346"/>
                <a:gd name="T52" fmla="*/ 2147483647 w 125"/>
                <a:gd name="T53" fmla="*/ 2147483647 h 1346"/>
                <a:gd name="T54" fmla="*/ 2147483647 w 125"/>
                <a:gd name="T55" fmla="*/ 2147483647 h 1346"/>
                <a:gd name="T56" fmla="*/ 2147483647 w 125"/>
                <a:gd name="T57" fmla="*/ 2147483647 h 1346"/>
                <a:gd name="T58" fmla="*/ 2147483647 w 125"/>
                <a:gd name="T59" fmla="*/ 2147483647 h 1346"/>
                <a:gd name="T60" fmla="*/ 2147483647 w 125"/>
                <a:gd name="T61" fmla="*/ 2147483647 h 1346"/>
                <a:gd name="T62" fmla="*/ 2147483647 w 125"/>
                <a:gd name="T63" fmla="*/ 2147483647 h 1346"/>
                <a:gd name="T64" fmla="*/ 2147483647 w 125"/>
                <a:gd name="T65" fmla="*/ 2147483647 h 1346"/>
                <a:gd name="T66" fmla="*/ 2147483647 w 125"/>
                <a:gd name="T67" fmla="*/ 2147483647 h 1346"/>
                <a:gd name="T68" fmla="*/ 2147483647 w 125"/>
                <a:gd name="T69" fmla="*/ 2147483647 h 1346"/>
                <a:gd name="T70" fmla="*/ 2147483647 w 125"/>
                <a:gd name="T71" fmla="*/ 2147483647 h 1346"/>
                <a:gd name="T72" fmla="*/ 2147483647 w 125"/>
                <a:gd name="T73" fmla="*/ 2147483647 h 1346"/>
                <a:gd name="T74" fmla="*/ 2147483647 w 125"/>
                <a:gd name="T75" fmla="*/ 2147483647 h 1346"/>
                <a:gd name="T76" fmla="*/ 2147483647 w 125"/>
                <a:gd name="T77" fmla="*/ 2147483647 h 1346"/>
                <a:gd name="T78" fmla="*/ 2147483647 w 125"/>
                <a:gd name="T79" fmla="*/ 2147483647 h 1346"/>
                <a:gd name="T80" fmla="*/ 2147483647 w 125"/>
                <a:gd name="T81" fmla="*/ 2147483647 h 1346"/>
                <a:gd name="T82" fmla="*/ 2147483647 w 125"/>
                <a:gd name="T83" fmla="*/ 2147483647 h 1346"/>
                <a:gd name="T84" fmla="*/ 2147483647 w 125"/>
                <a:gd name="T85" fmla="*/ 2147483647 h 1346"/>
                <a:gd name="T86" fmla="*/ 2147483647 w 125"/>
                <a:gd name="T87" fmla="*/ 2147483647 h 1346"/>
                <a:gd name="T88" fmla="*/ 2147483647 w 125"/>
                <a:gd name="T89" fmla="*/ 2147483647 h 1346"/>
                <a:gd name="T90" fmla="*/ 2147483647 w 125"/>
                <a:gd name="T91" fmla="*/ 2147483647 h 1346"/>
                <a:gd name="T92" fmla="*/ 2147483647 w 125"/>
                <a:gd name="T93" fmla="*/ 2147483647 h 1346"/>
                <a:gd name="T94" fmla="*/ 0 w 125"/>
                <a:gd name="T95" fmla="*/ 2147483647 h 134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5" h="1346">
                  <a:moveTo>
                    <a:pt x="0" y="1047"/>
                  </a:moveTo>
                  <a:lnTo>
                    <a:pt x="5" y="1014"/>
                  </a:lnTo>
                  <a:lnTo>
                    <a:pt x="24" y="1035"/>
                  </a:lnTo>
                  <a:lnTo>
                    <a:pt x="43" y="970"/>
                  </a:lnTo>
                  <a:lnTo>
                    <a:pt x="38" y="947"/>
                  </a:lnTo>
                  <a:lnTo>
                    <a:pt x="50" y="847"/>
                  </a:lnTo>
                  <a:lnTo>
                    <a:pt x="24" y="847"/>
                  </a:lnTo>
                  <a:lnTo>
                    <a:pt x="30" y="689"/>
                  </a:lnTo>
                  <a:lnTo>
                    <a:pt x="62" y="522"/>
                  </a:lnTo>
                  <a:lnTo>
                    <a:pt x="62" y="390"/>
                  </a:lnTo>
                  <a:lnTo>
                    <a:pt x="80" y="134"/>
                  </a:lnTo>
                  <a:lnTo>
                    <a:pt x="74" y="23"/>
                  </a:lnTo>
                  <a:lnTo>
                    <a:pt x="93" y="0"/>
                  </a:lnTo>
                  <a:lnTo>
                    <a:pt x="106" y="55"/>
                  </a:lnTo>
                  <a:lnTo>
                    <a:pt x="119" y="178"/>
                  </a:lnTo>
                  <a:lnTo>
                    <a:pt x="125" y="178"/>
                  </a:lnTo>
                  <a:lnTo>
                    <a:pt x="125" y="223"/>
                  </a:lnTo>
                  <a:lnTo>
                    <a:pt x="112" y="232"/>
                  </a:lnTo>
                  <a:lnTo>
                    <a:pt x="112" y="311"/>
                  </a:lnTo>
                  <a:lnTo>
                    <a:pt x="93" y="355"/>
                  </a:lnTo>
                  <a:lnTo>
                    <a:pt x="74" y="468"/>
                  </a:lnTo>
                  <a:lnTo>
                    <a:pt x="88" y="578"/>
                  </a:lnTo>
                  <a:lnTo>
                    <a:pt x="69" y="657"/>
                  </a:lnTo>
                  <a:lnTo>
                    <a:pt x="56" y="879"/>
                  </a:lnTo>
                  <a:lnTo>
                    <a:pt x="62" y="970"/>
                  </a:lnTo>
                  <a:lnTo>
                    <a:pt x="56" y="970"/>
                  </a:lnTo>
                  <a:lnTo>
                    <a:pt x="62" y="1047"/>
                  </a:lnTo>
                  <a:lnTo>
                    <a:pt x="30" y="1192"/>
                  </a:lnTo>
                  <a:lnTo>
                    <a:pt x="38" y="1214"/>
                  </a:lnTo>
                  <a:lnTo>
                    <a:pt x="50" y="1214"/>
                  </a:lnTo>
                  <a:lnTo>
                    <a:pt x="56" y="1269"/>
                  </a:lnTo>
                  <a:lnTo>
                    <a:pt x="112" y="1281"/>
                  </a:lnTo>
                  <a:lnTo>
                    <a:pt x="74" y="1292"/>
                  </a:lnTo>
                  <a:lnTo>
                    <a:pt x="69" y="1346"/>
                  </a:lnTo>
                  <a:lnTo>
                    <a:pt x="50" y="1337"/>
                  </a:lnTo>
                  <a:lnTo>
                    <a:pt x="69" y="1302"/>
                  </a:lnTo>
                  <a:lnTo>
                    <a:pt x="43" y="1292"/>
                  </a:lnTo>
                  <a:lnTo>
                    <a:pt x="38" y="1246"/>
                  </a:lnTo>
                  <a:lnTo>
                    <a:pt x="30" y="1269"/>
                  </a:lnTo>
                  <a:lnTo>
                    <a:pt x="24" y="1225"/>
                  </a:lnTo>
                  <a:lnTo>
                    <a:pt x="24" y="1214"/>
                  </a:lnTo>
                  <a:lnTo>
                    <a:pt x="12" y="1192"/>
                  </a:lnTo>
                  <a:lnTo>
                    <a:pt x="24" y="1169"/>
                  </a:lnTo>
                  <a:lnTo>
                    <a:pt x="12" y="1102"/>
                  </a:lnTo>
                  <a:lnTo>
                    <a:pt x="38" y="1102"/>
                  </a:lnTo>
                  <a:lnTo>
                    <a:pt x="12" y="1070"/>
                  </a:lnTo>
                  <a:lnTo>
                    <a:pt x="19" y="1047"/>
                  </a:lnTo>
                  <a:lnTo>
                    <a:pt x="0" y="104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67" name="Freeform 191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2510086" y="5835650"/>
              <a:ext cx="30162" cy="44450"/>
            </a:xfrm>
            <a:custGeom>
              <a:avLst/>
              <a:gdLst>
                <a:gd name="T0" fmla="*/ 0 w 20"/>
                <a:gd name="T1" fmla="*/ 2147483647 h 56"/>
                <a:gd name="T2" fmla="*/ 2147483647 w 20"/>
                <a:gd name="T3" fmla="*/ 0 h 56"/>
                <a:gd name="T4" fmla="*/ 2147483647 w 20"/>
                <a:gd name="T5" fmla="*/ 2147483647 h 56"/>
                <a:gd name="T6" fmla="*/ 0 w 20"/>
                <a:gd name="T7" fmla="*/ 2147483647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56">
                  <a:moveTo>
                    <a:pt x="0" y="23"/>
                  </a:moveTo>
                  <a:lnTo>
                    <a:pt x="7" y="0"/>
                  </a:lnTo>
                  <a:lnTo>
                    <a:pt x="20" y="56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68" name="Freeform 192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2510086" y="5835650"/>
              <a:ext cx="30162" cy="44450"/>
            </a:xfrm>
            <a:custGeom>
              <a:avLst/>
              <a:gdLst>
                <a:gd name="T0" fmla="*/ 0 w 20"/>
                <a:gd name="T1" fmla="*/ 2147483647 h 56"/>
                <a:gd name="T2" fmla="*/ 2147483647 w 20"/>
                <a:gd name="T3" fmla="*/ 0 h 56"/>
                <a:gd name="T4" fmla="*/ 2147483647 w 20"/>
                <a:gd name="T5" fmla="*/ 2147483647 h 56"/>
                <a:gd name="T6" fmla="*/ 0 w 20"/>
                <a:gd name="T7" fmla="*/ 2147483647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56">
                  <a:moveTo>
                    <a:pt x="0" y="23"/>
                  </a:moveTo>
                  <a:lnTo>
                    <a:pt x="7" y="0"/>
                  </a:lnTo>
                  <a:lnTo>
                    <a:pt x="20" y="56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69" name="Freeform 193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2510086" y="5835650"/>
              <a:ext cx="30162" cy="44450"/>
            </a:xfrm>
            <a:custGeom>
              <a:avLst/>
              <a:gdLst>
                <a:gd name="T0" fmla="*/ 0 w 20"/>
                <a:gd name="T1" fmla="*/ 2147483647 h 56"/>
                <a:gd name="T2" fmla="*/ 2147483647 w 20"/>
                <a:gd name="T3" fmla="*/ 0 h 56"/>
                <a:gd name="T4" fmla="*/ 2147483647 w 20"/>
                <a:gd name="T5" fmla="*/ 2147483647 h 56"/>
                <a:gd name="T6" fmla="*/ 0 w 20"/>
                <a:gd name="T7" fmla="*/ 2147483647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56">
                  <a:moveTo>
                    <a:pt x="0" y="23"/>
                  </a:moveTo>
                  <a:lnTo>
                    <a:pt x="7" y="0"/>
                  </a:lnTo>
                  <a:lnTo>
                    <a:pt x="20" y="56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70" name="Freeform 194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2510086" y="5835650"/>
              <a:ext cx="30162" cy="44450"/>
            </a:xfrm>
            <a:custGeom>
              <a:avLst/>
              <a:gdLst>
                <a:gd name="T0" fmla="*/ 0 w 20"/>
                <a:gd name="T1" fmla="*/ 2147483647 h 56"/>
                <a:gd name="T2" fmla="*/ 2147483647 w 20"/>
                <a:gd name="T3" fmla="*/ 0 h 56"/>
                <a:gd name="T4" fmla="*/ 2147483647 w 20"/>
                <a:gd name="T5" fmla="*/ 2147483647 h 56"/>
                <a:gd name="T6" fmla="*/ 0 w 20"/>
                <a:gd name="T7" fmla="*/ 2147483647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56">
                  <a:moveTo>
                    <a:pt x="0" y="23"/>
                  </a:moveTo>
                  <a:lnTo>
                    <a:pt x="7" y="0"/>
                  </a:lnTo>
                  <a:lnTo>
                    <a:pt x="20" y="56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71" name="Freeform 195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2529136" y="5624513"/>
              <a:ext cx="25400" cy="42862"/>
            </a:xfrm>
            <a:custGeom>
              <a:avLst/>
              <a:gdLst>
                <a:gd name="T0" fmla="*/ 0 w 17"/>
                <a:gd name="T1" fmla="*/ 2147483647 h 54"/>
                <a:gd name="T2" fmla="*/ 2147483647 w 17"/>
                <a:gd name="T3" fmla="*/ 0 h 54"/>
                <a:gd name="T4" fmla="*/ 2147483647 w 17"/>
                <a:gd name="T5" fmla="*/ 2147483647 h 54"/>
                <a:gd name="T6" fmla="*/ 0 w 17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54">
                  <a:moveTo>
                    <a:pt x="0" y="54"/>
                  </a:moveTo>
                  <a:lnTo>
                    <a:pt x="17" y="0"/>
                  </a:lnTo>
                  <a:lnTo>
                    <a:pt x="17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72" name="Freeform 196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2529136" y="5624513"/>
              <a:ext cx="25400" cy="42862"/>
            </a:xfrm>
            <a:custGeom>
              <a:avLst/>
              <a:gdLst>
                <a:gd name="T0" fmla="*/ 0 w 17"/>
                <a:gd name="T1" fmla="*/ 2147483647 h 54"/>
                <a:gd name="T2" fmla="*/ 2147483647 w 17"/>
                <a:gd name="T3" fmla="*/ 0 h 54"/>
                <a:gd name="T4" fmla="*/ 2147483647 w 17"/>
                <a:gd name="T5" fmla="*/ 2147483647 h 54"/>
                <a:gd name="T6" fmla="*/ 0 w 17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54">
                  <a:moveTo>
                    <a:pt x="0" y="54"/>
                  </a:moveTo>
                  <a:lnTo>
                    <a:pt x="17" y="0"/>
                  </a:lnTo>
                  <a:lnTo>
                    <a:pt x="17" y="54"/>
                  </a:lnTo>
                  <a:lnTo>
                    <a:pt x="0" y="5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73" name="Freeform 197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2529136" y="5624513"/>
              <a:ext cx="25400" cy="42862"/>
            </a:xfrm>
            <a:custGeom>
              <a:avLst/>
              <a:gdLst>
                <a:gd name="T0" fmla="*/ 0 w 17"/>
                <a:gd name="T1" fmla="*/ 2147483647 h 54"/>
                <a:gd name="T2" fmla="*/ 2147483647 w 17"/>
                <a:gd name="T3" fmla="*/ 0 h 54"/>
                <a:gd name="T4" fmla="*/ 2147483647 w 17"/>
                <a:gd name="T5" fmla="*/ 2147483647 h 54"/>
                <a:gd name="T6" fmla="*/ 0 w 17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54">
                  <a:moveTo>
                    <a:pt x="0" y="54"/>
                  </a:moveTo>
                  <a:lnTo>
                    <a:pt x="17" y="0"/>
                  </a:lnTo>
                  <a:lnTo>
                    <a:pt x="17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74" name="Freeform 198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2529136" y="5624513"/>
              <a:ext cx="25400" cy="42862"/>
            </a:xfrm>
            <a:custGeom>
              <a:avLst/>
              <a:gdLst>
                <a:gd name="T0" fmla="*/ 0 w 17"/>
                <a:gd name="T1" fmla="*/ 2147483647 h 54"/>
                <a:gd name="T2" fmla="*/ 2147483647 w 17"/>
                <a:gd name="T3" fmla="*/ 0 h 54"/>
                <a:gd name="T4" fmla="*/ 2147483647 w 17"/>
                <a:gd name="T5" fmla="*/ 2147483647 h 54"/>
                <a:gd name="T6" fmla="*/ 0 w 17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54">
                  <a:moveTo>
                    <a:pt x="0" y="54"/>
                  </a:moveTo>
                  <a:lnTo>
                    <a:pt x="17" y="0"/>
                  </a:lnTo>
                  <a:lnTo>
                    <a:pt x="17" y="54"/>
                  </a:lnTo>
                  <a:lnTo>
                    <a:pt x="0" y="5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75" name="Freeform 199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2540248" y="5995988"/>
              <a:ext cx="26988" cy="25400"/>
            </a:xfrm>
            <a:custGeom>
              <a:avLst/>
              <a:gdLst>
                <a:gd name="T0" fmla="*/ 0 w 19"/>
                <a:gd name="T1" fmla="*/ 0 h 33"/>
                <a:gd name="T2" fmla="*/ 2147483647 w 19"/>
                <a:gd name="T3" fmla="*/ 2147483647 h 33"/>
                <a:gd name="T4" fmla="*/ 2147483647 w 19"/>
                <a:gd name="T5" fmla="*/ 2147483647 h 33"/>
                <a:gd name="T6" fmla="*/ 0 w 19"/>
                <a:gd name="T7" fmla="*/ 0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3">
                  <a:moveTo>
                    <a:pt x="0" y="0"/>
                  </a:moveTo>
                  <a:lnTo>
                    <a:pt x="19" y="10"/>
                  </a:lnTo>
                  <a:lnTo>
                    <a:pt x="19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76" name="Freeform 200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2540248" y="5995988"/>
              <a:ext cx="26988" cy="25400"/>
            </a:xfrm>
            <a:custGeom>
              <a:avLst/>
              <a:gdLst>
                <a:gd name="T0" fmla="*/ 0 w 19"/>
                <a:gd name="T1" fmla="*/ 0 h 33"/>
                <a:gd name="T2" fmla="*/ 2147483647 w 19"/>
                <a:gd name="T3" fmla="*/ 2147483647 h 33"/>
                <a:gd name="T4" fmla="*/ 2147483647 w 19"/>
                <a:gd name="T5" fmla="*/ 2147483647 h 33"/>
                <a:gd name="T6" fmla="*/ 0 w 19"/>
                <a:gd name="T7" fmla="*/ 0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3">
                  <a:moveTo>
                    <a:pt x="0" y="0"/>
                  </a:moveTo>
                  <a:lnTo>
                    <a:pt x="19" y="10"/>
                  </a:lnTo>
                  <a:lnTo>
                    <a:pt x="19" y="33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77" name="Freeform 201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2540248" y="5995988"/>
              <a:ext cx="26988" cy="25400"/>
            </a:xfrm>
            <a:custGeom>
              <a:avLst/>
              <a:gdLst>
                <a:gd name="T0" fmla="*/ 0 w 19"/>
                <a:gd name="T1" fmla="*/ 0 h 33"/>
                <a:gd name="T2" fmla="*/ 2147483647 w 19"/>
                <a:gd name="T3" fmla="*/ 2147483647 h 33"/>
                <a:gd name="T4" fmla="*/ 2147483647 w 19"/>
                <a:gd name="T5" fmla="*/ 2147483647 h 33"/>
                <a:gd name="T6" fmla="*/ 0 w 19"/>
                <a:gd name="T7" fmla="*/ 0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3">
                  <a:moveTo>
                    <a:pt x="0" y="0"/>
                  </a:moveTo>
                  <a:lnTo>
                    <a:pt x="19" y="10"/>
                  </a:lnTo>
                  <a:lnTo>
                    <a:pt x="19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78" name="Freeform 202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2540248" y="5995988"/>
              <a:ext cx="26988" cy="25400"/>
            </a:xfrm>
            <a:custGeom>
              <a:avLst/>
              <a:gdLst>
                <a:gd name="T0" fmla="*/ 0 w 19"/>
                <a:gd name="T1" fmla="*/ 0 h 33"/>
                <a:gd name="T2" fmla="*/ 2147483647 w 19"/>
                <a:gd name="T3" fmla="*/ 2147483647 h 33"/>
                <a:gd name="T4" fmla="*/ 2147483647 w 19"/>
                <a:gd name="T5" fmla="*/ 2147483647 h 33"/>
                <a:gd name="T6" fmla="*/ 0 w 19"/>
                <a:gd name="T7" fmla="*/ 0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3">
                  <a:moveTo>
                    <a:pt x="0" y="0"/>
                  </a:moveTo>
                  <a:lnTo>
                    <a:pt x="19" y="10"/>
                  </a:lnTo>
                  <a:lnTo>
                    <a:pt x="19" y="33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79" name="Freeform 203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2546598" y="5940425"/>
              <a:ext cx="47625" cy="55563"/>
            </a:xfrm>
            <a:custGeom>
              <a:avLst/>
              <a:gdLst>
                <a:gd name="T0" fmla="*/ 0 w 32"/>
                <a:gd name="T1" fmla="*/ 2147483647 h 69"/>
                <a:gd name="T2" fmla="*/ 2147483647 w 32"/>
                <a:gd name="T3" fmla="*/ 0 h 69"/>
                <a:gd name="T4" fmla="*/ 2147483647 w 32"/>
                <a:gd name="T5" fmla="*/ 2147483647 h 69"/>
                <a:gd name="T6" fmla="*/ 2147483647 w 32"/>
                <a:gd name="T7" fmla="*/ 2147483647 h 69"/>
                <a:gd name="T8" fmla="*/ 2147483647 w 32"/>
                <a:gd name="T9" fmla="*/ 2147483647 h 69"/>
                <a:gd name="T10" fmla="*/ 0 w 32"/>
                <a:gd name="T11" fmla="*/ 2147483647 h 6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69">
                  <a:moveTo>
                    <a:pt x="0" y="13"/>
                  </a:moveTo>
                  <a:lnTo>
                    <a:pt x="8" y="0"/>
                  </a:lnTo>
                  <a:lnTo>
                    <a:pt x="8" y="34"/>
                  </a:lnTo>
                  <a:lnTo>
                    <a:pt x="32" y="46"/>
                  </a:lnTo>
                  <a:lnTo>
                    <a:pt x="13" y="69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80" name="Freeform 204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2546598" y="5940425"/>
              <a:ext cx="47625" cy="55563"/>
            </a:xfrm>
            <a:custGeom>
              <a:avLst/>
              <a:gdLst>
                <a:gd name="T0" fmla="*/ 0 w 32"/>
                <a:gd name="T1" fmla="*/ 2147483647 h 69"/>
                <a:gd name="T2" fmla="*/ 2147483647 w 32"/>
                <a:gd name="T3" fmla="*/ 0 h 69"/>
                <a:gd name="T4" fmla="*/ 2147483647 w 32"/>
                <a:gd name="T5" fmla="*/ 2147483647 h 69"/>
                <a:gd name="T6" fmla="*/ 2147483647 w 32"/>
                <a:gd name="T7" fmla="*/ 2147483647 h 69"/>
                <a:gd name="T8" fmla="*/ 2147483647 w 32"/>
                <a:gd name="T9" fmla="*/ 2147483647 h 69"/>
                <a:gd name="T10" fmla="*/ 0 w 32"/>
                <a:gd name="T11" fmla="*/ 2147483647 h 6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69">
                  <a:moveTo>
                    <a:pt x="0" y="13"/>
                  </a:moveTo>
                  <a:lnTo>
                    <a:pt x="8" y="0"/>
                  </a:lnTo>
                  <a:lnTo>
                    <a:pt x="8" y="34"/>
                  </a:lnTo>
                  <a:lnTo>
                    <a:pt x="32" y="46"/>
                  </a:lnTo>
                  <a:lnTo>
                    <a:pt x="13" y="69"/>
                  </a:lnTo>
                  <a:lnTo>
                    <a:pt x="0" y="1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81" name="Freeform 205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2546598" y="5940425"/>
              <a:ext cx="47625" cy="55563"/>
            </a:xfrm>
            <a:custGeom>
              <a:avLst/>
              <a:gdLst>
                <a:gd name="T0" fmla="*/ 0 w 32"/>
                <a:gd name="T1" fmla="*/ 2147483647 h 69"/>
                <a:gd name="T2" fmla="*/ 2147483647 w 32"/>
                <a:gd name="T3" fmla="*/ 0 h 69"/>
                <a:gd name="T4" fmla="*/ 2147483647 w 32"/>
                <a:gd name="T5" fmla="*/ 2147483647 h 69"/>
                <a:gd name="T6" fmla="*/ 2147483647 w 32"/>
                <a:gd name="T7" fmla="*/ 2147483647 h 69"/>
                <a:gd name="T8" fmla="*/ 2147483647 w 32"/>
                <a:gd name="T9" fmla="*/ 2147483647 h 69"/>
                <a:gd name="T10" fmla="*/ 0 w 32"/>
                <a:gd name="T11" fmla="*/ 2147483647 h 6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69">
                  <a:moveTo>
                    <a:pt x="0" y="13"/>
                  </a:moveTo>
                  <a:lnTo>
                    <a:pt x="8" y="0"/>
                  </a:lnTo>
                  <a:lnTo>
                    <a:pt x="8" y="34"/>
                  </a:lnTo>
                  <a:lnTo>
                    <a:pt x="32" y="46"/>
                  </a:lnTo>
                  <a:lnTo>
                    <a:pt x="13" y="69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82" name="Freeform 206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2546598" y="5940425"/>
              <a:ext cx="47625" cy="55563"/>
            </a:xfrm>
            <a:custGeom>
              <a:avLst/>
              <a:gdLst>
                <a:gd name="T0" fmla="*/ 0 w 32"/>
                <a:gd name="T1" fmla="*/ 2147483647 h 69"/>
                <a:gd name="T2" fmla="*/ 2147483647 w 32"/>
                <a:gd name="T3" fmla="*/ 0 h 69"/>
                <a:gd name="T4" fmla="*/ 2147483647 w 32"/>
                <a:gd name="T5" fmla="*/ 2147483647 h 69"/>
                <a:gd name="T6" fmla="*/ 2147483647 w 32"/>
                <a:gd name="T7" fmla="*/ 2147483647 h 69"/>
                <a:gd name="T8" fmla="*/ 2147483647 w 32"/>
                <a:gd name="T9" fmla="*/ 2147483647 h 69"/>
                <a:gd name="T10" fmla="*/ 0 w 32"/>
                <a:gd name="T11" fmla="*/ 2147483647 h 6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69">
                  <a:moveTo>
                    <a:pt x="0" y="13"/>
                  </a:moveTo>
                  <a:lnTo>
                    <a:pt x="8" y="0"/>
                  </a:lnTo>
                  <a:lnTo>
                    <a:pt x="8" y="34"/>
                  </a:lnTo>
                  <a:lnTo>
                    <a:pt x="32" y="46"/>
                  </a:lnTo>
                  <a:lnTo>
                    <a:pt x="13" y="69"/>
                  </a:lnTo>
                  <a:lnTo>
                    <a:pt x="0" y="1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83" name="Freeform 207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2584698" y="6011863"/>
              <a:ext cx="28575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6" y="0"/>
                  </a:lnTo>
                  <a:lnTo>
                    <a:pt x="19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84" name="Freeform 208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2584698" y="6011863"/>
              <a:ext cx="28575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6" y="0"/>
                  </a:lnTo>
                  <a:lnTo>
                    <a:pt x="19" y="35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85" name="Freeform 209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2584698" y="6011863"/>
              <a:ext cx="28575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6" y="0"/>
                  </a:lnTo>
                  <a:lnTo>
                    <a:pt x="19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86" name="Freeform 210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2584698" y="6011863"/>
              <a:ext cx="28575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6" y="0"/>
                  </a:lnTo>
                  <a:lnTo>
                    <a:pt x="19" y="35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87" name="Freeform 211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2594223" y="5969000"/>
              <a:ext cx="63500" cy="77788"/>
            </a:xfrm>
            <a:custGeom>
              <a:avLst/>
              <a:gdLst>
                <a:gd name="T0" fmla="*/ 0 w 44"/>
                <a:gd name="T1" fmla="*/ 2147483647 h 98"/>
                <a:gd name="T2" fmla="*/ 2147483647 w 44"/>
                <a:gd name="T3" fmla="*/ 2147483647 h 98"/>
                <a:gd name="T4" fmla="*/ 2147483647 w 44"/>
                <a:gd name="T5" fmla="*/ 2147483647 h 98"/>
                <a:gd name="T6" fmla="*/ 2147483647 w 44"/>
                <a:gd name="T7" fmla="*/ 2147483647 h 98"/>
                <a:gd name="T8" fmla="*/ 2147483647 w 44"/>
                <a:gd name="T9" fmla="*/ 2147483647 h 98"/>
                <a:gd name="T10" fmla="*/ 2147483647 w 44"/>
                <a:gd name="T11" fmla="*/ 2147483647 h 98"/>
                <a:gd name="T12" fmla="*/ 2147483647 w 44"/>
                <a:gd name="T13" fmla="*/ 2147483647 h 98"/>
                <a:gd name="T14" fmla="*/ 2147483647 w 44"/>
                <a:gd name="T15" fmla="*/ 0 h 98"/>
                <a:gd name="T16" fmla="*/ 2147483647 w 44"/>
                <a:gd name="T17" fmla="*/ 2147483647 h 98"/>
                <a:gd name="T18" fmla="*/ 0 w 44"/>
                <a:gd name="T19" fmla="*/ 2147483647 h 9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4" h="98">
                  <a:moveTo>
                    <a:pt x="0" y="77"/>
                  </a:moveTo>
                  <a:lnTo>
                    <a:pt x="7" y="68"/>
                  </a:lnTo>
                  <a:lnTo>
                    <a:pt x="31" y="77"/>
                  </a:lnTo>
                  <a:lnTo>
                    <a:pt x="26" y="45"/>
                  </a:lnTo>
                  <a:lnTo>
                    <a:pt x="31" y="33"/>
                  </a:lnTo>
                  <a:lnTo>
                    <a:pt x="12" y="33"/>
                  </a:lnTo>
                  <a:lnTo>
                    <a:pt x="12" y="10"/>
                  </a:lnTo>
                  <a:lnTo>
                    <a:pt x="44" y="0"/>
                  </a:lnTo>
                  <a:lnTo>
                    <a:pt x="44" y="98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88" name="Freeform 212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2594223" y="5969000"/>
              <a:ext cx="63500" cy="77788"/>
            </a:xfrm>
            <a:custGeom>
              <a:avLst/>
              <a:gdLst>
                <a:gd name="T0" fmla="*/ 0 w 44"/>
                <a:gd name="T1" fmla="*/ 2147483647 h 98"/>
                <a:gd name="T2" fmla="*/ 2147483647 w 44"/>
                <a:gd name="T3" fmla="*/ 2147483647 h 98"/>
                <a:gd name="T4" fmla="*/ 2147483647 w 44"/>
                <a:gd name="T5" fmla="*/ 2147483647 h 98"/>
                <a:gd name="T6" fmla="*/ 2147483647 w 44"/>
                <a:gd name="T7" fmla="*/ 2147483647 h 98"/>
                <a:gd name="T8" fmla="*/ 2147483647 w 44"/>
                <a:gd name="T9" fmla="*/ 2147483647 h 98"/>
                <a:gd name="T10" fmla="*/ 2147483647 w 44"/>
                <a:gd name="T11" fmla="*/ 2147483647 h 98"/>
                <a:gd name="T12" fmla="*/ 2147483647 w 44"/>
                <a:gd name="T13" fmla="*/ 2147483647 h 98"/>
                <a:gd name="T14" fmla="*/ 2147483647 w 44"/>
                <a:gd name="T15" fmla="*/ 0 h 98"/>
                <a:gd name="T16" fmla="*/ 2147483647 w 44"/>
                <a:gd name="T17" fmla="*/ 2147483647 h 98"/>
                <a:gd name="T18" fmla="*/ 0 w 44"/>
                <a:gd name="T19" fmla="*/ 2147483647 h 9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4" h="98">
                  <a:moveTo>
                    <a:pt x="0" y="77"/>
                  </a:moveTo>
                  <a:lnTo>
                    <a:pt x="7" y="68"/>
                  </a:lnTo>
                  <a:lnTo>
                    <a:pt x="31" y="77"/>
                  </a:lnTo>
                  <a:lnTo>
                    <a:pt x="26" y="45"/>
                  </a:lnTo>
                  <a:lnTo>
                    <a:pt x="31" y="33"/>
                  </a:lnTo>
                  <a:lnTo>
                    <a:pt x="12" y="33"/>
                  </a:lnTo>
                  <a:lnTo>
                    <a:pt x="12" y="10"/>
                  </a:lnTo>
                  <a:lnTo>
                    <a:pt x="44" y="0"/>
                  </a:lnTo>
                  <a:lnTo>
                    <a:pt x="44" y="98"/>
                  </a:lnTo>
                  <a:lnTo>
                    <a:pt x="0" y="7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89" name="Freeform 213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2594223" y="5969000"/>
              <a:ext cx="63500" cy="77788"/>
            </a:xfrm>
            <a:custGeom>
              <a:avLst/>
              <a:gdLst>
                <a:gd name="T0" fmla="*/ 0 w 44"/>
                <a:gd name="T1" fmla="*/ 2147483647 h 98"/>
                <a:gd name="T2" fmla="*/ 2147483647 w 44"/>
                <a:gd name="T3" fmla="*/ 2147483647 h 98"/>
                <a:gd name="T4" fmla="*/ 2147483647 w 44"/>
                <a:gd name="T5" fmla="*/ 2147483647 h 98"/>
                <a:gd name="T6" fmla="*/ 2147483647 w 44"/>
                <a:gd name="T7" fmla="*/ 2147483647 h 98"/>
                <a:gd name="T8" fmla="*/ 2147483647 w 44"/>
                <a:gd name="T9" fmla="*/ 2147483647 h 98"/>
                <a:gd name="T10" fmla="*/ 2147483647 w 44"/>
                <a:gd name="T11" fmla="*/ 2147483647 h 98"/>
                <a:gd name="T12" fmla="*/ 2147483647 w 44"/>
                <a:gd name="T13" fmla="*/ 2147483647 h 98"/>
                <a:gd name="T14" fmla="*/ 2147483647 w 44"/>
                <a:gd name="T15" fmla="*/ 0 h 98"/>
                <a:gd name="T16" fmla="*/ 2147483647 w 44"/>
                <a:gd name="T17" fmla="*/ 2147483647 h 98"/>
                <a:gd name="T18" fmla="*/ 0 w 44"/>
                <a:gd name="T19" fmla="*/ 2147483647 h 9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4" h="98">
                  <a:moveTo>
                    <a:pt x="0" y="77"/>
                  </a:moveTo>
                  <a:lnTo>
                    <a:pt x="7" y="68"/>
                  </a:lnTo>
                  <a:lnTo>
                    <a:pt x="31" y="77"/>
                  </a:lnTo>
                  <a:lnTo>
                    <a:pt x="26" y="45"/>
                  </a:lnTo>
                  <a:lnTo>
                    <a:pt x="31" y="33"/>
                  </a:lnTo>
                  <a:lnTo>
                    <a:pt x="12" y="33"/>
                  </a:lnTo>
                  <a:lnTo>
                    <a:pt x="12" y="10"/>
                  </a:lnTo>
                  <a:lnTo>
                    <a:pt x="44" y="0"/>
                  </a:lnTo>
                  <a:lnTo>
                    <a:pt x="44" y="98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90" name="Freeform 214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2594223" y="5969000"/>
              <a:ext cx="63500" cy="77788"/>
            </a:xfrm>
            <a:custGeom>
              <a:avLst/>
              <a:gdLst>
                <a:gd name="T0" fmla="*/ 0 w 44"/>
                <a:gd name="T1" fmla="*/ 2147483647 h 98"/>
                <a:gd name="T2" fmla="*/ 2147483647 w 44"/>
                <a:gd name="T3" fmla="*/ 2147483647 h 98"/>
                <a:gd name="T4" fmla="*/ 2147483647 w 44"/>
                <a:gd name="T5" fmla="*/ 2147483647 h 98"/>
                <a:gd name="T6" fmla="*/ 2147483647 w 44"/>
                <a:gd name="T7" fmla="*/ 2147483647 h 98"/>
                <a:gd name="T8" fmla="*/ 2147483647 w 44"/>
                <a:gd name="T9" fmla="*/ 2147483647 h 98"/>
                <a:gd name="T10" fmla="*/ 2147483647 w 44"/>
                <a:gd name="T11" fmla="*/ 2147483647 h 98"/>
                <a:gd name="T12" fmla="*/ 2147483647 w 44"/>
                <a:gd name="T13" fmla="*/ 2147483647 h 98"/>
                <a:gd name="T14" fmla="*/ 2147483647 w 44"/>
                <a:gd name="T15" fmla="*/ 0 h 98"/>
                <a:gd name="T16" fmla="*/ 2147483647 w 44"/>
                <a:gd name="T17" fmla="*/ 2147483647 h 98"/>
                <a:gd name="T18" fmla="*/ 0 w 44"/>
                <a:gd name="T19" fmla="*/ 2147483647 h 9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4" h="98">
                  <a:moveTo>
                    <a:pt x="0" y="77"/>
                  </a:moveTo>
                  <a:lnTo>
                    <a:pt x="7" y="68"/>
                  </a:lnTo>
                  <a:lnTo>
                    <a:pt x="31" y="77"/>
                  </a:lnTo>
                  <a:lnTo>
                    <a:pt x="26" y="45"/>
                  </a:lnTo>
                  <a:lnTo>
                    <a:pt x="31" y="33"/>
                  </a:lnTo>
                  <a:lnTo>
                    <a:pt x="12" y="33"/>
                  </a:lnTo>
                  <a:lnTo>
                    <a:pt x="12" y="10"/>
                  </a:lnTo>
                  <a:lnTo>
                    <a:pt x="44" y="0"/>
                  </a:lnTo>
                  <a:lnTo>
                    <a:pt x="44" y="98"/>
                  </a:lnTo>
                  <a:lnTo>
                    <a:pt x="0" y="7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91" name="Freeform 215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2632323" y="6056313"/>
              <a:ext cx="44450" cy="26987"/>
            </a:xfrm>
            <a:custGeom>
              <a:avLst/>
              <a:gdLst>
                <a:gd name="T0" fmla="*/ 0 w 31"/>
                <a:gd name="T1" fmla="*/ 0 h 32"/>
                <a:gd name="T2" fmla="*/ 2147483647 w 31"/>
                <a:gd name="T3" fmla="*/ 2147483647 h 32"/>
                <a:gd name="T4" fmla="*/ 2147483647 w 31"/>
                <a:gd name="T5" fmla="*/ 2147483647 h 32"/>
                <a:gd name="T6" fmla="*/ 0 w 31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2">
                  <a:moveTo>
                    <a:pt x="0" y="0"/>
                  </a:moveTo>
                  <a:lnTo>
                    <a:pt x="25" y="11"/>
                  </a:lnTo>
                  <a:lnTo>
                    <a:pt x="31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92" name="Freeform 216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2632323" y="6056313"/>
              <a:ext cx="44450" cy="26987"/>
            </a:xfrm>
            <a:custGeom>
              <a:avLst/>
              <a:gdLst>
                <a:gd name="T0" fmla="*/ 0 w 31"/>
                <a:gd name="T1" fmla="*/ 0 h 32"/>
                <a:gd name="T2" fmla="*/ 2147483647 w 31"/>
                <a:gd name="T3" fmla="*/ 2147483647 h 32"/>
                <a:gd name="T4" fmla="*/ 2147483647 w 31"/>
                <a:gd name="T5" fmla="*/ 2147483647 h 32"/>
                <a:gd name="T6" fmla="*/ 0 w 31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2">
                  <a:moveTo>
                    <a:pt x="0" y="0"/>
                  </a:moveTo>
                  <a:lnTo>
                    <a:pt x="25" y="11"/>
                  </a:lnTo>
                  <a:lnTo>
                    <a:pt x="31" y="32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93" name="Freeform 217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2632323" y="6056313"/>
              <a:ext cx="44450" cy="26987"/>
            </a:xfrm>
            <a:custGeom>
              <a:avLst/>
              <a:gdLst>
                <a:gd name="T0" fmla="*/ 0 w 31"/>
                <a:gd name="T1" fmla="*/ 0 h 32"/>
                <a:gd name="T2" fmla="*/ 2147483647 w 31"/>
                <a:gd name="T3" fmla="*/ 2147483647 h 32"/>
                <a:gd name="T4" fmla="*/ 2147483647 w 31"/>
                <a:gd name="T5" fmla="*/ 2147483647 h 32"/>
                <a:gd name="T6" fmla="*/ 0 w 31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2">
                  <a:moveTo>
                    <a:pt x="0" y="0"/>
                  </a:moveTo>
                  <a:lnTo>
                    <a:pt x="25" y="11"/>
                  </a:lnTo>
                  <a:lnTo>
                    <a:pt x="31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94" name="Freeform 218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2632323" y="6056313"/>
              <a:ext cx="44450" cy="26987"/>
            </a:xfrm>
            <a:custGeom>
              <a:avLst/>
              <a:gdLst>
                <a:gd name="T0" fmla="*/ 0 w 31"/>
                <a:gd name="T1" fmla="*/ 0 h 32"/>
                <a:gd name="T2" fmla="*/ 2147483647 w 31"/>
                <a:gd name="T3" fmla="*/ 2147483647 h 32"/>
                <a:gd name="T4" fmla="*/ 2147483647 w 31"/>
                <a:gd name="T5" fmla="*/ 2147483647 h 32"/>
                <a:gd name="T6" fmla="*/ 0 w 31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2">
                  <a:moveTo>
                    <a:pt x="0" y="0"/>
                  </a:moveTo>
                  <a:lnTo>
                    <a:pt x="25" y="11"/>
                  </a:lnTo>
                  <a:lnTo>
                    <a:pt x="31" y="32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95" name="Freeform 219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2676773" y="6048375"/>
              <a:ext cx="22225" cy="25400"/>
            </a:xfrm>
            <a:custGeom>
              <a:avLst/>
              <a:gdLst>
                <a:gd name="T0" fmla="*/ 0 w 15"/>
                <a:gd name="T1" fmla="*/ 2147483647 h 33"/>
                <a:gd name="T2" fmla="*/ 0 w 15"/>
                <a:gd name="T3" fmla="*/ 0 h 33"/>
                <a:gd name="T4" fmla="*/ 2147483647 w 15"/>
                <a:gd name="T5" fmla="*/ 2147483647 h 33"/>
                <a:gd name="T6" fmla="*/ 0 w 15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3">
                  <a:moveTo>
                    <a:pt x="0" y="33"/>
                  </a:moveTo>
                  <a:lnTo>
                    <a:pt x="0" y="0"/>
                  </a:lnTo>
                  <a:lnTo>
                    <a:pt x="15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96" name="Freeform 220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2676773" y="6048375"/>
              <a:ext cx="22225" cy="25400"/>
            </a:xfrm>
            <a:custGeom>
              <a:avLst/>
              <a:gdLst>
                <a:gd name="T0" fmla="*/ 0 w 15"/>
                <a:gd name="T1" fmla="*/ 2147483647 h 33"/>
                <a:gd name="T2" fmla="*/ 0 w 15"/>
                <a:gd name="T3" fmla="*/ 0 h 33"/>
                <a:gd name="T4" fmla="*/ 2147483647 w 15"/>
                <a:gd name="T5" fmla="*/ 2147483647 h 33"/>
                <a:gd name="T6" fmla="*/ 0 w 15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3">
                  <a:moveTo>
                    <a:pt x="0" y="33"/>
                  </a:moveTo>
                  <a:lnTo>
                    <a:pt x="0" y="0"/>
                  </a:lnTo>
                  <a:lnTo>
                    <a:pt x="15" y="33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97" name="Freeform 221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2676773" y="6048375"/>
              <a:ext cx="22225" cy="25400"/>
            </a:xfrm>
            <a:custGeom>
              <a:avLst/>
              <a:gdLst>
                <a:gd name="T0" fmla="*/ 0 w 15"/>
                <a:gd name="T1" fmla="*/ 2147483647 h 33"/>
                <a:gd name="T2" fmla="*/ 0 w 15"/>
                <a:gd name="T3" fmla="*/ 0 h 33"/>
                <a:gd name="T4" fmla="*/ 2147483647 w 15"/>
                <a:gd name="T5" fmla="*/ 2147483647 h 33"/>
                <a:gd name="T6" fmla="*/ 0 w 15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3">
                  <a:moveTo>
                    <a:pt x="0" y="33"/>
                  </a:moveTo>
                  <a:lnTo>
                    <a:pt x="0" y="0"/>
                  </a:lnTo>
                  <a:lnTo>
                    <a:pt x="15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98" name="Freeform 222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2676773" y="6048375"/>
              <a:ext cx="22225" cy="25400"/>
            </a:xfrm>
            <a:custGeom>
              <a:avLst/>
              <a:gdLst>
                <a:gd name="T0" fmla="*/ 0 w 15"/>
                <a:gd name="T1" fmla="*/ 2147483647 h 33"/>
                <a:gd name="T2" fmla="*/ 0 w 15"/>
                <a:gd name="T3" fmla="*/ 0 h 33"/>
                <a:gd name="T4" fmla="*/ 2147483647 w 15"/>
                <a:gd name="T5" fmla="*/ 2147483647 h 33"/>
                <a:gd name="T6" fmla="*/ 0 w 15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3">
                  <a:moveTo>
                    <a:pt x="0" y="33"/>
                  </a:moveTo>
                  <a:lnTo>
                    <a:pt x="0" y="0"/>
                  </a:lnTo>
                  <a:lnTo>
                    <a:pt x="15" y="33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199" name="Freeform 223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6086723" y="2998788"/>
              <a:ext cx="1395413" cy="981075"/>
            </a:xfrm>
            <a:custGeom>
              <a:avLst/>
              <a:gdLst>
                <a:gd name="T0" fmla="*/ 2147483647 w 952"/>
                <a:gd name="T1" fmla="*/ 2147483647 h 1237"/>
                <a:gd name="T2" fmla="*/ 2147483647 w 952"/>
                <a:gd name="T3" fmla="*/ 2147483647 h 1237"/>
                <a:gd name="T4" fmla="*/ 2147483647 w 952"/>
                <a:gd name="T5" fmla="*/ 2147483647 h 1237"/>
                <a:gd name="T6" fmla="*/ 2147483647 w 952"/>
                <a:gd name="T7" fmla="*/ 2147483647 h 1237"/>
                <a:gd name="T8" fmla="*/ 2147483647 w 952"/>
                <a:gd name="T9" fmla="*/ 2147483647 h 1237"/>
                <a:gd name="T10" fmla="*/ 2147483647 w 952"/>
                <a:gd name="T11" fmla="*/ 2147483647 h 1237"/>
                <a:gd name="T12" fmla="*/ 2147483647 w 952"/>
                <a:gd name="T13" fmla="*/ 2147483647 h 1237"/>
                <a:gd name="T14" fmla="*/ 2147483647 w 952"/>
                <a:gd name="T15" fmla="*/ 2147483647 h 1237"/>
                <a:gd name="T16" fmla="*/ 2147483647 w 952"/>
                <a:gd name="T17" fmla="*/ 2147483647 h 1237"/>
                <a:gd name="T18" fmla="*/ 2147483647 w 952"/>
                <a:gd name="T19" fmla="*/ 2147483647 h 1237"/>
                <a:gd name="T20" fmla="*/ 2147483647 w 952"/>
                <a:gd name="T21" fmla="*/ 2147483647 h 1237"/>
                <a:gd name="T22" fmla="*/ 2147483647 w 952"/>
                <a:gd name="T23" fmla="*/ 2147483647 h 1237"/>
                <a:gd name="T24" fmla="*/ 2147483647 w 952"/>
                <a:gd name="T25" fmla="*/ 2147483647 h 1237"/>
                <a:gd name="T26" fmla="*/ 2147483647 w 952"/>
                <a:gd name="T27" fmla="*/ 2147483647 h 1237"/>
                <a:gd name="T28" fmla="*/ 2147483647 w 952"/>
                <a:gd name="T29" fmla="*/ 2147483647 h 1237"/>
                <a:gd name="T30" fmla="*/ 2147483647 w 952"/>
                <a:gd name="T31" fmla="*/ 2147483647 h 1237"/>
                <a:gd name="T32" fmla="*/ 2147483647 w 952"/>
                <a:gd name="T33" fmla="*/ 2147483647 h 1237"/>
                <a:gd name="T34" fmla="*/ 2147483647 w 952"/>
                <a:gd name="T35" fmla="*/ 2147483647 h 1237"/>
                <a:gd name="T36" fmla="*/ 2147483647 w 952"/>
                <a:gd name="T37" fmla="*/ 2147483647 h 1237"/>
                <a:gd name="T38" fmla="*/ 2147483647 w 952"/>
                <a:gd name="T39" fmla="*/ 2147483647 h 1237"/>
                <a:gd name="T40" fmla="*/ 2147483647 w 952"/>
                <a:gd name="T41" fmla="*/ 2147483647 h 1237"/>
                <a:gd name="T42" fmla="*/ 2147483647 w 952"/>
                <a:gd name="T43" fmla="*/ 2147483647 h 1237"/>
                <a:gd name="T44" fmla="*/ 2147483647 w 952"/>
                <a:gd name="T45" fmla="*/ 2147483647 h 1237"/>
                <a:gd name="T46" fmla="*/ 2147483647 w 952"/>
                <a:gd name="T47" fmla="*/ 2147483647 h 1237"/>
                <a:gd name="T48" fmla="*/ 2147483647 w 952"/>
                <a:gd name="T49" fmla="*/ 2147483647 h 1237"/>
                <a:gd name="T50" fmla="*/ 2147483647 w 952"/>
                <a:gd name="T51" fmla="*/ 2147483647 h 1237"/>
                <a:gd name="T52" fmla="*/ 2147483647 w 952"/>
                <a:gd name="T53" fmla="*/ 2147483647 h 1237"/>
                <a:gd name="T54" fmla="*/ 2147483647 w 952"/>
                <a:gd name="T55" fmla="*/ 2147483647 h 1237"/>
                <a:gd name="T56" fmla="*/ 2147483647 w 952"/>
                <a:gd name="T57" fmla="*/ 2147483647 h 1237"/>
                <a:gd name="T58" fmla="*/ 2147483647 w 952"/>
                <a:gd name="T59" fmla="*/ 2147483647 h 1237"/>
                <a:gd name="T60" fmla="*/ 2147483647 w 952"/>
                <a:gd name="T61" fmla="*/ 2147483647 h 1237"/>
                <a:gd name="T62" fmla="*/ 2147483647 w 952"/>
                <a:gd name="T63" fmla="*/ 2147483647 h 1237"/>
                <a:gd name="T64" fmla="*/ 2147483647 w 952"/>
                <a:gd name="T65" fmla="*/ 2147483647 h 1237"/>
                <a:gd name="T66" fmla="*/ 2147483647 w 952"/>
                <a:gd name="T67" fmla="*/ 2147483647 h 1237"/>
                <a:gd name="T68" fmla="*/ 2147483647 w 952"/>
                <a:gd name="T69" fmla="*/ 2147483647 h 1237"/>
                <a:gd name="T70" fmla="*/ 2147483647 w 952"/>
                <a:gd name="T71" fmla="*/ 2147483647 h 1237"/>
                <a:gd name="T72" fmla="*/ 2147483647 w 952"/>
                <a:gd name="T73" fmla="*/ 2147483647 h 1237"/>
                <a:gd name="T74" fmla="*/ 2147483647 w 952"/>
                <a:gd name="T75" fmla="*/ 2147483647 h 1237"/>
                <a:gd name="T76" fmla="*/ 2147483647 w 952"/>
                <a:gd name="T77" fmla="*/ 2147483647 h 1237"/>
                <a:gd name="T78" fmla="*/ 2147483647 w 952"/>
                <a:gd name="T79" fmla="*/ 2147483647 h 1237"/>
                <a:gd name="T80" fmla="*/ 2147483647 w 952"/>
                <a:gd name="T81" fmla="*/ 2147483647 h 1237"/>
                <a:gd name="T82" fmla="*/ 2147483647 w 952"/>
                <a:gd name="T83" fmla="*/ 2147483647 h 1237"/>
                <a:gd name="T84" fmla="*/ 2147483647 w 952"/>
                <a:gd name="T85" fmla="*/ 2147483647 h 1237"/>
                <a:gd name="T86" fmla="*/ 2147483647 w 952"/>
                <a:gd name="T87" fmla="*/ 2147483647 h 1237"/>
                <a:gd name="T88" fmla="*/ 2147483647 w 952"/>
                <a:gd name="T89" fmla="*/ 2147483647 h 1237"/>
                <a:gd name="T90" fmla="*/ 2147483647 w 952"/>
                <a:gd name="T91" fmla="*/ 2147483647 h 1237"/>
                <a:gd name="T92" fmla="*/ 2147483647 w 952"/>
                <a:gd name="T93" fmla="*/ 2147483647 h 1237"/>
                <a:gd name="T94" fmla="*/ 2147483647 w 952"/>
                <a:gd name="T95" fmla="*/ 2147483647 h 1237"/>
                <a:gd name="T96" fmla="*/ 2147483647 w 952"/>
                <a:gd name="T97" fmla="*/ 2147483647 h 1237"/>
                <a:gd name="T98" fmla="*/ 2147483647 w 952"/>
                <a:gd name="T99" fmla="*/ 2147483647 h 1237"/>
                <a:gd name="T100" fmla="*/ 2147483647 w 952"/>
                <a:gd name="T101" fmla="*/ 2147483647 h 123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952" h="1237">
                  <a:moveTo>
                    <a:pt x="0" y="592"/>
                  </a:moveTo>
                  <a:lnTo>
                    <a:pt x="7" y="547"/>
                  </a:lnTo>
                  <a:lnTo>
                    <a:pt x="44" y="534"/>
                  </a:lnTo>
                  <a:lnTo>
                    <a:pt x="100" y="469"/>
                  </a:lnTo>
                  <a:lnTo>
                    <a:pt x="107" y="425"/>
                  </a:lnTo>
                  <a:lnTo>
                    <a:pt x="100" y="355"/>
                  </a:lnTo>
                  <a:lnTo>
                    <a:pt x="138" y="346"/>
                  </a:lnTo>
                  <a:lnTo>
                    <a:pt x="144" y="267"/>
                  </a:lnTo>
                  <a:lnTo>
                    <a:pt x="188" y="267"/>
                  </a:lnTo>
                  <a:lnTo>
                    <a:pt x="188" y="223"/>
                  </a:lnTo>
                  <a:lnTo>
                    <a:pt x="219" y="188"/>
                  </a:lnTo>
                  <a:lnTo>
                    <a:pt x="238" y="232"/>
                  </a:lnTo>
                  <a:lnTo>
                    <a:pt x="257" y="256"/>
                  </a:lnTo>
                  <a:lnTo>
                    <a:pt x="269" y="346"/>
                  </a:lnTo>
                  <a:lnTo>
                    <a:pt x="338" y="378"/>
                  </a:lnTo>
                  <a:lnTo>
                    <a:pt x="364" y="446"/>
                  </a:lnTo>
                  <a:lnTo>
                    <a:pt x="419" y="434"/>
                  </a:lnTo>
                  <a:lnTo>
                    <a:pt x="488" y="490"/>
                  </a:lnTo>
                  <a:lnTo>
                    <a:pt x="569" y="446"/>
                  </a:lnTo>
                  <a:lnTo>
                    <a:pt x="594" y="401"/>
                  </a:lnTo>
                  <a:lnTo>
                    <a:pt x="594" y="355"/>
                  </a:lnTo>
                  <a:lnTo>
                    <a:pt x="619" y="355"/>
                  </a:lnTo>
                  <a:lnTo>
                    <a:pt x="670" y="290"/>
                  </a:lnTo>
                  <a:lnTo>
                    <a:pt x="714" y="290"/>
                  </a:lnTo>
                  <a:lnTo>
                    <a:pt x="696" y="232"/>
                  </a:lnTo>
                  <a:lnTo>
                    <a:pt x="658" y="246"/>
                  </a:lnTo>
                  <a:lnTo>
                    <a:pt x="651" y="188"/>
                  </a:lnTo>
                  <a:lnTo>
                    <a:pt x="664" y="158"/>
                  </a:lnTo>
                  <a:lnTo>
                    <a:pt x="688" y="167"/>
                  </a:lnTo>
                  <a:lnTo>
                    <a:pt x="714" y="144"/>
                  </a:lnTo>
                  <a:lnTo>
                    <a:pt x="733" y="67"/>
                  </a:lnTo>
                  <a:lnTo>
                    <a:pt x="720" y="44"/>
                  </a:lnTo>
                  <a:lnTo>
                    <a:pt x="783" y="0"/>
                  </a:lnTo>
                  <a:lnTo>
                    <a:pt x="807" y="35"/>
                  </a:lnTo>
                  <a:lnTo>
                    <a:pt x="839" y="167"/>
                  </a:lnTo>
                  <a:lnTo>
                    <a:pt x="889" y="202"/>
                  </a:lnTo>
                  <a:lnTo>
                    <a:pt x="895" y="246"/>
                  </a:lnTo>
                  <a:lnTo>
                    <a:pt x="952" y="211"/>
                  </a:lnTo>
                  <a:lnTo>
                    <a:pt x="927" y="346"/>
                  </a:lnTo>
                  <a:lnTo>
                    <a:pt x="895" y="369"/>
                  </a:lnTo>
                  <a:lnTo>
                    <a:pt x="895" y="425"/>
                  </a:lnTo>
                  <a:lnTo>
                    <a:pt x="889" y="446"/>
                  </a:lnTo>
                  <a:lnTo>
                    <a:pt x="883" y="434"/>
                  </a:lnTo>
                  <a:lnTo>
                    <a:pt x="852" y="478"/>
                  </a:lnTo>
                  <a:lnTo>
                    <a:pt x="852" y="490"/>
                  </a:lnTo>
                  <a:lnTo>
                    <a:pt x="833" y="490"/>
                  </a:lnTo>
                  <a:lnTo>
                    <a:pt x="788" y="547"/>
                  </a:lnTo>
                  <a:lnTo>
                    <a:pt x="746" y="601"/>
                  </a:lnTo>
                  <a:lnTo>
                    <a:pt x="757" y="534"/>
                  </a:lnTo>
                  <a:lnTo>
                    <a:pt x="752" y="513"/>
                  </a:lnTo>
                  <a:lnTo>
                    <a:pt x="688" y="578"/>
                  </a:lnTo>
                  <a:lnTo>
                    <a:pt x="682" y="601"/>
                  </a:lnTo>
                  <a:lnTo>
                    <a:pt x="707" y="645"/>
                  </a:lnTo>
                  <a:lnTo>
                    <a:pt x="733" y="636"/>
                  </a:lnTo>
                  <a:lnTo>
                    <a:pt x="764" y="645"/>
                  </a:lnTo>
                  <a:lnTo>
                    <a:pt x="727" y="680"/>
                  </a:lnTo>
                  <a:lnTo>
                    <a:pt x="714" y="736"/>
                  </a:lnTo>
                  <a:lnTo>
                    <a:pt x="752" y="847"/>
                  </a:lnTo>
                  <a:lnTo>
                    <a:pt x="727" y="836"/>
                  </a:lnTo>
                  <a:lnTo>
                    <a:pt x="752" y="880"/>
                  </a:lnTo>
                  <a:lnTo>
                    <a:pt x="727" y="903"/>
                  </a:lnTo>
                  <a:lnTo>
                    <a:pt x="752" y="912"/>
                  </a:lnTo>
                  <a:lnTo>
                    <a:pt x="701" y="1091"/>
                  </a:lnTo>
                  <a:lnTo>
                    <a:pt x="664" y="1149"/>
                  </a:lnTo>
                  <a:lnTo>
                    <a:pt x="632" y="1170"/>
                  </a:lnTo>
                  <a:lnTo>
                    <a:pt x="619" y="1158"/>
                  </a:lnTo>
                  <a:lnTo>
                    <a:pt x="613" y="1179"/>
                  </a:lnTo>
                  <a:lnTo>
                    <a:pt x="569" y="1202"/>
                  </a:lnTo>
                  <a:lnTo>
                    <a:pt x="569" y="1237"/>
                  </a:lnTo>
                  <a:lnTo>
                    <a:pt x="558" y="1193"/>
                  </a:lnTo>
                  <a:lnTo>
                    <a:pt x="532" y="1193"/>
                  </a:lnTo>
                  <a:lnTo>
                    <a:pt x="488" y="1149"/>
                  </a:lnTo>
                  <a:lnTo>
                    <a:pt x="444" y="1170"/>
                  </a:lnTo>
                  <a:lnTo>
                    <a:pt x="438" y="1170"/>
                  </a:lnTo>
                  <a:lnTo>
                    <a:pt x="438" y="1202"/>
                  </a:lnTo>
                  <a:lnTo>
                    <a:pt x="433" y="1193"/>
                  </a:lnTo>
                  <a:lnTo>
                    <a:pt x="401" y="1170"/>
                  </a:lnTo>
                  <a:lnTo>
                    <a:pt x="388" y="1114"/>
                  </a:lnTo>
                  <a:lnTo>
                    <a:pt x="376" y="1126"/>
                  </a:lnTo>
                  <a:lnTo>
                    <a:pt x="388" y="1026"/>
                  </a:lnTo>
                  <a:lnTo>
                    <a:pt x="388" y="991"/>
                  </a:lnTo>
                  <a:lnTo>
                    <a:pt x="369" y="970"/>
                  </a:lnTo>
                  <a:lnTo>
                    <a:pt x="357" y="958"/>
                  </a:lnTo>
                  <a:lnTo>
                    <a:pt x="351" y="924"/>
                  </a:lnTo>
                  <a:lnTo>
                    <a:pt x="282" y="981"/>
                  </a:lnTo>
                  <a:lnTo>
                    <a:pt x="250" y="970"/>
                  </a:lnTo>
                  <a:lnTo>
                    <a:pt x="238" y="1003"/>
                  </a:lnTo>
                  <a:lnTo>
                    <a:pt x="238" y="981"/>
                  </a:lnTo>
                  <a:lnTo>
                    <a:pt x="225" y="981"/>
                  </a:lnTo>
                  <a:lnTo>
                    <a:pt x="188" y="981"/>
                  </a:lnTo>
                  <a:lnTo>
                    <a:pt x="163" y="935"/>
                  </a:lnTo>
                  <a:lnTo>
                    <a:pt x="118" y="903"/>
                  </a:lnTo>
                  <a:lnTo>
                    <a:pt x="82" y="880"/>
                  </a:lnTo>
                  <a:lnTo>
                    <a:pt x="75" y="824"/>
                  </a:lnTo>
                  <a:lnTo>
                    <a:pt x="94" y="812"/>
                  </a:lnTo>
                  <a:lnTo>
                    <a:pt x="82" y="768"/>
                  </a:lnTo>
                  <a:lnTo>
                    <a:pt x="107" y="715"/>
                  </a:lnTo>
                  <a:lnTo>
                    <a:pt x="88" y="691"/>
                  </a:lnTo>
                  <a:lnTo>
                    <a:pt x="63" y="715"/>
                  </a:lnTo>
                  <a:lnTo>
                    <a:pt x="12" y="657"/>
                  </a:lnTo>
                  <a:lnTo>
                    <a:pt x="19" y="645"/>
                  </a:lnTo>
                  <a:lnTo>
                    <a:pt x="19" y="601"/>
                  </a:lnTo>
                  <a:lnTo>
                    <a:pt x="0" y="59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00" name="Group 224"/>
            <p:cNvGrpSpPr>
              <a:grpSpLocks/>
            </p:cNvGrpSpPr>
            <p:nvPr>
              <p:custDataLst>
                <p:tags r:id="rId194"/>
              </p:custDataLst>
            </p:nvPr>
          </p:nvGrpSpPr>
          <p:grpSpPr bwMode="auto">
            <a:xfrm>
              <a:off x="6086723" y="2998788"/>
              <a:ext cx="1395413" cy="981075"/>
              <a:chOff x="4089" y="1707"/>
              <a:chExt cx="952" cy="618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07" name="Freeform 225"/>
              <p:cNvSpPr>
                <a:spLocks/>
              </p:cNvSpPr>
              <p:nvPr/>
            </p:nvSpPr>
            <p:spPr bwMode="auto">
              <a:xfrm>
                <a:off x="4089" y="1707"/>
                <a:ext cx="952" cy="618"/>
              </a:xfrm>
              <a:custGeom>
                <a:avLst/>
                <a:gdLst>
                  <a:gd name="T0" fmla="*/ 7 w 952"/>
                  <a:gd name="T1" fmla="*/ 0 h 1237"/>
                  <a:gd name="T2" fmla="*/ 100 w 952"/>
                  <a:gd name="T3" fmla="*/ 0 h 1237"/>
                  <a:gd name="T4" fmla="*/ 100 w 952"/>
                  <a:gd name="T5" fmla="*/ 0 h 1237"/>
                  <a:gd name="T6" fmla="*/ 144 w 952"/>
                  <a:gd name="T7" fmla="*/ 0 h 1237"/>
                  <a:gd name="T8" fmla="*/ 188 w 952"/>
                  <a:gd name="T9" fmla="*/ 0 h 1237"/>
                  <a:gd name="T10" fmla="*/ 238 w 952"/>
                  <a:gd name="T11" fmla="*/ 0 h 1237"/>
                  <a:gd name="T12" fmla="*/ 269 w 952"/>
                  <a:gd name="T13" fmla="*/ 0 h 1237"/>
                  <a:gd name="T14" fmla="*/ 364 w 952"/>
                  <a:gd name="T15" fmla="*/ 0 h 1237"/>
                  <a:gd name="T16" fmla="*/ 488 w 952"/>
                  <a:gd name="T17" fmla="*/ 0 h 1237"/>
                  <a:gd name="T18" fmla="*/ 594 w 952"/>
                  <a:gd name="T19" fmla="*/ 0 h 1237"/>
                  <a:gd name="T20" fmla="*/ 619 w 952"/>
                  <a:gd name="T21" fmla="*/ 0 h 1237"/>
                  <a:gd name="T22" fmla="*/ 714 w 952"/>
                  <a:gd name="T23" fmla="*/ 0 h 1237"/>
                  <a:gd name="T24" fmla="*/ 658 w 952"/>
                  <a:gd name="T25" fmla="*/ 0 h 1237"/>
                  <a:gd name="T26" fmla="*/ 664 w 952"/>
                  <a:gd name="T27" fmla="*/ 0 h 1237"/>
                  <a:gd name="T28" fmla="*/ 714 w 952"/>
                  <a:gd name="T29" fmla="*/ 0 h 1237"/>
                  <a:gd name="T30" fmla="*/ 720 w 952"/>
                  <a:gd name="T31" fmla="*/ 0 h 1237"/>
                  <a:gd name="T32" fmla="*/ 807 w 952"/>
                  <a:gd name="T33" fmla="*/ 0 h 1237"/>
                  <a:gd name="T34" fmla="*/ 889 w 952"/>
                  <a:gd name="T35" fmla="*/ 0 h 1237"/>
                  <a:gd name="T36" fmla="*/ 952 w 952"/>
                  <a:gd name="T37" fmla="*/ 0 h 1237"/>
                  <a:gd name="T38" fmla="*/ 895 w 952"/>
                  <a:gd name="T39" fmla="*/ 0 h 1237"/>
                  <a:gd name="T40" fmla="*/ 889 w 952"/>
                  <a:gd name="T41" fmla="*/ 0 h 1237"/>
                  <a:gd name="T42" fmla="*/ 852 w 952"/>
                  <a:gd name="T43" fmla="*/ 0 h 1237"/>
                  <a:gd name="T44" fmla="*/ 833 w 952"/>
                  <a:gd name="T45" fmla="*/ 0 h 1237"/>
                  <a:gd name="T46" fmla="*/ 746 w 952"/>
                  <a:gd name="T47" fmla="*/ 0 h 1237"/>
                  <a:gd name="T48" fmla="*/ 752 w 952"/>
                  <a:gd name="T49" fmla="*/ 0 h 1237"/>
                  <a:gd name="T50" fmla="*/ 682 w 952"/>
                  <a:gd name="T51" fmla="*/ 0 h 1237"/>
                  <a:gd name="T52" fmla="*/ 733 w 952"/>
                  <a:gd name="T53" fmla="*/ 0 h 1237"/>
                  <a:gd name="T54" fmla="*/ 727 w 952"/>
                  <a:gd name="T55" fmla="*/ 0 h 1237"/>
                  <a:gd name="T56" fmla="*/ 752 w 952"/>
                  <a:gd name="T57" fmla="*/ 0 h 1237"/>
                  <a:gd name="T58" fmla="*/ 752 w 952"/>
                  <a:gd name="T59" fmla="*/ 0 h 1237"/>
                  <a:gd name="T60" fmla="*/ 752 w 952"/>
                  <a:gd name="T61" fmla="*/ 0 h 1237"/>
                  <a:gd name="T62" fmla="*/ 664 w 952"/>
                  <a:gd name="T63" fmla="*/ 0 h 1237"/>
                  <a:gd name="T64" fmla="*/ 619 w 952"/>
                  <a:gd name="T65" fmla="*/ 0 h 1237"/>
                  <a:gd name="T66" fmla="*/ 569 w 952"/>
                  <a:gd name="T67" fmla="*/ 0 h 1237"/>
                  <a:gd name="T68" fmla="*/ 558 w 952"/>
                  <a:gd name="T69" fmla="*/ 0 h 1237"/>
                  <a:gd name="T70" fmla="*/ 488 w 952"/>
                  <a:gd name="T71" fmla="*/ 0 h 1237"/>
                  <a:gd name="T72" fmla="*/ 438 w 952"/>
                  <a:gd name="T73" fmla="*/ 0 h 1237"/>
                  <a:gd name="T74" fmla="*/ 433 w 952"/>
                  <a:gd name="T75" fmla="*/ 0 h 1237"/>
                  <a:gd name="T76" fmla="*/ 388 w 952"/>
                  <a:gd name="T77" fmla="*/ 0 h 1237"/>
                  <a:gd name="T78" fmla="*/ 388 w 952"/>
                  <a:gd name="T79" fmla="*/ 0 h 1237"/>
                  <a:gd name="T80" fmla="*/ 369 w 952"/>
                  <a:gd name="T81" fmla="*/ 0 h 1237"/>
                  <a:gd name="T82" fmla="*/ 351 w 952"/>
                  <a:gd name="T83" fmla="*/ 0 h 1237"/>
                  <a:gd name="T84" fmla="*/ 250 w 952"/>
                  <a:gd name="T85" fmla="*/ 0 h 1237"/>
                  <a:gd name="T86" fmla="*/ 238 w 952"/>
                  <a:gd name="T87" fmla="*/ 0 h 1237"/>
                  <a:gd name="T88" fmla="*/ 188 w 952"/>
                  <a:gd name="T89" fmla="*/ 0 h 1237"/>
                  <a:gd name="T90" fmla="*/ 118 w 952"/>
                  <a:gd name="T91" fmla="*/ 0 h 1237"/>
                  <a:gd name="T92" fmla="*/ 75 w 952"/>
                  <a:gd name="T93" fmla="*/ 0 h 1237"/>
                  <a:gd name="T94" fmla="*/ 82 w 952"/>
                  <a:gd name="T95" fmla="*/ 0 h 1237"/>
                  <a:gd name="T96" fmla="*/ 88 w 952"/>
                  <a:gd name="T97" fmla="*/ 0 h 1237"/>
                  <a:gd name="T98" fmla="*/ 12 w 952"/>
                  <a:gd name="T99" fmla="*/ 0 h 1237"/>
                  <a:gd name="T100" fmla="*/ 19 w 952"/>
                  <a:gd name="T101" fmla="*/ 0 h 12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952" h="1237">
                    <a:moveTo>
                      <a:pt x="0" y="592"/>
                    </a:moveTo>
                    <a:lnTo>
                      <a:pt x="7" y="547"/>
                    </a:lnTo>
                    <a:lnTo>
                      <a:pt x="44" y="534"/>
                    </a:lnTo>
                    <a:lnTo>
                      <a:pt x="100" y="469"/>
                    </a:lnTo>
                    <a:lnTo>
                      <a:pt x="107" y="425"/>
                    </a:lnTo>
                    <a:lnTo>
                      <a:pt x="100" y="355"/>
                    </a:lnTo>
                    <a:lnTo>
                      <a:pt x="138" y="346"/>
                    </a:lnTo>
                    <a:lnTo>
                      <a:pt x="144" y="267"/>
                    </a:lnTo>
                    <a:lnTo>
                      <a:pt x="188" y="267"/>
                    </a:lnTo>
                    <a:lnTo>
                      <a:pt x="188" y="223"/>
                    </a:lnTo>
                    <a:lnTo>
                      <a:pt x="219" y="188"/>
                    </a:lnTo>
                    <a:lnTo>
                      <a:pt x="238" y="232"/>
                    </a:lnTo>
                    <a:lnTo>
                      <a:pt x="257" y="256"/>
                    </a:lnTo>
                    <a:lnTo>
                      <a:pt x="269" y="346"/>
                    </a:lnTo>
                    <a:lnTo>
                      <a:pt x="338" y="378"/>
                    </a:lnTo>
                    <a:lnTo>
                      <a:pt x="364" y="446"/>
                    </a:lnTo>
                    <a:lnTo>
                      <a:pt x="419" y="434"/>
                    </a:lnTo>
                    <a:lnTo>
                      <a:pt x="488" y="490"/>
                    </a:lnTo>
                    <a:lnTo>
                      <a:pt x="569" y="446"/>
                    </a:lnTo>
                    <a:lnTo>
                      <a:pt x="594" y="401"/>
                    </a:lnTo>
                    <a:lnTo>
                      <a:pt x="594" y="355"/>
                    </a:lnTo>
                    <a:lnTo>
                      <a:pt x="619" y="355"/>
                    </a:lnTo>
                    <a:lnTo>
                      <a:pt x="670" y="290"/>
                    </a:lnTo>
                    <a:lnTo>
                      <a:pt x="714" y="290"/>
                    </a:lnTo>
                    <a:lnTo>
                      <a:pt x="696" y="232"/>
                    </a:lnTo>
                    <a:lnTo>
                      <a:pt x="658" y="246"/>
                    </a:lnTo>
                    <a:lnTo>
                      <a:pt x="651" y="188"/>
                    </a:lnTo>
                    <a:lnTo>
                      <a:pt x="664" y="158"/>
                    </a:lnTo>
                    <a:lnTo>
                      <a:pt x="688" y="167"/>
                    </a:lnTo>
                    <a:lnTo>
                      <a:pt x="714" y="144"/>
                    </a:lnTo>
                    <a:lnTo>
                      <a:pt x="733" y="67"/>
                    </a:lnTo>
                    <a:lnTo>
                      <a:pt x="720" y="44"/>
                    </a:lnTo>
                    <a:lnTo>
                      <a:pt x="783" y="0"/>
                    </a:lnTo>
                    <a:lnTo>
                      <a:pt x="807" y="35"/>
                    </a:lnTo>
                    <a:lnTo>
                      <a:pt x="839" y="167"/>
                    </a:lnTo>
                    <a:lnTo>
                      <a:pt x="889" y="202"/>
                    </a:lnTo>
                    <a:lnTo>
                      <a:pt x="895" y="246"/>
                    </a:lnTo>
                    <a:lnTo>
                      <a:pt x="952" y="211"/>
                    </a:lnTo>
                    <a:lnTo>
                      <a:pt x="927" y="346"/>
                    </a:lnTo>
                    <a:lnTo>
                      <a:pt x="895" y="369"/>
                    </a:lnTo>
                    <a:lnTo>
                      <a:pt x="895" y="425"/>
                    </a:lnTo>
                    <a:lnTo>
                      <a:pt x="889" y="446"/>
                    </a:lnTo>
                    <a:lnTo>
                      <a:pt x="883" y="434"/>
                    </a:lnTo>
                    <a:lnTo>
                      <a:pt x="852" y="478"/>
                    </a:lnTo>
                    <a:lnTo>
                      <a:pt x="852" y="490"/>
                    </a:lnTo>
                    <a:lnTo>
                      <a:pt x="833" y="490"/>
                    </a:lnTo>
                    <a:lnTo>
                      <a:pt x="788" y="547"/>
                    </a:lnTo>
                    <a:lnTo>
                      <a:pt x="746" y="601"/>
                    </a:lnTo>
                    <a:lnTo>
                      <a:pt x="757" y="534"/>
                    </a:lnTo>
                    <a:lnTo>
                      <a:pt x="752" y="513"/>
                    </a:lnTo>
                    <a:lnTo>
                      <a:pt x="688" y="578"/>
                    </a:lnTo>
                    <a:lnTo>
                      <a:pt x="682" y="601"/>
                    </a:lnTo>
                    <a:lnTo>
                      <a:pt x="707" y="645"/>
                    </a:lnTo>
                    <a:lnTo>
                      <a:pt x="733" y="636"/>
                    </a:lnTo>
                    <a:lnTo>
                      <a:pt x="764" y="645"/>
                    </a:lnTo>
                    <a:lnTo>
                      <a:pt x="727" y="680"/>
                    </a:lnTo>
                    <a:lnTo>
                      <a:pt x="714" y="736"/>
                    </a:lnTo>
                    <a:lnTo>
                      <a:pt x="752" y="847"/>
                    </a:lnTo>
                    <a:lnTo>
                      <a:pt x="727" y="836"/>
                    </a:lnTo>
                    <a:lnTo>
                      <a:pt x="752" y="880"/>
                    </a:lnTo>
                    <a:lnTo>
                      <a:pt x="727" y="903"/>
                    </a:lnTo>
                    <a:lnTo>
                      <a:pt x="752" y="912"/>
                    </a:lnTo>
                    <a:lnTo>
                      <a:pt x="701" y="1091"/>
                    </a:lnTo>
                    <a:lnTo>
                      <a:pt x="664" y="1149"/>
                    </a:lnTo>
                    <a:lnTo>
                      <a:pt x="632" y="1170"/>
                    </a:lnTo>
                    <a:lnTo>
                      <a:pt x="619" y="1158"/>
                    </a:lnTo>
                    <a:lnTo>
                      <a:pt x="613" y="1179"/>
                    </a:lnTo>
                    <a:lnTo>
                      <a:pt x="569" y="1202"/>
                    </a:lnTo>
                    <a:lnTo>
                      <a:pt x="569" y="1237"/>
                    </a:lnTo>
                    <a:lnTo>
                      <a:pt x="558" y="1193"/>
                    </a:lnTo>
                    <a:lnTo>
                      <a:pt x="532" y="1193"/>
                    </a:lnTo>
                    <a:lnTo>
                      <a:pt x="488" y="1149"/>
                    </a:lnTo>
                    <a:lnTo>
                      <a:pt x="444" y="1170"/>
                    </a:lnTo>
                    <a:lnTo>
                      <a:pt x="438" y="1170"/>
                    </a:lnTo>
                    <a:lnTo>
                      <a:pt x="438" y="1202"/>
                    </a:lnTo>
                    <a:lnTo>
                      <a:pt x="433" y="1193"/>
                    </a:lnTo>
                    <a:lnTo>
                      <a:pt x="401" y="1170"/>
                    </a:lnTo>
                    <a:lnTo>
                      <a:pt x="388" y="1114"/>
                    </a:lnTo>
                    <a:lnTo>
                      <a:pt x="376" y="1126"/>
                    </a:lnTo>
                    <a:lnTo>
                      <a:pt x="388" y="1026"/>
                    </a:lnTo>
                    <a:lnTo>
                      <a:pt x="388" y="991"/>
                    </a:lnTo>
                    <a:lnTo>
                      <a:pt x="369" y="970"/>
                    </a:lnTo>
                    <a:lnTo>
                      <a:pt x="357" y="958"/>
                    </a:lnTo>
                    <a:lnTo>
                      <a:pt x="351" y="924"/>
                    </a:lnTo>
                    <a:lnTo>
                      <a:pt x="282" y="981"/>
                    </a:lnTo>
                    <a:lnTo>
                      <a:pt x="250" y="970"/>
                    </a:lnTo>
                    <a:lnTo>
                      <a:pt x="238" y="1003"/>
                    </a:lnTo>
                    <a:lnTo>
                      <a:pt x="238" y="981"/>
                    </a:lnTo>
                    <a:lnTo>
                      <a:pt x="225" y="981"/>
                    </a:lnTo>
                    <a:lnTo>
                      <a:pt x="188" y="981"/>
                    </a:lnTo>
                    <a:lnTo>
                      <a:pt x="163" y="935"/>
                    </a:lnTo>
                    <a:lnTo>
                      <a:pt x="118" y="903"/>
                    </a:lnTo>
                    <a:lnTo>
                      <a:pt x="82" y="880"/>
                    </a:lnTo>
                    <a:lnTo>
                      <a:pt x="75" y="824"/>
                    </a:lnTo>
                    <a:lnTo>
                      <a:pt x="94" y="812"/>
                    </a:lnTo>
                    <a:lnTo>
                      <a:pt x="82" y="768"/>
                    </a:lnTo>
                    <a:lnTo>
                      <a:pt x="107" y="715"/>
                    </a:lnTo>
                    <a:lnTo>
                      <a:pt x="88" y="691"/>
                    </a:lnTo>
                    <a:lnTo>
                      <a:pt x="63" y="715"/>
                    </a:lnTo>
                    <a:lnTo>
                      <a:pt x="12" y="657"/>
                    </a:lnTo>
                    <a:lnTo>
                      <a:pt x="19" y="645"/>
                    </a:lnTo>
                    <a:lnTo>
                      <a:pt x="19" y="601"/>
                    </a:lnTo>
                    <a:lnTo>
                      <a:pt x="0" y="592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08" name="Freeform 226"/>
              <p:cNvSpPr>
                <a:spLocks/>
              </p:cNvSpPr>
              <p:nvPr/>
            </p:nvSpPr>
            <p:spPr bwMode="auto">
              <a:xfrm>
                <a:off x="4089" y="1707"/>
                <a:ext cx="952" cy="618"/>
              </a:xfrm>
              <a:custGeom>
                <a:avLst/>
                <a:gdLst>
                  <a:gd name="T0" fmla="*/ 7 w 952"/>
                  <a:gd name="T1" fmla="*/ 0 h 1237"/>
                  <a:gd name="T2" fmla="*/ 100 w 952"/>
                  <a:gd name="T3" fmla="*/ 0 h 1237"/>
                  <a:gd name="T4" fmla="*/ 100 w 952"/>
                  <a:gd name="T5" fmla="*/ 0 h 1237"/>
                  <a:gd name="T6" fmla="*/ 144 w 952"/>
                  <a:gd name="T7" fmla="*/ 0 h 1237"/>
                  <a:gd name="T8" fmla="*/ 188 w 952"/>
                  <a:gd name="T9" fmla="*/ 0 h 1237"/>
                  <a:gd name="T10" fmla="*/ 238 w 952"/>
                  <a:gd name="T11" fmla="*/ 0 h 1237"/>
                  <a:gd name="T12" fmla="*/ 269 w 952"/>
                  <a:gd name="T13" fmla="*/ 0 h 1237"/>
                  <a:gd name="T14" fmla="*/ 364 w 952"/>
                  <a:gd name="T15" fmla="*/ 0 h 1237"/>
                  <a:gd name="T16" fmla="*/ 488 w 952"/>
                  <a:gd name="T17" fmla="*/ 0 h 1237"/>
                  <a:gd name="T18" fmla="*/ 594 w 952"/>
                  <a:gd name="T19" fmla="*/ 0 h 1237"/>
                  <a:gd name="T20" fmla="*/ 619 w 952"/>
                  <a:gd name="T21" fmla="*/ 0 h 1237"/>
                  <a:gd name="T22" fmla="*/ 714 w 952"/>
                  <a:gd name="T23" fmla="*/ 0 h 1237"/>
                  <a:gd name="T24" fmla="*/ 658 w 952"/>
                  <a:gd name="T25" fmla="*/ 0 h 1237"/>
                  <a:gd name="T26" fmla="*/ 664 w 952"/>
                  <a:gd name="T27" fmla="*/ 0 h 1237"/>
                  <a:gd name="T28" fmla="*/ 714 w 952"/>
                  <a:gd name="T29" fmla="*/ 0 h 1237"/>
                  <a:gd name="T30" fmla="*/ 720 w 952"/>
                  <a:gd name="T31" fmla="*/ 0 h 1237"/>
                  <a:gd name="T32" fmla="*/ 807 w 952"/>
                  <a:gd name="T33" fmla="*/ 0 h 1237"/>
                  <a:gd name="T34" fmla="*/ 889 w 952"/>
                  <a:gd name="T35" fmla="*/ 0 h 1237"/>
                  <a:gd name="T36" fmla="*/ 952 w 952"/>
                  <a:gd name="T37" fmla="*/ 0 h 1237"/>
                  <a:gd name="T38" fmla="*/ 895 w 952"/>
                  <a:gd name="T39" fmla="*/ 0 h 1237"/>
                  <a:gd name="T40" fmla="*/ 889 w 952"/>
                  <a:gd name="T41" fmla="*/ 0 h 1237"/>
                  <a:gd name="T42" fmla="*/ 852 w 952"/>
                  <a:gd name="T43" fmla="*/ 0 h 1237"/>
                  <a:gd name="T44" fmla="*/ 833 w 952"/>
                  <a:gd name="T45" fmla="*/ 0 h 1237"/>
                  <a:gd name="T46" fmla="*/ 746 w 952"/>
                  <a:gd name="T47" fmla="*/ 0 h 1237"/>
                  <a:gd name="T48" fmla="*/ 752 w 952"/>
                  <a:gd name="T49" fmla="*/ 0 h 1237"/>
                  <a:gd name="T50" fmla="*/ 682 w 952"/>
                  <a:gd name="T51" fmla="*/ 0 h 1237"/>
                  <a:gd name="T52" fmla="*/ 733 w 952"/>
                  <a:gd name="T53" fmla="*/ 0 h 1237"/>
                  <a:gd name="T54" fmla="*/ 727 w 952"/>
                  <a:gd name="T55" fmla="*/ 0 h 1237"/>
                  <a:gd name="T56" fmla="*/ 752 w 952"/>
                  <a:gd name="T57" fmla="*/ 0 h 1237"/>
                  <a:gd name="T58" fmla="*/ 752 w 952"/>
                  <a:gd name="T59" fmla="*/ 0 h 1237"/>
                  <a:gd name="T60" fmla="*/ 752 w 952"/>
                  <a:gd name="T61" fmla="*/ 0 h 1237"/>
                  <a:gd name="T62" fmla="*/ 664 w 952"/>
                  <a:gd name="T63" fmla="*/ 0 h 1237"/>
                  <a:gd name="T64" fmla="*/ 619 w 952"/>
                  <a:gd name="T65" fmla="*/ 0 h 1237"/>
                  <a:gd name="T66" fmla="*/ 569 w 952"/>
                  <a:gd name="T67" fmla="*/ 0 h 1237"/>
                  <a:gd name="T68" fmla="*/ 558 w 952"/>
                  <a:gd name="T69" fmla="*/ 0 h 1237"/>
                  <a:gd name="T70" fmla="*/ 488 w 952"/>
                  <a:gd name="T71" fmla="*/ 0 h 1237"/>
                  <a:gd name="T72" fmla="*/ 438 w 952"/>
                  <a:gd name="T73" fmla="*/ 0 h 1237"/>
                  <a:gd name="T74" fmla="*/ 433 w 952"/>
                  <a:gd name="T75" fmla="*/ 0 h 1237"/>
                  <a:gd name="T76" fmla="*/ 388 w 952"/>
                  <a:gd name="T77" fmla="*/ 0 h 1237"/>
                  <a:gd name="T78" fmla="*/ 388 w 952"/>
                  <a:gd name="T79" fmla="*/ 0 h 1237"/>
                  <a:gd name="T80" fmla="*/ 369 w 952"/>
                  <a:gd name="T81" fmla="*/ 0 h 1237"/>
                  <a:gd name="T82" fmla="*/ 351 w 952"/>
                  <a:gd name="T83" fmla="*/ 0 h 1237"/>
                  <a:gd name="T84" fmla="*/ 250 w 952"/>
                  <a:gd name="T85" fmla="*/ 0 h 1237"/>
                  <a:gd name="T86" fmla="*/ 238 w 952"/>
                  <a:gd name="T87" fmla="*/ 0 h 1237"/>
                  <a:gd name="T88" fmla="*/ 188 w 952"/>
                  <a:gd name="T89" fmla="*/ 0 h 1237"/>
                  <a:gd name="T90" fmla="*/ 118 w 952"/>
                  <a:gd name="T91" fmla="*/ 0 h 1237"/>
                  <a:gd name="T92" fmla="*/ 75 w 952"/>
                  <a:gd name="T93" fmla="*/ 0 h 1237"/>
                  <a:gd name="T94" fmla="*/ 82 w 952"/>
                  <a:gd name="T95" fmla="*/ 0 h 1237"/>
                  <a:gd name="T96" fmla="*/ 88 w 952"/>
                  <a:gd name="T97" fmla="*/ 0 h 1237"/>
                  <a:gd name="T98" fmla="*/ 12 w 952"/>
                  <a:gd name="T99" fmla="*/ 0 h 1237"/>
                  <a:gd name="T100" fmla="*/ 19 w 952"/>
                  <a:gd name="T101" fmla="*/ 0 h 12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952" h="1237">
                    <a:moveTo>
                      <a:pt x="0" y="592"/>
                    </a:moveTo>
                    <a:lnTo>
                      <a:pt x="7" y="547"/>
                    </a:lnTo>
                    <a:lnTo>
                      <a:pt x="44" y="534"/>
                    </a:lnTo>
                    <a:lnTo>
                      <a:pt x="100" y="469"/>
                    </a:lnTo>
                    <a:lnTo>
                      <a:pt x="107" y="425"/>
                    </a:lnTo>
                    <a:lnTo>
                      <a:pt x="100" y="355"/>
                    </a:lnTo>
                    <a:lnTo>
                      <a:pt x="138" y="346"/>
                    </a:lnTo>
                    <a:lnTo>
                      <a:pt x="144" y="267"/>
                    </a:lnTo>
                    <a:lnTo>
                      <a:pt x="188" y="267"/>
                    </a:lnTo>
                    <a:lnTo>
                      <a:pt x="188" y="223"/>
                    </a:lnTo>
                    <a:lnTo>
                      <a:pt x="219" y="188"/>
                    </a:lnTo>
                    <a:lnTo>
                      <a:pt x="238" y="232"/>
                    </a:lnTo>
                    <a:lnTo>
                      <a:pt x="257" y="256"/>
                    </a:lnTo>
                    <a:lnTo>
                      <a:pt x="269" y="346"/>
                    </a:lnTo>
                    <a:lnTo>
                      <a:pt x="338" y="378"/>
                    </a:lnTo>
                    <a:lnTo>
                      <a:pt x="364" y="446"/>
                    </a:lnTo>
                    <a:lnTo>
                      <a:pt x="419" y="434"/>
                    </a:lnTo>
                    <a:lnTo>
                      <a:pt x="488" y="490"/>
                    </a:lnTo>
                    <a:lnTo>
                      <a:pt x="569" y="446"/>
                    </a:lnTo>
                    <a:lnTo>
                      <a:pt x="594" y="401"/>
                    </a:lnTo>
                    <a:lnTo>
                      <a:pt x="594" y="355"/>
                    </a:lnTo>
                    <a:lnTo>
                      <a:pt x="619" y="355"/>
                    </a:lnTo>
                    <a:lnTo>
                      <a:pt x="670" y="290"/>
                    </a:lnTo>
                    <a:lnTo>
                      <a:pt x="714" y="290"/>
                    </a:lnTo>
                    <a:lnTo>
                      <a:pt x="696" y="232"/>
                    </a:lnTo>
                    <a:lnTo>
                      <a:pt x="658" y="246"/>
                    </a:lnTo>
                    <a:lnTo>
                      <a:pt x="651" y="188"/>
                    </a:lnTo>
                    <a:lnTo>
                      <a:pt x="664" y="158"/>
                    </a:lnTo>
                    <a:lnTo>
                      <a:pt x="688" y="167"/>
                    </a:lnTo>
                    <a:lnTo>
                      <a:pt x="714" y="144"/>
                    </a:lnTo>
                    <a:lnTo>
                      <a:pt x="733" y="67"/>
                    </a:lnTo>
                    <a:lnTo>
                      <a:pt x="720" y="44"/>
                    </a:lnTo>
                    <a:lnTo>
                      <a:pt x="783" y="0"/>
                    </a:lnTo>
                    <a:lnTo>
                      <a:pt x="807" y="35"/>
                    </a:lnTo>
                    <a:lnTo>
                      <a:pt x="839" y="167"/>
                    </a:lnTo>
                    <a:lnTo>
                      <a:pt x="889" y="202"/>
                    </a:lnTo>
                    <a:lnTo>
                      <a:pt x="895" y="246"/>
                    </a:lnTo>
                    <a:lnTo>
                      <a:pt x="952" y="211"/>
                    </a:lnTo>
                    <a:lnTo>
                      <a:pt x="927" y="346"/>
                    </a:lnTo>
                    <a:lnTo>
                      <a:pt x="895" y="369"/>
                    </a:lnTo>
                    <a:lnTo>
                      <a:pt x="895" y="425"/>
                    </a:lnTo>
                    <a:lnTo>
                      <a:pt x="889" y="446"/>
                    </a:lnTo>
                    <a:lnTo>
                      <a:pt x="883" y="434"/>
                    </a:lnTo>
                    <a:lnTo>
                      <a:pt x="852" y="478"/>
                    </a:lnTo>
                    <a:lnTo>
                      <a:pt x="852" y="490"/>
                    </a:lnTo>
                    <a:lnTo>
                      <a:pt x="833" y="490"/>
                    </a:lnTo>
                    <a:lnTo>
                      <a:pt x="788" y="547"/>
                    </a:lnTo>
                    <a:lnTo>
                      <a:pt x="746" y="601"/>
                    </a:lnTo>
                    <a:lnTo>
                      <a:pt x="757" y="534"/>
                    </a:lnTo>
                    <a:lnTo>
                      <a:pt x="752" y="513"/>
                    </a:lnTo>
                    <a:lnTo>
                      <a:pt x="688" y="578"/>
                    </a:lnTo>
                    <a:lnTo>
                      <a:pt x="682" y="601"/>
                    </a:lnTo>
                    <a:lnTo>
                      <a:pt x="707" y="645"/>
                    </a:lnTo>
                    <a:lnTo>
                      <a:pt x="733" y="636"/>
                    </a:lnTo>
                    <a:lnTo>
                      <a:pt x="764" y="645"/>
                    </a:lnTo>
                    <a:lnTo>
                      <a:pt x="727" y="680"/>
                    </a:lnTo>
                    <a:lnTo>
                      <a:pt x="714" y="736"/>
                    </a:lnTo>
                    <a:lnTo>
                      <a:pt x="752" y="847"/>
                    </a:lnTo>
                    <a:lnTo>
                      <a:pt x="727" y="836"/>
                    </a:lnTo>
                    <a:lnTo>
                      <a:pt x="752" y="880"/>
                    </a:lnTo>
                    <a:lnTo>
                      <a:pt x="727" y="903"/>
                    </a:lnTo>
                    <a:lnTo>
                      <a:pt x="752" y="912"/>
                    </a:lnTo>
                    <a:lnTo>
                      <a:pt x="701" y="1091"/>
                    </a:lnTo>
                    <a:lnTo>
                      <a:pt x="664" y="1149"/>
                    </a:lnTo>
                    <a:lnTo>
                      <a:pt x="632" y="1170"/>
                    </a:lnTo>
                    <a:lnTo>
                      <a:pt x="619" y="1158"/>
                    </a:lnTo>
                    <a:lnTo>
                      <a:pt x="613" y="1179"/>
                    </a:lnTo>
                    <a:lnTo>
                      <a:pt x="569" y="1202"/>
                    </a:lnTo>
                    <a:lnTo>
                      <a:pt x="569" y="1237"/>
                    </a:lnTo>
                    <a:lnTo>
                      <a:pt x="558" y="1193"/>
                    </a:lnTo>
                    <a:lnTo>
                      <a:pt x="532" y="1193"/>
                    </a:lnTo>
                    <a:lnTo>
                      <a:pt x="488" y="1149"/>
                    </a:lnTo>
                    <a:lnTo>
                      <a:pt x="444" y="1170"/>
                    </a:lnTo>
                    <a:lnTo>
                      <a:pt x="438" y="1170"/>
                    </a:lnTo>
                    <a:lnTo>
                      <a:pt x="438" y="1202"/>
                    </a:lnTo>
                    <a:lnTo>
                      <a:pt x="433" y="1193"/>
                    </a:lnTo>
                    <a:lnTo>
                      <a:pt x="401" y="1170"/>
                    </a:lnTo>
                    <a:lnTo>
                      <a:pt x="388" y="1114"/>
                    </a:lnTo>
                    <a:lnTo>
                      <a:pt x="376" y="1126"/>
                    </a:lnTo>
                    <a:lnTo>
                      <a:pt x="388" y="1026"/>
                    </a:lnTo>
                    <a:lnTo>
                      <a:pt x="388" y="991"/>
                    </a:lnTo>
                    <a:lnTo>
                      <a:pt x="369" y="970"/>
                    </a:lnTo>
                    <a:lnTo>
                      <a:pt x="357" y="958"/>
                    </a:lnTo>
                    <a:lnTo>
                      <a:pt x="351" y="924"/>
                    </a:lnTo>
                    <a:lnTo>
                      <a:pt x="282" y="981"/>
                    </a:lnTo>
                    <a:lnTo>
                      <a:pt x="250" y="970"/>
                    </a:lnTo>
                    <a:lnTo>
                      <a:pt x="238" y="1003"/>
                    </a:lnTo>
                    <a:lnTo>
                      <a:pt x="238" y="981"/>
                    </a:lnTo>
                    <a:lnTo>
                      <a:pt x="225" y="981"/>
                    </a:lnTo>
                    <a:lnTo>
                      <a:pt x="188" y="981"/>
                    </a:lnTo>
                    <a:lnTo>
                      <a:pt x="163" y="935"/>
                    </a:lnTo>
                    <a:lnTo>
                      <a:pt x="118" y="903"/>
                    </a:lnTo>
                    <a:lnTo>
                      <a:pt x="82" y="880"/>
                    </a:lnTo>
                    <a:lnTo>
                      <a:pt x="75" y="824"/>
                    </a:lnTo>
                    <a:lnTo>
                      <a:pt x="94" y="812"/>
                    </a:lnTo>
                    <a:lnTo>
                      <a:pt x="82" y="768"/>
                    </a:lnTo>
                    <a:lnTo>
                      <a:pt x="107" y="715"/>
                    </a:lnTo>
                    <a:lnTo>
                      <a:pt x="88" y="691"/>
                    </a:lnTo>
                    <a:lnTo>
                      <a:pt x="63" y="715"/>
                    </a:lnTo>
                    <a:lnTo>
                      <a:pt x="12" y="657"/>
                    </a:lnTo>
                    <a:lnTo>
                      <a:pt x="19" y="645"/>
                    </a:lnTo>
                    <a:lnTo>
                      <a:pt x="19" y="601"/>
                    </a:lnTo>
                    <a:lnTo>
                      <a:pt x="0" y="592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01" name="Freeform 227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6086723" y="2998788"/>
              <a:ext cx="1395413" cy="981075"/>
            </a:xfrm>
            <a:custGeom>
              <a:avLst/>
              <a:gdLst>
                <a:gd name="T0" fmla="*/ 2147483647 w 952"/>
                <a:gd name="T1" fmla="*/ 2147483647 h 1237"/>
                <a:gd name="T2" fmla="*/ 2147483647 w 952"/>
                <a:gd name="T3" fmla="*/ 2147483647 h 1237"/>
                <a:gd name="T4" fmla="*/ 2147483647 w 952"/>
                <a:gd name="T5" fmla="*/ 2147483647 h 1237"/>
                <a:gd name="T6" fmla="*/ 2147483647 w 952"/>
                <a:gd name="T7" fmla="*/ 2147483647 h 1237"/>
                <a:gd name="T8" fmla="*/ 2147483647 w 952"/>
                <a:gd name="T9" fmla="*/ 2147483647 h 1237"/>
                <a:gd name="T10" fmla="*/ 2147483647 w 952"/>
                <a:gd name="T11" fmla="*/ 2147483647 h 1237"/>
                <a:gd name="T12" fmla="*/ 2147483647 w 952"/>
                <a:gd name="T13" fmla="*/ 2147483647 h 1237"/>
                <a:gd name="T14" fmla="*/ 2147483647 w 952"/>
                <a:gd name="T15" fmla="*/ 2147483647 h 1237"/>
                <a:gd name="T16" fmla="*/ 2147483647 w 952"/>
                <a:gd name="T17" fmla="*/ 2147483647 h 1237"/>
                <a:gd name="T18" fmla="*/ 2147483647 w 952"/>
                <a:gd name="T19" fmla="*/ 2147483647 h 1237"/>
                <a:gd name="T20" fmla="*/ 2147483647 w 952"/>
                <a:gd name="T21" fmla="*/ 2147483647 h 1237"/>
                <a:gd name="T22" fmla="*/ 2147483647 w 952"/>
                <a:gd name="T23" fmla="*/ 2147483647 h 1237"/>
                <a:gd name="T24" fmla="*/ 2147483647 w 952"/>
                <a:gd name="T25" fmla="*/ 2147483647 h 1237"/>
                <a:gd name="T26" fmla="*/ 2147483647 w 952"/>
                <a:gd name="T27" fmla="*/ 2147483647 h 1237"/>
                <a:gd name="T28" fmla="*/ 2147483647 w 952"/>
                <a:gd name="T29" fmla="*/ 2147483647 h 1237"/>
                <a:gd name="T30" fmla="*/ 2147483647 w 952"/>
                <a:gd name="T31" fmla="*/ 2147483647 h 1237"/>
                <a:gd name="T32" fmla="*/ 2147483647 w 952"/>
                <a:gd name="T33" fmla="*/ 2147483647 h 1237"/>
                <a:gd name="T34" fmla="*/ 2147483647 w 952"/>
                <a:gd name="T35" fmla="*/ 2147483647 h 1237"/>
                <a:gd name="T36" fmla="*/ 2147483647 w 952"/>
                <a:gd name="T37" fmla="*/ 2147483647 h 1237"/>
                <a:gd name="T38" fmla="*/ 2147483647 w 952"/>
                <a:gd name="T39" fmla="*/ 2147483647 h 1237"/>
                <a:gd name="T40" fmla="*/ 2147483647 w 952"/>
                <a:gd name="T41" fmla="*/ 2147483647 h 1237"/>
                <a:gd name="T42" fmla="*/ 2147483647 w 952"/>
                <a:gd name="T43" fmla="*/ 2147483647 h 1237"/>
                <a:gd name="T44" fmla="*/ 2147483647 w 952"/>
                <a:gd name="T45" fmla="*/ 2147483647 h 1237"/>
                <a:gd name="T46" fmla="*/ 2147483647 w 952"/>
                <a:gd name="T47" fmla="*/ 2147483647 h 1237"/>
                <a:gd name="T48" fmla="*/ 2147483647 w 952"/>
                <a:gd name="T49" fmla="*/ 2147483647 h 1237"/>
                <a:gd name="T50" fmla="*/ 2147483647 w 952"/>
                <a:gd name="T51" fmla="*/ 2147483647 h 1237"/>
                <a:gd name="T52" fmla="*/ 2147483647 w 952"/>
                <a:gd name="T53" fmla="*/ 2147483647 h 1237"/>
                <a:gd name="T54" fmla="*/ 2147483647 w 952"/>
                <a:gd name="T55" fmla="*/ 2147483647 h 1237"/>
                <a:gd name="T56" fmla="*/ 2147483647 w 952"/>
                <a:gd name="T57" fmla="*/ 2147483647 h 1237"/>
                <a:gd name="T58" fmla="*/ 2147483647 w 952"/>
                <a:gd name="T59" fmla="*/ 2147483647 h 1237"/>
                <a:gd name="T60" fmla="*/ 2147483647 w 952"/>
                <a:gd name="T61" fmla="*/ 2147483647 h 1237"/>
                <a:gd name="T62" fmla="*/ 2147483647 w 952"/>
                <a:gd name="T63" fmla="*/ 2147483647 h 1237"/>
                <a:gd name="T64" fmla="*/ 2147483647 w 952"/>
                <a:gd name="T65" fmla="*/ 2147483647 h 1237"/>
                <a:gd name="T66" fmla="*/ 2147483647 w 952"/>
                <a:gd name="T67" fmla="*/ 2147483647 h 1237"/>
                <a:gd name="T68" fmla="*/ 2147483647 w 952"/>
                <a:gd name="T69" fmla="*/ 2147483647 h 1237"/>
                <a:gd name="T70" fmla="*/ 2147483647 w 952"/>
                <a:gd name="T71" fmla="*/ 2147483647 h 1237"/>
                <a:gd name="T72" fmla="*/ 2147483647 w 952"/>
                <a:gd name="T73" fmla="*/ 2147483647 h 1237"/>
                <a:gd name="T74" fmla="*/ 2147483647 w 952"/>
                <a:gd name="T75" fmla="*/ 2147483647 h 1237"/>
                <a:gd name="T76" fmla="*/ 2147483647 w 952"/>
                <a:gd name="T77" fmla="*/ 2147483647 h 1237"/>
                <a:gd name="T78" fmla="*/ 2147483647 w 952"/>
                <a:gd name="T79" fmla="*/ 2147483647 h 1237"/>
                <a:gd name="T80" fmla="*/ 2147483647 w 952"/>
                <a:gd name="T81" fmla="*/ 2147483647 h 1237"/>
                <a:gd name="T82" fmla="*/ 2147483647 w 952"/>
                <a:gd name="T83" fmla="*/ 2147483647 h 1237"/>
                <a:gd name="T84" fmla="*/ 2147483647 w 952"/>
                <a:gd name="T85" fmla="*/ 2147483647 h 1237"/>
                <a:gd name="T86" fmla="*/ 2147483647 w 952"/>
                <a:gd name="T87" fmla="*/ 2147483647 h 1237"/>
                <a:gd name="T88" fmla="*/ 2147483647 w 952"/>
                <a:gd name="T89" fmla="*/ 2147483647 h 1237"/>
                <a:gd name="T90" fmla="*/ 2147483647 w 952"/>
                <a:gd name="T91" fmla="*/ 2147483647 h 1237"/>
                <a:gd name="T92" fmla="*/ 2147483647 w 952"/>
                <a:gd name="T93" fmla="*/ 2147483647 h 1237"/>
                <a:gd name="T94" fmla="*/ 2147483647 w 952"/>
                <a:gd name="T95" fmla="*/ 2147483647 h 1237"/>
                <a:gd name="T96" fmla="*/ 2147483647 w 952"/>
                <a:gd name="T97" fmla="*/ 2147483647 h 1237"/>
                <a:gd name="T98" fmla="*/ 2147483647 w 952"/>
                <a:gd name="T99" fmla="*/ 2147483647 h 1237"/>
                <a:gd name="T100" fmla="*/ 2147483647 w 952"/>
                <a:gd name="T101" fmla="*/ 2147483647 h 123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952" h="1237">
                  <a:moveTo>
                    <a:pt x="0" y="592"/>
                  </a:moveTo>
                  <a:lnTo>
                    <a:pt x="7" y="547"/>
                  </a:lnTo>
                  <a:lnTo>
                    <a:pt x="44" y="534"/>
                  </a:lnTo>
                  <a:lnTo>
                    <a:pt x="100" y="469"/>
                  </a:lnTo>
                  <a:lnTo>
                    <a:pt x="107" y="425"/>
                  </a:lnTo>
                  <a:lnTo>
                    <a:pt x="100" y="355"/>
                  </a:lnTo>
                  <a:lnTo>
                    <a:pt x="138" y="346"/>
                  </a:lnTo>
                  <a:lnTo>
                    <a:pt x="144" y="267"/>
                  </a:lnTo>
                  <a:lnTo>
                    <a:pt x="188" y="267"/>
                  </a:lnTo>
                  <a:lnTo>
                    <a:pt x="188" y="223"/>
                  </a:lnTo>
                  <a:lnTo>
                    <a:pt x="219" y="188"/>
                  </a:lnTo>
                  <a:lnTo>
                    <a:pt x="238" y="232"/>
                  </a:lnTo>
                  <a:lnTo>
                    <a:pt x="257" y="256"/>
                  </a:lnTo>
                  <a:lnTo>
                    <a:pt x="269" y="346"/>
                  </a:lnTo>
                  <a:lnTo>
                    <a:pt x="338" y="378"/>
                  </a:lnTo>
                  <a:lnTo>
                    <a:pt x="364" y="446"/>
                  </a:lnTo>
                  <a:lnTo>
                    <a:pt x="419" y="434"/>
                  </a:lnTo>
                  <a:lnTo>
                    <a:pt x="488" y="490"/>
                  </a:lnTo>
                  <a:lnTo>
                    <a:pt x="569" y="446"/>
                  </a:lnTo>
                  <a:lnTo>
                    <a:pt x="594" y="401"/>
                  </a:lnTo>
                  <a:lnTo>
                    <a:pt x="594" y="355"/>
                  </a:lnTo>
                  <a:lnTo>
                    <a:pt x="619" y="355"/>
                  </a:lnTo>
                  <a:lnTo>
                    <a:pt x="670" y="290"/>
                  </a:lnTo>
                  <a:lnTo>
                    <a:pt x="714" y="290"/>
                  </a:lnTo>
                  <a:lnTo>
                    <a:pt x="696" y="232"/>
                  </a:lnTo>
                  <a:lnTo>
                    <a:pt x="658" y="246"/>
                  </a:lnTo>
                  <a:lnTo>
                    <a:pt x="651" y="188"/>
                  </a:lnTo>
                  <a:lnTo>
                    <a:pt x="664" y="158"/>
                  </a:lnTo>
                  <a:lnTo>
                    <a:pt x="688" y="167"/>
                  </a:lnTo>
                  <a:lnTo>
                    <a:pt x="714" y="144"/>
                  </a:lnTo>
                  <a:lnTo>
                    <a:pt x="733" y="67"/>
                  </a:lnTo>
                  <a:lnTo>
                    <a:pt x="720" y="44"/>
                  </a:lnTo>
                  <a:lnTo>
                    <a:pt x="783" y="0"/>
                  </a:lnTo>
                  <a:lnTo>
                    <a:pt x="807" y="35"/>
                  </a:lnTo>
                  <a:lnTo>
                    <a:pt x="839" y="167"/>
                  </a:lnTo>
                  <a:lnTo>
                    <a:pt x="889" y="202"/>
                  </a:lnTo>
                  <a:lnTo>
                    <a:pt x="895" y="246"/>
                  </a:lnTo>
                  <a:lnTo>
                    <a:pt x="952" y="211"/>
                  </a:lnTo>
                  <a:lnTo>
                    <a:pt x="927" y="346"/>
                  </a:lnTo>
                  <a:lnTo>
                    <a:pt x="895" y="369"/>
                  </a:lnTo>
                  <a:lnTo>
                    <a:pt x="895" y="425"/>
                  </a:lnTo>
                  <a:lnTo>
                    <a:pt x="889" y="446"/>
                  </a:lnTo>
                  <a:lnTo>
                    <a:pt x="883" y="434"/>
                  </a:lnTo>
                  <a:lnTo>
                    <a:pt x="852" y="478"/>
                  </a:lnTo>
                  <a:lnTo>
                    <a:pt x="852" y="490"/>
                  </a:lnTo>
                  <a:lnTo>
                    <a:pt x="833" y="490"/>
                  </a:lnTo>
                  <a:lnTo>
                    <a:pt x="788" y="547"/>
                  </a:lnTo>
                  <a:lnTo>
                    <a:pt x="746" y="601"/>
                  </a:lnTo>
                  <a:lnTo>
                    <a:pt x="757" y="534"/>
                  </a:lnTo>
                  <a:lnTo>
                    <a:pt x="752" y="513"/>
                  </a:lnTo>
                  <a:lnTo>
                    <a:pt x="688" y="578"/>
                  </a:lnTo>
                  <a:lnTo>
                    <a:pt x="682" y="601"/>
                  </a:lnTo>
                  <a:lnTo>
                    <a:pt x="707" y="645"/>
                  </a:lnTo>
                  <a:lnTo>
                    <a:pt x="733" y="636"/>
                  </a:lnTo>
                  <a:lnTo>
                    <a:pt x="764" y="645"/>
                  </a:lnTo>
                  <a:lnTo>
                    <a:pt x="727" y="680"/>
                  </a:lnTo>
                  <a:lnTo>
                    <a:pt x="714" y="736"/>
                  </a:lnTo>
                  <a:lnTo>
                    <a:pt x="752" y="847"/>
                  </a:lnTo>
                  <a:lnTo>
                    <a:pt x="727" y="836"/>
                  </a:lnTo>
                  <a:lnTo>
                    <a:pt x="752" y="880"/>
                  </a:lnTo>
                  <a:lnTo>
                    <a:pt x="727" y="903"/>
                  </a:lnTo>
                  <a:lnTo>
                    <a:pt x="752" y="912"/>
                  </a:lnTo>
                  <a:lnTo>
                    <a:pt x="701" y="1091"/>
                  </a:lnTo>
                  <a:lnTo>
                    <a:pt x="664" y="1149"/>
                  </a:lnTo>
                  <a:lnTo>
                    <a:pt x="632" y="1170"/>
                  </a:lnTo>
                  <a:lnTo>
                    <a:pt x="619" y="1158"/>
                  </a:lnTo>
                  <a:lnTo>
                    <a:pt x="613" y="1179"/>
                  </a:lnTo>
                  <a:lnTo>
                    <a:pt x="569" y="1202"/>
                  </a:lnTo>
                  <a:lnTo>
                    <a:pt x="569" y="1237"/>
                  </a:lnTo>
                  <a:lnTo>
                    <a:pt x="558" y="1193"/>
                  </a:lnTo>
                  <a:lnTo>
                    <a:pt x="532" y="1193"/>
                  </a:lnTo>
                  <a:lnTo>
                    <a:pt x="488" y="1149"/>
                  </a:lnTo>
                  <a:lnTo>
                    <a:pt x="444" y="1170"/>
                  </a:lnTo>
                  <a:lnTo>
                    <a:pt x="438" y="1170"/>
                  </a:lnTo>
                  <a:lnTo>
                    <a:pt x="438" y="1202"/>
                  </a:lnTo>
                  <a:lnTo>
                    <a:pt x="433" y="1193"/>
                  </a:lnTo>
                  <a:lnTo>
                    <a:pt x="401" y="1170"/>
                  </a:lnTo>
                  <a:lnTo>
                    <a:pt x="388" y="1114"/>
                  </a:lnTo>
                  <a:lnTo>
                    <a:pt x="376" y="1126"/>
                  </a:lnTo>
                  <a:lnTo>
                    <a:pt x="388" y="1026"/>
                  </a:lnTo>
                  <a:lnTo>
                    <a:pt x="388" y="991"/>
                  </a:lnTo>
                  <a:lnTo>
                    <a:pt x="369" y="970"/>
                  </a:lnTo>
                  <a:lnTo>
                    <a:pt x="357" y="958"/>
                  </a:lnTo>
                  <a:lnTo>
                    <a:pt x="351" y="924"/>
                  </a:lnTo>
                  <a:lnTo>
                    <a:pt x="282" y="981"/>
                  </a:lnTo>
                  <a:lnTo>
                    <a:pt x="250" y="970"/>
                  </a:lnTo>
                  <a:lnTo>
                    <a:pt x="238" y="1003"/>
                  </a:lnTo>
                  <a:lnTo>
                    <a:pt x="238" y="981"/>
                  </a:lnTo>
                  <a:lnTo>
                    <a:pt x="225" y="981"/>
                  </a:lnTo>
                  <a:lnTo>
                    <a:pt x="188" y="981"/>
                  </a:lnTo>
                  <a:lnTo>
                    <a:pt x="163" y="935"/>
                  </a:lnTo>
                  <a:lnTo>
                    <a:pt x="118" y="903"/>
                  </a:lnTo>
                  <a:lnTo>
                    <a:pt x="82" y="880"/>
                  </a:lnTo>
                  <a:lnTo>
                    <a:pt x="75" y="824"/>
                  </a:lnTo>
                  <a:lnTo>
                    <a:pt x="94" y="812"/>
                  </a:lnTo>
                  <a:lnTo>
                    <a:pt x="82" y="768"/>
                  </a:lnTo>
                  <a:lnTo>
                    <a:pt x="107" y="715"/>
                  </a:lnTo>
                  <a:lnTo>
                    <a:pt x="88" y="691"/>
                  </a:lnTo>
                  <a:lnTo>
                    <a:pt x="63" y="715"/>
                  </a:lnTo>
                  <a:lnTo>
                    <a:pt x="12" y="657"/>
                  </a:lnTo>
                  <a:lnTo>
                    <a:pt x="19" y="645"/>
                  </a:lnTo>
                  <a:lnTo>
                    <a:pt x="19" y="601"/>
                  </a:lnTo>
                  <a:lnTo>
                    <a:pt x="0" y="59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02" name="Group 228"/>
            <p:cNvGrpSpPr>
              <a:grpSpLocks/>
            </p:cNvGrpSpPr>
            <p:nvPr>
              <p:custDataLst>
                <p:tags r:id="rId196"/>
              </p:custDataLst>
            </p:nvPr>
          </p:nvGrpSpPr>
          <p:grpSpPr bwMode="auto">
            <a:xfrm>
              <a:off x="6086723" y="2998788"/>
              <a:ext cx="1395413" cy="981075"/>
              <a:chOff x="4089" y="1707"/>
              <a:chExt cx="952" cy="618"/>
            </a:xfrm>
            <a:solidFill>
              <a:srgbClr val="FFC000"/>
            </a:solidFill>
          </p:grpSpPr>
          <p:sp>
            <p:nvSpPr>
              <p:cNvPr id="1105" name="Freeform 229"/>
              <p:cNvSpPr>
                <a:spLocks/>
              </p:cNvSpPr>
              <p:nvPr/>
            </p:nvSpPr>
            <p:spPr bwMode="auto">
              <a:xfrm>
                <a:off x="4089" y="1707"/>
                <a:ext cx="952" cy="618"/>
              </a:xfrm>
              <a:custGeom>
                <a:avLst/>
                <a:gdLst>
                  <a:gd name="T0" fmla="*/ 7 w 952"/>
                  <a:gd name="T1" fmla="*/ 0 h 1237"/>
                  <a:gd name="T2" fmla="*/ 100 w 952"/>
                  <a:gd name="T3" fmla="*/ 0 h 1237"/>
                  <a:gd name="T4" fmla="*/ 100 w 952"/>
                  <a:gd name="T5" fmla="*/ 0 h 1237"/>
                  <a:gd name="T6" fmla="*/ 144 w 952"/>
                  <a:gd name="T7" fmla="*/ 0 h 1237"/>
                  <a:gd name="T8" fmla="*/ 188 w 952"/>
                  <a:gd name="T9" fmla="*/ 0 h 1237"/>
                  <a:gd name="T10" fmla="*/ 238 w 952"/>
                  <a:gd name="T11" fmla="*/ 0 h 1237"/>
                  <a:gd name="T12" fmla="*/ 269 w 952"/>
                  <a:gd name="T13" fmla="*/ 0 h 1237"/>
                  <a:gd name="T14" fmla="*/ 364 w 952"/>
                  <a:gd name="T15" fmla="*/ 0 h 1237"/>
                  <a:gd name="T16" fmla="*/ 488 w 952"/>
                  <a:gd name="T17" fmla="*/ 0 h 1237"/>
                  <a:gd name="T18" fmla="*/ 594 w 952"/>
                  <a:gd name="T19" fmla="*/ 0 h 1237"/>
                  <a:gd name="T20" fmla="*/ 619 w 952"/>
                  <a:gd name="T21" fmla="*/ 0 h 1237"/>
                  <a:gd name="T22" fmla="*/ 714 w 952"/>
                  <a:gd name="T23" fmla="*/ 0 h 1237"/>
                  <a:gd name="T24" fmla="*/ 658 w 952"/>
                  <a:gd name="T25" fmla="*/ 0 h 1237"/>
                  <a:gd name="T26" fmla="*/ 664 w 952"/>
                  <a:gd name="T27" fmla="*/ 0 h 1237"/>
                  <a:gd name="T28" fmla="*/ 714 w 952"/>
                  <a:gd name="T29" fmla="*/ 0 h 1237"/>
                  <a:gd name="T30" fmla="*/ 720 w 952"/>
                  <a:gd name="T31" fmla="*/ 0 h 1237"/>
                  <a:gd name="T32" fmla="*/ 807 w 952"/>
                  <a:gd name="T33" fmla="*/ 0 h 1237"/>
                  <a:gd name="T34" fmla="*/ 889 w 952"/>
                  <a:gd name="T35" fmla="*/ 0 h 1237"/>
                  <a:gd name="T36" fmla="*/ 952 w 952"/>
                  <a:gd name="T37" fmla="*/ 0 h 1237"/>
                  <a:gd name="T38" fmla="*/ 895 w 952"/>
                  <a:gd name="T39" fmla="*/ 0 h 1237"/>
                  <a:gd name="T40" fmla="*/ 889 w 952"/>
                  <a:gd name="T41" fmla="*/ 0 h 1237"/>
                  <a:gd name="T42" fmla="*/ 852 w 952"/>
                  <a:gd name="T43" fmla="*/ 0 h 1237"/>
                  <a:gd name="T44" fmla="*/ 833 w 952"/>
                  <a:gd name="T45" fmla="*/ 0 h 1237"/>
                  <a:gd name="T46" fmla="*/ 746 w 952"/>
                  <a:gd name="T47" fmla="*/ 0 h 1237"/>
                  <a:gd name="T48" fmla="*/ 752 w 952"/>
                  <a:gd name="T49" fmla="*/ 0 h 1237"/>
                  <a:gd name="T50" fmla="*/ 682 w 952"/>
                  <a:gd name="T51" fmla="*/ 0 h 1237"/>
                  <a:gd name="T52" fmla="*/ 733 w 952"/>
                  <a:gd name="T53" fmla="*/ 0 h 1237"/>
                  <a:gd name="T54" fmla="*/ 727 w 952"/>
                  <a:gd name="T55" fmla="*/ 0 h 1237"/>
                  <a:gd name="T56" fmla="*/ 752 w 952"/>
                  <a:gd name="T57" fmla="*/ 0 h 1237"/>
                  <a:gd name="T58" fmla="*/ 752 w 952"/>
                  <a:gd name="T59" fmla="*/ 0 h 1237"/>
                  <a:gd name="T60" fmla="*/ 752 w 952"/>
                  <a:gd name="T61" fmla="*/ 0 h 1237"/>
                  <a:gd name="T62" fmla="*/ 664 w 952"/>
                  <a:gd name="T63" fmla="*/ 0 h 1237"/>
                  <a:gd name="T64" fmla="*/ 619 w 952"/>
                  <a:gd name="T65" fmla="*/ 0 h 1237"/>
                  <a:gd name="T66" fmla="*/ 569 w 952"/>
                  <a:gd name="T67" fmla="*/ 0 h 1237"/>
                  <a:gd name="T68" fmla="*/ 558 w 952"/>
                  <a:gd name="T69" fmla="*/ 0 h 1237"/>
                  <a:gd name="T70" fmla="*/ 488 w 952"/>
                  <a:gd name="T71" fmla="*/ 0 h 1237"/>
                  <a:gd name="T72" fmla="*/ 438 w 952"/>
                  <a:gd name="T73" fmla="*/ 0 h 1237"/>
                  <a:gd name="T74" fmla="*/ 433 w 952"/>
                  <a:gd name="T75" fmla="*/ 0 h 1237"/>
                  <a:gd name="T76" fmla="*/ 388 w 952"/>
                  <a:gd name="T77" fmla="*/ 0 h 1237"/>
                  <a:gd name="T78" fmla="*/ 388 w 952"/>
                  <a:gd name="T79" fmla="*/ 0 h 1237"/>
                  <a:gd name="T80" fmla="*/ 369 w 952"/>
                  <a:gd name="T81" fmla="*/ 0 h 1237"/>
                  <a:gd name="T82" fmla="*/ 351 w 952"/>
                  <a:gd name="T83" fmla="*/ 0 h 1237"/>
                  <a:gd name="T84" fmla="*/ 250 w 952"/>
                  <a:gd name="T85" fmla="*/ 0 h 1237"/>
                  <a:gd name="T86" fmla="*/ 238 w 952"/>
                  <a:gd name="T87" fmla="*/ 0 h 1237"/>
                  <a:gd name="T88" fmla="*/ 188 w 952"/>
                  <a:gd name="T89" fmla="*/ 0 h 1237"/>
                  <a:gd name="T90" fmla="*/ 118 w 952"/>
                  <a:gd name="T91" fmla="*/ 0 h 1237"/>
                  <a:gd name="T92" fmla="*/ 75 w 952"/>
                  <a:gd name="T93" fmla="*/ 0 h 1237"/>
                  <a:gd name="T94" fmla="*/ 82 w 952"/>
                  <a:gd name="T95" fmla="*/ 0 h 1237"/>
                  <a:gd name="T96" fmla="*/ 88 w 952"/>
                  <a:gd name="T97" fmla="*/ 0 h 1237"/>
                  <a:gd name="T98" fmla="*/ 12 w 952"/>
                  <a:gd name="T99" fmla="*/ 0 h 1237"/>
                  <a:gd name="T100" fmla="*/ 19 w 952"/>
                  <a:gd name="T101" fmla="*/ 0 h 12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952" h="1237">
                    <a:moveTo>
                      <a:pt x="0" y="592"/>
                    </a:moveTo>
                    <a:lnTo>
                      <a:pt x="7" y="547"/>
                    </a:lnTo>
                    <a:lnTo>
                      <a:pt x="44" y="534"/>
                    </a:lnTo>
                    <a:lnTo>
                      <a:pt x="100" y="469"/>
                    </a:lnTo>
                    <a:lnTo>
                      <a:pt x="107" y="425"/>
                    </a:lnTo>
                    <a:lnTo>
                      <a:pt x="100" y="355"/>
                    </a:lnTo>
                    <a:lnTo>
                      <a:pt x="138" y="346"/>
                    </a:lnTo>
                    <a:lnTo>
                      <a:pt x="144" y="267"/>
                    </a:lnTo>
                    <a:lnTo>
                      <a:pt x="188" y="267"/>
                    </a:lnTo>
                    <a:lnTo>
                      <a:pt x="188" y="223"/>
                    </a:lnTo>
                    <a:lnTo>
                      <a:pt x="219" y="188"/>
                    </a:lnTo>
                    <a:lnTo>
                      <a:pt x="238" y="232"/>
                    </a:lnTo>
                    <a:lnTo>
                      <a:pt x="257" y="256"/>
                    </a:lnTo>
                    <a:lnTo>
                      <a:pt x="269" y="346"/>
                    </a:lnTo>
                    <a:lnTo>
                      <a:pt x="338" y="378"/>
                    </a:lnTo>
                    <a:lnTo>
                      <a:pt x="364" y="446"/>
                    </a:lnTo>
                    <a:lnTo>
                      <a:pt x="419" y="434"/>
                    </a:lnTo>
                    <a:lnTo>
                      <a:pt x="488" y="490"/>
                    </a:lnTo>
                    <a:lnTo>
                      <a:pt x="569" y="446"/>
                    </a:lnTo>
                    <a:lnTo>
                      <a:pt x="594" y="401"/>
                    </a:lnTo>
                    <a:lnTo>
                      <a:pt x="594" y="355"/>
                    </a:lnTo>
                    <a:lnTo>
                      <a:pt x="619" y="355"/>
                    </a:lnTo>
                    <a:lnTo>
                      <a:pt x="670" y="290"/>
                    </a:lnTo>
                    <a:lnTo>
                      <a:pt x="714" y="290"/>
                    </a:lnTo>
                    <a:lnTo>
                      <a:pt x="696" y="232"/>
                    </a:lnTo>
                    <a:lnTo>
                      <a:pt x="658" y="246"/>
                    </a:lnTo>
                    <a:lnTo>
                      <a:pt x="651" y="188"/>
                    </a:lnTo>
                    <a:lnTo>
                      <a:pt x="664" y="158"/>
                    </a:lnTo>
                    <a:lnTo>
                      <a:pt x="688" y="167"/>
                    </a:lnTo>
                    <a:lnTo>
                      <a:pt x="714" y="144"/>
                    </a:lnTo>
                    <a:lnTo>
                      <a:pt x="733" y="67"/>
                    </a:lnTo>
                    <a:lnTo>
                      <a:pt x="720" y="44"/>
                    </a:lnTo>
                    <a:lnTo>
                      <a:pt x="783" y="0"/>
                    </a:lnTo>
                    <a:lnTo>
                      <a:pt x="807" y="35"/>
                    </a:lnTo>
                    <a:lnTo>
                      <a:pt x="839" y="167"/>
                    </a:lnTo>
                    <a:lnTo>
                      <a:pt x="889" y="202"/>
                    </a:lnTo>
                    <a:lnTo>
                      <a:pt x="895" y="246"/>
                    </a:lnTo>
                    <a:lnTo>
                      <a:pt x="952" y="211"/>
                    </a:lnTo>
                    <a:lnTo>
                      <a:pt x="927" y="346"/>
                    </a:lnTo>
                    <a:lnTo>
                      <a:pt x="895" y="369"/>
                    </a:lnTo>
                    <a:lnTo>
                      <a:pt x="895" y="425"/>
                    </a:lnTo>
                    <a:lnTo>
                      <a:pt x="889" y="446"/>
                    </a:lnTo>
                    <a:lnTo>
                      <a:pt x="883" y="434"/>
                    </a:lnTo>
                    <a:lnTo>
                      <a:pt x="852" y="478"/>
                    </a:lnTo>
                    <a:lnTo>
                      <a:pt x="852" y="490"/>
                    </a:lnTo>
                    <a:lnTo>
                      <a:pt x="833" y="490"/>
                    </a:lnTo>
                    <a:lnTo>
                      <a:pt x="788" y="547"/>
                    </a:lnTo>
                    <a:lnTo>
                      <a:pt x="746" y="601"/>
                    </a:lnTo>
                    <a:lnTo>
                      <a:pt x="757" y="534"/>
                    </a:lnTo>
                    <a:lnTo>
                      <a:pt x="752" y="513"/>
                    </a:lnTo>
                    <a:lnTo>
                      <a:pt x="688" y="578"/>
                    </a:lnTo>
                    <a:lnTo>
                      <a:pt x="682" y="601"/>
                    </a:lnTo>
                    <a:lnTo>
                      <a:pt x="707" y="645"/>
                    </a:lnTo>
                    <a:lnTo>
                      <a:pt x="733" y="636"/>
                    </a:lnTo>
                    <a:lnTo>
                      <a:pt x="764" y="645"/>
                    </a:lnTo>
                    <a:lnTo>
                      <a:pt x="727" y="680"/>
                    </a:lnTo>
                    <a:lnTo>
                      <a:pt x="714" y="736"/>
                    </a:lnTo>
                    <a:lnTo>
                      <a:pt x="752" y="847"/>
                    </a:lnTo>
                    <a:lnTo>
                      <a:pt x="727" y="836"/>
                    </a:lnTo>
                    <a:lnTo>
                      <a:pt x="752" y="880"/>
                    </a:lnTo>
                    <a:lnTo>
                      <a:pt x="727" y="903"/>
                    </a:lnTo>
                    <a:lnTo>
                      <a:pt x="752" y="912"/>
                    </a:lnTo>
                    <a:lnTo>
                      <a:pt x="701" y="1091"/>
                    </a:lnTo>
                    <a:lnTo>
                      <a:pt x="664" y="1149"/>
                    </a:lnTo>
                    <a:lnTo>
                      <a:pt x="632" y="1170"/>
                    </a:lnTo>
                    <a:lnTo>
                      <a:pt x="619" y="1158"/>
                    </a:lnTo>
                    <a:lnTo>
                      <a:pt x="613" y="1179"/>
                    </a:lnTo>
                    <a:lnTo>
                      <a:pt x="569" y="1202"/>
                    </a:lnTo>
                    <a:lnTo>
                      <a:pt x="569" y="1237"/>
                    </a:lnTo>
                    <a:lnTo>
                      <a:pt x="558" y="1193"/>
                    </a:lnTo>
                    <a:lnTo>
                      <a:pt x="532" y="1193"/>
                    </a:lnTo>
                    <a:lnTo>
                      <a:pt x="488" y="1149"/>
                    </a:lnTo>
                    <a:lnTo>
                      <a:pt x="444" y="1170"/>
                    </a:lnTo>
                    <a:lnTo>
                      <a:pt x="438" y="1170"/>
                    </a:lnTo>
                    <a:lnTo>
                      <a:pt x="438" y="1202"/>
                    </a:lnTo>
                    <a:lnTo>
                      <a:pt x="433" y="1193"/>
                    </a:lnTo>
                    <a:lnTo>
                      <a:pt x="401" y="1170"/>
                    </a:lnTo>
                    <a:lnTo>
                      <a:pt x="388" y="1114"/>
                    </a:lnTo>
                    <a:lnTo>
                      <a:pt x="376" y="1126"/>
                    </a:lnTo>
                    <a:lnTo>
                      <a:pt x="388" y="1026"/>
                    </a:lnTo>
                    <a:lnTo>
                      <a:pt x="388" y="991"/>
                    </a:lnTo>
                    <a:lnTo>
                      <a:pt x="369" y="970"/>
                    </a:lnTo>
                    <a:lnTo>
                      <a:pt x="357" y="958"/>
                    </a:lnTo>
                    <a:lnTo>
                      <a:pt x="351" y="924"/>
                    </a:lnTo>
                    <a:lnTo>
                      <a:pt x="282" y="981"/>
                    </a:lnTo>
                    <a:lnTo>
                      <a:pt x="250" y="970"/>
                    </a:lnTo>
                    <a:lnTo>
                      <a:pt x="238" y="1003"/>
                    </a:lnTo>
                    <a:lnTo>
                      <a:pt x="238" y="981"/>
                    </a:lnTo>
                    <a:lnTo>
                      <a:pt x="225" y="981"/>
                    </a:lnTo>
                    <a:lnTo>
                      <a:pt x="188" y="981"/>
                    </a:lnTo>
                    <a:lnTo>
                      <a:pt x="163" y="935"/>
                    </a:lnTo>
                    <a:lnTo>
                      <a:pt x="118" y="903"/>
                    </a:lnTo>
                    <a:lnTo>
                      <a:pt x="82" y="880"/>
                    </a:lnTo>
                    <a:lnTo>
                      <a:pt x="75" y="824"/>
                    </a:lnTo>
                    <a:lnTo>
                      <a:pt x="94" y="812"/>
                    </a:lnTo>
                    <a:lnTo>
                      <a:pt x="82" y="768"/>
                    </a:lnTo>
                    <a:lnTo>
                      <a:pt x="107" y="715"/>
                    </a:lnTo>
                    <a:lnTo>
                      <a:pt x="88" y="691"/>
                    </a:lnTo>
                    <a:lnTo>
                      <a:pt x="63" y="715"/>
                    </a:lnTo>
                    <a:lnTo>
                      <a:pt x="12" y="657"/>
                    </a:lnTo>
                    <a:lnTo>
                      <a:pt x="19" y="645"/>
                    </a:lnTo>
                    <a:lnTo>
                      <a:pt x="19" y="601"/>
                    </a:lnTo>
                    <a:lnTo>
                      <a:pt x="0" y="592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06" name="Freeform 230"/>
              <p:cNvSpPr>
                <a:spLocks/>
              </p:cNvSpPr>
              <p:nvPr/>
            </p:nvSpPr>
            <p:spPr bwMode="auto">
              <a:xfrm>
                <a:off x="4089" y="1707"/>
                <a:ext cx="952" cy="618"/>
              </a:xfrm>
              <a:custGeom>
                <a:avLst/>
                <a:gdLst>
                  <a:gd name="T0" fmla="*/ 7 w 952"/>
                  <a:gd name="T1" fmla="*/ 0 h 1237"/>
                  <a:gd name="T2" fmla="*/ 100 w 952"/>
                  <a:gd name="T3" fmla="*/ 0 h 1237"/>
                  <a:gd name="T4" fmla="*/ 100 w 952"/>
                  <a:gd name="T5" fmla="*/ 0 h 1237"/>
                  <a:gd name="T6" fmla="*/ 144 w 952"/>
                  <a:gd name="T7" fmla="*/ 0 h 1237"/>
                  <a:gd name="T8" fmla="*/ 188 w 952"/>
                  <a:gd name="T9" fmla="*/ 0 h 1237"/>
                  <a:gd name="T10" fmla="*/ 238 w 952"/>
                  <a:gd name="T11" fmla="*/ 0 h 1237"/>
                  <a:gd name="T12" fmla="*/ 269 w 952"/>
                  <a:gd name="T13" fmla="*/ 0 h 1237"/>
                  <a:gd name="T14" fmla="*/ 364 w 952"/>
                  <a:gd name="T15" fmla="*/ 0 h 1237"/>
                  <a:gd name="T16" fmla="*/ 488 w 952"/>
                  <a:gd name="T17" fmla="*/ 0 h 1237"/>
                  <a:gd name="T18" fmla="*/ 594 w 952"/>
                  <a:gd name="T19" fmla="*/ 0 h 1237"/>
                  <a:gd name="T20" fmla="*/ 619 w 952"/>
                  <a:gd name="T21" fmla="*/ 0 h 1237"/>
                  <a:gd name="T22" fmla="*/ 714 w 952"/>
                  <a:gd name="T23" fmla="*/ 0 h 1237"/>
                  <a:gd name="T24" fmla="*/ 658 w 952"/>
                  <a:gd name="T25" fmla="*/ 0 h 1237"/>
                  <a:gd name="T26" fmla="*/ 664 w 952"/>
                  <a:gd name="T27" fmla="*/ 0 h 1237"/>
                  <a:gd name="T28" fmla="*/ 714 w 952"/>
                  <a:gd name="T29" fmla="*/ 0 h 1237"/>
                  <a:gd name="T30" fmla="*/ 720 w 952"/>
                  <a:gd name="T31" fmla="*/ 0 h 1237"/>
                  <a:gd name="T32" fmla="*/ 807 w 952"/>
                  <a:gd name="T33" fmla="*/ 0 h 1237"/>
                  <a:gd name="T34" fmla="*/ 889 w 952"/>
                  <a:gd name="T35" fmla="*/ 0 h 1237"/>
                  <a:gd name="T36" fmla="*/ 952 w 952"/>
                  <a:gd name="T37" fmla="*/ 0 h 1237"/>
                  <a:gd name="T38" fmla="*/ 895 w 952"/>
                  <a:gd name="T39" fmla="*/ 0 h 1237"/>
                  <a:gd name="T40" fmla="*/ 889 w 952"/>
                  <a:gd name="T41" fmla="*/ 0 h 1237"/>
                  <a:gd name="T42" fmla="*/ 852 w 952"/>
                  <a:gd name="T43" fmla="*/ 0 h 1237"/>
                  <a:gd name="T44" fmla="*/ 833 w 952"/>
                  <a:gd name="T45" fmla="*/ 0 h 1237"/>
                  <a:gd name="T46" fmla="*/ 746 w 952"/>
                  <a:gd name="T47" fmla="*/ 0 h 1237"/>
                  <a:gd name="T48" fmla="*/ 752 w 952"/>
                  <a:gd name="T49" fmla="*/ 0 h 1237"/>
                  <a:gd name="T50" fmla="*/ 682 w 952"/>
                  <a:gd name="T51" fmla="*/ 0 h 1237"/>
                  <a:gd name="T52" fmla="*/ 733 w 952"/>
                  <a:gd name="T53" fmla="*/ 0 h 1237"/>
                  <a:gd name="T54" fmla="*/ 727 w 952"/>
                  <a:gd name="T55" fmla="*/ 0 h 1237"/>
                  <a:gd name="T56" fmla="*/ 752 w 952"/>
                  <a:gd name="T57" fmla="*/ 0 h 1237"/>
                  <a:gd name="T58" fmla="*/ 752 w 952"/>
                  <a:gd name="T59" fmla="*/ 0 h 1237"/>
                  <a:gd name="T60" fmla="*/ 752 w 952"/>
                  <a:gd name="T61" fmla="*/ 0 h 1237"/>
                  <a:gd name="T62" fmla="*/ 664 w 952"/>
                  <a:gd name="T63" fmla="*/ 0 h 1237"/>
                  <a:gd name="T64" fmla="*/ 619 w 952"/>
                  <a:gd name="T65" fmla="*/ 0 h 1237"/>
                  <a:gd name="T66" fmla="*/ 569 w 952"/>
                  <a:gd name="T67" fmla="*/ 0 h 1237"/>
                  <a:gd name="T68" fmla="*/ 558 w 952"/>
                  <a:gd name="T69" fmla="*/ 0 h 1237"/>
                  <a:gd name="T70" fmla="*/ 488 w 952"/>
                  <a:gd name="T71" fmla="*/ 0 h 1237"/>
                  <a:gd name="T72" fmla="*/ 438 w 952"/>
                  <a:gd name="T73" fmla="*/ 0 h 1237"/>
                  <a:gd name="T74" fmla="*/ 433 w 952"/>
                  <a:gd name="T75" fmla="*/ 0 h 1237"/>
                  <a:gd name="T76" fmla="*/ 388 w 952"/>
                  <a:gd name="T77" fmla="*/ 0 h 1237"/>
                  <a:gd name="T78" fmla="*/ 388 w 952"/>
                  <a:gd name="T79" fmla="*/ 0 h 1237"/>
                  <a:gd name="T80" fmla="*/ 369 w 952"/>
                  <a:gd name="T81" fmla="*/ 0 h 1237"/>
                  <a:gd name="T82" fmla="*/ 351 w 952"/>
                  <a:gd name="T83" fmla="*/ 0 h 1237"/>
                  <a:gd name="T84" fmla="*/ 250 w 952"/>
                  <a:gd name="T85" fmla="*/ 0 h 1237"/>
                  <a:gd name="T86" fmla="*/ 238 w 952"/>
                  <a:gd name="T87" fmla="*/ 0 h 1237"/>
                  <a:gd name="T88" fmla="*/ 188 w 952"/>
                  <a:gd name="T89" fmla="*/ 0 h 1237"/>
                  <a:gd name="T90" fmla="*/ 118 w 952"/>
                  <a:gd name="T91" fmla="*/ 0 h 1237"/>
                  <a:gd name="T92" fmla="*/ 75 w 952"/>
                  <a:gd name="T93" fmla="*/ 0 h 1237"/>
                  <a:gd name="T94" fmla="*/ 82 w 952"/>
                  <a:gd name="T95" fmla="*/ 0 h 1237"/>
                  <a:gd name="T96" fmla="*/ 88 w 952"/>
                  <a:gd name="T97" fmla="*/ 0 h 1237"/>
                  <a:gd name="T98" fmla="*/ 12 w 952"/>
                  <a:gd name="T99" fmla="*/ 0 h 1237"/>
                  <a:gd name="T100" fmla="*/ 19 w 952"/>
                  <a:gd name="T101" fmla="*/ 0 h 12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952" h="1237">
                    <a:moveTo>
                      <a:pt x="0" y="592"/>
                    </a:moveTo>
                    <a:lnTo>
                      <a:pt x="7" y="547"/>
                    </a:lnTo>
                    <a:lnTo>
                      <a:pt x="44" y="534"/>
                    </a:lnTo>
                    <a:lnTo>
                      <a:pt x="100" y="469"/>
                    </a:lnTo>
                    <a:lnTo>
                      <a:pt x="107" y="425"/>
                    </a:lnTo>
                    <a:lnTo>
                      <a:pt x="100" y="355"/>
                    </a:lnTo>
                    <a:lnTo>
                      <a:pt x="138" y="346"/>
                    </a:lnTo>
                    <a:lnTo>
                      <a:pt x="144" y="267"/>
                    </a:lnTo>
                    <a:lnTo>
                      <a:pt x="188" y="267"/>
                    </a:lnTo>
                    <a:lnTo>
                      <a:pt x="188" y="223"/>
                    </a:lnTo>
                    <a:lnTo>
                      <a:pt x="219" y="188"/>
                    </a:lnTo>
                    <a:lnTo>
                      <a:pt x="238" y="232"/>
                    </a:lnTo>
                    <a:lnTo>
                      <a:pt x="257" y="256"/>
                    </a:lnTo>
                    <a:lnTo>
                      <a:pt x="269" y="346"/>
                    </a:lnTo>
                    <a:lnTo>
                      <a:pt x="338" y="378"/>
                    </a:lnTo>
                    <a:lnTo>
                      <a:pt x="364" y="446"/>
                    </a:lnTo>
                    <a:lnTo>
                      <a:pt x="419" y="434"/>
                    </a:lnTo>
                    <a:lnTo>
                      <a:pt x="488" y="490"/>
                    </a:lnTo>
                    <a:lnTo>
                      <a:pt x="569" y="446"/>
                    </a:lnTo>
                    <a:lnTo>
                      <a:pt x="594" y="401"/>
                    </a:lnTo>
                    <a:lnTo>
                      <a:pt x="594" y="355"/>
                    </a:lnTo>
                    <a:lnTo>
                      <a:pt x="619" y="355"/>
                    </a:lnTo>
                    <a:lnTo>
                      <a:pt x="670" y="290"/>
                    </a:lnTo>
                    <a:lnTo>
                      <a:pt x="714" y="290"/>
                    </a:lnTo>
                    <a:lnTo>
                      <a:pt x="696" y="232"/>
                    </a:lnTo>
                    <a:lnTo>
                      <a:pt x="658" y="246"/>
                    </a:lnTo>
                    <a:lnTo>
                      <a:pt x="651" y="188"/>
                    </a:lnTo>
                    <a:lnTo>
                      <a:pt x="664" y="158"/>
                    </a:lnTo>
                    <a:lnTo>
                      <a:pt x="688" y="167"/>
                    </a:lnTo>
                    <a:lnTo>
                      <a:pt x="714" y="144"/>
                    </a:lnTo>
                    <a:lnTo>
                      <a:pt x="733" y="67"/>
                    </a:lnTo>
                    <a:lnTo>
                      <a:pt x="720" y="44"/>
                    </a:lnTo>
                    <a:lnTo>
                      <a:pt x="783" y="0"/>
                    </a:lnTo>
                    <a:lnTo>
                      <a:pt x="807" y="35"/>
                    </a:lnTo>
                    <a:lnTo>
                      <a:pt x="839" y="167"/>
                    </a:lnTo>
                    <a:lnTo>
                      <a:pt x="889" y="202"/>
                    </a:lnTo>
                    <a:lnTo>
                      <a:pt x="895" y="246"/>
                    </a:lnTo>
                    <a:lnTo>
                      <a:pt x="952" y="211"/>
                    </a:lnTo>
                    <a:lnTo>
                      <a:pt x="927" y="346"/>
                    </a:lnTo>
                    <a:lnTo>
                      <a:pt x="895" y="369"/>
                    </a:lnTo>
                    <a:lnTo>
                      <a:pt x="895" y="425"/>
                    </a:lnTo>
                    <a:lnTo>
                      <a:pt x="889" y="446"/>
                    </a:lnTo>
                    <a:lnTo>
                      <a:pt x="883" y="434"/>
                    </a:lnTo>
                    <a:lnTo>
                      <a:pt x="852" y="478"/>
                    </a:lnTo>
                    <a:lnTo>
                      <a:pt x="852" y="490"/>
                    </a:lnTo>
                    <a:lnTo>
                      <a:pt x="833" y="490"/>
                    </a:lnTo>
                    <a:lnTo>
                      <a:pt x="788" y="547"/>
                    </a:lnTo>
                    <a:lnTo>
                      <a:pt x="746" y="601"/>
                    </a:lnTo>
                    <a:lnTo>
                      <a:pt x="757" y="534"/>
                    </a:lnTo>
                    <a:lnTo>
                      <a:pt x="752" y="513"/>
                    </a:lnTo>
                    <a:lnTo>
                      <a:pt x="688" y="578"/>
                    </a:lnTo>
                    <a:lnTo>
                      <a:pt x="682" y="601"/>
                    </a:lnTo>
                    <a:lnTo>
                      <a:pt x="707" y="645"/>
                    </a:lnTo>
                    <a:lnTo>
                      <a:pt x="733" y="636"/>
                    </a:lnTo>
                    <a:lnTo>
                      <a:pt x="764" y="645"/>
                    </a:lnTo>
                    <a:lnTo>
                      <a:pt x="727" y="680"/>
                    </a:lnTo>
                    <a:lnTo>
                      <a:pt x="714" y="736"/>
                    </a:lnTo>
                    <a:lnTo>
                      <a:pt x="752" y="847"/>
                    </a:lnTo>
                    <a:lnTo>
                      <a:pt x="727" y="836"/>
                    </a:lnTo>
                    <a:lnTo>
                      <a:pt x="752" y="880"/>
                    </a:lnTo>
                    <a:lnTo>
                      <a:pt x="727" y="903"/>
                    </a:lnTo>
                    <a:lnTo>
                      <a:pt x="752" y="912"/>
                    </a:lnTo>
                    <a:lnTo>
                      <a:pt x="701" y="1091"/>
                    </a:lnTo>
                    <a:lnTo>
                      <a:pt x="664" y="1149"/>
                    </a:lnTo>
                    <a:lnTo>
                      <a:pt x="632" y="1170"/>
                    </a:lnTo>
                    <a:lnTo>
                      <a:pt x="619" y="1158"/>
                    </a:lnTo>
                    <a:lnTo>
                      <a:pt x="613" y="1179"/>
                    </a:lnTo>
                    <a:lnTo>
                      <a:pt x="569" y="1202"/>
                    </a:lnTo>
                    <a:lnTo>
                      <a:pt x="569" y="1237"/>
                    </a:lnTo>
                    <a:lnTo>
                      <a:pt x="558" y="1193"/>
                    </a:lnTo>
                    <a:lnTo>
                      <a:pt x="532" y="1193"/>
                    </a:lnTo>
                    <a:lnTo>
                      <a:pt x="488" y="1149"/>
                    </a:lnTo>
                    <a:lnTo>
                      <a:pt x="444" y="1170"/>
                    </a:lnTo>
                    <a:lnTo>
                      <a:pt x="438" y="1170"/>
                    </a:lnTo>
                    <a:lnTo>
                      <a:pt x="438" y="1202"/>
                    </a:lnTo>
                    <a:lnTo>
                      <a:pt x="433" y="1193"/>
                    </a:lnTo>
                    <a:lnTo>
                      <a:pt x="401" y="1170"/>
                    </a:lnTo>
                    <a:lnTo>
                      <a:pt x="388" y="1114"/>
                    </a:lnTo>
                    <a:lnTo>
                      <a:pt x="376" y="1126"/>
                    </a:lnTo>
                    <a:lnTo>
                      <a:pt x="388" y="1026"/>
                    </a:lnTo>
                    <a:lnTo>
                      <a:pt x="388" y="991"/>
                    </a:lnTo>
                    <a:lnTo>
                      <a:pt x="369" y="970"/>
                    </a:lnTo>
                    <a:lnTo>
                      <a:pt x="357" y="958"/>
                    </a:lnTo>
                    <a:lnTo>
                      <a:pt x="351" y="924"/>
                    </a:lnTo>
                    <a:lnTo>
                      <a:pt x="282" y="981"/>
                    </a:lnTo>
                    <a:lnTo>
                      <a:pt x="250" y="970"/>
                    </a:lnTo>
                    <a:lnTo>
                      <a:pt x="238" y="1003"/>
                    </a:lnTo>
                    <a:lnTo>
                      <a:pt x="238" y="981"/>
                    </a:lnTo>
                    <a:lnTo>
                      <a:pt x="225" y="981"/>
                    </a:lnTo>
                    <a:lnTo>
                      <a:pt x="188" y="981"/>
                    </a:lnTo>
                    <a:lnTo>
                      <a:pt x="163" y="935"/>
                    </a:lnTo>
                    <a:lnTo>
                      <a:pt x="118" y="903"/>
                    </a:lnTo>
                    <a:lnTo>
                      <a:pt x="82" y="880"/>
                    </a:lnTo>
                    <a:lnTo>
                      <a:pt x="75" y="824"/>
                    </a:lnTo>
                    <a:lnTo>
                      <a:pt x="94" y="812"/>
                    </a:lnTo>
                    <a:lnTo>
                      <a:pt x="82" y="768"/>
                    </a:lnTo>
                    <a:lnTo>
                      <a:pt x="107" y="715"/>
                    </a:lnTo>
                    <a:lnTo>
                      <a:pt x="88" y="691"/>
                    </a:lnTo>
                    <a:lnTo>
                      <a:pt x="63" y="715"/>
                    </a:lnTo>
                    <a:lnTo>
                      <a:pt x="12" y="657"/>
                    </a:lnTo>
                    <a:lnTo>
                      <a:pt x="19" y="645"/>
                    </a:lnTo>
                    <a:lnTo>
                      <a:pt x="19" y="601"/>
                    </a:lnTo>
                    <a:lnTo>
                      <a:pt x="0" y="592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03" name="Freeform 231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886823" y="3987800"/>
              <a:ext cx="53975" cy="44450"/>
            </a:xfrm>
            <a:custGeom>
              <a:avLst/>
              <a:gdLst>
                <a:gd name="T0" fmla="*/ 0 w 37"/>
                <a:gd name="T1" fmla="*/ 2147483647 h 55"/>
                <a:gd name="T2" fmla="*/ 2147483647 w 37"/>
                <a:gd name="T3" fmla="*/ 0 h 55"/>
                <a:gd name="T4" fmla="*/ 2147483647 w 37"/>
                <a:gd name="T5" fmla="*/ 2147483647 h 55"/>
                <a:gd name="T6" fmla="*/ 2147483647 w 37"/>
                <a:gd name="T7" fmla="*/ 2147483647 h 55"/>
                <a:gd name="T8" fmla="*/ 0 w 37"/>
                <a:gd name="T9" fmla="*/ 2147483647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" h="55">
                  <a:moveTo>
                    <a:pt x="0" y="46"/>
                  </a:moveTo>
                  <a:lnTo>
                    <a:pt x="13" y="0"/>
                  </a:lnTo>
                  <a:lnTo>
                    <a:pt x="37" y="11"/>
                  </a:lnTo>
                  <a:lnTo>
                    <a:pt x="19" y="55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04" name="Freeform 232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886823" y="3987800"/>
              <a:ext cx="53975" cy="44450"/>
            </a:xfrm>
            <a:custGeom>
              <a:avLst/>
              <a:gdLst>
                <a:gd name="T0" fmla="*/ 0 w 37"/>
                <a:gd name="T1" fmla="*/ 2147483647 h 55"/>
                <a:gd name="T2" fmla="*/ 2147483647 w 37"/>
                <a:gd name="T3" fmla="*/ 0 h 55"/>
                <a:gd name="T4" fmla="*/ 2147483647 w 37"/>
                <a:gd name="T5" fmla="*/ 2147483647 h 55"/>
                <a:gd name="T6" fmla="*/ 2147483647 w 37"/>
                <a:gd name="T7" fmla="*/ 2147483647 h 55"/>
                <a:gd name="T8" fmla="*/ 0 w 37"/>
                <a:gd name="T9" fmla="*/ 2147483647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" h="55">
                  <a:moveTo>
                    <a:pt x="0" y="46"/>
                  </a:moveTo>
                  <a:lnTo>
                    <a:pt x="13" y="0"/>
                  </a:lnTo>
                  <a:lnTo>
                    <a:pt x="37" y="11"/>
                  </a:lnTo>
                  <a:lnTo>
                    <a:pt x="19" y="55"/>
                  </a:lnTo>
                  <a:lnTo>
                    <a:pt x="0" y="4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05" name="Freeform 233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886823" y="3987800"/>
              <a:ext cx="53975" cy="44450"/>
            </a:xfrm>
            <a:custGeom>
              <a:avLst/>
              <a:gdLst>
                <a:gd name="T0" fmla="*/ 0 w 37"/>
                <a:gd name="T1" fmla="*/ 2147483647 h 55"/>
                <a:gd name="T2" fmla="*/ 2147483647 w 37"/>
                <a:gd name="T3" fmla="*/ 0 h 55"/>
                <a:gd name="T4" fmla="*/ 2147483647 w 37"/>
                <a:gd name="T5" fmla="*/ 2147483647 h 55"/>
                <a:gd name="T6" fmla="*/ 2147483647 w 37"/>
                <a:gd name="T7" fmla="*/ 2147483647 h 55"/>
                <a:gd name="T8" fmla="*/ 0 w 37"/>
                <a:gd name="T9" fmla="*/ 2147483647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" h="55">
                  <a:moveTo>
                    <a:pt x="0" y="46"/>
                  </a:moveTo>
                  <a:lnTo>
                    <a:pt x="13" y="0"/>
                  </a:lnTo>
                  <a:lnTo>
                    <a:pt x="37" y="11"/>
                  </a:lnTo>
                  <a:lnTo>
                    <a:pt x="19" y="55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06" name="Freeform 234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6886823" y="3987800"/>
              <a:ext cx="53975" cy="44450"/>
            </a:xfrm>
            <a:custGeom>
              <a:avLst/>
              <a:gdLst>
                <a:gd name="T0" fmla="*/ 0 w 37"/>
                <a:gd name="T1" fmla="*/ 2147483647 h 55"/>
                <a:gd name="T2" fmla="*/ 2147483647 w 37"/>
                <a:gd name="T3" fmla="*/ 0 h 55"/>
                <a:gd name="T4" fmla="*/ 2147483647 w 37"/>
                <a:gd name="T5" fmla="*/ 2147483647 h 55"/>
                <a:gd name="T6" fmla="*/ 2147483647 w 37"/>
                <a:gd name="T7" fmla="*/ 2147483647 h 55"/>
                <a:gd name="T8" fmla="*/ 0 w 37"/>
                <a:gd name="T9" fmla="*/ 2147483647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" h="55">
                  <a:moveTo>
                    <a:pt x="0" y="46"/>
                  </a:moveTo>
                  <a:lnTo>
                    <a:pt x="13" y="0"/>
                  </a:lnTo>
                  <a:lnTo>
                    <a:pt x="37" y="11"/>
                  </a:lnTo>
                  <a:lnTo>
                    <a:pt x="19" y="55"/>
                  </a:lnTo>
                  <a:lnTo>
                    <a:pt x="0" y="4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07" name="Freeform 235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7153523" y="3857625"/>
              <a:ext cx="36513" cy="77788"/>
            </a:xfrm>
            <a:custGeom>
              <a:avLst/>
              <a:gdLst>
                <a:gd name="T0" fmla="*/ 0 w 25"/>
                <a:gd name="T1" fmla="*/ 2147483647 h 98"/>
                <a:gd name="T2" fmla="*/ 2147483647 w 25"/>
                <a:gd name="T3" fmla="*/ 2147483647 h 98"/>
                <a:gd name="T4" fmla="*/ 2147483647 w 25"/>
                <a:gd name="T5" fmla="*/ 0 h 98"/>
                <a:gd name="T6" fmla="*/ 2147483647 w 25"/>
                <a:gd name="T7" fmla="*/ 0 h 98"/>
                <a:gd name="T8" fmla="*/ 0 w 25"/>
                <a:gd name="T9" fmla="*/ 2147483647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98">
                  <a:moveTo>
                    <a:pt x="0" y="43"/>
                  </a:moveTo>
                  <a:lnTo>
                    <a:pt x="5" y="98"/>
                  </a:lnTo>
                  <a:lnTo>
                    <a:pt x="25" y="0"/>
                  </a:lnTo>
                  <a:lnTo>
                    <a:pt x="11" y="0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08" name="Freeform 236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7153523" y="3857625"/>
              <a:ext cx="36513" cy="77788"/>
            </a:xfrm>
            <a:custGeom>
              <a:avLst/>
              <a:gdLst>
                <a:gd name="T0" fmla="*/ 0 w 25"/>
                <a:gd name="T1" fmla="*/ 2147483647 h 98"/>
                <a:gd name="T2" fmla="*/ 2147483647 w 25"/>
                <a:gd name="T3" fmla="*/ 2147483647 h 98"/>
                <a:gd name="T4" fmla="*/ 2147483647 w 25"/>
                <a:gd name="T5" fmla="*/ 0 h 98"/>
                <a:gd name="T6" fmla="*/ 2147483647 w 25"/>
                <a:gd name="T7" fmla="*/ 0 h 98"/>
                <a:gd name="T8" fmla="*/ 0 w 25"/>
                <a:gd name="T9" fmla="*/ 2147483647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98">
                  <a:moveTo>
                    <a:pt x="0" y="43"/>
                  </a:moveTo>
                  <a:lnTo>
                    <a:pt x="5" y="98"/>
                  </a:lnTo>
                  <a:lnTo>
                    <a:pt x="25" y="0"/>
                  </a:lnTo>
                  <a:lnTo>
                    <a:pt x="11" y="0"/>
                  </a:lnTo>
                  <a:lnTo>
                    <a:pt x="0" y="4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09" name="Freeform 237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7153523" y="3857625"/>
              <a:ext cx="36513" cy="77788"/>
            </a:xfrm>
            <a:custGeom>
              <a:avLst/>
              <a:gdLst>
                <a:gd name="T0" fmla="*/ 0 w 25"/>
                <a:gd name="T1" fmla="*/ 2147483647 h 98"/>
                <a:gd name="T2" fmla="*/ 2147483647 w 25"/>
                <a:gd name="T3" fmla="*/ 2147483647 h 98"/>
                <a:gd name="T4" fmla="*/ 2147483647 w 25"/>
                <a:gd name="T5" fmla="*/ 0 h 98"/>
                <a:gd name="T6" fmla="*/ 2147483647 w 25"/>
                <a:gd name="T7" fmla="*/ 0 h 98"/>
                <a:gd name="T8" fmla="*/ 0 w 25"/>
                <a:gd name="T9" fmla="*/ 2147483647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98">
                  <a:moveTo>
                    <a:pt x="0" y="43"/>
                  </a:moveTo>
                  <a:lnTo>
                    <a:pt x="5" y="98"/>
                  </a:lnTo>
                  <a:lnTo>
                    <a:pt x="25" y="0"/>
                  </a:lnTo>
                  <a:lnTo>
                    <a:pt x="11" y="0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10" name="Freeform 238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7153523" y="3857625"/>
              <a:ext cx="36513" cy="77788"/>
            </a:xfrm>
            <a:custGeom>
              <a:avLst/>
              <a:gdLst>
                <a:gd name="T0" fmla="*/ 0 w 25"/>
                <a:gd name="T1" fmla="*/ 2147483647 h 98"/>
                <a:gd name="T2" fmla="*/ 2147483647 w 25"/>
                <a:gd name="T3" fmla="*/ 2147483647 h 98"/>
                <a:gd name="T4" fmla="*/ 2147483647 w 25"/>
                <a:gd name="T5" fmla="*/ 0 h 98"/>
                <a:gd name="T6" fmla="*/ 2147483647 w 25"/>
                <a:gd name="T7" fmla="*/ 0 h 98"/>
                <a:gd name="T8" fmla="*/ 0 w 25"/>
                <a:gd name="T9" fmla="*/ 2147483647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98">
                  <a:moveTo>
                    <a:pt x="0" y="43"/>
                  </a:moveTo>
                  <a:lnTo>
                    <a:pt x="5" y="98"/>
                  </a:lnTo>
                  <a:lnTo>
                    <a:pt x="25" y="0"/>
                  </a:lnTo>
                  <a:lnTo>
                    <a:pt x="11" y="0"/>
                  </a:lnTo>
                  <a:lnTo>
                    <a:pt x="0" y="43"/>
                  </a:lnTo>
                </a:path>
              </a:pathLst>
            </a:custGeom>
            <a:solidFill>
              <a:srgbClr val="FFC000"/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11" name="Freeform 239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2429123" y="4183063"/>
              <a:ext cx="265113" cy="423862"/>
            </a:xfrm>
            <a:custGeom>
              <a:avLst/>
              <a:gdLst>
                <a:gd name="T0" fmla="*/ 0 w 180"/>
                <a:gd name="T1" fmla="*/ 2147483647 h 534"/>
                <a:gd name="T2" fmla="*/ 2147483647 w 180"/>
                <a:gd name="T3" fmla="*/ 2147483647 h 534"/>
                <a:gd name="T4" fmla="*/ 2147483647 w 180"/>
                <a:gd name="T5" fmla="*/ 2147483647 h 534"/>
                <a:gd name="T6" fmla="*/ 2147483647 w 180"/>
                <a:gd name="T7" fmla="*/ 2147483647 h 534"/>
                <a:gd name="T8" fmla="*/ 2147483647 w 180"/>
                <a:gd name="T9" fmla="*/ 2147483647 h 534"/>
                <a:gd name="T10" fmla="*/ 2147483647 w 180"/>
                <a:gd name="T11" fmla="*/ 2147483647 h 534"/>
                <a:gd name="T12" fmla="*/ 2147483647 w 180"/>
                <a:gd name="T13" fmla="*/ 2147483647 h 534"/>
                <a:gd name="T14" fmla="*/ 2147483647 w 180"/>
                <a:gd name="T15" fmla="*/ 2147483647 h 534"/>
                <a:gd name="T16" fmla="*/ 2147483647 w 180"/>
                <a:gd name="T17" fmla="*/ 2147483647 h 534"/>
                <a:gd name="T18" fmla="*/ 2147483647 w 180"/>
                <a:gd name="T19" fmla="*/ 2147483647 h 534"/>
                <a:gd name="T20" fmla="*/ 2147483647 w 180"/>
                <a:gd name="T21" fmla="*/ 2147483647 h 534"/>
                <a:gd name="T22" fmla="*/ 2147483647 w 180"/>
                <a:gd name="T23" fmla="*/ 2147483647 h 534"/>
                <a:gd name="T24" fmla="*/ 2147483647 w 180"/>
                <a:gd name="T25" fmla="*/ 2147483647 h 534"/>
                <a:gd name="T26" fmla="*/ 2147483647 w 180"/>
                <a:gd name="T27" fmla="*/ 2147483647 h 534"/>
                <a:gd name="T28" fmla="*/ 2147483647 w 180"/>
                <a:gd name="T29" fmla="*/ 2147483647 h 534"/>
                <a:gd name="T30" fmla="*/ 2147483647 w 180"/>
                <a:gd name="T31" fmla="*/ 2147483647 h 534"/>
                <a:gd name="T32" fmla="*/ 2147483647 w 180"/>
                <a:gd name="T33" fmla="*/ 2147483647 h 534"/>
                <a:gd name="T34" fmla="*/ 2147483647 w 180"/>
                <a:gd name="T35" fmla="*/ 2147483647 h 534"/>
                <a:gd name="T36" fmla="*/ 2147483647 w 180"/>
                <a:gd name="T37" fmla="*/ 2147483647 h 534"/>
                <a:gd name="T38" fmla="*/ 2147483647 w 180"/>
                <a:gd name="T39" fmla="*/ 2147483647 h 534"/>
                <a:gd name="T40" fmla="*/ 2147483647 w 180"/>
                <a:gd name="T41" fmla="*/ 0 h 534"/>
                <a:gd name="T42" fmla="*/ 2147483647 w 180"/>
                <a:gd name="T43" fmla="*/ 2147483647 h 534"/>
                <a:gd name="T44" fmla="*/ 2147483647 w 180"/>
                <a:gd name="T45" fmla="*/ 2147483647 h 534"/>
                <a:gd name="T46" fmla="*/ 2147483647 w 180"/>
                <a:gd name="T47" fmla="*/ 2147483647 h 534"/>
                <a:gd name="T48" fmla="*/ 2147483647 w 180"/>
                <a:gd name="T49" fmla="*/ 2147483647 h 534"/>
                <a:gd name="T50" fmla="*/ 2147483647 w 180"/>
                <a:gd name="T51" fmla="*/ 2147483647 h 534"/>
                <a:gd name="T52" fmla="*/ 2147483647 w 180"/>
                <a:gd name="T53" fmla="*/ 2147483647 h 534"/>
                <a:gd name="T54" fmla="*/ 0 w 180"/>
                <a:gd name="T55" fmla="*/ 2147483647 h 5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80" h="534">
                  <a:moveTo>
                    <a:pt x="0" y="358"/>
                  </a:moveTo>
                  <a:lnTo>
                    <a:pt x="24" y="390"/>
                  </a:lnTo>
                  <a:lnTo>
                    <a:pt x="55" y="402"/>
                  </a:lnTo>
                  <a:lnTo>
                    <a:pt x="87" y="469"/>
                  </a:lnTo>
                  <a:lnTo>
                    <a:pt x="130" y="480"/>
                  </a:lnTo>
                  <a:lnTo>
                    <a:pt x="124" y="513"/>
                  </a:lnTo>
                  <a:lnTo>
                    <a:pt x="137" y="534"/>
                  </a:lnTo>
                  <a:lnTo>
                    <a:pt x="143" y="446"/>
                  </a:lnTo>
                  <a:lnTo>
                    <a:pt x="137" y="381"/>
                  </a:lnTo>
                  <a:lnTo>
                    <a:pt x="149" y="381"/>
                  </a:lnTo>
                  <a:lnTo>
                    <a:pt x="137" y="346"/>
                  </a:lnTo>
                  <a:lnTo>
                    <a:pt x="174" y="335"/>
                  </a:lnTo>
                  <a:lnTo>
                    <a:pt x="180" y="358"/>
                  </a:lnTo>
                  <a:lnTo>
                    <a:pt x="169" y="311"/>
                  </a:lnTo>
                  <a:lnTo>
                    <a:pt x="174" y="200"/>
                  </a:lnTo>
                  <a:lnTo>
                    <a:pt x="143" y="200"/>
                  </a:lnTo>
                  <a:lnTo>
                    <a:pt x="137" y="179"/>
                  </a:lnTo>
                  <a:lnTo>
                    <a:pt x="105" y="167"/>
                  </a:lnTo>
                  <a:lnTo>
                    <a:pt x="87" y="112"/>
                  </a:lnTo>
                  <a:lnTo>
                    <a:pt x="112" y="21"/>
                  </a:lnTo>
                  <a:lnTo>
                    <a:pt x="112" y="0"/>
                  </a:lnTo>
                  <a:lnTo>
                    <a:pt x="55" y="45"/>
                  </a:lnTo>
                  <a:lnTo>
                    <a:pt x="31" y="144"/>
                  </a:lnTo>
                  <a:lnTo>
                    <a:pt x="19" y="123"/>
                  </a:lnTo>
                  <a:lnTo>
                    <a:pt x="13" y="167"/>
                  </a:lnTo>
                  <a:lnTo>
                    <a:pt x="19" y="267"/>
                  </a:lnTo>
                  <a:lnTo>
                    <a:pt x="24" y="267"/>
                  </a:lnTo>
                  <a:lnTo>
                    <a:pt x="0" y="358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12" name="Group 240"/>
            <p:cNvGrpSpPr>
              <a:grpSpLocks/>
            </p:cNvGrpSpPr>
            <p:nvPr>
              <p:custDataLst>
                <p:tags r:id="rId206"/>
              </p:custDataLst>
            </p:nvPr>
          </p:nvGrpSpPr>
          <p:grpSpPr bwMode="auto">
            <a:xfrm>
              <a:off x="2429123" y="4183063"/>
              <a:ext cx="265113" cy="423862"/>
              <a:chOff x="1719" y="2453"/>
              <a:chExt cx="180" cy="26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103" name="Freeform 241"/>
              <p:cNvSpPr>
                <a:spLocks/>
              </p:cNvSpPr>
              <p:nvPr/>
            </p:nvSpPr>
            <p:spPr bwMode="auto">
              <a:xfrm>
                <a:off x="1719" y="2453"/>
                <a:ext cx="180" cy="267"/>
              </a:xfrm>
              <a:custGeom>
                <a:avLst/>
                <a:gdLst>
                  <a:gd name="T0" fmla="*/ 0 w 180"/>
                  <a:gd name="T1" fmla="*/ 1 h 534"/>
                  <a:gd name="T2" fmla="*/ 24 w 180"/>
                  <a:gd name="T3" fmla="*/ 1 h 534"/>
                  <a:gd name="T4" fmla="*/ 55 w 180"/>
                  <a:gd name="T5" fmla="*/ 1 h 534"/>
                  <a:gd name="T6" fmla="*/ 87 w 180"/>
                  <a:gd name="T7" fmla="*/ 1 h 534"/>
                  <a:gd name="T8" fmla="*/ 130 w 180"/>
                  <a:gd name="T9" fmla="*/ 1 h 534"/>
                  <a:gd name="T10" fmla="*/ 124 w 180"/>
                  <a:gd name="T11" fmla="*/ 1 h 534"/>
                  <a:gd name="T12" fmla="*/ 137 w 180"/>
                  <a:gd name="T13" fmla="*/ 1 h 534"/>
                  <a:gd name="T14" fmla="*/ 143 w 180"/>
                  <a:gd name="T15" fmla="*/ 1 h 534"/>
                  <a:gd name="T16" fmla="*/ 137 w 180"/>
                  <a:gd name="T17" fmla="*/ 1 h 534"/>
                  <a:gd name="T18" fmla="*/ 149 w 180"/>
                  <a:gd name="T19" fmla="*/ 1 h 534"/>
                  <a:gd name="T20" fmla="*/ 137 w 180"/>
                  <a:gd name="T21" fmla="*/ 1 h 534"/>
                  <a:gd name="T22" fmla="*/ 174 w 180"/>
                  <a:gd name="T23" fmla="*/ 1 h 534"/>
                  <a:gd name="T24" fmla="*/ 180 w 180"/>
                  <a:gd name="T25" fmla="*/ 1 h 534"/>
                  <a:gd name="T26" fmla="*/ 169 w 180"/>
                  <a:gd name="T27" fmla="*/ 1 h 534"/>
                  <a:gd name="T28" fmla="*/ 174 w 180"/>
                  <a:gd name="T29" fmla="*/ 1 h 534"/>
                  <a:gd name="T30" fmla="*/ 143 w 180"/>
                  <a:gd name="T31" fmla="*/ 1 h 534"/>
                  <a:gd name="T32" fmla="*/ 137 w 180"/>
                  <a:gd name="T33" fmla="*/ 1 h 534"/>
                  <a:gd name="T34" fmla="*/ 105 w 180"/>
                  <a:gd name="T35" fmla="*/ 1 h 534"/>
                  <a:gd name="T36" fmla="*/ 87 w 180"/>
                  <a:gd name="T37" fmla="*/ 1 h 534"/>
                  <a:gd name="T38" fmla="*/ 112 w 180"/>
                  <a:gd name="T39" fmla="*/ 1 h 534"/>
                  <a:gd name="T40" fmla="*/ 112 w 180"/>
                  <a:gd name="T41" fmla="*/ 0 h 534"/>
                  <a:gd name="T42" fmla="*/ 55 w 180"/>
                  <a:gd name="T43" fmla="*/ 1 h 534"/>
                  <a:gd name="T44" fmla="*/ 31 w 180"/>
                  <a:gd name="T45" fmla="*/ 1 h 534"/>
                  <a:gd name="T46" fmla="*/ 19 w 180"/>
                  <a:gd name="T47" fmla="*/ 1 h 534"/>
                  <a:gd name="T48" fmla="*/ 13 w 180"/>
                  <a:gd name="T49" fmla="*/ 1 h 534"/>
                  <a:gd name="T50" fmla="*/ 19 w 180"/>
                  <a:gd name="T51" fmla="*/ 1 h 534"/>
                  <a:gd name="T52" fmla="*/ 24 w 180"/>
                  <a:gd name="T53" fmla="*/ 1 h 534"/>
                  <a:gd name="T54" fmla="*/ 0 w 180"/>
                  <a:gd name="T55" fmla="*/ 1 h 5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80" h="534">
                    <a:moveTo>
                      <a:pt x="0" y="358"/>
                    </a:moveTo>
                    <a:lnTo>
                      <a:pt x="24" y="390"/>
                    </a:lnTo>
                    <a:lnTo>
                      <a:pt x="55" y="402"/>
                    </a:lnTo>
                    <a:lnTo>
                      <a:pt x="87" y="469"/>
                    </a:lnTo>
                    <a:lnTo>
                      <a:pt x="130" y="480"/>
                    </a:lnTo>
                    <a:lnTo>
                      <a:pt x="124" y="513"/>
                    </a:lnTo>
                    <a:lnTo>
                      <a:pt x="137" y="534"/>
                    </a:lnTo>
                    <a:lnTo>
                      <a:pt x="143" y="446"/>
                    </a:lnTo>
                    <a:lnTo>
                      <a:pt x="137" y="381"/>
                    </a:lnTo>
                    <a:lnTo>
                      <a:pt x="149" y="381"/>
                    </a:lnTo>
                    <a:lnTo>
                      <a:pt x="137" y="346"/>
                    </a:lnTo>
                    <a:lnTo>
                      <a:pt x="174" y="335"/>
                    </a:lnTo>
                    <a:lnTo>
                      <a:pt x="180" y="358"/>
                    </a:lnTo>
                    <a:lnTo>
                      <a:pt x="169" y="311"/>
                    </a:lnTo>
                    <a:lnTo>
                      <a:pt x="174" y="200"/>
                    </a:lnTo>
                    <a:lnTo>
                      <a:pt x="143" y="200"/>
                    </a:lnTo>
                    <a:lnTo>
                      <a:pt x="137" y="179"/>
                    </a:lnTo>
                    <a:lnTo>
                      <a:pt x="105" y="167"/>
                    </a:lnTo>
                    <a:lnTo>
                      <a:pt x="87" y="112"/>
                    </a:lnTo>
                    <a:lnTo>
                      <a:pt x="112" y="21"/>
                    </a:lnTo>
                    <a:lnTo>
                      <a:pt x="112" y="0"/>
                    </a:lnTo>
                    <a:lnTo>
                      <a:pt x="55" y="45"/>
                    </a:lnTo>
                    <a:lnTo>
                      <a:pt x="31" y="144"/>
                    </a:lnTo>
                    <a:lnTo>
                      <a:pt x="19" y="123"/>
                    </a:lnTo>
                    <a:lnTo>
                      <a:pt x="13" y="167"/>
                    </a:lnTo>
                    <a:lnTo>
                      <a:pt x="19" y="267"/>
                    </a:lnTo>
                    <a:lnTo>
                      <a:pt x="24" y="267"/>
                    </a:lnTo>
                    <a:lnTo>
                      <a:pt x="0" y="358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04" name="Freeform 242"/>
              <p:cNvSpPr>
                <a:spLocks/>
              </p:cNvSpPr>
              <p:nvPr/>
            </p:nvSpPr>
            <p:spPr bwMode="auto">
              <a:xfrm>
                <a:off x="1719" y="2453"/>
                <a:ext cx="180" cy="267"/>
              </a:xfrm>
              <a:custGeom>
                <a:avLst/>
                <a:gdLst>
                  <a:gd name="T0" fmla="*/ 0 w 180"/>
                  <a:gd name="T1" fmla="*/ 1 h 534"/>
                  <a:gd name="T2" fmla="*/ 24 w 180"/>
                  <a:gd name="T3" fmla="*/ 1 h 534"/>
                  <a:gd name="T4" fmla="*/ 55 w 180"/>
                  <a:gd name="T5" fmla="*/ 1 h 534"/>
                  <a:gd name="T6" fmla="*/ 87 w 180"/>
                  <a:gd name="T7" fmla="*/ 1 h 534"/>
                  <a:gd name="T8" fmla="*/ 130 w 180"/>
                  <a:gd name="T9" fmla="*/ 1 h 534"/>
                  <a:gd name="T10" fmla="*/ 124 w 180"/>
                  <a:gd name="T11" fmla="*/ 1 h 534"/>
                  <a:gd name="T12" fmla="*/ 137 w 180"/>
                  <a:gd name="T13" fmla="*/ 1 h 534"/>
                  <a:gd name="T14" fmla="*/ 143 w 180"/>
                  <a:gd name="T15" fmla="*/ 1 h 534"/>
                  <a:gd name="T16" fmla="*/ 137 w 180"/>
                  <a:gd name="T17" fmla="*/ 1 h 534"/>
                  <a:gd name="T18" fmla="*/ 149 w 180"/>
                  <a:gd name="T19" fmla="*/ 1 h 534"/>
                  <a:gd name="T20" fmla="*/ 137 w 180"/>
                  <a:gd name="T21" fmla="*/ 1 h 534"/>
                  <a:gd name="T22" fmla="*/ 174 w 180"/>
                  <a:gd name="T23" fmla="*/ 1 h 534"/>
                  <a:gd name="T24" fmla="*/ 180 w 180"/>
                  <a:gd name="T25" fmla="*/ 1 h 534"/>
                  <a:gd name="T26" fmla="*/ 169 w 180"/>
                  <a:gd name="T27" fmla="*/ 1 h 534"/>
                  <a:gd name="T28" fmla="*/ 174 w 180"/>
                  <a:gd name="T29" fmla="*/ 1 h 534"/>
                  <a:gd name="T30" fmla="*/ 143 w 180"/>
                  <a:gd name="T31" fmla="*/ 1 h 534"/>
                  <a:gd name="T32" fmla="*/ 137 w 180"/>
                  <a:gd name="T33" fmla="*/ 1 h 534"/>
                  <a:gd name="T34" fmla="*/ 105 w 180"/>
                  <a:gd name="T35" fmla="*/ 1 h 534"/>
                  <a:gd name="T36" fmla="*/ 87 w 180"/>
                  <a:gd name="T37" fmla="*/ 1 h 534"/>
                  <a:gd name="T38" fmla="*/ 112 w 180"/>
                  <a:gd name="T39" fmla="*/ 1 h 534"/>
                  <a:gd name="T40" fmla="*/ 112 w 180"/>
                  <a:gd name="T41" fmla="*/ 0 h 534"/>
                  <a:gd name="T42" fmla="*/ 55 w 180"/>
                  <a:gd name="T43" fmla="*/ 1 h 534"/>
                  <a:gd name="T44" fmla="*/ 31 w 180"/>
                  <a:gd name="T45" fmla="*/ 1 h 534"/>
                  <a:gd name="T46" fmla="*/ 19 w 180"/>
                  <a:gd name="T47" fmla="*/ 1 h 534"/>
                  <a:gd name="T48" fmla="*/ 13 w 180"/>
                  <a:gd name="T49" fmla="*/ 1 h 534"/>
                  <a:gd name="T50" fmla="*/ 19 w 180"/>
                  <a:gd name="T51" fmla="*/ 1 h 534"/>
                  <a:gd name="T52" fmla="*/ 24 w 180"/>
                  <a:gd name="T53" fmla="*/ 1 h 534"/>
                  <a:gd name="T54" fmla="*/ 0 w 180"/>
                  <a:gd name="T55" fmla="*/ 1 h 5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80" h="534">
                    <a:moveTo>
                      <a:pt x="0" y="358"/>
                    </a:moveTo>
                    <a:lnTo>
                      <a:pt x="24" y="390"/>
                    </a:lnTo>
                    <a:lnTo>
                      <a:pt x="55" y="402"/>
                    </a:lnTo>
                    <a:lnTo>
                      <a:pt x="87" y="469"/>
                    </a:lnTo>
                    <a:lnTo>
                      <a:pt x="130" y="480"/>
                    </a:lnTo>
                    <a:lnTo>
                      <a:pt x="124" y="513"/>
                    </a:lnTo>
                    <a:lnTo>
                      <a:pt x="137" y="534"/>
                    </a:lnTo>
                    <a:lnTo>
                      <a:pt x="143" y="446"/>
                    </a:lnTo>
                    <a:lnTo>
                      <a:pt x="137" y="381"/>
                    </a:lnTo>
                    <a:lnTo>
                      <a:pt x="149" y="381"/>
                    </a:lnTo>
                    <a:lnTo>
                      <a:pt x="137" y="346"/>
                    </a:lnTo>
                    <a:lnTo>
                      <a:pt x="174" y="335"/>
                    </a:lnTo>
                    <a:lnTo>
                      <a:pt x="180" y="358"/>
                    </a:lnTo>
                    <a:lnTo>
                      <a:pt x="169" y="311"/>
                    </a:lnTo>
                    <a:lnTo>
                      <a:pt x="174" y="200"/>
                    </a:lnTo>
                    <a:lnTo>
                      <a:pt x="143" y="200"/>
                    </a:lnTo>
                    <a:lnTo>
                      <a:pt x="137" y="179"/>
                    </a:lnTo>
                    <a:lnTo>
                      <a:pt x="105" y="167"/>
                    </a:lnTo>
                    <a:lnTo>
                      <a:pt x="87" y="112"/>
                    </a:lnTo>
                    <a:lnTo>
                      <a:pt x="112" y="21"/>
                    </a:lnTo>
                    <a:lnTo>
                      <a:pt x="112" y="0"/>
                    </a:lnTo>
                    <a:lnTo>
                      <a:pt x="55" y="45"/>
                    </a:lnTo>
                    <a:lnTo>
                      <a:pt x="31" y="144"/>
                    </a:lnTo>
                    <a:lnTo>
                      <a:pt x="19" y="123"/>
                    </a:lnTo>
                    <a:lnTo>
                      <a:pt x="13" y="167"/>
                    </a:lnTo>
                    <a:lnTo>
                      <a:pt x="19" y="267"/>
                    </a:lnTo>
                    <a:lnTo>
                      <a:pt x="24" y="267"/>
                    </a:lnTo>
                    <a:lnTo>
                      <a:pt x="0" y="358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13" name="Freeform 243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2429123" y="4183063"/>
              <a:ext cx="265113" cy="423862"/>
            </a:xfrm>
            <a:custGeom>
              <a:avLst/>
              <a:gdLst>
                <a:gd name="T0" fmla="*/ 0 w 180"/>
                <a:gd name="T1" fmla="*/ 2147483647 h 534"/>
                <a:gd name="T2" fmla="*/ 2147483647 w 180"/>
                <a:gd name="T3" fmla="*/ 2147483647 h 534"/>
                <a:gd name="T4" fmla="*/ 2147483647 w 180"/>
                <a:gd name="T5" fmla="*/ 2147483647 h 534"/>
                <a:gd name="T6" fmla="*/ 2147483647 w 180"/>
                <a:gd name="T7" fmla="*/ 2147483647 h 534"/>
                <a:gd name="T8" fmla="*/ 2147483647 w 180"/>
                <a:gd name="T9" fmla="*/ 2147483647 h 534"/>
                <a:gd name="T10" fmla="*/ 2147483647 w 180"/>
                <a:gd name="T11" fmla="*/ 2147483647 h 534"/>
                <a:gd name="T12" fmla="*/ 2147483647 w 180"/>
                <a:gd name="T13" fmla="*/ 2147483647 h 534"/>
                <a:gd name="T14" fmla="*/ 2147483647 w 180"/>
                <a:gd name="T15" fmla="*/ 2147483647 h 534"/>
                <a:gd name="T16" fmla="*/ 2147483647 w 180"/>
                <a:gd name="T17" fmla="*/ 2147483647 h 534"/>
                <a:gd name="T18" fmla="*/ 2147483647 w 180"/>
                <a:gd name="T19" fmla="*/ 2147483647 h 534"/>
                <a:gd name="T20" fmla="*/ 2147483647 w 180"/>
                <a:gd name="T21" fmla="*/ 2147483647 h 534"/>
                <a:gd name="T22" fmla="*/ 2147483647 w 180"/>
                <a:gd name="T23" fmla="*/ 2147483647 h 534"/>
                <a:gd name="T24" fmla="*/ 2147483647 w 180"/>
                <a:gd name="T25" fmla="*/ 2147483647 h 534"/>
                <a:gd name="T26" fmla="*/ 2147483647 w 180"/>
                <a:gd name="T27" fmla="*/ 2147483647 h 534"/>
                <a:gd name="T28" fmla="*/ 2147483647 w 180"/>
                <a:gd name="T29" fmla="*/ 2147483647 h 534"/>
                <a:gd name="T30" fmla="*/ 2147483647 w 180"/>
                <a:gd name="T31" fmla="*/ 2147483647 h 534"/>
                <a:gd name="T32" fmla="*/ 2147483647 w 180"/>
                <a:gd name="T33" fmla="*/ 2147483647 h 534"/>
                <a:gd name="T34" fmla="*/ 2147483647 w 180"/>
                <a:gd name="T35" fmla="*/ 2147483647 h 534"/>
                <a:gd name="T36" fmla="*/ 2147483647 w 180"/>
                <a:gd name="T37" fmla="*/ 2147483647 h 534"/>
                <a:gd name="T38" fmla="*/ 2147483647 w 180"/>
                <a:gd name="T39" fmla="*/ 2147483647 h 534"/>
                <a:gd name="T40" fmla="*/ 2147483647 w 180"/>
                <a:gd name="T41" fmla="*/ 0 h 534"/>
                <a:gd name="T42" fmla="*/ 2147483647 w 180"/>
                <a:gd name="T43" fmla="*/ 2147483647 h 534"/>
                <a:gd name="T44" fmla="*/ 2147483647 w 180"/>
                <a:gd name="T45" fmla="*/ 2147483647 h 534"/>
                <a:gd name="T46" fmla="*/ 2147483647 w 180"/>
                <a:gd name="T47" fmla="*/ 2147483647 h 534"/>
                <a:gd name="T48" fmla="*/ 2147483647 w 180"/>
                <a:gd name="T49" fmla="*/ 2147483647 h 534"/>
                <a:gd name="T50" fmla="*/ 2147483647 w 180"/>
                <a:gd name="T51" fmla="*/ 2147483647 h 534"/>
                <a:gd name="T52" fmla="*/ 2147483647 w 180"/>
                <a:gd name="T53" fmla="*/ 2147483647 h 534"/>
                <a:gd name="T54" fmla="*/ 0 w 180"/>
                <a:gd name="T55" fmla="*/ 2147483647 h 5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80" h="534">
                  <a:moveTo>
                    <a:pt x="0" y="358"/>
                  </a:moveTo>
                  <a:lnTo>
                    <a:pt x="24" y="390"/>
                  </a:lnTo>
                  <a:lnTo>
                    <a:pt x="55" y="402"/>
                  </a:lnTo>
                  <a:lnTo>
                    <a:pt x="87" y="469"/>
                  </a:lnTo>
                  <a:lnTo>
                    <a:pt x="130" y="480"/>
                  </a:lnTo>
                  <a:lnTo>
                    <a:pt x="124" y="513"/>
                  </a:lnTo>
                  <a:lnTo>
                    <a:pt x="137" y="534"/>
                  </a:lnTo>
                  <a:lnTo>
                    <a:pt x="143" y="446"/>
                  </a:lnTo>
                  <a:lnTo>
                    <a:pt x="137" y="381"/>
                  </a:lnTo>
                  <a:lnTo>
                    <a:pt x="149" y="381"/>
                  </a:lnTo>
                  <a:lnTo>
                    <a:pt x="137" y="346"/>
                  </a:lnTo>
                  <a:lnTo>
                    <a:pt x="174" y="335"/>
                  </a:lnTo>
                  <a:lnTo>
                    <a:pt x="180" y="358"/>
                  </a:lnTo>
                  <a:lnTo>
                    <a:pt x="169" y="311"/>
                  </a:lnTo>
                  <a:lnTo>
                    <a:pt x="174" y="200"/>
                  </a:lnTo>
                  <a:lnTo>
                    <a:pt x="143" y="200"/>
                  </a:lnTo>
                  <a:lnTo>
                    <a:pt x="137" y="179"/>
                  </a:lnTo>
                  <a:lnTo>
                    <a:pt x="105" y="167"/>
                  </a:lnTo>
                  <a:lnTo>
                    <a:pt x="87" y="112"/>
                  </a:lnTo>
                  <a:lnTo>
                    <a:pt x="112" y="21"/>
                  </a:lnTo>
                  <a:lnTo>
                    <a:pt x="112" y="0"/>
                  </a:lnTo>
                  <a:lnTo>
                    <a:pt x="55" y="45"/>
                  </a:lnTo>
                  <a:lnTo>
                    <a:pt x="31" y="144"/>
                  </a:lnTo>
                  <a:lnTo>
                    <a:pt x="19" y="123"/>
                  </a:lnTo>
                  <a:lnTo>
                    <a:pt x="13" y="167"/>
                  </a:lnTo>
                  <a:lnTo>
                    <a:pt x="19" y="267"/>
                  </a:lnTo>
                  <a:lnTo>
                    <a:pt x="24" y="267"/>
                  </a:lnTo>
                  <a:lnTo>
                    <a:pt x="0" y="35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14" name="Group 244"/>
            <p:cNvGrpSpPr>
              <a:grpSpLocks/>
            </p:cNvGrpSpPr>
            <p:nvPr>
              <p:custDataLst>
                <p:tags r:id="rId208"/>
              </p:custDataLst>
            </p:nvPr>
          </p:nvGrpSpPr>
          <p:grpSpPr bwMode="auto">
            <a:xfrm>
              <a:off x="2429123" y="4183063"/>
              <a:ext cx="265113" cy="423862"/>
              <a:chOff x="1719" y="2453"/>
              <a:chExt cx="180" cy="267"/>
            </a:xfrm>
            <a:solidFill>
              <a:schemeClr val="bg2">
                <a:lumMod val="50000"/>
              </a:schemeClr>
            </a:solidFill>
          </p:grpSpPr>
          <p:sp>
            <p:nvSpPr>
              <p:cNvPr id="1101" name="Freeform 245"/>
              <p:cNvSpPr>
                <a:spLocks/>
              </p:cNvSpPr>
              <p:nvPr/>
            </p:nvSpPr>
            <p:spPr bwMode="auto">
              <a:xfrm>
                <a:off x="1719" y="2453"/>
                <a:ext cx="180" cy="267"/>
              </a:xfrm>
              <a:custGeom>
                <a:avLst/>
                <a:gdLst>
                  <a:gd name="T0" fmla="*/ 0 w 180"/>
                  <a:gd name="T1" fmla="*/ 1 h 534"/>
                  <a:gd name="T2" fmla="*/ 24 w 180"/>
                  <a:gd name="T3" fmla="*/ 1 h 534"/>
                  <a:gd name="T4" fmla="*/ 55 w 180"/>
                  <a:gd name="T5" fmla="*/ 1 h 534"/>
                  <a:gd name="T6" fmla="*/ 87 w 180"/>
                  <a:gd name="T7" fmla="*/ 1 h 534"/>
                  <a:gd name="T8" fmla="*/ 130 w 180"/>
                  <a:gd name="T9" fmla="*/ 1 h 534"/>
                  <a:gd name="T10" fmla="*/ 124 w 180"/>
                  <a:gd name="T11" fmla="*/ 1 h 534"/>
                  <a:gd name="T12" fmla="*/ 137 w 180"/>
                  <a:gd name="T13" fmla="*/ 1 h 534"/>
                  <a:gd name="T14" fmla="*/ 143 w 180"/>
                  <a:gd name="T15" fmla="*/ 1 h 534"/>
                  <a:gd name="T16" fmla="*/ 137 w 180"/>
                  <a:gd name="T17" fmla="*/ 1 h 534"/>
                  <a:gd name="T18" fmla="*/ 149 w 180"/>
                  <a:gd name="T19" fmla="*/ 1 h 534"/>
                  <a:gd name="T20" fmla="*/ 137 w 180"/>
                  <a:gd name="T21" fmla="*/ 1 h 534"/>
                  <a:gd name="T22" fmla="*/ 174 w 180"/>
                  <a:gd name="T23" fmla="*/ 1 h 534"/>
                  <a:gd name="T24" fmla="*/ 180 w 180"/>
                  <a:gd name="T25" fmla="*/ 1 h 534"/>
                  <a:gd name="T26" fmla="*/ 169 w 180"/>
                  <a:gd name="T27" fmla="*/ 1 h 534"/>
                  <a:gd name="T28" fmla="*/ 174 w 180"/>
                  <a:gd name="T29" fmla="*/ 1 h 534"/>
                  <a:gd name="T30" fmla="*/ 143 w 180"/>
                  <a:gd name="T31" fmla="*/ 1 h 534"/>
                  <a:gd name="T32" fmla="*/ 137 w 180"/>
                  <a:gd name="T33" fmla="*/ 1 h 534"/>
                  <a:gd name="T34" fmla="*/ 105 w 180"/>
                  <a:gd name="T35" fmla="*/ 1 h 534"/>
                  <a:gd name="T36" fmla="*/ 87 w 180"/>
                  <a:gd name="T37" fmla="*/ 1 h 534"/>
                  <a:gd name="T38" fmla="*/ 112 w 180"/>
                  <a:gd name="T39" fmla="*/ 1 h 534"/>
                  <a:gd name="T40" fmla="*/ 112 w 180"/>
                  <a:gd name="T41" fmla="*/ 0 h 534"/>
                  <a:gd name="T42" fmla="*/ 55 w 180"/>
                  <a:gd name="T43" fmla="*/ 1 h 534"/>
                  <a:gd name="T44" fmla="*/ 31 w 180"/>
                  <a:gd name="T45" fmla="*/ 1 h 534"/>
                  <a:gd name="T46" fmla="*/ 19 w 180"/>
                  <a:gd name="T47" fmla="*/ 1 h 534"/>
                  <a:gd name="T48" fmla="*/ 13 w 180"/>
                  <a:gd name="T49" fmla="*/ 1 h 534"/>
                  <a:gd name="T50" fmla="*/ 19 w 180"/>
                  <a:gd name="T51" fmla="*/ 1 h 534"/>
                  <a:gd name="T52" fmla="*/ 24 w 180"/>
                  <a:gd name="T53" fmla="*/ 1 h 534"/>
                  <a:gd name="T54" fmla="*/ 0 w 180"/>
                  <a:gd name="T55" fmla="*/ 1 h 5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80" h="534">
                    <a:moveTo>
                      <a:pt x="0" y="358"/>
                    </a:moveTo>
                    <a:lnTo>
                      <a:pt x="24" y="390"/>
                    </a:lnTo>
                    <a:lnTo>
                      <a:pt x="55" y="402"/>
                    </a:lnTo>
                    <a:lnTo>
                      <a:pt x="87" y="469"/>
                    </a:lnTo>
                    <a:lnTo>
                      <a:pt x="130" y="480"/>
                    </a:lnTo>
                    <a:lnTo>
                      <a:pt x="124" y="513"/>
                    </a:lnTo>
                    <a:lnTo>
                      <a:pt x="137" y="534"/>
                    </a:lnTo>
                    <a:lnTo>
                      <a:pt x="143" y="446"/>
                    </a:lnTo>
                    <a:lnTo>
                      <a:pt x="137" y="381"/>
                    </a:lnTo>
                    <a:lnTo>
                      <a:pt x="149" y="381"/>
                    </a:lnTo>
                    <a:lnTo>
                      <a:pt x="137" y="346"/>
                    </a:lnTo>
                    <a:lnTo>
                      <a:pt x="174" y="335"/>
                    </a:lnTo>
                    <a:lnTo>
                      <a:pt x="180" y="358"/>
                    </a:lnTo>
                    <a:lnTo>
                      <a:pt x="169" y="311"/>
                    </a:lnTo>
                    <a:lnTo>
                      <a:pt x="174" y="200"/>
                    </a:lnTo>
                    <a:lnTo>
                      <a:pt x="143" y="200"/>
                    </a:lnTo>
                    <a:lnTo>
                      <a:pt x="137" y="179"/>
                    </a:lnTo>
                    <a:lnTo>
                      <a:pt x="105" y="167"/>
                    </a:lnTo>
                    <a:lnTo>
                      <a:pt x="87" y="112"/>
                    </a:lnTo>
                    <a:lnTo>
                      <a:pt x="112" y="21"/>
                    </a:lnTo>
                    <a:lnTo>
                      <a:pt x="112" y="0"/>
                    </a:lnTo>
                    <a:lnTo>
                      <a:pt x="55" y="45"/>
                    </a:lnTo>
                    <a:lnTo>
                      <a:pt x="31" y="144"/>
                    </a:lnTo>
                    <a:lnTo>
                      <a:pt x="19" y="123"/>
                    </a:lnTo>
                    <a:lnTo>
                      <a:pt x="13" y="167"/>
                    </a:lnTo>
                    <a:lnTo>
                      <a:pt x="19" y="267"/>
                    </a:lnTo>
                    <a:lnTo>
                      <a:pt x="24" y="267"/>
                    </a:lnTo>
                    <a:lnTo>
                      <a:pt x="0" y="358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02" name="Freeform 246"/>
              <p:cNvSpPr>
                <a:spLocks/>
              </p:cNvSpPr>
              <p:nvPr/>
            </p:nvSpPr>
            <p:spPr bwMode="auto">
              <a:xfrm>
                <a:off x="1719" y="2453"/>
                <a:ext cx="180" cy="267"/>
              </a:xfrm>
              <a:custGeom>
                <a:avLst/>
                <a:gdLst>
                  <a:gd name="T0" fmla="*/ 0 w 180"/>
                  <a:gd name="T1" fmla="*/ 1 h 534"/>
                  <a:gd name="T2" fmla="*/ 24 w 180"/>
                  <a:gd name="T3" fmla="*/ 1 h 534"/>
                  <a:gd name="T4" fmla="*/ 55 w 180"/>
                  <a:gd name="T5" fmla="*/ 1 h 534"/>
                  <a:gd name="T6" fmla="*/ 87 w 180"/>
                  <a:gd name="T7" fmla="*/ 1 h 534"/>
                  <a:gd name="T8" fmla="*/ 130 w 180"/>
                  <a:gd name="T9" fmla="*/ 1 h 534"/>
                  <a:gd name="T10" fmla="*/ 124 w 180"/>
                  <a:gd name="T11" fmla="*/ 1 h 534"/>
                  <a:gd name="T12" fmla="*/ 137 w 180"/>
                  <a:gd name="T13" fmla="*/ 1 h 534"/>
                  <a:gd name="T14" fmla="*/ 143 w 180"/>
                  <a:gd name="T15" fmla="*/ 1 h 534"/>
                  <a:gd name="T16" fmla="*/ 137 w 180"/>
                  <a:gd name="T17" fmla="*/ 1 h 534"/>
                  <a:gd name="T18" fmla="*/ 149 w 180"/>
                  <a:gd name="T19" fmla="*/ 1 h 534"/>
                  <a:gd name="T20" fmla="*/ 137 w 180"/>
                  <a:gd name="T21" fmla="*/ 1 h 534"/>
                  <a:gd name="T22" fmla="*/ 174 w 180"/>
                  <a:gd name="T23" fmla="*/ 1 h 534"/>
                  <a:gd name="T24" fmla="*/ 180 w 180"/>
                  <a:gd name="T25" fmla="*/ 1 h 534"/>
                  <a:gd name="T26" fmla="*/ 169 w 180"/>
                  <a:gd name="T27" fmla="*/ 1 h 534"/>
                  <a:gd name="T28" fmla="*/ 174 w 180"/>
                  <a:gd name="T29" fmla="*/ 1 h 534"/>
                  <a:gd name="T30" fmla="*/ 143 w 180"/>
                  <a:gd name="T31" fmla="*/ 1 h 534"/>
                  <a:gd name="T32" fmla="*/ 137 w 180"/>
                  <a:gd name="T33" fmla="*/ 1 h 534"/>
                  <a:gd name="T34" fmla="*/ 105 w 180"/>
                  <a:gd name="T35" fmla="*/ 1 h 534"/>
                  <a:gd name="T36" fmla="*/ 87 w 180"/>
                  <a:gd name="T37" fmla="*/ 1 h 534"/>
                  <a:gd name="T38" fmla="*/ 112 w 180"/>
                  <a:gd name="T39" fmla="*/ 1 h 534"/>
                  <a:gd name="T40" fmla="*/ 112 w 180"/>
                  <a:gd name="T41" fmla="*/ 0 h 534"/>
                  <a:gd name="T42" fmla="*/ 55 w 180"/>
                  <a:gd name="T43" fmla="*/ 1 h 534"/>
                  <a:gd name="T44" fmla="*/ 31 w 180"/>
                  <a:gd name="T45" fmla="*/ 1 h 534"/>
                  <a:gd name="T46" fmla="*/ 19 w 180"/>
                  <a:gd name="T47" fmla="*/ 1 h 534"/>
                  <a:gd name="T48" fmla="*/ 13 w 180"/>
                  <a:gd name="T49" fmla="*/ 1 h 534"/>
                  <a:gd name="T50" fmla="*/ 19 w 180"/>
                  <a:gd name="T51" fmla="*/ 1 h 534"/>
                  <a:gd name="T52" fmla="*/ 24 w 180"/>
                  <a:gd name="T53" fmla="*/ 1 h 534"/>
                  <a:gd name="T54" fmla="*/ 0 w 180"/>
                  <a:gd name="T55" fmla="*/ 1 h 5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80" h="534">
                    <a:moveTo>
                      <a:pt x="0" y="358"/>
                    </a:moveTo>
                    <a:lnTo>
                      <a:pt x="24" y="390"/>
                    </a:lnTo>
                    <a:lnTo>
                      <a:pt x="55" y="402"/>
                    </a:lnTo>
                    <a:lnTo>
                      <a:pt x="87" y="469"/>
                    </a:lnTo>
                    <a:lnTo>
                      <a:pt x="130" y="480"/>
                    </a:lnTo>
                    <a:lnTo>
                      <a:pt x="124" y="513"/>
                    </a:lnTo>
                    <a:lnTo>
                      <a:pt x="137" y="534"/>
                    </a:lnTo>
                    <a:lnTo>
                      <a:pt x="143" y="446"/>
                    </a:lnTo>
                    <a:lnTo>
                      <a:pt x="137" y="381"/>
                    </a:lnTo>
                    <a:lnTo>
                      <a:pt x="149" y="381"/>
                    </a:lnTo>
                    <a:lnTo>
                      <a:pt x="137" y="346"/>
                    </a:lnTo>
                    <a:lnTo>
                      <a:pt x="174" y="335"/>
                    </a:lnTo>
                    <a:lnTo>
                      <a:pt x="180" y="358"/>
                    </a:lnTo>
                    <a:lnTo>
                      <a:pt x="169" y="311"/>
                    </a:lnTo>
                    <a:lnTo>
                      <a:pt x="174" y="200"/>
                    </a:lnTo>
                    <a:lnTo>
                      <a:pt x="143" y="200"/>
                    </a:lnTo>
                    <a:lnTo>
                      <a:pt x="137" y="179"/>
                    </a:lnTo>
                    <a:lnTo>
                      <a:pt x="105" y="167"/>
                    </a:lnTo>
                    <a:lnTo>
                      <a:pt x="87" y="112"/>
                    </a:lnTo>
                    <a:lnTo>
                      <a:pt x="112" y="21"/>
                    </a:lnTo>
                    <a:lnTo>
                      <a:pt x="112" y="0"/>
                    </a:lnTo>
                    <a:lnTo>
                      <a:pt x="55" y="45"/>
                    </a:lnTo>
                    <a:lnTo>
                      <a:pt x="31" y="144"/>
                    </a:lnTo>
                    <a:lnTo>
                      <a:pt x="19" y="123"/>
                    </a:lnTo>
                    <a:lnTo>
                      <a:pt x="13" y="167"/>
                    </a:lnTo>
                    <a:lnTo>
                      <a:pt x="19" y="267"/>
                    </a:lnTo>
                    <a:lnTo>
                      <a:pt x="24" y="267"/>
                    </a:lnTo>
                    <a:lnTo>
                      <a:pt x="0" y="358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15" name="Freeform 247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2275136" y="4217988"/>
              <a:ext cx="63500" cy="69850"/>
            </a:xfrm>
            <a:custGeom>
              <a:avLst/>
              <a:gdLst>
                <a:gd name="T0" fmla="*/ 0 w 44"/>
                <a:gd name="T1" fmla="*/ 0 h 88"/>
                <a:gd name="T2" fmla="*/ 0 w 44"/>
                <a:gd name="T3" fmla="*/ 2147483647 h 88"/>
                <a:gd name="T4" fmla="*/ 2147483647 w 44"/>
                <a:gd name="T5" fmla="*/ 2147483647 h 88"/>
                <a:gd name="T6" fmla="*/ 2147483647 w 44"/>
                <a:gd name="T7" fmla="*/ 2147483647 h 88"/>
                <a:gd name="T8" fmla="*/ 2147483647 w 44"/>
                <a:gd name="T9" fmla="*/ 2147483647 h 88"/>
                <a:gd name="T10" fmla="*/ 2147483647 w 44"/>
                <a:gd name="T11" fmla="*/ 2147483647 h 88"/>
                <a:gd name="T12" fmla="*/ 0 w 44"/>
                <a:gd name="T13" fmla="*/ 0 h 8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88">
                  <a:moveTo>
                    <a:pt x="0" y="0"/>
                  </a:moveTo>
                  <a:lnTo>
                    <a:pt x="0" y="34"/>
                  </a:lnTo>
                  <a:lnTo>
                    <a:pt x="6" y="34"/>
                  </a:lnTo>
                  <a:lnTo>
                    <a:pt x="37" y="88"/>
                  </a:lnTo>
                  <a:lnTo>
                    <a:pt x="44" y="44"/>
                  </a:lnTo>
                  <a:lnTo>
                    <a:pt x="3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16" name="Freeform 248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2275136" y="4217988"/>
              <a:ext cx="63500" cy="69850"/>
            </a:xfrm>
            <a:custGeom>
              <a:avLst/>
              <a:gdLst>
                <a:gd name="T0" fmla="*/ 0 w 44"/>
                <a:gd name="T1" fmla="*/ 0 h 88"/>
                <a:gd name="T2" fmla="*/ 0 w 44"/>
                <a:gd name="T3" fmla="*/ 2147483647 h 88"/>
                <a:gd name="T4" fmla="*/ 2147483647 w 44"/>
                <a:gd name="T5" fmla="*/ 2147483647 h 88"/>
                <a:gd name="T6" fmla="*/ 2147483647 w 44"/>
                <a:gd name="T7" fmla="*/ 2147483647 h 88"/>
                <a:gd name="T8" fmla="*/ 2147483647 w 44"/>
                <a:gd name="T9" fmla="*/ 2147483647 h 88"/>
                <a:gd name="T10" fmla="*/ 2147483647 w 44"/>
                <a:gd name="T11" fmla="*/ 2147483647 h 88"/>
                <a:gd name="T12" fmla="*/ 0 w 44"/>
                <a:gd name="T13" fmla="*/ 0 h 8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88">
                  <a:moveTo>
                    <a:pt x="0" y="0"/>
                  </a:moveTo>
                  <a:lnTo>
                    <a:pt x="0" y="34"/>
                  </a:lnTo>
                  <a:lnTo>
                    <a:pt x="6" y="34"/>
                  </a:lnTo>
                  <a:lnTo>
                    <a:pt x="37" y="88"/>
                  </a:lnTo>
                  <a:lnTo>
                    <a:pt x="44" y="44"/>
                  </a:lnTo>
                  <a:lnTo>
                    <a:pt x="30" y="11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17" name="Freeform 249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2275136" y="4217988"/>
              <a:ext cx="63500" cy="69850"/>
            </a:xfrm>
            <a:custGeom>
              <a:avLst/>
              <a:gdLst>
                <a:gd name="T0" fmla="*/ 0 w 44"/>
                <a:gd name="T1" fmla="*/ 0 h 88"/>
                <a:gd name="T2" fmla="*/ 0 w 44"/>
                <a:gd name="T3" fmla="*/ 2147483647 h 88"/>
                <a:gd name="T4" fmla="*/ 2147483647 w 44"/>
                <a:gd name="T5" fmla="*/ 2147483647 h 88"/>
                <a:gd name="T6" fmla="*/ 2147483647 w 44"/>
                <a:gd name="T7" fmla="*/ 2147483647 h 88"/>
                <a:gd name="T8" fmla="*/ 2147483647 w 44"/>
                <a:gd name="T9" fmla="*/ 2147483647 h 88"/>
                <a:gd name="T10" fmla="*/ 2147483647 w 44"/>
                <a:gd name="T11" fmla="*/ 2147483647 h 88"/>
                <a:gd name="T12" fmla="*/ 0 w 44"/>
                <a:gd name="T13" fmla="*/ 0 h 8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88">
                  <a:moveTo>
                    <a:pt x="0" y="0"/>
                  </a:moveTo>
                  <a:lnTo>
                    <a:pt x="0" y="34"/>
                  </a:lnTo>
                  <a:lnTo>
                    <a:pt x="6" y="34"/>
                  </a:lnTo>
                  <a:lnTo>
                    <a:pt x="37" y="88"/>
                  </a:lnTo>
                  <a:lnTo>
                    <a:pt x="44" y="44"/>
                  </a:lnTo>
                  <a:lnTo>
                    <a:pt x="3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18" name="Freeform 250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2275136" y="4217988"/>
              <a:ext cx="63500" cy="69850"/>
            </a:xfrm>
            <a:custGeom>
              <a:avLst/>
              <a:gdLst>
                <a:gd name="T0" fmla="*/ 0 w 44"/>
                <a:gd name="T1" fmla="*/ 0 h 88"/>
                <a:gd name="T2" fmla="*/ 0 w 44"/>
                <a:gd name="T3" fmla="*/ 2147483647 h 88"/>
                <a:gd name="T4" fmla="*/ 2147483647 w 44"/>
                <a:gd name="T5" fmla="*/ 2147483647 h 88"/>
                <a:gd name="T6" fmla="*/ 2147483647 w 44"/>
                <a:gd name="T7" fmla="*/ 2147483647 h 88"/>
                <a:gd name="T8" fmla="*/ 2147483647 w 44"/>
                <a:gd name="T9" fmla="*/ 2147483647 h 88"/>
                <a:gd name="T10" fmla="*/ 2147483647 w 44"/>
                <a:gd name="T11" fmla="*/ 2147483647 h 88"/>
                <a:gd name="T12" fmla="*/ 0 w 44"/>
                <a:gd name="T13" fmla="*/ 0 h 8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88">
                  <a:moveTo>
                    <a:pt x="0" y="0"/>
                  </a:moveTo>
                  <a:lnTo>
                    <a:pt x="0" y="34"/>
                  </a:lnTo>
                  <a:lnTo>
                    <a:pt x="6" y="34"/>
                  </a:lnTo>
                  <a:lnTo>
                    <a:pt x="37" y="88"/>
                  </a:lnTo>
                  <a:lnTo>
                    <a:pt x="44" y="44"/>
                  </a:lnTo>
                  <a:lnTo>
                    <a:pt x="30" y="11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19" name="Freeform 251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2281486" y="3908425"/>
              <a:ext cx="249237" cy="79375"/>
            </a:xfrm>
            <a:custGeom>
              <a:avLst/>
              <a:gdLst>
                <a:gd name="T0" fmla="*/ 0 w 170"/>
                <a:gd name="T1" fmla="*/ 2147483647 h 100"/>
                <a:gd name="T2" fmla="*/ 2147483647 w 170"/>
                <a:gd name="T3" fmla="*/ 0 h 100"/>
                <a:gd name="T4" fmla="*/ 2147483647 w 170"/>
                <a:gd name="T5" fmla="*/ 0 h 100"/>
                <a:gd name="T6" fmla="*/ 2147483647 w 170"/>
                <a:gd name="T7" fmla="*/ 2147483647 h 100"/>
                <a:gd name="T8" fmla="*/ 2147483647 w 170"/>
                <a:gd name="T9" fmla="*/ 2147483647 h 100"/>
                <a:gd name="T10" fmla="*/ 2147483647 w 170"/>
                <a:gd name="T11" fmla="*/ 2147483647 h 100"/>
                <a:gd name="T12" fmla="*/ 2147483647 w 170"/>
                <a:gd name="T13" fmla="*/ 2147483647 h 100"/>
                <a:gd name="T14" fmla="*/ 2147483647 w 170"/>
                <a:gd name="T15" fmla="*/ 2147483647 h 100"/>
                <a:gd name="T16" fmla="*/ 2147483647 w 170"/>
                <a:gd name="T17" fmla="*/ 2147483647 h 100"/>
                <a:gd name="T18" fmla="*/ 0 w 170"/>
                <a:gd name="T19" fmla="*/ 2147483647 h 1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0" h="100">
                  <a:moveTo>
                    <a:pt x="0" y="44"/>
                  </a:moveTo>
                  <a:lnTo>
                    <a:pt x="25" y="0"/>
                  </a:lnTo>
                  <a:lnTo>
                    <a:pt x="69" y="0"/>
                  </a:lnTo>
                  <a:lnTo>
                    <a:pt x="170" y="90"/>
                  </a:lnTo>
                  <a:lnTo>
                    <a:pt x="114" y="100"/>
                  </a:lnTo>
                  <a:lnTo>
                    <a:pt x="125" y="76"/>
                  </a:lnTo>
                  <a:lnTo>
                    <a:pt x="100" y="44"/>
                  </a:lnTo>
                  <a:lnTo>
                    <a:pt x="50" y="32"/>
                  </a:lnTo>
                  <a:lnTo>
                    <a:pt x="50" y="1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20" name="Freeform 252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2281486" y="3908425"/>
              <a:ext cx="249237" cy="79375"/>
            </a:xfrm>
            <a:custGeom>
              <a:avLst/>
              <a:gdLst>
                <a:gd name="T0" fmla="*/ 0 w 170"/>
                <a:gd name="T1" fmla="*/ 2147483647 h 100"/>
                <a:gd name="T2" fmla="*/ 2147483647 w 170"/>
                <a:gd name="T3" fmla="*/ 0 h 100"/>
                <a:gd name="T4" fmla="*/ 2147483647 w 170"/>
                <a:gd name="T5" fmla="*/ 0 h 100"/>
                <a:gd name="T6" fmla="*/ 2147483647 w 170"/>
                <a:gd name="T7" fmla="*/ 2147483647 h 100"/>
                <a:gd name="T8" fmla="*/ 2147483647 w 170"/>
                <a:gd name="T9" fmla="*/ 2147483647 h 100"/>
                <a:gd name="T10" fmla="*/ 2147483647 w 170"/>
                <a:gd name="T11" fmla="*/ 2147483647 h 100"/>
                <a:gd name="T12" fmla="*/ 2147483647 w 170"/>
                <a:gd name="T13" fmla="*/ 2147483647 h 100"/>
                <a:gd name="T14" fmla="*/ 2147483647 w 170"/>
                <a:gd name="T15" fmla="*/ 2147483647 h 100"/>
                <a:gd name="T16" fmla="*/ 2147483647 w 170"/>
                <a:gd name="T17" fmla="*/ 2147483647 h 100"/>
                <a:gd name="T18" fmla="*/ 0 w 170"/>
                <a:gd name="T19" fmla="*/ 2147483647 h 1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0" h="100">
                  <a:moveTo>
                    <a:pt x="0" y="44"/>
                  </a:moveTo>
                  <a:lnTo>
                    <a:pt x="25" y="0"/>
                  </a:lnTo>
                  <a:lnTo>
                    <a:pt x="69" y="0"/>
                  </a:lnTo>
                  <a:lnTo>
                    <a:pt x="170" y="90"/>
                  </a:lnTo>
                  <a:lnTo>
                    <a:pt x="114" y="100"/>
                  </a:lnTo>
                  <a:lnTo>
                    <a:pt x="125" y="76"/>
                  </a:lnTo>
                  <a:lnTo>
                    <a:pt x="100" y="44"/>
                  </a:lnTo>
                  <a:lnTo>
                    <a:pt x="50" y="32"/>
                  </a:lnTo>
                  <a:lnTo>
                    <a:pt x="50" y="11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21" name="Freeform 253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2281486" y="3908425"/>
              <a:ext cx="249237" cy="79375"/>
            </a:xfrm>
            <a:custGeom>
              <a:avLst/>
              <a:gdLst>
                <a:gd name="T0" fmla="*/ 0 w 170"/>
                <a:gd name="T1" fmla="*/ 2147483647 h 100"/>
                <a:gd name="T2" fmla="*/ 2147483647 w 170"/>
                <a:gd name="T3" fmla="*/ 0 h 100"/>
                <a:gd name="T4" fmla="*/ 2147483647 w 170"/>
                <a:gd name="T5" fmla="*/ 0 h 100"/>
                <a:gd name="T6" fmla="*/ 2147483647 w 170"/>
                <a:gd name="T7" fmla="*/ 2147483647 h 100"/>
                <a:gd name="T8" fmla="*/ 2147483647 w 170"/>
                <a:gd name="T9" fmla="*/ 2147483647 h 100"/>
                <a:gd name="T10" fmla="*/ 2147483647 w 170"/>
                <a:gd name="T11" fmla="*/ 2147483647 h 100"/>
                <a:gd name="T12" fmla="*/ 2147483647 w 170"/>
                <a:gd name="T13" fmla="*/ 2147483647 h 100"/>
                <a:gd name="T14" fmla="*/ 2147483647 w 170"/>
                <a:gd name="T15" fmla="*/ 2147483647 h 100"/>
                <a:gd name="T16" fmla="*/ 2147483647 w 170"/>
                <a:gd name="T17" fmla="*/ 2147483647 h 100"/>
                <a:gd name="T18" fmla="*/ 0 w 170"/>
                <a:gd name="T19" fmla="*/ 2147483647 h 1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0" h="100">
                  <a:moveTo>
                    <a:pt x="0" y="44"/>
                  </a:moveTo>
                  <a:lnTo>
                    <a:pt x="25" y="0"/>
                  </a:lnTo>
                  <a:lnTo>
                    <a:pt x="69" y="0"/>
                  </a:lnTo>
                  <a:lnTo>
                    <a:pt x="170" y="90"/>
                  </a:lnTo>
                  <a:lnTo>
                    <a:pt x="114" y="100"/>
                  </a:lnTo>
                  <a:lnTo>
                    <a:pt x="125" y="76"/>
                  </a:lnTo>
                  <a:lnTo>
                    <a:pt x="100" y="44"/>
                  </a:lnTo>
                  <a:lnTo>
                    <a:pt x="50" y="32"/>
                  </a:lnTo>
                  <a:lnTo>
                    <a:pt x="50" y="1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22" name="Freeform 254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2281486" y="3908425"/>
              <a:ext cx="249237" cy="79375"/>
            </a:xfrm>
            <a:custGeom>
              <a:avLst/>
              <a:gdLst>
                <a:gd name="T0" fmla="*/ 0 w 170"/>
                <a:gd name="T1" fmla="*/ 2147483647 h 100"/>
                <a:gd name="T2" fmla="*/ 2147483647 w 170"/>
                <a:gd name="T3" fmla="*/ 0 h 100"/>
                <a:gd name="T4" fmla="*/ 2147483647 w 170"/>
                <a:gd name="T5" fmla="*/ 0 h 100"/>
                <a:gd name="T6" fmla="*/ 2147483647 w 170"/>
                <a:gd name="T7" fmla="*/ 2147483647 h 100"/>
                <a:gd name="T8" fmla="*/ 2147483647 w 170"/>
                <a:gd name="T9" fmla="*/ 2147483647 h 100"/>
                <a:gd name="T10" fmla="*/ 2147483647 w 170"/>
                <a:gd name="T11" fmla="*/ 2147483647 h 100"/>
                <a:gd name="T12" fmla="*/ 2147483647 w 170"/>
                <a:gd name="T13" fmla="*/ 2147483647 h 100"/>
                <a:gd name="T14" fmla="*/ 2147483647 w 170"/>
                <a:gd name="T15" fmla="*/ 2147483647 h 100"/>
                <a:gd name="T16" fmla="*/ 2147483647 w 170"/>
                <a:gd name="T17" fmla="*/ 2147483647 h 100"/>
                <a:gd name="T18" fmla="*/ 0 w 170"/>
                <a:gd name="T19" fmla="*/ 2147483647 h 1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0" h="100">
                  <a:moveTo>
                    <a:pt x="0" y="44"/>
                  </a:moveTo>
                  <a:lnTo>
                    <a:pt x="25" y="0"/>
                  </a:lnTo>
                  <a:lnTo>
                    <a:pt x="69" y="0"/>
                  </a:lnTo>
                  <a:lnTo>
                    <a:pt x="170" y="90"/>
                  </a:lnTo>
                  <a:lnTo>
                    <a:pt x="114" y="100"/>
                  </a:lnTo>
                  <a:lnTo>
                    <a:pt x="125" y="76"/>
                  </a:lnTo>
                  <a:lnTo>
                    <a:pt x="100" y="44"/>
                  </a:lnTo>
                  <a:lnTo>
                    <a:pt x="50" y="32"/>
                  </a:lnTo>
                  <a:lnTo>
                    <a:pt x="50" y="11"/>
                  </a:lnTo>
                  <a:lnTo>
                    <a:pt x="0" y="44"/>
                  </a:lnTo>
                </a:path>
              </a:pathLst>
            </a:custGeom>
            <a:solidFill>
              <a:schemeClr val="tx2"/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23" name="Freeform 255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4677023" y="3078163"/>
              <a:ext cx="236538" cy="114300"/>
            </a:xfrm>
            <a:custGeom>
              <a:avLst/>
              <a:gdLst>
                <a:gd name="T0" fmla="*/ 0 w 162"/>
                <a:gd name="T1" fmla="*/ 2147483647 h 144"/>
                <a:gd name="T2" fmla="*/ 2147483647 w 162"/>
                <a:gd name="T3" fmla="*/ 2147483647 h 144"/>
                <a:gd name="T4" fmla="*/ 2147483647 w 162"/>
                <a:gd name="T5" fmla="*/ 2147483647 h 144"/>
                <a:gd name="T6" fmla="*/ 2147483647 w 162"/>
                <a:gd name="T7" fmla="*/ 2147483647 h 144"/>
                <a:gd name="T8" fmla="*/ 2147483647 w 162"/>
                <a:gd name="T9" fmla="*/ 2147483647 h 144"/>
                <a:gd name="T10" fmla="*/ 2147483647 w 162"/>
                <a:gd name="T11" fmla="*/ 2147483647 h 144"/>
                <a:gd name="T12" fmla="*/ 2147483647 w 162"/>
                <a:gd name="T13" fmla="*/ 2147483647 h 144"/>
                <a:gd name="T14" fmla="*/ 2147483647 w 162"/>
                <a:gd name="T15" fmla="*/ 2147483647 h 144"/>
                <a:gd name="T16" fmla="*/ 2147483647 w 162"/>
                <a:gd name="T17" fmla="*/ 2147483647 h 144"/>
                <a:gd name="T18" fmla="*/ 2147483647 w 162"/>
                <a:gd name="T19" fmla="*/ 2147483647 h 144"/>
                <a:gd name="T20" fmla="*/ 2147483647 w 162"/>
                <a:gd name="T21" fmla="*/ 0 h 144"/>
                <a:gd name="T22" fmla="*/ 0 w 162"/>
                <a:gd name="T23" fmla="*/ 2147483647 h 1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2" h="144">
                  <a:moveTo>
                    <a:pt x="0" y="35"/>
                  </a:moveTo>
                  <a:lnTo>
                    <a:pt x="32" y="100"/>
                  </a:lnTo>
                  <a:lnTo>
                    <a:pt x="74" y="100"/>
                  </a:lnTo>
                  <a:lnTo>
                    <a:pt x="82" y="132"/>
                  </a:lnTo>
                  <a:lnTo>
                    <a:pt x="100" y="144"/>
                  </a:lnTo>
                  <a:lnTo>
                    <a:pt x="138" y="111"/>
                  </a:lnTo>
                  <a:lnTo>
                    <a:pt x="162" y="111"/>
                  </a:lnTo>
                  <a:lnTo>
                    <a:pt x="162" y="88"/>
                  </a:lnTo>
                  <a:lnTo>
                    <a:pt x="124" y="77"/>
                  </a:lnTo>
                  <a:lnTo>
                    <a:pt x="44" y="13"/>
                  </a:lnTo>
                  <a:lnTo>
                    <a:pt x="38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24" name="Freeform 256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4677023" y="3078163"/>
              <a:ext cx="236538" cy="114300"/>
            </a:xfrm>
            <a:custGeom>
              <a:avLst/>
              <a:gdLst>
                <a:gd name="T0" fmla="*/ 0 w 162"/>
                <a:gd name="T1" fmla="*/ 2147483647 h 144"/>
                <a:gd name="T2" fmla="*/ 2147483647 w 162"/>
                <a:gd name="T3" fmla="*/ 2147483647 h 144"/>
                <a:gd name="T4" fmla="*/ 2147483647 w 162"/>
                <a:gd name="T5" fmla="*/ 2147483647 h 144"/>
                <a:gd name="T6" fmla="*/ 2147483647 w 162"/>
                <a:gd name="T7" fmla="*/ 2147483647 h 144"/>
                <a:gd name="T8" fmla="*/ 2147483647 w 162"/>
                <a:gd name="T9" fmla="*/ 2147483647 h 144"/>
                <a:gd name="T10" fmla="*/ 2147483647 w 162"/>
                <a:gd name="T11" fmla="*/ 2147483647 h 144"/>
                <a:gd name="T12" fmla="*/ 2147483647 w 162"/>
                <a:gd name="T13" fmla="*/ 2147483647 h 144"/>
                <a:gd name="T14" fmla="*/ 2147483647 w 162"/>
                <a:gd name="T15" fmla="*/ 2147483647 h 144"/>
                <a:gd name="T16" fmla="*/ 2147483647 w 162"/>
                <a:gd name="T17" fmla="*/ 2147483647 h 144"/>
                <a:gd name="T18" fmla="*/ 2147483647 w 162"/>
                <a:gd name="T19" fmla="*/ 2147483647 h 144"/>
                <a:gd name="T20" fmla="*/ 2147483647 w 162"/>
                <a:gd name="T21" fmla="*/ 0 h 144"/>
                <a:gd name="T22" fmla="*/ 0 w 162"/>
                <a:gd name="T23" fmla="*/ 2147483647 h 1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2" h="144">
                  <a:moveTo>
                    <a:pt x="0" y="35"/>
                  </a:moveTo>
                  <a:lnTo>
                    <a:pt x="32" y="100"/>
                  </a:lnTo>
                  <a:lnTo>
                    <a:pt x="74" y="100"/>
                  </a:lnTo>
                  <a:lnTo>
                    <a:pt x="82" y="132"/>
                  </a:lnTo>
                  <a:lnTo>
                    <a:pt x="100" y="144"/>
                  </a:lnTo>
                  <a:lnTo>
                    <a:pt x="138" y="111"/>
                  </a:lnTo>
                  <a:lnTo>
                    <a:pt x="162" y="111"/>
                  </a:lnTo>
                  <a:lnTo>
                    <a:pt x="162" y="88"/>
                  </a:lnTo>
                  <a:lnTo>
                    <a:pt x="124" y="77"/>
                  </a:lnTo>
                  <a:lnTo>
                    <a:pt x="44" y="13"/>
                  </a:lnTo>
                  <a:lnTo>
                    <a:pt x="38" y="0"/>
                  </a:lnTo>
                  <a:lnTo>
                    <a:pt x="0" y="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25" name="Freeform 257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4677023" y="3078163"/>
              <a:ext cx="236538" cy="114300"/>
            </a:xfrm>
            <a:custGeom>
              <a:avLst/>
              <a:gdLst>
                <a:gd name="T0" fmla="*/ 0 w 162"/>
                <a:gd name="T1" fmla="*/ 2147483647 h 144"/>
                <a:gd name="T2" fmla="*/ 2147483647 w 162"/>
                <a:gd name="T3" fmla="*/ 2147483647 h 144"/>
                <a:gd name="T4" fmla="*/ 2147483647 w 162"/>
                <a:gd name="T5" fmla="*/ 2147483647 h 144"/>
                <a:gd name="T6" fmla="*/ 2147483647 w 162"/>
                <a:gd name="T7" fmla="*/ 2147483647 h 144"/>
                <a:gd name="T8" fmla="*/ 2147483647 w 162"/>
                <a:gd name="T9" fmla="*/ 2147483647 h 144"/>
                <a:gd name="T10" fmla="*/ 2147483647 w 162"/>
                <a:gd name="T11" fmla="*/ 2147483647 h 144"/>
                <a:gd name="T12" fmla="*/ 2147483647 w 162"/>
                <a:gd name="T13" fmla="*/ 2147483647 h 144"/>
                <a:gd name="T14" fmla="*/ 2147483647 w 162"/>
                <a:gd name="T15" fmla="*/ 2147483647 h 144"/>
                <a:gd name="T16" fmla="*/ 2147483647 w 162"/>
                <a:gd name="T17" fmla="*/ 2147483647 h 144"/>
                <a:gd name="T18" fmla="*/ 2147483647 w 162"/>
                <a:gd name="T19" fmla="*/ 2147483647 h 144"/>
                <a:gd name="T20" fmla="*/ 2147483647 w 162"/>
                <a:gd name="T21" fmla="*/ 0 h 144"/>
                <a:gd name="T22" fmla="*/ 0 w 162"/>
                <a:gd name="T23" fmla="*/ 2147483647 h 1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2" h="144">
                  <a:moveTo>
                    <a:pt x="0" y="35"/>
                  </a:moveTo>
                  <a:lnTo>
                    <a:pt x="32" y="100"/>
                  </a:lnTo>
                  <a:lnTo>
                    <a:pt x="74" y="100"/>
                  </a:lnTo>
                  <a:lnTo>
                    <a:pt x="82" y="132"/>
                  </a:lnTo>
                  <a:lnTo>
                    <a:pt x="100" y="144"/>
                  </a:lnTo>
                  <a:lnTo>
                    <a:pt x="138" y="111"/>
                  </a:lnTo>
                  <a:lnTo>
                    <a:pt x="162" y="111"/>
                  </a:lnTo>
                  <a:lnTo>
                    <a:pt x="162" y="88"/>
                  </a:lnTo>
                  <a:lnTo>
                    <a:pt x="124" y="77"/>
                  </a:lnTo>
                  <a:lnTo>
                    <a:pt x="44" y="13"/>
                  </a:lnTo>
                  <a:lnTo>
                    <a:pt x="38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26" name="Freeform 258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4677023" y="3078163"/>
              <a:ext cx="236538" cy="114300"/>
            </a:xfrm>
            <a:custGeom>
              <a:avLst/>
              <a:gdLst>
                <a:gd name="T0" fmla="*/ 0 w 162"/>
                <a:gd name="T1" fmla="*/ 2147483647 h 144"/>
                <a:gd name="T2" fmla="*/ 2147483647 w 162"/>
                <a:gd name="T3" fmla="*/ 2147483647 h 144"/>
                <a:gd name="T4" fmla="*/ 2147483647 w 162"/>
                <a:gd name="T5" fmla="*/ 2147483647 h 144"/>
                <a:gd name="T6" fmla="*/ 2147483647 w 162"/>
                <a:gd name="T7" fmla="*/ 2147483647 h 144"/>
                <a:gd name="T8" fmla="*/ 2147483647 w 162"/>
                <a:gd name="T9" fmla="*/ 2147483647 h 144"/>
                <a:gd name="T10" fmla="*/ 2147483647 w 162"/>
                <a:gd name="T11" fmla="*/ 2147483647 h 144"/>
                <a:gd name="T12" fmla="*/ 2147483647 w 162"/>
                <a:gd name="T13" fmla="*/ 2147483647 h 144"/>
                <a:gd name="T14" fmla="*/ 2147483647 w 162"/>
                <a:gd name="T15" fmla="*/ 2147483647 h 144"/>
                <a:gd name="T16" fmla="*/ 2147483647 w 162"/>
                <a:gd name="T17" fmla="*/ 2147483647 h 144"/>
                <a:gd name="T18" fmla="*/ 2147483647 w 162"/>
                <a:gd name="T19" fmla="*/ 2147483647 h 144"/>
                <a:gd name="T20" fmla="*/ 2147483647 w 162"/>
                <a:gd name="T21" fmla="*/ 0 h 144"/>
                <a:gd name="T22" fmla="*/ 0 w 162"/>
                <a:gd name="T23" fmla="*/ 2147483647 h 1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2" h="144">
                  <a:moveTo>
                    <a:pt x="0" y="35"/>
                  </a:moveTo>
                  <a:lnTo>
                    <a:pt x="32" y="100"/>
                  </a:lnTo>
                  <a:lnTo>
                    <a:pt x="74" y="100"/>
                  </a:lnTo>
                  <a:lnTo>
                    <a:pt x="82" y="132"/>
                  </a:lnTo>
                  <a:lnTo>
                    <a:pt x="100" y="144"/>
                  </a:lnTo>
                  <a:lnTo>
                    <a:pt x="138" y="111"/>
                  </a:lnTo>
                  <a:lnTo>
                    <a:pt x="162" y="111"/>
                  </a:lnTo>
                  <a:lnTo>
                    <a:pt x="162" y="88"/>
                  </a:lnTo>
                  <a:lnTo>
                    <a:pt x="124" y="77"/>
                  </a:lnTo>
                  <a:lnTo>
                    <a:pt x="44" y="13"/>
                  </a:lnTo>
                  <a:lnTo>
                    <a:pt x="38" y="0"/>
                  </a:lnTo>
                  <a:lnTo>
                    <a:pt x="0" y="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27" name="Freeform 259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4594473" y="2849563"/>
              <a:ext cx="63500" cy="104775"/>
            </a:xfrm>
            <a:custGeom>
              <a:avLst/>
              <a:gdLst>
                <a:gd name="T0" fmla="*/ 0 w 44"/>
                <a:gd name="T1" fmla="*/ 2147483647 h 132"/>
                <a:gd name="T2" fmla="*/ 2147483647 w 44"/>
                <a:gd name="T3" fmla="*/ 2147483647 h 132"/>
                <a:gd name="T4" fmla="*/ 2147483647 w 44"/>
                <a:gd name="T5" fmla="*/ 0 h 132"/>
                <a:gd name="T6" fmla="*/ 2147483647 w 44"/>
                <a:gd name="T7" fmla="*/ 2147483647 h 132"/>
                <a:gd name="T8" fmla="*/ 2147483647 w 44"/>
                <a:gd name="T9" fmla="*/ 2147483647 h 132"/>
                <a:gd name="T10" fmla="*/ 2147483647 w 44"/>
                <a:gd name="T11" fmla="*/ 2147483647 h 132"/>
                <a:gd name="T12" fmla="*/ 2147483647 w 44"/>
                <a:gd name="T13" fmla="*/ 2147483647 h 132"/>
                <a:gd name="T14" fmla="*/ 2147483647 w 44"/>
                <a:gd name="T15" fmla="*/ 2147483647 h 132"/>
                <a:gd name="T16" fmla="*/ 0 w 44"/>
                <a:gd name="T17" fmla="*/ 2147483647 h 1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4" h="132">
                  <a:moveTo>
                    <a:pt x="0" y="100"/>
                  </a:moveTo>
                  <a:lnTo>
                    <a:pt x="5" y="44"/>
                  </a:lnTo>
                  <a:lnTo>
                    <a:pt x="37" y="0"/>
                  </a:lnTo>
                  <a:lnTo>
                    <a:pt x="31" y="56"/>
                  </a:lnTo>
                  <a:lnTo>
                    <a:pt x="44" y="65"/>
                  </a:lnTo>
                  <a:lnTo>
                    <a:pt x="19" y="100"/>
                  </a:lnTo>
                  <a:lnTo>
                    <a:pt x="19" y="132"/>
                  </a:lnTo>
                  <a:lnTo>
                    <a:pt x="5" y="132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28" name="Group 260"/>
            <p:cNvGrpSpPr>
              <a:grpSpLocks/>
            </p:cNvGrpSpPr>
            <p:nvPr>
              <p:custDataLst>
                <p:tags r:id="rId222"/>
              </p:custDataLst>
            </p:nvPr>
          </p:nvGrpSpPr>
          <p:grpSpPr bwMode="auto">
            <a:xfrm>
              <a:off x="4594473" y="2849563"/>
              <a:ext cx="63500" cy="104775"/>
              <a:chOff x="3070" y="1613"/>
              <a:chExt cx="44" cy="66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99" name="Freeform 261"/>
              <p:cNvSpPr>
                <a:spLocks/>
              </p:cNvSpPr>
              <p:nvPr/>
            </p:nvSpPr>
            <p:spPr bwMode="auto">
              <a:xfrm>
                <a:off x="3070" y="1613"/>
                <a:ext cx="44" cy="66"/>
              </a:xfrm>
              <a:custGeom>
                <a:avLst/>
                <a:gdLst>
                  <a:gd name="T0" fmla="*/ 0 w 44"/>
                  <a:gd name="T1" fmla="*/ 1 h 132"/>
                  <a:gd name="T2" fmla="*/ 5 w 44"/>
                  <a:gd name="T3" fmla="*/ 1 h 132"/>
                  <a:gd name="T4" fmla="*/ 37 w 44"/>
                  <a:gd name="T5" fmla="*/ 0 h 132"/>
                  <a:gd name="T6" fmla="*/ 31 w 44"/>
                  <a:gd name="T7" fmla="*/ 1 h 132"/>
                  <a:gd name="T8" fmla="*/ 44 w 44"/>
                  <a:gd name="T9" fmla="*/ 1 h 132"/>
                  <a:gd name="T10" fmla="*/ 19 w 44"/>
                  <a:gd name="T11" fmla="*/ 1 h 132"/>
                  <a:gd name="T12" fmla="*/ 19 w 44"/>
                  <a:gd name="T13" fmla="*/ 1 h 132"/>
                  <a:gd name="T14" fmla="*/ 5 w 44"/>
                  <a:gd name="T15" fmla="*/ 1 h 132"/>
                  <a:gd name="T16" fmla="*/ 0 w 44"/>
                  <a:gd name="T17" fmla="*/ 1 h 1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4" h="132">
                    <a:moveTo>
                      <a:pt x="0" y="100"/>
                    </a:moveTo>
                    <a:lnTo>
                      <a:pt x="5" y="44"/>
                    </a:lnTo>
                    <a:lnTo>
                      <a:pt x="37" y="0"/>
                    </a:lnTo>
                    <a:lnTo>
                      <a:pt x="31" y="56"/>
                    </a:lnTo>
                    <a:lnTo>
                      <a:pt x="44" y="65"/>
                    </a:lnTo>
                    <a:lnTo>
                      <a:pt x="19" y="100"/>
                    </a:lnTo>
                    <a:lnTo>
                      <a:pt x="19" y="132"/>
                    </a:lnTo>
                    <a:lnTo>
                      <a:pt x="5" y="132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100" name="Freeform 262"/>
              <p:cNvSpPr>
                <a:spLocks/>
              </p:cNvSpPr>
              <p:nvPr/>
            </p:nvSpPr>
            <p:spPr bwMode="auto">
              <a:xfrm>
                <a:off x="3070" y="1613"/>
                <a:ext cx="44" cy="66"/>
              </a:xfrm>
              <a:custGeom>
                <a:avLst/>
                <a:gdLst>
                  <a:gd name="T0" fmla="*/ 0 w 44"/>
                  <a:gd name="T1" fmla="*/ 1 h 132"/>
                  <a:gd name="T2" fmla="*/ 5 w 44"/>
                  <a:gd name="T3" fmla="*/ 1 h 132"/>
                  <a:gd name="T4" fmla="*/ 37 w 44"/>
                  <a:gd name="T5" fmla="*/ 0 h 132"/>
                  <a:gd name="T6" fmla="*/ 31 w 44"/>
                  <a:gd name="T7" fmla="*/ 1 h 132"/>
                  <a:gd name="T8" fmla="*/ 44 w 44"/>
                  <a:gd name="T9" fmla="*/ 1 h 132"/>
                  <a:gd name="T10" fmla="*/ 19 w 44"/>
                  <a:gd name="T11" fmla="*/ 1 h 132"/>
                  <a:gd name="T12" fmla="*/ 19 w 44"/>
                  <a:gd name="T13" fmla="*/ 1 h 132"/>
                  <a:gd name="T14" fmla="*/ 5 w 44"/>
                  <a:gd name="T15" fmla="*/ 1 h 132"/>
                  <a:gd name="T16" fmla="*/ 0 w 44"/>
                  <a:gd name="T17" fmla="*/ 1 h 1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4" h="132">
                    <a:moveTo>
                      <a:pt x="0" y="100"/>
                    </a:moveTo>
                    <a:lnTo>
                      <a:pt x="5" y="44"/>
                    </a:lnTo>
                    <a:lnTo>
                      <a:pt x="37" y="0"/>
                    </a:lnTo>
                    <a:lnTo>
                      <a:pt x="31" y="56"/>
                    </a:lnTo>
                    <a:lnTo>
                      <a:pt x="44" y="65"/>
                    </a:lnTo>
                    <a:lnTo>
                      <a:pt x="19" y="100"/>
                    </a:lnTo>
                    <a:lnTo>
                      <a:pt x="19" y="132"/>
                    </a:lnTo>
                    <a:lnTo>
                      <a:pt x="5" y="132"/>
                    </a:lnTo>
                    <a:lnTo>
                      <a:pt x="0" y="100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29" name="Freeform 263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4594473" y="2849563"/>
              <a:ext cx="63500" cy="104775"/>
            </a:xfrm>
            <a:custGeom>
              <a:avLst/>
              <a:gdLst>
                <a:gd name="T0" fmla="*/ 0 w 44"/>
                <a:gd name="T1" fmla="*/ 2147483647 h 132"/>
                <a:gd name="T2" fmla="*/ 2147483647 w 44"/>
                <a:gd name="T3" fmla="*/ 2147483647 h 132"/>
                <a:gd name="T4" fmla="*/ 2147483647 w 44"/>
                <a:gd name="T5" fmla="*/ 0 h 132"/>
                <a:gd name="T6" fmla="*/ 2147483647 w 44"/>
                <a:gd name="T7" fmla="*/ 2147483647 h 132"/>
                <a:gd name="T8" fmla="*/ 2147483647 w 44"/>
                <a:gd name="T9" fmla="*/ 2147483647 h 132"/>
                <a:gd name="T10" fmla="*/ 2147483647 w 44"/>
                <a:gd name="T11" fmla="*/ 2147483647 h 132"/>
                <a:gd name="T12" fmla="*/ 2147483647 w 44"/>
                <a:gd name="T13" fmla="*/ 2147483647 h 132"/>
                <a:gd name="T14" fmla="*/ 2147483647 w 44"/>
                <a:gd name="T15" fmla="*/ 2147483647 h 132"/>
                <a:gd name="T16" fmla="*/ 0 w 44"/>
                <a:gd name="T17" fmla="*/ 2147483647 h 1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4" h="132">
                  <a:moveTo>
                    <a:pt x="0" y="100"/>
                  </a:moveTo>
                  <a:lnTo>
                    <a:pt x="5" y="44"/>
                  </a:lnTo>
                  <a:lnTo>
                    <a:pt x="37" y="0"/>
                  </a:lnTo>
                  <a:lnTo>
                    <a:pt x="31" y="56"/>
                  </a:lnTo>
                  <a:lnTo>
                    <a:pt x="44" y="65"/>
                  </a:lnTo>
                  <a:lnTo>
                    <a:pt x="19" y="100"/>
                  </a:lnTo>
                  <a:lnTo>
                    <a:pt x="19" y="132"/>
                  </a:lnTo>
                  <a:lnTo>
                    <a:pt x="5" y="132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30" name="Group 264"/>
            <p:cNvGrpSpPr>
              <a:grpSpLocks/>
            </p:cNvGrpSpPr>
            <p:nvPr>
              <p:custDataLst>
                <p:tags r:id="rId224"/>
              </p:custDataLst>
            </p:nvPr>
          </p:nvGrpSpPr>
          <p:grpSpPr bwMode="auto">
            <a:xfrm>
              <a:off x="4594473" y="2849563"/>
              <a:ext cx="63500" cy="104775"/>
              <a:chOff x="3070" y="1613"/>
              <a:chExt cx="44" cy="66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097" name="Freeform 265"/>
              <p:cNvSpPr>
                <a:spLocks/>
              </p:cNvSpPr>
              <p:nvPr/>
            </p:nvSpPr>
            <p:spPr bwMode="auto">
              <a:xfrm>
                <a:off x="3070" y="1613"/>
                <a:ext cx="44" cy="66"/>
              </a:xfrm>
              <a:custGeom>
                <a:avLst/>
                <a:gdLst>
                  <a:gd name="T0" fmla="*/ 0 w 44"/>
                  <a:gd name="T1" fmla="*/ 1 h 132"/>
                  <a:gd name="T2" fmla="*/ 5 w 44"/>
                  <a:gd name="T3" fmla="*/ 1 h 132"/>
                  <a:gd name="T4" fmla="*/ 37 w 44"/>
                  <a:gd name="T5" fmla="*/ 0 h 132"/>
                  <a:gd name="T6" fmla="*/ 31 w 44"/>
                  <a:gd name="T7" fmla="*/ 1 h 132"/>
                  <a:gd name="T8" fmla="*/ 44 w 44"/>
                  <a:gd name="T9" fmla="*/ 1 h 132"/>
                  <a:gd name="T10" fmla="*/ 19 w 44"/>
                  <a:gd name="T11" fmla="*/ 1 h 132"/>
                  <a:gd name="T12" fmla="*/ 19 w 44"/>
                  <a:gd name="T13" fmla="*/ 1 h 132"/>
                  <a:gd name="T14" fmla="*/ 5 w 44"/>
                  <a:gd name="T15" fmla="*/ 1 h 132"/>
                  <a:gd name="T16" fmla="*/ 0 w 44"/>
                  <a:gd name="T17" fmla="*/ 1 h 1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4" h="132">
                    <a:moveTo>
                      <a:pt x="0" y="100"/>
                    </a:moveTo>
                    <a:lnTo>
                      <a:pt x="5" y="44"/>
                    </a:lnTo>
                    <a:lnTo>
                      <a:pt x="37" y="0"/>
                    </a:lnTo>
                    <a:lnTo>
                      <a:pt x="31" y="56"/>
                    </a:lnTo>
                    <a:lnTo>
                      <a:pt x="44" y="65"/>
                    </a:lnTo>
                    <a:lnTo>
                      <a:pt x="19" y="100"/>
                    </a:lnTo>
                    <a:lnTo>
                      <a:pt x="19" y="132"/>
                    </a:lnTo>
                    <a:lnTo>
                      <a:pt x="5" y="132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98" name="Freeform 266"/>
              <p:cNvSpPr>
                <a:spLocks/>
              </p:cNvSpPr>
              <p:nvPr/>
            </p:nvSpPr>
            <p:spPr bwMode="auto">
              <a:xfrm>
                <a:off x="3070" y="1613"/>
                <a:ext cx="44" cy="66"/>
              </a:xfrm>
              <a:custGeom>
                <a:avLst/>
                <a:gdLst>
                  <a:gd name="T0" fmla="*/ 0 w 44"/>
                  <a:gd name="T1" fmla="*/ 1 h 132"/>
                  <a:gd name="T2" fmla="*/ 5 w 44"/>
                  <a:gd name="T3" fmla="*/ 1 h 132"/>
                  <a:gd name="T4" fmla="*/ 37 w 44"/>
                  <a:gd name="T5" fmla="*/ 0 h 132"/>
                  <a:gd name="T6" fmla="*/ 31 w 44"/>
                  <a:gd name="T7" fmla="*/ 1 h 132"/>
                  <a:gd name="T8" fmla="*/ 44 w 44"/>
                  <a:gd name="T9" fmla="*/ 1 h 132"/>
                  <a:gd name="T10" fmla="*/ 19 w 44"/>
                  <a:gd name="T11" fmla="*/ 1 h 132"/>
                  <a:gd name="T12" fmla="*/ 19 w 44"/>
                  <a:gd name="T13" fmla="*/ 1 h 132"/>
                  <a:gd name="T14" fmla="*/ 5 w 44"/>
                  <a:gd name="T15" fmla="*/ 1 h 132"/>
                  <a:gd name="T16" fmla="*/ 0 w 44"/>
                  <a:gd name="T17" fmla="*/ 1 h 1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4" h="132">
                    <a:moveTo>
                      <a:pt x="0" y="100"/>
                    </a:moveTo>
                    <a:lnTo>
                      <a:pt x="5" y="44"/>
                    </a:lnTo>
                    <a:lnTo>
                      <a:pt x="37" y="0"/>
                    </a:lnTo>
                    <a:lnTo>
                      <a:pt x="31" y="56"/>
                    </a:lnTo>
                    <a:lnTo>
                      <a:pt x="44" y="65"/>
                    </a:lnTo>
                    <a:lnTo>
                      <a:pt x="19" y="100"/>
                    </a:lnTo>
                    <a:lnTo>
                      <a:pt x="19" y="132"/>
                    </a:lnTo>
                    <a:lnTo>
                      <a:pt x="5" y="132"/>
                    </a:lnTo>
                    <a:lnTo>
                      <a:pt x="0" y="100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31" name="Freeform 267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4638923" y="2927350"/>
              <a:ext cx="25400" cy="26988"/>
            </a:xfrm>
            <a:custGeom>
              <a:avLst/>
              <a:gdLst>
                <a:gd name="T0" fmla="*/ 0 w 17"/>
                <a:gd name="T1" fmla="*/ 2147483647 h 34"/>
                <a:gd name="T2" fmla="*/ 2147483647 w 17"/>
                <a:gd name="T3" fmla="*/ 0 h 34"/>
                <a:gd name="T4" fmla="*/ 2147483647 w 17"/>
                <a:gd name="T5" fmla="*/ 2147483647 h 34"/>
                <a:gd name="T6" fmla="*/ 0 w 17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34">
                  <a:moveTo>
                    <a:pt x="0" y="34"/>
                  </a:moveTo>
                  <a:lnTo>
                    <a:pt x="17" y="0"/>
                  </a:lnTo>
                  <a:lnTo>
                    <a:pt x="17" y="21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32" name="Freeform 268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4638923" y="2927350"/>
              <a:ext cx="25400" cy="26988"/>
            </a:xfrm>
            <a:custGeom>
              <a:avLst/>
              <a:gdLst>
                <a:gd name="T0" fmla="*/ 0 w 17"/>
                <a:gd name="T1" fmla="*/ 2147483647 h 34"/>
                <a:gd name="T2" fmla="*/ 2147483647 w 17"/>
                <a:gd name="T3" fmla="*/ 0 h 34"/>
                <a:gd name="T4" fmla="*/ 2147483647 w 17"/>
                <a:gd name="T5" fmla="*/ 2147483647 h 34"/>
                <a:gd name="T6" fmla="*/ 0 w 17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34">
                  <a:moveTo>
                    <a:pt x="0" y="34"/>
                  </a:moveTo>
                  <a:lnTo>
                    <a:pt x="17" y="0"/>
                  </a:lnTo>
                  <a:lnTo>
                    <a:pt x="17" y="21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33" name="Freeform 269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4638923" y="2927350"/>
              <a:ext cx="25400" cy="26988"/>
            </a:xfrm>
            <a:custGeom>
              <a:avLst/>
              <a:gdLst>
                <a:gd name="T0" fmla="*/ 0 w 17"/>
                <a:gd name="T1" fmla="*/ 2147483647 h 34"/>
                <a:gd name="T2" fmla="*/ 2147483647 w 17"/>
                <a:gd name="T3" fmla="*/ 0 h 34"/>
                <a:gd name="T4" fmla="*/ 2147483647 w 17"/>
                <a:gd name="T5" fmla="*/ 2147483647 h 34"/>
                <a:gd name="T6" fmla="*/ 0 w 17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34">
                  <a:moveTo>
                    <a:pt x="0" y="34"/>
                  </a:moveTo>
                  <a:lnTo>
                    <a:pt x="17" y="0"/>
                  </a:lnTo>
                  <a:lnTo>
                    <a:pt x="17" y="21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34" name="Freeform 270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4638923" y="2927350"/>
              <a:ext cx="25400" cy="26988"/>
            </a:xfrm>
            <a:custGeom>
              <a:avLst/>
              <a:gdLst>
                <a:gd name="T0" fmla="*/ 0 w 17"/>
                <a:gd name="T1" fmla="*/ 2147483647 h 34"/>
                <a:gd name="T2" fmla="*/ 2147483647 w 17"/>
                <a:gd name="T3" fmla="*/ 0 h 34"/>
                <a:gd name="T4" fmla="*/ 2147483647 w 17"/>
                <a:gd name="T5" fmla="*/ 2147483647 h 34"/>
                <a:gd name="T6" fmla="*/ 0 w 17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34">
                  <a:moveTo>
                    <a:pt x="0" y="34"/>
                  </a:moveTo>
                  <a:lnTo>
                    <a:pt x="17" y="0"/>
                  </a:lnTo>
                  <a:lnTo>
                    <a:pt x="17" y="21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35" name="Freeform 271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4657973" y="2903538"/>
              <a:ext cx="38100" cy="41275"/>
            </a:xfrm>
            <a:custGeom>
              <a:avLst/>
              <a:gdLst>
                <a:gd name="T0" fmla="*/ 0 w 27"/>
                <a:gd name="T1" fmla="*/ 2147483647 h 54"/>
                <a:gd name="T2" fmla="*/ 2147483647 w 27"/>
                <a:gd name="T3" fmla="*/ 2147483647 h 54"/>
                <a:gd name="T4" fmla="*/ 2147483647 w 27"/>
                <a:gd name="T5" fmla="*/ 2147483647 h 54"/>
                <a:gd name="T6" fmla="*/ 2147483647 w 27"/>
                <a:gd name="T7" fmla="*/ 0 h 54"/>
                <a:gd name="T8" fmla="*/ 0 w 27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54">
                  <a:moveTo>
                    <a:pt x="0" y="33"/>
                  </a:moveTo>
                  <a:lnTo>
                    <a:pt x="27" y="54"/>
                  </a:lnTo>
                  <a:lnTo>
                    <a:pt x="27" y="33"/>
                  </a:lnTo>
                  <a:lnTo>
                    <a:pt x="27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36" name="Freeform 272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4657973" y="2903538"/>
              <a:ext cx="38100" cy="41275"/>
            </a:xfrm>
            <a:custGeom>
              <a:avLst/>
              <a:gdLst>
                <a:gd name="T0" fmla="*/ 0 w 27"/>
                <a:gd name="T1" fmla="*/ 2147483647 h 54"/>
                <a:gd name="T2" fmla="*/ 2147483647 w 27"/>
                <a:gd name="T3" fmla="*/ 2147483647 h 54"/>
                <a:gd name="T4" fmla="*/ 2147483647 w 27"/>
                <a:gd name="T5" fmla="*/ 2147483647 h 54"/>
                <a:gd name="T6" fmla="*/ 2147483647 w 27"/>
                <a:gd name="T7" fmla="*/ 0 h 54"/>
                <a:gd name="T8" fmla="*/ 0 w 27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54">
                  <a:moveTo>
                    <a:pt x="0" y="33"/>
                  </a:moveTo>
                  <a:lnTo>
                    <a:pt x="27" y="54"/>
                  </a:lnTo>
                  <a:lnTo>
                    <a:pt x="27" y="33"/>
                  </a:lnTo>
                  <a:lnTo>
                    <a:pt x="27" y="0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37" name="Freeform 273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4657973" y="2903538"/>
              <a:ext cx="38100" cy="41275"/>
            </a:xfrm>
            <a:custGeom>
              <a:avLst/>
              <a:gdLst>
                <a:gd name="T0" fmla="*/ 0 w 27"/>
                <a:gd name="T1" fmla="*/ 2147483647 h 54"/>
                <a:gd name="T2" fmla="*/ 2147483647 w 27"/>
                <a:gd name="T3" fmla="*/ 2147483647 h 54"/>
                <a:gd name="T4" fmla="*/ 2147483647 w 27"/>
                <a:gd name="T5" fmla="*/ 2147483647 h 54"/>
                <a:gd name="T6" fmla="*/ 2147483647 w 27"/>
                <a:gd name="T7" fmla="*/ 0 h 54"/>
                <a:gd name="T8" fmla="*/ 0 w 27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54">
                  <a:moveTo>
                    <a:pt x="0" y="33"/>
                  </a:moveTo>
                  <a:lnTo>
                    <a:pt x="27" y="54"/>
                  </a:lnTo>
                  <a:lnTo>
                    <a:pt x="27" y="33"/>
                  </a:lnTo>
                  <a:lnTo>
                    <a:pt x="27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38" name="Freeform 274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4657973" y="2903538"/>
              <a:ext cx="38100" cy="41275"/>
            </a:xfrm>
            <a:custGeom>
              <a:avLst/>
              <a:gdLst>
                <a:gd name="T0" fmla="*/ 0 w 27"/>
                <a:gd name="T1" fmla="*/ 2147483647 h 54"/>
                <a:gd name="T2" fmla="*/ 2147483647 w 27"/>
                <a:gd name="T3" fmla="*/ 2147483647 h 54"/>
                <a:gd name="T4" fmla="*/ 2147483647 w 27"/>
                <a:gd name="T5" fmla="*/ 2147483647 h 54"/>
                <a:gd name="T6" fmla="*/ 2147483647 w 27"/>
                <a:gd name="T7" fmla="*/ 0 h 54"/>
                <a:gd name="T8" fmla="*/ 0 w 27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54">
                  <a:moveTo>
                    <a:pt x="0" y="33"/>
                  </a:moveTo>
                  <a:lnTo>
                    <a:pt x="27" y="54"/>
                  </a:lnTo>
                  <a:lnTo>
                    <a:pt x="27" y="33"/>
                  </a:lnTo>
                  <a:lnTo>
                    <a:pt x="27" y="0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39" name="Freeform 275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2584698" y="3987800"/>
              <a:ext cx="73025" cy="44450"/>
            </a:xfrm>
            <a:custGeom>
              <a:avLst/>
              <a:gdLst>
                <a:gd name="T0" fmla="*/ 0 w 50"/>
                <a:gd name="T1" fmla="*/ 0 h 55"/>
                <a:gd name="T2" fmla="*/ 0 w 50"/>
                <a:gd name="T3" fmla="*/ 2147483647 h 55"/>
                <a:gd name="T4" fmla="*/ 2147483647 w 50"/>
                <a:gd name="T5" fmla="*/ 2147483647 h 55"/>
                <a:gd name="T6" fmla="*/ 2147483647 w 50"/>
                <a:gd name="T7" fmla="*/ 2147483647 h 55"/>
                <a:gd name="T8" fmla="*/ 0 w 50"/>
                <a:gd name="T9" fmla="*/ 0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5">
                  <a:moveTo>
                    <a:pt x="0" y="0"/>
                  </a:moveTo>
                  <a:lnTo>
                    <a:pt x="0" y="55"/>
                  </a:lnTo>
                  <a:lnTo>
                    <a:pt x="50" y="46"/>
                  </a:lnTo>
                  <a:lnTo>
                    <a:pt x="32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40" name="Freeform 276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2584698" y="3987800"/>
              <a:ext cx="73025" cy="44450"/>
            </a:xfrm>
            <a:custGeom>
              <a:avLst/>
              <a:gdLst>
                <a:gd name="T0" fmla="*/ 0 w 50"/>
                <a:gd name="T1" fmla="*/ 0 h 55"/>
                <a:gd name="T2" fmla="*/ 0 w 50"/>
                <a:gd name="T3" fmla="*/ 2147483647 h 55"/>
                <a:gd name="T4" fmla="*/ 2147483647 w 50"/>
                <a:gd name="T5" fmla="*/ 2147483647 h 55"/>
                <a:gd name="T6" fmla="*/ 2147483647 w 50"/>
                <a:gd name="T7" fmla="*/ 2147483647 h 55"/>
                <a:gd name="T8" fmla="*/ 0 w 50"/>
                <a:gd name="T9" fmla="*/ 0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5">
                  <a:moveTo>
                    <a:pt x="0" y="0"/>
                  </a:moveTo>
                  <a:lnTo>
                    <a:pt x="0" y="55"/>
                  </a:lnTo>
                  <a:lnTo>
                    <a:pt x="50" y="46"/>
                  </a:lnTo>
                  <a:lnTo>
                    <a:pt x="32" y="11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41" name="Freeform 277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2584698" y="3987800"/>
              <a:ext cx="73025" cy="44450"/>
            </a:xfrm>
            <a:custGeom>
              <a:avLst/>
              <a:gdLst>
                <a:gd name="T0" fmla="*/ 0 w 50"/>
                <a:gd name="T1" fmla="*/ 0 h 55"/>
                <a:gd name="T2" fmla="*/ 0 w 50"/>
                <a:gd name="T3" fmla="*/ 2147483647 h 55"/>
                <a:gd name="T4" fmla="*/ 2147483647 w 50"/>
                <a:gd name="T5" fmla="*/ 2147483647 h 55"/>
                <a:gd name="T6" fmla="*/ 2147483647 w 50"/>
                <a:gd name="T7" fmla="*/ 2147483647 h 55"/>
                <a:gd name="T8" fmla="*/ 0 w 50"/>
                <a:gd name="T9" fmla="*/ 0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5">
                  <a:moveTo>
                    <a:pt x="0" y="0"/>
                  </a:moveTo>
                  <a:lnTo>
                    <a:pt x="0" y="55"/>
                  </a:lnTo>
                  <a:lnTo>
                    <a:pt x="50" y="46"/>
                  </a:lnTo>
                  <a:lnTo>
                    <a:pt x="32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42" name="Freeform 278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2584698" y="3987800"/>
              <a:ext cx="73025" cy="44450"/>
            </a:xfrm>
            <a:custGeom>
              <a:avLst/>
              <a:gdLst>
                <a:gd name="T0" fmla="*/ 0 w 50"/>
                <a:gd name="T1" fmla="*/ 0 h 55"/>
                <a:gd name="T2" fmla="*/ 0 w 50"/>
                <a:gd name="T3" fmla="*/ 2147483647 h 55"/>
                <a:gd name="T4" fmla="*/ 2147483647 w 50"/>
                <a:gd name="T5" fmla="*/ 2147483647 h 55"/>
                <a:gd name="T6" fmla="*/ 2147483647 w 50"/>
                <a:gd name="T7" fmla="*/ 2147483647 h 55"/>
                <a:gd name="T8" fmla="*/ 0 w 50"/>
                <a:gd name="T9" fmla="*/ 0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5">
                  <a:moveTo>
                    <a:pt x="0" y="0"/>
                  </a:moveTo>
                  <a:lnTo>
                    <a:pt x="0" y="55"/>
                  </a:lnTo>
                  <a:lnTo>
                    <a:pt x="50" y="46"/>
                  </a:lnTo>
                  <a:lnTo>
                    <a:pt x="32" y="11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43" name="Freeform 279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2384673" y="4467225"/>
              <a:ext cx="125413" cy="158750"/>
            </a:xfrm>
            <a:custGeom>
              <a:avLst/>
              <a:gdLst>
                <a:gd name="T0" fmla="*/ 0 w 86"/>
                <a:gd name="T1" fmla="*/ 2147483647 h 199"/>
                <a:gd name="T2" fmla="*/ 0 w 86"/>
                <a:gd name="T3" fmla="*/ 2147483647 h 199"/>
                <a:gd name="T4" fmla="*/ 2147483647 w 86"/>
                <a:gd name="T5" fmla="*/ 2147483647 h 199"/>
                <a:gd name="T6" fmla="*/ 2147483647 w 86"/>
                <a:gd name="T7" fmla="*/ 2147483647 h 199"/>
                <a:gd name="T8" fmla="*/ 2147483647 w 86"/>
                <a:gd name="T9" fmla="*/ 2147483647 h 199"/>
                <a:gd name="T10" fmla="*/ 2147483647 w 86"/>
                <a:gd name="T11" fmla="*/ 2147483647 h 199"/>
                <a:gd name="T12" fmla="*/ 2147483647 w 86"/>
                <a:gd name="T13" fmla="*/ 2147483647 h 199"/>
                <a:gd name="T14" fmla="*/ 2147483647 w 86"/>
                <a:gd name="T15" fmla="*/ 2147483647 h 199"/>
                <a:gd name="T16" fmla="*/ 2147483647 w 86"/>
                <a:gd name="T17" fmla="*/ 2147483647 h 199"/>
                <a:gd name="T18" fmla="*/ 2147483647 w 86"/>
                <a:gd name="T19" fmla="*/ 2147483647 h 199"/>
                <a:gd name="T20" fmla="*/ 2147483647 w 86"/>
                <a:gd name="T21" fmla="*/ 0 h 199"/>
                <a:gd name="T22" fmla="*/ 2147483647 w 86"/>
                <a:gd name="T23" fmla="*/ 2147483647 h 199"/>
                <a:gd name="T24" fmla="*/ 0 w 86"/>
                <a:gd name="T25" fmla="*/ 2147483647 h 19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6" h="199">
                  <a:moveTo>
                    <a:pt x="0" y="76"/>
                  </a:moveTo>
                  <a:lnTo>
                    <a:pt x="0" y="111"/>
                  </a:lnTo>
                  <a:lnTo>
                    <a:pt x="12" y="121"/>
                  </a:lnTo>
                  <a:lnTo>
                    <a:pt x="5" y="155"/>
                  </a:lnTo>
                  <a:lnTo>
                    <a:pt x="5" y="186"/>
                  </a:lnTo>
                  <a:lnTo>
                    <a:pt x="24" y="199"/>
                  </a:lnTo>
                  <a:lnTo>
                    <a:pt x="44" y="142"/>
                  </a:lnTo>
                  <a:lnTo>
                    <a:pt x="74" y="98"/>
                  </a:lnTo>
                  <a:lnTo>
                    <a:pt x="86" y="44"/>
                  </a:lnTo>
                  <a:lnTo>
                    <a:pt x="49" y="32"/>
                  </a:lnTo>
                  <a:lnTo>
                    <a:pt x="31" y="0"/>
                  </a:lnTo>
                  <a:lnTo>
                    <a:pt x="5" y="23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44" name="Freeform 280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2384673" y="4467225"/>
              <a:ext cx="125413" cy="158750"/>
            </a:xfrm>
            <a:custGeom>
              <a:avLst/>
              <a:gdLst>
                <a:gd name="T0" fmla="*/ 0 w 86"/>
                <a:gd name="T1" fmla="*/ 2147483647 h 199"/>
                <a:gd name="T2" fmla="*/ 0 w 86"/>
                <a:gd name="T3" fmla="*/ 2147483647 h 199"/>
                <a:gd name="T4" fmla="*/ 2147483647 w 86"/>
                <a:gd name="T5" fmla="*/ 2147483647 h 199"/>
                <a:gd name="T6" fmla="*/ 2147483647 w 86"/>
                <a:gd name="T7" fmla="*/ 2147483647 h 199"/>
                <a:gd name="T8" fmla="*/ 2147483647 w 86"/>
                <a:gd name="T9" fmla="*/ 2147483647 h 199"/>
                <a:gd name="T10" fmla="*/ 2147483647 w 86"/>
                <a:gd name="T11" fmla="*/ 2147483647 h 199"/>
                <a:gd name="T12" fmla="*/ 2147483647 w 86"/>
                <a:gd name="T13" fmla="*/ 2147483647 h 199"/>
                <a:gd name="T14" fmla="*/ 2147483647 w 86"/>
                <a:gd name="T15" fmla="*/ 2147483647 h 199"/>
                <a:gd name="T16" fmla="*/ 2147483647 w 86"/>
                <a:gd name="T17" fmla="*/ 2147483647 h 199"/>
                <a:gd name="T18" fmla="*/ 2147483647 w 86"/>
                <a:gd name="T19" fmla="*/ 2147483647 h 199"/>
                <a:gd name="T20" fmla="*/ 2147483647 w 86"/>
                <a:gd name="T21" fmla="*/ 0 h 199"/>
                <a:gd name="T22" fmla="*/ 2147483647 w 86"/>
                <a:gd name="T23" fmla="*/ 2147483647 h 199"/>
                <a:gd name="T24" fmla="*/ 0 w 86"/>
                <a:gd name="T25" fmla="*/ 2147483647 h 19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6" h="199">
                  <a:moveTo>
                    <a:pt x="0" y="76"/>
                  </a:moveTo>
                  <a:lnTo>
                    <a:pt x="0" y="111"/>
                  </a:lnTo>
                  <a:lnTo>
                    <a:pt x="12" y="121"/>
                  </a:lnTo>
                  <a:lnTo>
                    <a:pt x="5" y="155"/>
                  </a:lnTo>
                  <a:lnTo>
                    <a:pt x="5" y="186"/>
                  </a:lnTo>
                  <a:lnTo>
                    <a:pt x="24" y="199"/>
                  </a:lnTo>
                  <a:lnTo>
                    <a:pt x="44" y="142"/>
                  </a:lnTo>
                  <a:lnTo>
                    <a:pt x="74" y="98"/>
                  </a:lnTo>
                  <a:lnTo>
                    <a:pt x="86" y="44"/>
                  </a:lnTo>
                  <a:lnTo>
                    <a:pt x="49" y="32"/>
                  </a:lnTo>
                  <a:lnTo>
                    <a:pt x="31" y="0"/>
                  </a:lnTo>
                  <a:lnTo>
                    <a:pt x="5" y="23"/>
                  </a:lnTo>
                  <a:lnTo>
                    <a:pt x="0" y="7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45" name="Freeform 281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2384673" y="4467225"/>
              <a:ext cx="125413" cy="158750"/>
            </a:xfrm>
            <a:custGeom>
              <a:avLst/>
              <a:gdLst>
                <a:gd name="T0" fmla="*/ 0 w 86"/>
                <a:gd name="T1" fmla="*/ 2147483647 h 199"/>
                <a:gd name="T2" fmla="*/ 0 w 86"/>
                <a:gd name="T3" fmla="*/ 2147483647 h 199"/>
                <a:gd name="T4" fmla="*/ 2147483647 w 86"/>
                <a:gd name="T5" fmla="*/ 2147483647 h 199"/>
                <a:gd name="T6" fmla="*/ 2147483647 w 86"/>
                <a:gd name="T7" fmla="*/ 2147483647 h 199"/>
                <a:gd name="T8" fmla="*/ 2147483647 w 86"/>
                <a:gd name="T9" fmla="*/ 2147483647 h 199"/>
                <a:gd name="T10" fmla="*/ 2147483647 w 86"/>
                <a:gd name="T11" fmla="*/ 2147483647 h 199"/>
                <a:gd name="T12" fmla="*/ 2147483647 w 86"/>
                <a:gd name="T13" fmla="*/ 2147483647 h 199"/>
                <a:gd name="T14" fmla="*/ 2147483647 w 86"/>
                <a:gd name="T15" fmla="*/ 2147483647 h 199"/>
                <a:gd name="T16" fmla="*/ 2147483647 w 86"/>
                <a:gd name="T17" fmla="*/ 2147483647 h 199"/>
                <a:gd name="T18" fmla="*/ 2147483647 w 86"/>
                <a:gd name="T19" fmla="*/ 2147483647 h 199"/>
                <a:gd name="T20" fmla="*/ 2147483647 w 86"/>
                <a:gd name="T21" fmla="*/ 0 h 199"/>
                <a:gd name="T22" fmla="*/ 2147483647 w 86"/>
                <a:gd name="T23" fmla="*/ 2147483647 h 199"/>
                <a:gd name="T24" fmla="*/ 0 w 86"/>
                <a:gd name="T25" fmla="*/ 2147483647 h 19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6" h="199">
                  <a:moveTo>
                    <a:pt x="0" y="76"/>
                  </a:moveTo>
                  <a:lnTo>
                    <a:pt x="0" y="111"/>
                  </a:lnTo>
                  <a:lnTo>
                    <a:pt x="12" y="121"/>
                  </a:lnTo>
                  <a:lnTo>
                    <a:pt x="5" y="155"/>
                  </a:lnTo>
                  <a:lnTo>
                    <a:pt x="5" y="186"/>
                  </a:lnTo>
                  <a:lnTo>
                    <a:pt x="24" y="199"/>
                  </a:lnTo>
                  <a:lnTo>
                    <a:pt x="44" y="142"/>
                  </a:lnTo>
                  <a:lnTo>
                    <a:pt x="74" y="98"/>
                  </a:lnTo>
                  <a:lnTo>
                    <a:pt x="86" y="44"/>
                  </a:lnTo>
                  <a:lnTo>
                    <a:pt x="49" y="32"/>
                  </a:lnTo>
                  <a:lnTo>
                    <a:pt x="31" y="0"/>
                  </a:lnTo>
                  <a:lnTo>
                    <a:pt x="5" y="23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46" name="Freeform 282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2384673" y="4467225"/>
              <a:ext cx="125413" cy="158750"/>
            </a:xfrm>
            <a:custGeom>
              <a:avLst/>
              <a:gdLst>
                <a:gd name="T0" fmla="*/ 0 w 86"/>
                <a:gd name="T1" fmla="*/ 2147483647 h 199"/>
                <a:gd name="T2" fmla="*/ 0 w 86"/>
                <a:gd name="T3" fmla="*/ 2147483647 h 199"/>
                <a:gd name="T4" fmla="*/ 2147483647 w 86"/>
                <a:gd name="T5" fmla="*/ 2147483647 h 199"/>
                <a:gd name="T6" fmla="*/ 2147483647 w 86"/>
                <a:gd name="T7" fmla="*/ 2147483647 h 199"/>
                <a:gd name="T8" fmla="*/ 2147483647 w 86"/>
                <a:gd name="T9" fmla="*/ 2147483647 h 199"/>
                <a:gd name="T10" fmla="*/ 2147483647 w 86"/>
                <a:gd name="T11" fmla="*/ 2147483647 h 199"/>
                <a:gd name="T12" fmla="*/ 2147483647 w 86"/>
                <a:gd name="T13" fmla="*/ 2147483647 h 199"/>
                <a:gd name="T14" fmla="*/ 2147483647 w 86"/>
                <a:gd name="T15" fmla="*/ 2147483647 h 199"/>
                <a:gd name="T16" fmla="*/ 2147483647 w 86"/>
                <a:gd name="T17" fmla="*/ 2147483647 h 199"/>
                <a:gd name="T18" fmla="*/ 2147483647 w 86"/>
                <a:gd name="T19" fmla="*/ 2147483647 h 199"/>
                <a:gd name="T20" fmla="*/ 2147483647 w 86"/>
                <a:gd name="T21" fmla="*/ 0 h 199"/>
                <a:gd name="T22" fmla="*/ 2147483647 w 86"/>
                <a:gd name="T23" fmla="*/ 2147483647 h 199"/>
                <a:gd name="T24" fmla="*/ 0 w 86"/>
                <a:gd name="T25" fmla="*/ 2147483647 h 19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6" h="199">
                  <a:moveTo>
                    <a:pt x="0" y="76"/>
                  </a:moveTo>
                  <a:lnTo>
                    <a:pt x="0" y="111"/>
                  </a:lnTo>
                  <a:lnTo>
                    <a:pt x="12" y="121"/>
                  </a:lnTo>
                  <a:lnTo>
                    <a:pt x="5" y="155"/>
                  </a:lnTo>
                  <a:lnTo>
                    <a:pt x="5" y="186"/>
                  </a:lnTo>
                  <a:lnTo>
                    <a:pt x="24" y="199"/>
                  </a:lnTo>
                  <a:lnTo>
                    <a:pt x="44" y="142"/>
                  </a:lnTo>
                  <a:lnTo>
                    <a:pt x="74" y="98"/>
                  </a:lnTo>
                  <a:lnTo>
                    <a:pt x="86" y="44"/>
                  </a:lnTo>
                  <a:lnTo>
                    <a:pt x="49" y="32"/>
                  </a:lnTo>
                  <a:lnTo>
                    <a:pt x="31" y="0"/>
                  </a:lnTo>
                  <a:lnTo>
                    <a:pt x="5" y="23"/>
                  </a:lnTo>
                  <a:lnTo>
                    <a:pt x="0" y="7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47" name="Freeform 283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2171948" y="4130675"/>
              <a:ext cx="47625" cy="26988"/>
            </a:xfrm>
            <a:custGeom>
              <a:avLst/>
              <a:gdLst>
                <a:gd name="T0" fmla="*/ 0 w 32"/>
                <a:gd name="T1" fmla="*/ 2147483647 h 35"/>
                <a:gd name="T2" fmla="*/ 2147483647 w 32"/>
                <a:gd name="T3" fmla="*/ 0 h 35"/>
                <a:gd name="T4" fmla="*/ 2147483647 w 32"/>
                <a:gd name="T5" fmla="*/ 2147483647 h 35"/>
                <a:gd name="T6" fmla="*/ 0 w 32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" h="35">
                  <a:moveTo>
                    <a:pt x="0" y="23"/>
                  </a:moveTo>
                  <a:lnTo>
                    <a:pt x="6" y="0"/>
                  </a:lnTo>
                  <a:lnTo>
                    <a:pt x="32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48" name="Freeform 284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2171948" y="4130675"/>
              <a:ext cx="47625" cy="26988"/>
            </a:xfrm>
            <a:custGeom>
              <a:avLst/>
              <a:gdLst>
                <a:gd name="T0" fmla="*/ 0 w 32"/>
                <a:gd name="T1" fmla="*/ 2147483647 h 35"/>
                <a:gd name="T2" fmla="*/ 2147483647 w 32"/>
                <a:gd name="T3" fmla="*/ 0 h 35"/>
                <a:gd name="T4" fmla="*/ 2147483647 w 32"/>
                <a:gd name="T5" fmla="*/ 2147483647 h 35"/>
                <a:gd name="T6" fmla="*/ 0 w 32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" h="35">
                  <a:moveTo>
                    <a:pt x="0" y="23"/>
                  </a:moveTo>
                  <a:lnTo>
                    <a:pt x="6" y="0"/>
                  </a:lnTo>
                  <a:lnTo>
                    <a:pt x="32" y="35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49" name="Freeform 285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2171948" y="4130675"/>
              <a:ext cx="47625" cy="26988"/>
            </a:xfrm>
            <a:custGeom>
              <a:avLst/>
              <a:gdLst>
                <a:gd name="T0" fmla="*/ 0 w 32"/>
                <a:gd name="T1" fmla="*/ 2147483647 h 35"/>
                <a:gd name="T2" fmla="*/ 2147483647 w 32"/>
                <a:gd name="T3" fmla="*/ 0 h 35"/>
                <a:gd name="T4" fmla="*/ 2147483647 w 32"/>
                <a:gd name="T5" fmla="*/ 2147483647 h 35"/>
                <a:gd name="T6" fmla="*/ 0 w 32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" h="35">
                  <a:moveTo>
                    <a:pt x="0" y="23"/>
                  </a:moveTo>
                  <a:lnTo>
                    <a:pt x="6" y="0"/>
                  </a:lnTo>
                  <a:lnTo>
                    <a:pt x="32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50" name="Freeform 286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2171948" y="4130675"/>
              <a:ext cx="47625" cy="26988"/>
            </a:xfrm>
            <a:custGeom>
              <a:avLst/>
              <a:gdLst>
                <a:gd name="T0" fmla="*/ 0 w 32"/>
                <a:gd name="T1" fmla="*/ 2147483647 h 35"/>
                <a:gd name="T2" fmla="*/ 2147483647 w 32"/>
                <a:gd name="T3" fmla="*/ 0 h 35"/>
                <a:gd name="T4" fmla="*/ 2147483647 w 32"/>
                <a:gd name="T5" fmla="*/ 2147483647 h 35"/>
                <a:gd name="T6" fmla="*/ 0 w 32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" h="35">
                  <a:moveTo>
                    <a:pt x="0" y="23"/>
                  </a:moveTo>
                  <a:lnTo>
                    <a:pt x="6" y="0"/>
                  </a:lnTo>
                  <a:lnTo>
                    <a:pt x="32" y="35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51" name="Freeform 287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2832348" y="5924550"/>
              <a:ext cx="34925" cy="26988"/>
            </a:xfrm>
            <a:custGeom>
              <a:avLst/>
              <a:gdLst>
                <a:gd name="T0" fmla="*/ 0 w 24"/>
                <a:gd name="T1" fmla="*/ 2147483647 h 34"/>
                <a:gd name="T2" fmla="*/ 2147483647 w 24"/>
                <a:gd name="T3" fmla="*/ 2147483647 h 34"/>
                <a:gd name="T4" fmla="*/ 2147483647 w 24"/>
                <a:gd name="T5" fmla="*/ 0 h 34"/>
                <a:gd name="T6" fmla="*/ 2147483647 w 24"/>
                <a:gd name="T7" fmla="*/ 0 h 34"/>
                <a:gd name="T8" fmla="*/ 0 w 24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34">
                  <a:moveTo>
                    <a:pt x="0" y="34"/>
                  </a:moveTo>
                  <a:lnTo>
                    <a:pt x="19" y="9"/>
                  </a:lnTo>
                  <a:lnTo>
                    <a:pt x="7" y="0"/>
                  </a:lnTo>
                  <a:lnTo>
                    <a:pt x="24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52" name="Freeform 288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2832348" y="5924550"/>
              <a:ext cx="34925" cy="26988"/>
            </a:xfrm>
            <a:custGeom>
              <a:avLst/>
              <a:gdLst>
                <a:gd name="T0" fmla="*/ 0 w 24"/>
                <a:gd name="T1" fmla="*/ 2147483647 h 34"/>
                <a:gd name="T2" fmla="*/ 2147483647 w 24"/>
                <a:gd name="T3" fmla="*/ 2147483647 h 34"/>
                <a:gd name="T4" fmla="*/ 2147483647 w 24"/>
                <a:gd name="T5" fmla="*/ 0 h 34"/>
                <a:gd name="T6" fmla="*/ 2147483647 w 24"/>
                <a:gd name="T7" fmla="*/ 0 h 34"/>
                <a:gd name="T8" fmla="*/ 0 w 24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34">
                  <a:moveTo>
                    <a:pt x="0" y="34"/>
                  </a:moveTo>
                  <a:lnTo>
                    <a:pt x="19" y="9"/>
                  </a:lnTo>
                  <a:lnTo>
                    <a:pt x="7" y="0"/>
                  </a:lnTo>
                  <a:lnTo>
                    <a:pt x="24" y="0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53" name="Freeform 289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2832348" y="5924550"/>
              <a:ext cx="34925" cy="26988"/>
            </a:xfrm>
            <a:custGeom>
              <a:avLst/>
              <a:gdLst>
                <a:gd name="T0" fmla="*/ 0 w 24"/>
                <a:gd name="T1" fmla="*/ 2147483647 h 34"/>
                <a:gd name="T2" fmla="*/ 2147483647 w 24"/>
                <a:gd name="T3" fmla="*/ 2147483647 h 34"/>
                <a:gd name="T4" fmla="*/ 2147483647 w 24"/>
                <a:gd name="T5" fmla="*/ 0 h 34"/>
                <a:gd name="T6" fmla="*/ 2147483647 w 24"/>
                <a:gd name="T7" fmla="*/ 0 h 34"/>
                <a:gd name="T8" fmla="*/ 0 w 24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34">
                  <a:moveTo>
                    <a:pt x="0" y="34"/>
                  </a:moveTo>
                  <a:lnTo>
                    <a:pt x="19" y="9"/>
                  </a:lnTo>
                  <a:lnTo>
                    <a:pt x="7" y="0"/>
                  </a:lnTo>
                  <a:lnTo>
                    <a:pt x="24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54" name="Freeform 290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2832348" y="5924550"/>
              <a:ext cx="34925" cy="26988"/>
            </a:xfrm>
            <a:custGeom>
              <a:avLst/>
              <a:gdLst>
                <a:gd name="T0" fmla="*/ 0 w 24"/>
                <a:gd name="T1" fmla="*/ 2147483647 h 34"/>
                <a:gd name="T2" fmla="*/ 2147483647 w 24"/>
                <a:gd name="T3" fmla="*/ 2147483647 h 34"/>
                <a:gd name="T4" fmla="*/ 2147483647 w 24"/>
                <a:gd name="T5" fmla="*/ 0 h 34"/>
                <a:gd name="T6" fmla="*/ 2147483647 w 24"/>
                <a:gd name="T7" fmla="*/ 0 h 34"/>
                <a:gd name="T8" fmla="*/ 0 w 24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34">
                  <a:moveTo>
                    <a:pt x="0" y="34"/>
                  </a:moveTo>
                  <a:lnTo>
                    <a:pt x="19" y="9"/>
                  </a:lnTo>
                  <a:lnTo>
                    <a:pt x="7" y="0"/>
                  </a:lnTo>
                  <a:lnTo>
                    <a:pt x="24" y="0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55" name="Freeform 291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2860923" y="5924550"/>
              <a:ext cx="44450" cy="26988"/>
            </a:xfrm>
            <a:custGeom>
              <a:avLst/>
              <a:gdLst>
                <a:gd name="T0" fmla="*/ 0 w 31"/>
                <a:gd name="T1" fmla="*/ 2147483647 h 34"/>
                <a:gd name="T2" fmla="*/ 2147483647 w 31"/>
                <a:gd name="T3" fmla="*/ 0 h 34"/>
                <a:gd name="T4" fmla="*/ 2147483647 w 31"/>
                <a:gd name="T5" fmla="*/ 2147483647 h 34"/>
                <a:gd name="T6" fmla="*/ 0 w 31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4">
                  <a:moveTo>
                    <a:pt x="0" y="34"/>
                  </a:moveTo>
                  <a:lnTo>
                    <a:pt x="19" y="0"/>
                  </a:lnTo>
                  <a:lnTo>
                    <a:pt x="31" y="9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56" name="Freeform 292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2860923" y="5924550"/>
              <a:ext cx="44450" cy="26988"/>
            </a:xfrm>
            <a:custGeom>
              <a:avLst/>
              <a:gdLst>
                <a:gd name="T0" fmla="*/ 0 w 31"/>
                <a:gd name="T1" fmla="*/ 2147483647 h 34"/>
                <a:gd name="T2" fmla="*/ 2147483647 w 31"/>
                <a:gd name="T3" fmla="*/ 0 h 34"/>
                <a:gd name="T4" fmla="*/ 2147483647 w 31"/>
                <a:gd name="T5" fmla="*/ 2147483647 h 34"/>
                <a:gd name="T6" fmla="*/ 0 w 31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4">
                  <a:moveTo>
                    <a:pt x="0" y="34"/>
                  </a:moveTo>
                  <a:lnTo>
                    <a:pt x="19" y="0"/>
                  </a:lnTo>
                  <a:lnTo>
                    <a:pt x="31" y="9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57" name="Freeform 293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2860923" y="5924550"/>
              <a:ext cx="44450" cy="26988"/>
            </a:xfrm>
            <a:custGeom>
              <a:avLst/>
              <a:gdLst>
                <a:gd name="T0" fmla="*/ 0 w 31"/>
                <a:gd name="T1" fmla="*/ 2147483647 h 34"/>
                <a:gd name="T2" fmla="*/ 2147483647 w 31"/>
                <a:gd name="T3" fmla="*/ 0 h 34"/>
                <a:gd name="T4" fmla="*/ 2147483647 w 31"/>
                <a:gd name="T5" fmla="*/ 2147483647 h 34"/>
                <a:gd name="T6" fmla="*/ 0 w 31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4">
                  <a:moveTo>
                    <a:pt x="0" y="34"/>
                  </a:moveTo>
                  <a:lnTo>
                    <a:pt x="19" y="0"/>
                  </a:lnTo>
                  <a:lnTo>
                    <a:pt x="31" y="9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58" name="Freeform 294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2860923" y="5924550"/>
              <a:ext cx="44450" cy="26988"/>
            </a:xfrm>
            <a:custGeom>
              <a:avLst/>
              <a:gdLst>
                <a:gd name="T0" fmla="*/ 0 w 31"/>
                <a:gd name="T1" fmla="*/ 2147483647 h 34"/>
                <a:gd name="T2" fmla="*/ 2147483647 w 31"/>
                <a:gd name="T3" fmla="*/ 0 h 34"/>
                <a:gd name="T4" fmla="*/ 2147483647 w 31"/>
                <a:gd name="T5" fmla="*/ 2147483647 h 34"/>
                <a:gd name="T6" fmla="*/ 0 w 31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4">
                  <a:moveTo>
                    <a:pt x="0" y="34"/>
                  </a:moveTo>
                  <a:lnTo>
                    <a:pt x="19" y="0"/>
                  </a:lnTo>
                  <a:lnTo>
                    <a:pt x="31" y="9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59" name="Freeform 295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4878636" y="2354263"/>
              <a:ext cx="249237" cy="414337"/>
            </a:xfrm>
            <a:custGeom>
              <a:avLst/>
              <a:gdLst>
                <a:gd name="T0" fmla="*/ 0 w 170"/>
                <a:gd name="T1" fmla="*/ 2147483647 h 522"/>
                <a:gd name="T2" fmla="*/ 2147483647 w 170"/>
                <a:gd name="T3" fmla="*/ 2147483647 h 522"/>
                <a:gd name="T4" fmla="*/ 2147483647 w 170"/>
                <a:gd name="T5" fmla="*/ 2147483647 h 522"/>
                <a:gd name="T6" fmla="*/ 2147483647 w 170"/>
                <a:gd name="T7" fmla="*/ 2147483647 h 522"/>
                <a:gd name="T8" fmla="*/ 2147483647 w 170"/>
                <a:gd name="T9" fmla="*/ 2147483647 h 522"/>
                <a:gd name="T10" fmla="*/ 2147483647 w 170"/>
                <a:gd name="T11" fmla="*/ 2147483647 h 522"/>
                <a:gd name="T12" fmla="*/ 2147483647 w 170"/>
                <a:gd name="T13" fmla="*/ 0 h 522"/>
                <a:gd name="T14" fmla="*/ 2147483647 w 170"/>
                <a:gd name="T15" fmla="*/ 2147483647 h 522"/>
                <a:gd name="T16" fmla="*/ 2147483647 w 170"/>
                <a:gd name="T17" fmla="*/ 2147483647 h 522"/>
                <a:gd name="T18" fmla="*/ 2147483647 w 170"/>
                <a:gd name="T19" fmla="*/ 2147483647 h 522"/>
                <a:gd name="T20" fmla="*/ 2147483647 w 170"/>
                <a:gd name="T21" fmla="*/ 2147483647 h 522"/>
                <a:gd name="T22" fmla="*/ 2147483647 w 170"/>
                <a:gd name="T23" fmla="*/ 2147483647 h 522"/>
                <a:gd name="T24" fmla="*/ 2147483647 w 170"/>
                <a:gd name="T25" fmla="*/ 2147483647 h 522"/>
                <a:gd name="T26" fmla="*/ 2147483647 w 170"/>
                <a:gd name="T27" fmla="*/ 2147483647 h 522"/>
                <a:gd name="T28" fmla="*/ 2147483647 w 170"/>
                <a:gd name="T29" fmla="*/ 2147483647 h 522"/>
                <a:gd name="T30" fmla="*/ 2147483647 w 170"/>
                <a:gd name="T31" fmla="*/ 2147483647 h 522"/>
                <a:gd name="T32" fmla="*/ 2147483647 w 170"/>
                <a:gd name="T33" fmla="*/ 2147483647 h 522"/>
                <a:gd name="T34" fmla="*/ 2147483647 w 170"/>
                <a:gd name="T35" fmla="*/ 2147483647 h 522"/>
                <a:gd name="T36" fmla="*/ 2147483647 w 170"/>
                <a:gd name="T37" fmla="*/ 2147483647 h 522"/>
                <a:gd name="T38" fmla="*/ 2147483647 w 170"/>
                <a:gd name="T39" fmla="*/ 2147483647 h 522"/>
                <a:gd name="T40" fmla="*/ 2147483647 w 170"/>
                <a:gd name="T41" fmla="*/ 2147483647 h 522"/>
                <a:gd name="T42" fmla="*/ 2147483647 w 170"/>
                <a:gd name="T43" fmla="*/ 2147483647 h 522"/>
                <a:gd name="T44" fmla="*/ 2147483647 w 170"/>
                <a:gd name="T45" fmla="*/ 2147483647 h 522"/>
                <a:gd name="T46" fmla="*/ 0 w 170"/>
                <a:gd name="T47" fmla="*/ 2147483647 h 52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0" h="522">
                  <a:moveTo>
                    <a:pt x="0" y="55"/>
                  </a:moveTo>
                  <a:lnTo>
                    <a:pt x="12" y="44"/>
                  </a:lnTo>
                  <a:lnTo>
                    <a:pt x="31" y="67"/>
                  </a:lnTo>
                  <a:lnTo>
                    <a:pt x="63" y="78"/>
                  </a:lnTo>
                  <a:lnTo>
                    <a:pt x="82" y="55"/>
                  </a:lnTo>
                  <a:lnTo>
                    <a:pt x="87" y="11"/>
                  </a:lnTo>
                  <a:lnTo>
                    <a:pt x="112" y="0"/>
                  </a:lnTo>
                  <a:lnTo>
                    <a:pt x="132" y="23"/>
                  </a:lnTo>
                  <a:lnTo>
                    <a:pt x="132" y="55"/>
                  </a:lnTo>
                  <a:lnTo>
                    <a:pt x="125" y="88"/>
                  </a:lnTo>
                  <a:lnTo>
                    <a:pt x="144" y="134"/>
                  </a:lnTo>
                  <a:lnTo>
                    <a:pt x="132" y="167"/>
                  </a:lnTo>
                  <a:lnTo>
                    <a:pt x="151" y="222"/>
                  </a:lnTo>
                  <a:lnTo>
                    <a:pt x="144" y="278"/>
                  </a:lnTo>
                  <a:lnTo>
                    <a:pt x="170" y="390"/>
                  </a:lnTo>
                  <a:lnTo>
                    <a:pt x="112" y="489"/>
                  </a:lnTo>
                  <a:lnTo>
                    <a:pt x="37" y="522"/>
                  </a:lnTo>
                  <a:lnTo>
                    <a:pt x="37" y="501"/>
                  </a:lnTo>
                  <a:lnTo>
                    <a:pt x="12" y="489"/>
                  </a:lnTo>
                  <a:lnTo>
                    <a:pt x="6" y="378"/>
                  </a:lnTo>
                  <a:lnTo>
                    <a:pt x="75" y="267"/>
                  </a:lnTo>
                  <a:lnTo>
                    <a:pt x="56" y="222"/>
                  </a:lnTo>
                  <a:lnTo>
                    <a:pt x="45" y="111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60" name="Group 296"/>
            <p:cNvGrpSpPr>
              <a:grpSpLocks/>
            </p:cNvGrpSpPr>
            <p:nvPr>
              <p:custDataLst>
                <p:tags r:id="rId254"/>
              </p:custDataLst>
            </p:nvPr>
          </p:nvGrpSpPr>
          <p:grpSpPr bwMode="auto">
            <a:xfrm>
              <a:off x="4878636" y="2354263"/>
              <a:ext cx="249237" cy="414337"/>
              <a:chOff x="3264" y="1301"/>
              <a:chExt cx="170" cy="261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95" name="Freeform 297"/>
              <p:cNvSpPr>
                <a:spLocks/>
              </p:cNvSpPr>
              <p:nvPr/>
            </p:nvSpPr>
            <p:spPr bwMode="auto">
              <a:xfrm>
                <a:off x="3264" y="1301"/>
                <a:ext cx="170" cy="261"/>
              </a:xfrm>
              <a:custGeom>
                <a:avLst/>
                <a:gdLst>
                  <a:gd name="T0" fmla="*/ 0 w 170"/>
                  <a:gd name="T1" fmla="*/ 1 h 522"/>
                  <a:gd name="T2" fmla="*/ 12 w 170"/>
                  <a:gd name="T3" fmla="*/ 1 h 522"/>
                  <a:gd name="T4" fmla="*/ 31 w 170"/>
                  <a:gd name="T5" fmla="*/ 1 h 522"/>
                  <a:gd name="T6" fmla="*/ 63 w 170"/>
                  <a:gd name="T7" fmla="*/ 1 h 522"/>
                  <a:gd name="T8" fmla="*/ 82 w 170"/>
                  <a:gd name="T9" fmla="*/ 1 h 522"/>
                  <a:gd name="T10" fmla="*/ 87 w 170"/>
                  <a:gd name="T11" fmla="*/ 1 h 522"/>
                  <a:gd name="T12" fmla="*/ 112 w 170"/>
                  <a:gd name="T13" fmla="*/ 0 h 522"/>
                  <a:gd name="T14" fmla="*/ 132 w 170"/>
                  <a:gd name="T15" fmla="*/ 1 h 522"/>
                  <a:gd name="T16" fmla="*/ 132 w 170"/>
                  <a:gd name="T17" fmla="*/ 1 h 522"/>
                  <a:gd name="T18" fmla="*/ 125 w 170"/>
                  <a:gd name="T19" fmla="*/ 1 h 522"/>
                  <a:gd name="T20" fmla="*/ 144 w 170"/>
                  <a:gd name="T21" fmla="*/ 1 h 522"/>
                  <a:gd name="T22" fmla="*/ 132 w 170"/>
                  <a:gd name="T23" fmla="*/ 1 h 522"/>
                  <a:gd name="T24" fmla="*/ 151 w 170"/>
                  <a:gd name="T25" fmla="*/ 1 h 522"/>
                  <a:gd name="T26" fmla="*/ 144 w 170"/>
                  <a:gd name="T27" fmla="*/ 1 h 522"/>
                  <a:gd name="T28" fmla="*/ 170 w 170"/>
                  <a:gd name="T29" fmla="*/ 1 h 522"/>
                  <a:gd name="T30" fmla="*/ 112 w 170"/>
                  <a:gd name="T31" fmla="*/ 1 h 522"/>
                  <a:gd name="T32" fmla="*/ 37 w 170"/>
                  <a:gd name="T33" fmla="*/ 1 h 522"/>
                  <a:gd name="T34" fmla="*/ 37 w 170"/>
                  <a:gd name="T35" fmla="*/ 1 h 522"/>
                  <a:gd name="T36" fmla="*/ 12 w 170"/>
                  <a:gd name="T37" fmla="*/ 1 h 522"/>
                  <a:gd name="T38" fmla="*/ 6 w 170"/>
                  <a:gd name="T39" fmla="*/ 1 h 522"/>
                  <a:gd name="T40" fmla="*/ 75 w 170"/>
                  <a:gd name="T41" fmla="*/ 1 h 522"/>
                  <a:gd name="T42" fmla="*/ 56 w 170"/>
                  <a:gd name="T43" fmla="*/ 1 h 522"/>
                  <a:gd name="T44" fmla="*/ 45 w 170"/>
                  <a:gd name="T45" fmla="*/ 1 h 522"/>
                  <a:gd name="T46" fmla="*/ 0 w 170"/>
                  <a:gd name="T47" fmla="*/ 1 h 52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0" h="522">
                    <a:moveTo>
                      <a:pt x="0" y="55"/>
                    </a:moveTo>
                    <a:lnTo>
                      <a:pt x="12" y="44"/>
                    </a:lnTo>
                    <a:lnTo>
                      <a:pt x="31" y="67"/>
                    </a:lnTo>
                    <a:lnTo>
                      <a:pt x="63" y="78"/>
                    </a:lnTo>
                    <a:lnTo>
                      <a:pt x="82" y="55"/>
                    </a:lnTo>
                    <a:lnTo>
                      <a:pt x="87" y="11"/>
                    </a:lnTo>
                    <a:lnTo>
                      <a:pt x="112" y="0"/>
                    </a:lnTo>
                    <a:lnTo>
                      <a:pt x="132" y="23"/>
                    </a:lnTo>
                    <a:lnTo>
                      <a:pt x="132" y="55"/>
                    </a:lnTo>
                    <a:lnTo>
                      <a:pt x="125" y="88"/>
                    </a:lnTo>
                    <a:lnTo>
                      <a:pt x="144" y="134"/>
                    </a:lnTo>
                    <a:lnTo>
                      <a:pt x="132" y="167"/>
                    </a:lnTo>
                    <a:lnTo>
                      <a:pt x="151" y="222"/>
                    </a:lnTo>
                    <a:lnTo>
                      <a:pt x="144" y="278"/>
                    </a:lnTo>
                    <a:lnTo>
                      <a:pt x="170" y="390"/>
                    </a:lnTo>
                    <a:lnTo>
                      <a:pt x="112" y="489"/>
                    </a:lnTo>
                    <a:lnTo>
                      <a:pt x="37" y="522"/>
                    </a:lnTo>
                    <a:lnTo>
                      <a:pt x="37" y="501"/>
                    </a:lnTo>
                    <a:lnTo>
                      <a:pt x="12" y="489"/>
                    </a:lnTo>
                    <a:lnTo>
                      <a:pt x="6" y="378"/>
                    </a:lnTo>
                    <a:lnTo>
                      <a:pt x="75" y="267"/>
                    </a:lnTo>
                    <a:lnTo>
                      <a:pt x="56" y="222"/>
                    </a:lnTo>
                    <a:lnTo>
                      <a:pt x="45" y="111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96" name="Freeform 298"/>
              <p:cNvSpPr>
                <a:spLocks/>
              </p:cNvSpPr>
              <p:nvPr/>
            </p:nvSpPr>
            <p:spPr bwMode="auto">
              <a:xfrm>
                <a:off x="3264" y="1301"/>
                <a:ext cx="170" cy="261"/>
              </a:xfrm>
              <a:custGeom>
                <a:avLst/>
                <a:gdLst>
                  <a:gd name="T0" fmla="*/ 0 w 170"/>
                  <a:gd name="T1" fmla="*/ 1 h 522"/>
                  <a:gd name="T2" fmla="*/ 12 w 170"/>
                  <a:gd name="T3" fmla="*/ 1 h 522"/>
                  <a:gd name="T4" fmla="*/ 31 w 170"/>
                  <a:gd name="T5" fmla="*/ 1 h 522"/>
                  <a:gd name="T6" fmla="*/ 63 w 170"/>
                  <a:gd name="T7" fmla="*/ 1 h 522"/>
                  <a:gd name="T8" fmla="*/ 82 w 170"/>
                  <a:gd name="T9" fmla="*/ 1 h 522"/>
                  <a:gd name="T10" fmla="*/ 87 w 170"/>
                  <a:gd name="T11" fmla="*/ 1 h 522"/>
                  <a:gd name="T12" fmla="*/ 112 w 170"/>
                  <a:gd name="T13" fmla="*/ 0 h 522"/>
                  <a:gd name="T14" fmla="*/ 132 w 170"/>
                  <a:gd name="T15" fmla="*/ 1 h 522"/>
                  <a:gd name="T16" fmla="*/ 132 w 170"/>
                  <a:gd name="T17" fmla="*/ 1 h 522"/>
                  <a:gd name="T18" fmla="*/ 125 w 170"/>
                  <a:gd name="T19" fmla="*/ 1 h 522"/>
                  <a:gd name="T20" fmla="*/ 144 w 170"/>
                  <a:gd name="T21" fmla="*/ 1 h 522"/>
                  <a:gd name="T22" fmla="*/ 132 w 170"/>
                  <a:gd name="T23" fmla="*/ 1 h 522"/>
                  <a:gd name="T24" fmla="*/ 151 w 170"/>
                  <a:gd name="T25" fmla="*/ 1 h 522"/>
                  <a:gd name="T26" fmla="*/ 144 w 170"/>
                  <a:gd name="T27" fmla="*/ 1 h 522"/>
                  <a:gd name="T28" fmla="*/ 170 w 170"/>
                  <a:gd name="T29" fmla="*/ 1 h 522"/>
                  <a:gd name="T30" fmla="*/ 112 w 170"/>
                  <a:gd name="T31" fmla="*/ 1 h 522"/>
                  <a:gd name="T32" fmla="*/ 37 w 170"/>
                  <a:gd name="T33" fmla="*/ 1 h 522"/>
                  <a:gd name="T34" fmla="*/ 37 w 170"/>
                  <a:gd name="T35" fmla="*/ 1 h 522"/>
                  <a:gd name="T36" fmla="*/ 12 w 170"/>
                  <a:gd name="T37" fmla="*/ 1 h 522"/>
                  <a:gd name="T38" fmla="*/ 6 w 170"/>
                  <a:gd name="T39" fmla="*/ 1 h 522"/>
                  <a:gd name="T40" fmla="*/ 75 w 170"/>
                  <a:gd name="T41" fmla="*/ 1 h 522"/>
                  <a:gd name="T42" fmla="*/ 56 w 170"/>
                  <a:gd name="T43" fmla="*/ 1 h 522"/>
                  <a:gd name="T44" fmla="*/ 45 w 170"/>
                  <a:gd name="T45" fmla="*/ 1 h 522"/>
                  <a:gd name="T46" fmla="*/ 0 w 170"/>
                  <a:gd name="T47" fmla="*/ 1 h 52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0" h="522">
                    <a:moveTo>
                      <a:pt x="0" y="55"/>
                    </a:moveTo>
                    <a:lnTo>
                      <a:pt x="12" y="44"/>
                    </a:lnTo>
                    <a:lnTo>
                      <a:pt x="31" y="67"/>
                    </a:lnTo>
                    <a:lnTo>
                      <a:pt x="63" y="78"/>
                    </a:lnTo>
                    <a:lnTo>
                      <a:pt x="82" y="55"/>
                    </a:lnTo>
                    <a:lnTo>
                      <a:pt x="87" y="11"/>
                    </a:lnTo>
                    <a:lnTo>
                      <a:pt x="112" y="0"/>
                    </a:lnTo>
                    <a:lnTo>
                      <a:pt x="132" y="23"/>
                    </a:lnTo>
                    <a:lnTo>
                      <a:pt x="132" y="55"/>
                    </a:lnTo>
                    <a:lnTo>
                      <a:pt x="125" y="88"/>
                    </a:lnTo>
                    <a:lnTo>
                      <a:pt x="144" y="134"/>
                    </a:lnTo>
                    <a:lnTo>
                      <a:pt x="132" y="167"/>
                    </a:lnTo>
                    <a:lnTo>
                      <a:pt x="151" y="222"/>
                    </a:lnTo>
                    <a:lnTo>
                      <a:pt x="144" y="278"/>
                    </a:lnTo>
                    <a:lnTo>
                      <a:pt x="170" y="390"/>
                    </a:lnTo>
                    <a:lnTo>
                      <a:pt x="112" y="489"/>
                    </a:lnTo>
                    <a:lnTo>
                      <a:pt x="37" y="522"/>
                    </a:lnTo>
                    <a:lnTo>
                      <a:pt x="37" y="501"/>
                    </a:lnTo>
                    <a:lnTo>
                      <a:pt x="12" y="489"/>
                    </a:lnTo>
                    <a:lnTo>
                      <a:pt x="6" y="378"/>
                    </a:lnTo>
                    <a:lnTo>
                      <a:pt x="75" y="267"/>
                    </a:lnTo>
                    <a:lnTo>
                      <a:pt x="56" y="222"/>
                    </a:lnTo>
                    <a:lnTo>
                      <a:pt x="45" y="111"/>
                    </a:lnTo>
                    <a:lnTo>
                      <a:pt x="0" y="55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61" name="Freeform 299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4878636" y="2354263"/>
              <a:ext cx="249237" cy="414337"/>
            </a:xfrm>
            <a:custGeom>
              <a:avLst/>
              <a:gdLst>
                <a:gd name="T0" fmla="*/ 0 w 170"/>
                <a:gd name="T1" fmla="*/ 2147483647 h 522"/>
                <a:gd name="T2" fmla="*/ 2147483647 w 170"/>
                <a:gd name="T3" fmla="*/ 2147483647 h 522"/>
                <a:gd name="T4" fmla="*/ 2147483647 w 170"/>
                <a:gd name="T5" fmla="*/ 2147483647 h 522"/>
                <a:gd name="T6" fmla="*/ 2147483647 w 170"/>
                <a:gd name="T7" fmla="*/ 2147483647 h 522"/>
                <a:gd name="T8" fmla="*/ 2147483647 w 170"/>
                <a:gd name="T9" fmla="*/ 2147483647 h 522"/>
                <a:gd name="T10" fmla="*/ 2147483647 w 170"/>
                <a:gd name="T11" fmla="*/ 2147483647 h 522"/>
                <a:gd name="T12" fmla="*/ 2147483647 w 170"/>
                <a:gd name="T13" fmla="*/ 0 h 522"/>
                <a:gd name="T14" fmla="*/ 2147483647 w 170"/>
                <a:gd name="T15" fmla="*/ 2147483647 h 522"/>
                <a:gd name="T16" fmla="*/ 2147483647 w 170"/>
                <a:gd name="T17" fmla="*/ 2147483647 h 522"/>
                <a:gd name="T18" fmla="*/ 2147483647 w 170"/>
                <a:gd name="T19" fmla="*/ 2147483647 h 522"/>
                <a:gd name="T20" fmla="*/ 2147483647 w 170"/>
                <a:gd name="T21" fmla="*/ 2147483647 h 522"/>
                <a:gd name="T22" fmla="*/ 2147483647 w 170"/>
                <a:gd name="T23" fmla="*/ 2147483647 h 522"/>
                <a:gd name="T24" fmla="*/ 2147483647 w 170"/>
                <a:gd name="T25" fmla="*/ 2147483647 h 522"/>
                <a:gd name="T26" fmla="*/ 2147483647 w 170"/>
                <a:gd name="T27" fmla="*/ 2147483647 h 522"/>
                <a:gd name="T28" fmla="*/ 2147483647 w 170"/>
                <a:gd name="T29" fmla="*/ 2147483647 h 522"/>
                <a:gd name="T30" fmla="*/ 2147483647 w 170"/>
                <a:gd name="T31" fmla="*/ 2147483647 h 522"/>
                <a:gd name="T32" fmla="*/ 2147483647 w 170"/>
                <a:gd name="T33" fmla="*/ 2147483647 h 522"/>
                <a:gd name="T34" fmla="*/ 2147483647 w 170"/>
                <a:gd name="T35" fmla="*/ 2147483647 h 522"/>
                <a:gd name="T36" fmla="*/ 2147483647 w 170"/>
                <a:gd name="T37" fmla="*/ 2147483647 h 522"/>
                <a:gd name="T38" fmla="*/ 2147483647 w 170"/>
                <a:gd name="T39" fmla="*/ 2147483647 h 522"/>
                <a:gd name="T40" fmla="*/ 2147483647 w 170"/>
                <a:gd name="T41" fmla="*/ 2147483647 h 522"/>
                <a:gd name="T42" fmla="*/ 2147483647 w 170"/>
                <a:gd name="T43" fmla="*/ 2147483647 h 522"/>
                <a:gd name="T44" fmla="*/ 2147483647 w 170"/>
                <a:gd name="T45" fmla="*/ 2147483647 h 522"/>
                <a:gd name="T46" fmla="*/ 0 w 170"/>
                <a:gd name="T47" fmla="*/ 2147483647 h 52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0" h="522">
                  <a:moveTo>
                    <a:pt x="0" y="55"/>
                  </a:moveTo>
                  <a:lnTo>
                    <a:pt x="12" y="44"/>
                  </a:lnTo>
                  <a:lnTo>
                    <a:pt x="31" y="67"/>
                  </a:lnTo>
                  <a:lnTo>
                    <a:pt x="63" y="78"/>
                  </a:lnTo>
                  <a:lnTo>
                    <a:pt x="82" y="55"/>
                  </a:lnTo>
                  <a:lnTo>
                    <a:pt x="87" y="11"/>
                  </a:lnTo>
                  <a:lnTo>
                    <a:pt x="112" y="0"/>
                  </a:lnTo>
                  <a:lnTo>
                    <a:pt x="132" y="23"/>
                  </a:lnTo>
                  <a:lnTo>
                    <a:pt x="132" y="55"/>
                  </a:lnTo>
                  <a:lnTo>
                    <a:pt x="125" y="88"/>
                  </a:lnTo>
                  <a:lnTo>
                    <a:pt x="144" y="134"/>
                  </a:lnTo>
                  <a:lnTo>
                    <a:pt x="132" y="167"/>
                  </a:lnTo>
                  <a:lnTo>
                    <a:pt x="151" y="222"/>
                  </a:lnTo>
                  <a:lnTo>
                    <a:pt x="144" y="278"/>
                  </a:lnTo>
                  <a:lnTo>
                    <a:pt x="170" y="390"/>
                  </a:lnTo>
                  <a:lnTo>
                    <a:pt x="112" y="489"/>
                  </a:lnTo>
                  <a:lnTo>
                    <a:pt x="37" y="522"/>
                  </a:lnTo>
                  <a:lnTo>
                    <a:pt x="37" y="501"/>
                  </a:lnTo>
                  <a:lnTo>
                    <a:pt x="12" y="489"/>
                  </a:lnTo>
                  <a:lnTo>
                    <a:pt x="6" y="378"/>
                  </a:lnTo>
                  <a:lnTo>
                    <a:pt x="75" y="267"/>
                  </a:lnTo>
                  <a:lnTo>
                    <a:pt x="56" y="222"/>
                  </a:lnTo>
                  <a:lnTo>
                    <a:pt x="45" y="111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62" name="Group 300"/>
            <p:cNvGrpSpPr>
              <a:grpSpLocks/>
            </p:cNvGrpSpPr>
            <p:nvPr>
              <p:custDataLst>
                <p:tags r:id="rId256"/>
              </p:custDataLst>
            </p:nvPr>
          </p:nvGrpSpPr>
          <p:grpSpPr bwMode="auto">
            <a:xfrm>
              <a:off x="4878636" y="2354263"/>
              <a:ext cx="249237" cy="414337"/>
              <a:chOff x="3264" y="1301"/>
              <a:chExt cx="170" cy="261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093" name="Freeform 301"/>
              <p:cNvSpPr>
                <a:spLocks/>
              </p:cNvSpPr>
              <p:nvPr/>
            </p:nvSpPr>
            <p:spPr bwMode="auto">
              <a:xfrm>
                <a:off x="3264" y="1301"/>
                <a:ext cx="170" cy="261"/>
              </a:xfrm>
              <a:custGeom>
                <a:avLst/>
                <a:gdLst>
                  <a:gd name="T0" fmla="*/ 0 w 170"/>
                  <a:gd name="T1" fmla="*/ 1 h 522"/>
                  <a:gd name="T2" fmla="*/ 12 w 170"/>
                  <a:gd name="T3" fmla="*/ 1 h 522"/>
                  <a:gd name="T4" fmla="*/ 31 w 170"/>
                  <a:gd name="T5" fmla="*/ 1 h 522"/>
                  <a:gd name="T6" fmla="*/ 63 w 170"/>
                  <a:gd name="T7" fmla="*/ 1 h 522"/>
                  <a:gd name="T8" fmla="*/ 82 w 170"/>
                  <a:gd name="T9" fmla="*/ 1 h 522"/>
                  <a:gd name="T10" fmla="*/ 87 w 170"/>
                  <a:gd name="T11" fmla="*/ 1 h 522"/>
                  <a:gd name="T12" fmla="*/ 112 w 170"/>
                  <a:gd name="T13" fmla="*/ 0 h 522"/>
                  <a:gd name="T14" fmla="*/ 132 w 170"/>
                  <a:gd name="T15" fmla="*/ 1 h 522"/>
                  <a:gd name="T16" fmla="*/ 132 w 170"/>
                  <a:gd name="T17" fmla="*/ 1 h 522"/>
                  <a:gd name="T18" fmla="*/ 125 w 170"/>
                  <a:gd name="T19" fmla="*/ 1 h 522"/>
                  <a:gd name="T20" fmla="*/ 144 w 170"/>
                  <a:gd name="T21" fmla="*/ 1 h 522"/>
                  <a:gd name="T22" fmla="*/ 132 w 170"/>
                  <a:gd name="T23" fmla="*/ 1 h 522"/>
                  <a:gd name="T24" fmla="*/ 151 w 170"/>
                  <a:gd name="T25" fmla="*/ 1 h 522"/>
                  <a:gd name="T26" fmla="*/ 144 w 170"/>
                  <a:gd name="T27" fmla="*/ 1 h 522"/>
                  <a:gd name="T28" fmla="*/ 170 w 170"/>
                  <a:gd name="T29" fmla="*/ 1 h 522"/>
                  <a:gd name="T30" fmla="*/ 112 w 170"/>
                  <a:gd name="T31" fmla="*/ 1 h 522"/>
                  <a:gd name="T32" fmla="*/ 37 w 170"/>
                  <a:gd name="T33" fmla="*/ 1 h 522"/>
                  <a:gd name="T34" fmla="*/ 37 w 170"/>
                  <a:gd name="T35" fmla="*/ 1 h 522"/>
                  <a:gd name="T36" fmla="*/ 12 w 170"/>
                  <a:gd name="T37" fmla="*/ 1 h 522"/>
                  <a:gd name="T38" fmla="*/ 6 w 170"/>
                  <a:gd name="T39" fmla="*/ 1 h 522"/>
                  <a:gd name="T40" fmla="*/ 75 w 170"/>
                  <a:gd name="T41" fmla="*/ 1 h 522"/>
                  <a:gd name="T42" fmla="*/ 56 w 170"/>
                  <a:gd name="T43" fmla="*/ 1 h 522"/>
                  <a:gd name="T44" fmla="*/ 45 w 170"/>
                  <a:gd name="T45" fmla="*/ 1 h 522"/>
                  <a:gd name="T46" fmla="*/ 0 w 170"/>
                  <a:gd name="T47" fmla="*/ 1 h 52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0" h="522">
                    <a:moveTo>
                      <a:pt x="0" y="55"/>
                    </a:moveTo>
                    <a:lnTo>
                      <a:pt x="12" y="44"/>
                    </a:lnTo>
                    <a:lnTo>
                      <a:pt x="31" y="67"/>
                    </a:lnTo>
                    <a:lnTo>
                      <a:pt x="63" y="78"/>
                    </a:lnTo>
                    <a:lnTo>
                      <a:pt x="82" y="55"/>
                    </a:lnTo>
                    <a:lnTo>
                      <a:pt x="87" y="11"/>
                    </a:lnTo>
                    <a:lnTo>
                      <a:pt x="112" y="0"/>
                    </a:lnTo>
                    <a:lnTo>
                      <a:pt x="132" y="23"/>
                    </a:lnTo>
                    <a:lnTo>
                      <a:pt x="132" y="55"/>
                    </a:lnTo>
                    <a:lnTo>
                      <a:pt x="125" y="88"/>
                    </a:lnTo>
                    <a:lnTo>
                      <a:pt x="144" y="134"/>
                    </a:lnTo>
                    <a:lnTo>
                      <a:pt x="132" y="167"/>
                    </a:lnTo>
                    <a:lnTo>
                      <a:pt x="151" y="222"/>
                    </a:lnTo>
                    <a:lnTo>
                      <a:pt x="144" y="278"/>
                    </a:lnTo>
                    <a:lnTo>
                      <a:pt x="170" y="390"/>
                    </a:lnTo>
                    <a:lnTo>
                      <a:pt x="112" y="489"/>
                    </a:lnTo>
                    <a:lnTo>
                      <a:pt x="37" y="522"/>
                    </a:lnTo>
                    <a:lnTo>
                      <a:pt x="37" y="501"/>
                    </a:lnTo>
                    <a:lnTo>
                      <a:pt x="12" y="489"/>
                    </a:lnTo>
                    <a:lnTo>
                      <a:pt x="6" y="378"/>
                    </a:lnTo>
                    <a:lnTo>
                      <a:pt x="75" y="267"/>
                    </a:lnTo>
                    <a:lnTo>
                      <a:pt x="56" y="222"/>
                    </a:lnTo>
                    <a:lnTo>
                      <a:pt x="45" y="111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94" name="Freeform 302"/>
              <p:cNvSpPr>
                <a:spLocks/>
              </p:cNvSpPr>
              <p:nvPr/>
            </p:nvSpPr>
            <p:spPr bwMode="auto">
              <a:xfrm>
                <a:off x="3264" y="1301"/>
                <a:ext cx="170" cy="261"/>
              </a:xfrm>
              <a:custGeom>
                <a:avLst/>
                <a:gdLst>
                  <a:gd name="T0" fmla="*/ 0 w 170"/>
                  <a:gd name="T1" fmla="*/ 1 h 522"/>
                  <a:gd name="T2" fmla="*/ 12 w 170"/>
                  <a:gd name="T3" fmla="*/ 1 h 522"/>
                  <a:gd name="T4" fmla="*/ 31 w 170"/>
                  <a:gd name="T5" fmla="*/ 1 h 522"/>
                  <a:gd name="T6" fmla="*/ 63 w 170"/>
                  <a:gd name="T7" fmla="*/ 1 h 522"/>
                  <a:gd name="T8" fmla="*/ 82 w 170"/>
                  <a:gd name="T9" fmla="*/ 1 h 522"/>
                  <a:gd name="T10" fmla="*/ 87 w 170"/>
                  <a:gd name="T11" fmla="*/ 1 h 522"/>
                  <a:gd name="T12" fmla="*/ 112 w 170"/>
                  <a:gd name="T13" fmla="*/ 0 h 522"/>
                  <a:gd name="T14" fmla="*/ 132 w 170"/>
                  <a:gd name="T15" fmla="*/ 1 h 522"/>
                  <a:gd name="T16" fmla="*/ 132 w 170"/>
                  <a:gd name="T17" fmla="*/ 1 h 522"/>
                  <a:gd name="T18" fmla="*/ 125 w 170"/>
                  <a:gd name="T19" fmla="*/ 1 h 522"/>
                  <a:gd name="T20" fmla="*/ 144 w 170"/>
                  <a:gd name="T21" fmla="*/ 1 h 522"/>
                  <a:gd name="T22" fmla="*/ 132 w 170"/>
                  <a:gd name="T23" fmla="*/ 1 h 522"/>
                  <a:gd name="T24" fmla="*/ 151 w 170"/>
                  <a:gd name="T25" fmla="*/ 1 h 522"/>
                  <a:gd name="T26" fmla="*/ 144 w 170"/>
                  <a:gd name="T27" fmla="*/ 1 h 522"/>
                  <a:gd name="T28" fmla="*/ 170 w 170"/>
                  <a:gd name="T29" fmla="*/ 1 h 522"/>
                  <a:gd name="T30" fmla="*/ 112 w 170"/>
                  <a:gd name="T31" fmla="*/ 1 h 522"/>
                  <a:gd name="T32" fmla="*/ 37 w 170"/>
                  <a:gd name="T33" fmla="*/ 1 h 522"/>
                  <a:gd name="T34" fmla="*/ 37 w 170"/>
                  <a:gd name="T35" fmla="*/ 1 h 522"/>
                  <a:gd name="T36" fmla="*/ 12 w 170"/>
                  <a:gd name="T37" fmla="*/ 1 h 522"/>
                  <a:gd name="T38" fmla="*/ 6 w 170"/>
                  <a:gd name="T39" fmla="*/ 1 h 522"/>
                  <a:gd name="T40" fmla="*/ 75 w 170"/>
                  <a:gd name="T41" fmla="*/ 1 h 522"/>
                  <a:gd name="T42" fmla="*/ 56 w 170"/>
                  <a:gd name="T43" fmla="*/ 1 h 522"/>
                  <a:gd name="T44" fmla="*/ 45 w 170"/>
                  <a:gd name="T45" fmla="*/ 1 h 522"/>
                  <a:gd name="T46" fmla="*/ 0 w 170"/>
                  <a:gd name="T47" fmla="*/ 1 h 52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0" h="522">
                    <a:moveTo>
                      <a:pt x="0" y="55"/>
                    </a:moveTo>
                    <a:lnTo>
                      <a:pt x="12" y="44"/>
                    </a:lnTo>
                    <a:lnTo>
                      <a:pt x="31" y="67"/>
                    </a:lnTo>
                    <a:lnTo>
                      <a:pt x="63" y="78"/>
                    </a:lnTo>
                    <a:lnTo>
                      <a:pt x="82" y="55"/>
                    </a:lnTo>
                    <a:lnTo>
                      <a:pt x="87" y="11"/>
                    </a:lnTo>
                    <a:lnTo>
                      <a:pt x="112" y="0"/>
                    </a:lnTo>
                    <a:lnTo>
                      <a:pt x="132" y="23"/>
                    </a:lnTo>
                    <a:lnTo>
                      <a:pt x="132" y="55"/>
                    </a:lnTo>
                    <a:lnTo>
                      <a:pt x="125" y="88"/>
                    </a:lnTo>
                    <a:lnTo>
                      <a:pt x="144" y="134"/>
                    </a:lnTo>
                    <a:lnTo>
                      <a:pt x="132" y="167"/>
                    </a:lnTo>
                    <a:lnTo>
                      <a:pt x="151" y="222"/>
                    </a:lnTo>
                    <a:lnTo>
                      <a:pt x="144" y="278"/>
                    </a:lnTo>
                    <a:lnTo>
                      <a:pt x="170" y="390"/>
                    </a:lnTo>
                    <a:lnTo>
                      <a:pt x="112" y="489"/>
                    </a:lnTo>
                    <a:lnTo>
                      <a:pt x="37" y="522"/>
                    </a:lnTo>
                    <a:lnTo>
                      <a:pt x="37" y="501"/>
                    </a:lnTo>
                    <a:lnTo>
                      <a:pt x="12" y="489"/>
                    </a:lnTo>
                    <a:lnTo>
                      <a:pt x="6" y="378"/>
                    </a:lnTo>
                    <a:lnTo>
                      <a:pt x="75" y="267"/>
                    </a:lnTo>
                    <a:lnTo>
                      <a:pt x="56" y="222"/>
                    </a:lnTo>
                    <a:lnTo>
                      <a:pt x="45" y="111"/>
                    </a:lnTo>
                    <a:lnTo>
                      <a:pt x="0" y="55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63" name="Freeform 303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299198" y="3078163"/>
              <a:ext cx="295275" cy="284162"/>
            </a:xfrm>
            <a:custGeom>
              <a:avLst/>
              <a:gdLst>
                <a:gd name="T0" fmla="*/ 0 w 201"/>
                <a:gd name="T1" fmla="*/ 2147483647 h 357"/>
                <a:gd name="T2" fmla="*/ 2147483647 w 201"/>
                <a:gd name="T3" fmla="*/ 2147483647 h 357"/>
                <a:gd name="T4" fmla="*/ 2147483647 w 201"/>
                <a:gd name="T5" fmla="*/ 2147483647 h 357"/>
                <a:gd name="T6" fmla="*/ 2147483647 w 201"/>
                <a:gd name="T7" fmla="*/ 2147483647 h 357"/>
                <a:gd name="T8" fmla="*/ 2147483647 w 201"/>
                <a:gd name="T9" fmla="*/ 2147483647 h 357"/>
                <a:gd name="T10" fmla="*/ 2147483647 w 201"/>
                <a:gd name="T11" fmla="*/ 2147483647 h 357"/>
                <a:gd name="T12" fmla="*/ 2147483647 w 201"/>
                <a:gd name="T13" fmla="*/ 2147483647 h 357"/>
                <a:gd name="T14" fmla="*/ 2147483647 w 201"/>
                <a:gd name="T15" fmla="*/ 2147483647 h 357"/>
                <a:gd name="T16" fmla="*/ 2147483647 w 201"/>
                <a:gd name="T17" fmla="*/ 2147483647 h 357"/>
                <a:gd name="T18" fmla="*/ 2147483647 w 201"/>
                <a:gd name="T19" fmla="*/ 2147483647 h 357"/>
                <a:gd name="T20" fmla="*/ 2147483647 w 201"/>
                <a:gd name="T21" fmla="*/ 2147483647 h 357"/>
                <a:gd name="T22" fmla="*/ 2147483647 w 201"/>
                <a:gd name="T23" fmla="*/ 2147483647 h 357"/>
                <a:gd name="T24" fmla="*/ 2147483647 w 201"/>
                <a:gd name="T25" fmla="*/ 2147483647 h 357"/>
                <a:gd name="T26" fmla="*/ 2147483647 w 201"/>
                <a:gd name="T27" fmla="*/ 2147483647 h 357"/>
                <a:gd name="T28" fmla="*/ 2147483647 w 201"/>
                <a:gd name="T29" fmla="*/ 2147483647 h 357"/>
                <a:gd name="T30" fmla="*/ 2147483647 w 201"/>
                <a:gd name="T31" fmla="*/ 2147483647 h 357"/>
                <a:gd name="T32" fmla="*/ 2147483647 w 201"/>
                <a:gd name="T33" fmla="*/ 2147483647 h 357"/>
                <a:gd name="T34" fmla="*/ 2147483647 w 201"/>
                <a:gd name="T35" fmla="*/ 2147483647 h 357"/>
                <a:gd name="T36" fmla="*/ 2147483647 w 201"/>
                <a:gd name="T37" fmla="*/ 2147483647 h 357"/>
                <a:gd name="T38" fmla="*/ 2147483647 w 201"/>
                <a:gd name="T39" fmla="*/ 2147483647 h 357"/>
                <a:gd name="T40" fmla="*/ 2147483647 w 201"/>
                <a:gd name="T41" fmla="*/ 0 h 357"/>
                <a:gd name="T42" fmla="*/ 2147483647 w 201"/>
                <a:gd name="T43" fmla="*/ 2147483647 h 357"/>
                <a:gd name="T44" fmla="*/ 2147483647 w 201"/>
                <a:gd name="T45" fmla="*/ 2147483647 h 357"/>
                <a:gd name="T46" fmla="*/ 2147483647 w 201"/>
                <a:gd name="T47" fmla="*/ 2147483647 h 357"/>
                <a:gd name="T48" fmla="*/ 2147483647 w 201"/>
                <a:gd name="T49" fmla="*/ 2147483647 h 357"/>
                <a:gd name="T50" fmla="*/ 0 w 201"/>
                <a:gd name="T51" fmla="*/ 2147483647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01" h="357">
                  <a:moveTo>
                    <a:pt x="0" y="111"/>
                  </a:moveTo>
                  <a:lnTo>
                    <a:pt x="13" y="146"/>
                  </a:lnTo>
                  <a:lnTo>
                    <a:pt x="50" y="156"/>
                  </a:lnTo>
                  <a:lnTo>
                    <a:pt x="45" y="177"/>
                  </a:lnTo>
                  <a:lnTo>
                    <a:pt x="56" y="200"/>
                  </a:lnTo>
                  <a:lnTo>
                    <a:pt x="63" y="246"/>
                  </a:lnTo>
                  <a:lnTo>
                    <a:pt x="50" y="313"/>
                  </a:lnTo>
                  <a:lnTo>
                    <a:pt x="101" y="344"/>
                  </a:lnTo>
                  <a:lnTo>
                    <a:pt x="125" y="357"/>
                  </a:lnTo>
                  <a:lnTo>
                    <a:pt x="125" y="323"/>
                  </a:lnTo>
                  <a:lnTo>
                    <a:pt x="137" y="313"/>
                  </a:lnTo>
                  <a:lnTo>
                    <a:pt x="170" y="323"/>
                  </a:lnTo>
                  <a:lnTo>
                    <a:pt x="194" y="300"/>
                  </a:lnTo>
                  <a:lnTo>
                    <a:pt x="182" y="255"/>
                  </a:lnTo>
                  <a:lnTo>
                    <a:pt x="182" y="211"/>
                  </a:lnTo>
                  <a:lnTo>
                    <a:pt x="170" y="190"/>
                  </a:lnTo>
                  <a:lnTo>
                    <a:pt x="194" y="146"/>
                  </a:lnTo>
                  <a:lnTo>
                    <a:pt x="201" y="88"/>
                  </a:lnTo>
                  <a:lnTo>
                    <a:pt x="170" y="67"/>
                  </a:lnTo>
                  <a:lnTo>
                    <a:pt x="163" y="67"/>
                  </a:lnTo>
                  <a:lnTo>
                    <a:pt x="120" y="0"/>
                  </a:lnTo>
                  <a:lnTo>
                    <a:pt x="101" y="13"/>
                  </a:lnTo>
                  <a:lnTo>
                    <a:pt x="82" y="79"/>
                  </a:lnTo>
                  <a:lnTo>
                    <a:pt x="50" y="67"/>
                  </a:lnTo>
                  <a:lnTo>
                    <a:pt x="50" y="111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64" name="Freeform 304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299198" y="3078163"/>
              <a:ext cx="295275" cy="284162"/>
            </a:xfrm>
            <a:custGeom>
              <a:avLst/>
              <a:gdLst>
                <a:gd name="T0" fmla="*/ 0 w 201"/>
                <a:gd name="T1" fmla="*/ 2147483647 h 357"/>
                <a:gd name="T2" fmla="*/ 2147483647 w 201"/>
                <a:gd name="T3" fmla="*/ 2147483647 h 357"/>
                <a:gd name="T4" fmla="*/ 2147483647 w 201"/>
                <a:gd name="T5" fmla="*/ 2147483647 h 357"/>
                <a:gd name="T6" fmla="*/ 2147483647 w 201"/>
                <a:gd name="T7" fmla="*/ 2147483647 h 357"/>
                <a:gd name="T8" fmla="*/ 2147483647 w 201"/>
                <a:gd name="T9" fmla="*/ 2147483647 h 357"/>
                <a:gd name="T10" fmla="*/ 2147483647 w 201"/>
                <a:gd name="T11" fmla="*/ 2147483647 h 357"/>
                <a:gd name="T12" fmla="*/ 2147483647 w 201"/>
                <a:gd name="T13" fmla="*/ 2147483647 h 357"/>
                <a:gd name="T14" fmla="*/ 2147483647 w 201"/>
                <a:gd name="T15" fmla="*/ 2147483647 h 357"/>
                <a:gd name="T16" fmla="*/ 2147483647 w 201"/>
                <a:gd name="T17" fmla="*/ 2147483647 h 357"/>
                <a:gd name="T18" fmla="*/ 2147483647 w 201"/>
                <a:gd name="T19" fmla="*/ 2147483647 h 357"/>
                <a:gd name="T20" fmla="*/ 2147483647 w 201"/>
                <a:gd name="T21" fmla="*/ 2147483647 h 357"/>
                <a:gd name="T22" fmla="*/ 2147483647 w 201"/>
                <a:gd name="T23" fmla="*/ 2147483647 h 357"/>
                <a:gd name="T24" fmla="*/ 2147483647 w 201"/>
                <a:gd name="T25" fmla="*/ 2147483647 h 357"/>
                <a:gd name="T26" fmla="*/ 2147483647 w 201"/>
                <a:gd name="T27" fmla="*/ 2147483647 h 357"/>
                <a:gd name="T28" fmla="*/ 2147483647 w 201"/>
                <a:gd name="T29" fmla="*/ 2147483647 h 357"/>
                <a:gd name="T30" fmla="*/ 2147483647 w 201"/>
                <a:gd name="T31" fmla="*/ 2147483647 h 357"/>
                <a:gd name="T32" fmla="*/ 2147483647 w 201"/>
                <a:gd name="T33" fmla="*/ 2147483647 h 357"/>
                <a:gd name="T34" fmla="*/ 2147483647 w 201"/>
                <a:gd name="T35" fmla="*/ 2147483647 h 357"/>
                <a:gd name="T36" fmla="*/ 2147483647 w 201"/>
                <a:gd name="T37" fmla="*/ 2147483647 h 357"/>
                <a:gd name="T38" fmla="*/ 2147483647 w 201"/>
                <a:gd name="T39" fmla="*/ 2147483647 h 357"/>
                <a:gd name="T40" fmla="*/ 2147483647 w 201"/>
                <a:gd name="T41" fmla="*/ 0 h 357"/>
                <a:gd name="T42" fmla="*/ 2147483647 w 201"/>
                <a:gd name="T43" fmla="*/ 2147483647 h 357"/>
                <a:gd name="T44" fmla="*/ 2147483647 w 201"/>
                <a:gd name="T45" fmla="*/ 2147483647 h 357"/>
                <a:gd name="T46" fmla="*/ 2147483647 w 201"/>
                <a:gd name="T47" fmla="*/ 2147483647 h 357"/>
                <a:gd name="T48" fmla="*/ 2147483647 w 201"/>
                <a:gd name="T49" fmla="*/ 2147483647 h 357"/>
                <a:gd name="T50" fmla="*/ 0 w 201"/>
                <a:gd name="T51" fmla="*/ 2147483647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01" h="357">
                  <a:moveTo>
                    <a:pt x="0" y="111"/>
                  </a:moveTo>
                  <a:lnTo>
                    <a:pt x="13" y="146"/>
                  </a:lnTo>
                  <a:lnTo>
                    <a:pt x="50" y="156"/>
                  </a:lnTo>
                  <a:lnTo>
                    <a:pt x="45" y="177"/>
                  </a:lnTo>
                  <a:lnTo>
                    <a:pt x="56" y="200"/>
                  </a:lnTo>
                  <a:lnTo>
                    <a:pt x="63" y="246"/>
                  </a:lnTo>
                  <a:lnTo>
                    <a:pt x="50" y="313"/>
                  </a:lnTo>
                  <a:lnTo>
                    <a:pt x="101" y="344"/>
                  </a:lnTo>
                  <a:lnTo>
                    <a:pt x="125" y="357"/>
                  </a:lnTo>
                  <a:lnTo>
                    <a:pt x="125" y="323"/>
                  </a:lnTo>
                  <a:lnTo>
                    <a:pt x="137" y="313"/>
                  </a:lnTo>
                  <a:lnTo>
                    <a:pt x="170" y="323"/>
                  </a:lnTo>
                  <a:lnTo>
                    <a:pt x="194" y="300"/>
                  </a:lnTo>
                  <a:lnTo>
                    <a:pt x="182" y="255"/>
                  </a:lnTo>
                  <a:lnTo>
                    <a:pt x="182" y="211"/>
                  </a:lnTo>
                  <a:lnTo>
                    <a:pt x="170" y="190"/>
                  </a:lnTo>
                  <a:lnTo>
                    <a:pt x="194" y="146"/>
                  </a:lnTo>
                  <a:lnTo>
                    <a:pt x="201" y="88"/>
                  </a:lnTo>
                  <a:lnTo>
                    <a:pt x="170" y="67"/>
                  </a:lnTo>
                  <a:lnTo>
                    <a:pt x="163" y="67"/>
                  </a:lnTo>
                  <a:lnTo>
                    <a:pt x="120" y="0"/>
                  </a:lnTo>
                  <a:lnTo>
                    <a:pt x="101" y="13"/>
                  </a:lnTo>
                  <a:lnTo>
                    <a:pt x="82" y="79"/>
                  </a:lnTo>
                  <a:lnTo>
                    <a:pt x="50" y="67"/>
                  </a:lnTo>
                  <a:lnTo>
                    <a:pt x="50" y="111"/>
                  </a:lnTo>
                  <a:lnTo>
                    <a:pt x="0" y="1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65" name="Freeform 305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4299198" y="3078163"/>
              <a:ext cx="295275" cy="284162"/>
            </a:xfrm>
            <a:custGeom>
              <a:avLst/>
              <a:gdLst>
                <a:gd name="T0" fmla="*/ 0 w 201"/>
                <a:gd name="T1" fmla="*/ 2147483647 h 357"/>
                <a:gd name="T2" fmla="*/ 2147483647 w 201"/>
                <a:gd name="T3" fmla="*/ 2147483647 h 357"/>
                <a:gd name="T4" fmla="*/ 2147483647 w 201"/>
                <a:gd name="T5" fmla="*/ 2147483647 h 357"/>
                <a:gd name="T6" fmla="*/ 2147483647 w 201"/>
                <a:gd name="T7" fmla="*/ 2147483647 h 357"/>
                <a:gd name="T8" fmla="*/ 2147483647 w 201"/>
                <a:gd name="T9" fmla="*/ 2147483647 h 357"/>
                <a:gd name="T10" fmla="*/ 2147483647 w 201"/>
                <a:gd name="T11" fmla="*/ 2147483647 h 357"/>
                <a:gd name="T12" fmla="*/ 2147483647 w 201"/>
                <a:gd name="T13" fmla="*/ 2147483647 h 357"/>
                <a:gd name="T14" fmla="*/ 2147483647 w 201"/>
                <a:gd name="T15" fmla="*/ 2147483647 h 357"/>
                <a:gd name="T16" fmla="*/ 2147483647 w 201"/>
                <a:gd name="T17" fmla="*/ 2147483647 h 357"/>
                <a:gd name="T18" fmla="*/ 2147483647 w 201"/>
                <a:gd name="T19" fmla="*/ 2147483647 h 357"/>
                <a:gd name="T20" fmla="*/ 2147483647 w 201"/>
                <a:gd name="T21" fmla="*/ 2147483647 h 357"/>
                <a:gd name="T22" fmla="*/ 2147483647 w 201"/>
                <a:gd name="T23" fmla="*/ 2147483647 h 357"/>
                <a:gd name="T24" fmla="*/ 2147483647 w 201"/>
                <a:gd name="T25" fmla="*/ 2147483647 h 357"/>
                <a:gd name="T26" fmla="*/ 2147483647 w 201"/>
                <a:gd name="T27" fmla="*/ 2147483647 h 357"/>
                <a:gd name="T28" fmla="*/ 2147483647 w 201"/>
                <a:gd name="T29" fmla="*/ 2147483647 h 357"/>
                <a:gd name="T30" fmla="*/ 2147483647 w 201"/>
                <a:gd name="T31" fmla="*/ 2147483647 h 357"/>
                <a:gd name="T32" fmla="*/ 2147483647 w 201"/>
                <a:gd name="T33" fmla="*/ 2147483647 h 357"/>
                <a:gd name="T34" fmla="*/ 2147483647 w 201"/>
                <a:gd name="T35" fmla="*/ 2147483647 h 357"/>
                <a:gd name="T36" fmla="*/ 2147483647 w 201"/>
                <a:gd name="T37" fmla="*/ 2147483647 h 357"/>
                <a:gd name="T38" fmla="*/ 2147483647 w 201"/>
                <a:gd name="T39" fmla="*/ 2147483647 h 357"/>
                <a:gd name="T40" fmla="*/ 2147483647 w 201"/>
                <a:gd name="T41" fmla="*/ 0 h 357"/>
                <a:gd name="T42" fmla="*/ 2147483647 w 201"/>
                <a:gd name="T43" fmla="*/ 2147483647 h 357"/>
                <a:gd name="T44" fmla="*/ 2147483647 w 201"/>
                <a:gd name="T45" fmla="*/ 2147483647 h 357"/>
                <a:gd name="T46" fmla="*/ 2147483647 w 201"/>
                <a:gd name="T47" fmla="*/ 2147483647 h 357"/>
                <a:gd name="T48" fmla="*/ 2147483647 w 201"/>
                <a:gd name="T49" fmla="*/ 2147483647 h 357"/>
                <a:gd name="T50" fmla="*/ 0 w 201"/>
                <a:gd name="T51" fmla="*/ 2147483647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01" h="357">
                  <a:moveTo>
                    <a:pt x="0" y="111"/>
                  </a:moveTo>
                  <a:lnTo>
                    <a:pt x="13" y="146"/>
                  </a:lnTo>
                  <a:lnTo>
                    <a:pt x="50" y="156"/>
                  </a:lnTo>
                  <a:lnTo>
                    <a:pt x="45" y="177"/>
                  </a:lnTo>
                  <a:lnTo>
                    <a:pt x="56" y="200"/>
                  </a:lnTo>
                  <a:lnTo>
                    <a:pt x="63" y="246"/>
                  </a:lnTo>
                  <a:lnTo>
                    <a:pt x="50" y="313"/>
                  </a:lnTo>
                  <a:lnTo>
                    <a:pt x="101" y="344"/>
                  </a:lnTo>
                  <a:lnTo>
                    <a:pt x="125" y="357"/>
                  </a:lnTo>
                  <a:lnTo>
                    <a:pt x="125" y="323"/>
                  </a:lnTo>
                  <a:lnTo>
                    <a:pt x="137" y="313"/>
                  </a:lnTo>
                  <a:lnTo>
                    <a:pt x="170" y="323"/>
                  </a:lnTo>
                  <a:lnTo>
                    <a:pt x="194" y="300"/>
                  </a:lnTo>
                  <a:lnTo>
                    <a:pt x="182" y="255"/>
                  </a:lnTo>
                  <a:lnTo>
                    <a:pt x="182" y="211"/>
                  </a:lnTo>
                  <a:lnTo>
                    <a:pt x="170" y="190"/>
                  </a:lnTo>
                  <a:lnTo>
                    <a:pt x="194" y="146"/>
                  </a:lnTo>
                  <a:lnTo>
                    <a:pt x="201" y="88"/>
                  </a:lnTo>
                  <a:lnTo>
                    <a:pt x="170" y="67"/>
                  </a:lnTo>
                  <a:lnTo>
                    <a:pt x="163" y="67"/>
                  </a:lnTo>
                  <a:lnTo>
                    <a:pt x="120" y="0"/>
                  </a:lnTo>
                  <a:lnTo>
                    <a:pt x="101" y="13"/>
                  </a:lnTo>
                  <a:lnTo>
                    <a:pt x="82" y="79"/>
                  </a:lnTo>
                  <a:lnTo>
                    <a:pt x="50" y="67"/>
                  </a:lnTo>
                  <a:lnTo>
                    <a:pt x="50" y="111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66" name="Freeform 306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4299198" y="3078163"/>
              <a:ext cx="295275" cy="284162"/>
            </a:xfrm>
            <a:custGeom>
              <a:avLst/>
              <a:gdLst>
                <a:gd name="T0" fmla="*/ 0 w 201"/>
                <a:gd name="T1" fmla="*/ 2147483647 h 357"/>
                <a:gd name="T2" fmla="*/ 2147483647 w 201"/>
                <a:gd name="T3" fmla="*/ 2147483647 h 357"/>
                <a:gd name="T4" fmla="*/ 2147483647 w 201"/>
                <a:gd name="T5" fmla="*/ 2147483647 h 357"/>
                <a:gd name="T6" fmla="*/ 2147483647 w 201"/>
                <a:gd name="T7" fmla="*/ 2147483647 h 357"/>
                <a:gd name="T8" fmla="*/ 2147483647 w 201"/>
                <a:gd name="T9" fmla="*/ 2147483647 h 357"/>
                <a:gd name="T10" fmla="*/ 2147483647 w 201"/>
                <a:gd name="T11" fmla="*/ 2147483647 h 357"/>
                <a:gd name="T12" fmla="*/ 2147483647 w 201"/>
                <a:gd name="T13" fmla="*/ 2147483647 h 357"/>
                <a:gd name="T14" fmla="*/ 2147483647 w 201"/>
                <a:gd name="T15" fmla="*/ 2147483647 h 357"/>
                <a:gd name="T16" fmla="*/ 2147483647 w 201"/>
                <a:gd name="T17" fmla="*/ 2147483647 h 357"/>
                <a:gd name="T18" fmla="*/ 2147483647 w 201"/>
                <a:gd name="T19" fmla="*/ 2147483647 h 357"/>
                <a:gd name="T20" fmla="*/ 2147483647 w 201"/>
                <a:gd name="T21" fmla="*/ 2147483647 h 357"/>
                <a:gd name="T22" fmla="*/ 2147483647 w 201"/>
                <a:gd name="T23" fmla="*/ 2147483647 h 357"/>
                <a:gd name="T24" fmla="*/ 2147483647 w 201"/>
                <a:gd name="T25" fmla="*/ 2147483647 h 357"/>
                <a:gd name="T26" fmla="*/ 2147483647 w 201"/>
                <a:gd name="T27" fmla="*/ 2147483647 h 357"/>
                <a:gd name="T28" fmla="*/ 2147483647 w 201"/>
                <a:gd name="T29" fmla="*/ 2147483647 h 357"/>
                <a:gd name="T30" fmla="*/ 2147483647 w 201"/>
                <a:gd name="T31" fmla="*/ 2147483647 h 357"/>
                <a:gd name="T32" fmla="*/ 2147483647 w 201"/>
                <a:gd name="T33" fmla="*/ 2147483647 h 357"/>
                <a:gd name="T34" fmla="*/ 2147483647 w 201"/>
                <a:gd name="T35" fmla="*/ 2147483647 h 357"/>
                <a:gd name="T36" fmla="*/ 2147483647 w 201"/>
                <a:gd name="T37" fmla="*/ 2147483647 h 357"/>
                <a:gd name="T38" fmla="*/ 2147483647 w 201"/>
                <a:gd name="T39" fmla="*/ 2147483647 h 357"/>
                <a:gd name="T40" fmla="*/ 2147483647 w 201"/>
                <a:gd name="T41" fmla="*/ 0 h 357"/>
                <a:gd name="T42" fmla="*/ 2147483647 w 201"/>
                <a:gd name="T43" fmla="*/ 2147483647 h 357"/>
                <a:gd name="T44" fmla="*/ 2147483647 w 201"/>
                <a:gd name="T45" fmla="*/ 2147483647 h 357"/>
                <a:gd name="T46" fmla="*/ 2147483647 w 201"/>
                <a:gd name="T47" fmla="*/ 2147483647 h 357"/>
                <a:gd name="T48" fmla="*/ 2147483647 w 201"/>
                <a:gd name="T49" fmla="*/ 2147483647 h 357"/>
                <a:gd name="T50" fmla="*/ 0 w 201"/>
                <a:gd name="T51" fmla="*/ 2147483647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01" h="357">
                  <a:moveTo>
                    <a:pt x="0" y="111"/>
                  </a:moveTo>
                  <a:lnTo>
                    <a:pt x="13" y="146"/>
                  </a:lnTo>
                  <a:lnTo>
                    <a:pt x="50" y="156"/>
                  </a:lnTo>
                  <a:lnTo>
                    <a:pt x="45" y="177"/>
                  </a:lnTo>
                  <a:lnTo>
                    <a:pt x="56" y="200"/>
                  </a:lnTo>
                  <a:lnTo>
                    <a:pt x="63" y="246"/>
                  </a:lnTo>
                  <a:lnTo>
                    <a:pt x="50" y="313"/>
                  </a:lnTo>
                  <a:lnTo>
                    <a:pt x="101" y="344"/>
                  </a:lnTo>
                  <a:lnTo>
                    <a:pt x="125" y="357"/>
                  </a:lnTo>
                  <a:lnTo>
                    <a:pt x="125" y="323"/>
                  </a:lnTo>
                  <a:lnTo>
                    <a:pt x="137" y="313"/>
                  </a:lnTo>
                  <a:lnTo>
                    <a:pt x="170" y="323"/>
                  </a:lnTo>
                  <a:lnTo>
                    <a:pt x="194" y="300"/>
                  </a:lnTo>
                  <a:lnTo>
                    <a:pt x="182" y="255"/>
                  </a:lnTo>
                  <a:lnTo>
                    <a:pt x="182" y="211"/>
                  </a:lnTo>
                  <a:lnTo>
                    <a:pt x="170" y="190"/>
                  </a:lnTo>
                  <a:lnTo>
                    <a:pt x="194" y="146"/>
                  </a:lnTo>
                  <a:lnTo>
                    <a:pt x="201" y="88"/>
                  </a:lnTo>
                  <a:lnTo>
                    <a:pt x="170" y="67"/>
                  </a:lnTo>
                  <a:lnTo>
                    <a:pt x="163" y="67"/>
                  </a:lnTo>
                  <a:lnTo>
                    <a:pt x="120" y="0"/>
                  </a:lnTo>
                  <a:lnTo>
                    <a:pt x="101" y="13"/>
                  </a:lnTo>
                  <a:lnTo>
                    <a:pt x="82" y="79"/>
                  </a:lnTo>
                  <a:lnTo>
                    <a:pt x="50" y="67"/>
                  </a:lnTo>
                  <a:lnTo>
                    <a:pt x="50" y="111"/>
                  </a:lnTo>
                  <a:lnTo>
                    <a:pt x="0" y="111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67" name="Freeform 307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602411" y="3333750"/>
              <a:ext cx="28575" cy="52388"/>
            </a:xfrm>
            <a:custGeom>
              <a:avLst/>
              <a:gdLst>
                <a:gd name="T0" fmla="*/ 0 w 19"/>
                <a:gd name="T1" fmla="*/ 2147483647 h 65"/>
                <a:gd name="T2" fmla="*/ 2147483647 w 19"/>
                <a:gd name="T3" fmla="*/ 2147483647 h 65"/>
                <a:gd name="T4" fmla="*/ 2147483647 w 19"/>
                <a:gd name="T5" fmla="*/ 0 h 65"/>
                <a:gd name="T6" fmla="*/ 0 w 19"/>
                <a:gd name="T7" fmla="*/ 2147483647 h 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65">
                  <a:moveTo>
                    <a:pt x="0" y="34"/>
                  </a:moveTo>
                  <a:lnTo>
                    <a:pt x="13" y="65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68" name="Freeform 308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4602411" y="3333750"/>
              <a:ext cx="28575" cy="52388"/>
            </a:xfrm>
            <a:custGeom>
              <a:avLst/>
              <a:gdLst>
                <a:gd name="T0" fmla="*/ 0 w 19"/>
                <a:gd name="T1" fmla="*/ 2147483647 h 65"/>
                <a:gd name="T2" fmla="*/ 2147483647 w 19"/>
                <a:gd name="T3" fmla="*/ 2147483647 h 65"/>
                <a:gd name="T4" fmla="*/ 2147483647 w 19"/>
                <a:gd name="T5" fmla="*/ 0 h 65"/>
                <a:gd name="T6" fmla="*/ 0 w 19"/>
                <a:gd name="T7" fmla="*/ 2147483647 h 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65">
                  <a:moveTo>
                    <a:pt x="0" y="34"/>
                  </a:moveTo>
                  <a:lnTo>
                    <a:pt x="13" y="65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69" name="Freeform 309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4602411" y="3333750"/>
              <a:ext cx="28575" cy="52388"/>
            </a:xfrm>
            <a:custGeom>
              <a:avLst/>
              <a:gdLst>
                <a:gd name="T0" fmla="*/ 0 w 19"/>
                <a:gd name="T1" fmla="*/ 2147483647 h 65"/>
                <a:gd name="T2" fmla="*/ 2147483647 w 19"/>
                <a:gd name="T3" fmla="*/ 2147483647 h 65"/>
                <a:gd name="T4" fmla="*/ 2147483647 w 19"/>
                <a:gd name="T5" fmla="*/ 0 h 65"/>
                <a:gd name="T6" fmla="*/ 0 w 19"/>
                <a:gd name="T7" fmla="*/ 2147483647 h 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65">
                  <a:moveTo>
                    <a:pt x="0" y="34"/>
                  </a:moveTo>
                  <a:lnTo>
                    <a:pt x="13" y="65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70" name="Freeform 310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4602411" y="3333750"/>
              <a:ext cx="28575" cy="52388"/>
            </a:xfrm>
            <a:custGeom>
              <a:avLst/>
              <a:gdLst>
                <a:gd name="T0" fmla="*/ 0 w 19"/>
                <a:gd name="T1" fmla="*/ 2147483647 h 65"/>
                <a:gd name="T2" fmla="*/ 2147483647 w 19"/>
                <a:gd name="T3" fmla="*/ 2147483647 h 65"/>
                <a:gd name="T4" fmla="*/ 2147483647 w 19"/>
                <a:gd name="T5" fmla="*/ 0 h 65"/>
                <a:gd name="T6" fmla="*/ 0 w 19"/>
                <a:gd name="T7" fmla="*/ 2147483647 h 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65">
                  <a:moveTo>
                    <a:pt x="0" y="34"/>
                  </a:moveTo>
                  <a:lnTo>
                    <a:pt x="13" y="65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71" name="Freeform 311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2978398" y="4360863"/>
              <a:ext cx="73025" cy="85725"/>
            </a:xfrm>
            <a:custGeom>
              <a:avLst/>
              <a:gdLst>
                <a:gd name="T0" fmla="*/ 0 w 50"/>
                <a:gd name="T1" fmla="*/ 2147483647 h 110"/>
                <a:gd name="T2" fmla="*/ 2147483647 w 50"/>
                <a:gd name="T3" fmla="*/ 0 h 110"/>
                <a:gd name="T4" fmla="*/ 2147483647 w 50"/>
                <a:gd name="T5" fmla="*/ 2147483647 h 110"/>
                <a:gd name="T6" fmla="*/ 2147483647 w 50"/>
                <a:gd name="T7" fmla="*/ 2147483647 h 110"/>
                <a:gd name="T8" fmla="*/ 0 w 50"/>
                <a:gd name="T9" fmla="*/ 2147483647 h 1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110">
                  <a:moveTo>
                    <a:pt x="0" y="100"/>
                  </a:moveTo>
                  <a:lnTo>
                    <a:pt x="8" y="0"/>
                  </a:lnTo>
                  <a:lnTo>
                    <a:pt x="50" y="44"/>
                  </a:lnTo>
                  <a:lnTo>
                    <a:pt x="25" y="11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72" name="Freeform 312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2978398" y="4360863"/>
              <a:ext cx="73025" cy="85725"/>
            </a:xfrm>
            <a:custGeom>
              <a:avLst/>
              <a:gdLst>
                <a:gd name="T0" fmla="*/ 0 w 50"/>
                <a:gd name="T1" fmla="*/ 2147483647 h 110"/>
                <a:gd name="T2" fmla="*/ 2147483647 w 50"/>
                <a:gd name="T3" fmla="*/ 0 h 110"/>
                <a:gd name="T4" fmla="*/ 2147483647 w 50"/>
                <a:gd name="T5" fmla="*/ 2147483647 h 110"/>
                <a:gd name="T6" fmla="*/ 2147483647 w 50"/>
                <a:gd name="T7" fmla="*/ 2147483647 h 110"/>
                <a:gd name="T8" fmla="*/ 0 w 50"/>
                <a:gd name="T9" fmla="*/ 2147483647 h 1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110">
                  <a:moveTo>
                    <a:pt x="0" y="100"/>
                  </a:moveTo>
                  <a:lnTo>
                    <a:pt x="8" y="0"/>
                  </a:lnTo>
                  <a:lnTo>
                    <a:pt x="50" y="44"/>
                  </a:lnTo>
                  <a:lnTo>
                    <a:pt x="25" y="110"/>
                  </a:lnTo>
                  <a:lnTo>
                    <a:pt x="0" y="10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73" name="Freeform 313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2978398" y="4360863"/>
              <a:ext cx="73025" cy="85725"/>
            </a:xfrm>
            <a:custGeom>
              <a:avLst/>
              <a:gdLst>
                <a:gd name="T0" fmla="*/ 0 w 50"/>
                <a:gd name="T1" fmla="*/ 2147483647 h 110"/>
                <a:gd name="T2" fmla="*/ 2147483647 w 50"/>
                <a:gd name="T3" fmla="*/ 0 h 110"/>
                <a:gd name="T4" fmla="*/ 2147483647 w 50"/>
                <a:gd name="T5" fmla="*/ 2147483647 h 110"/>
                <a:gd name="T6" fmla="*/ 2147483647 w 50"/>
                <a:gd name="T7" fmla="*/ 2147483647 h 110"/>
                <a:gd name="T8" fmla="*/ 0 w 50"/>
                <a:gd name="T9" fmla="*/ 2147483647 h 1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110">
                  <a:moveTo>
                    <a:pt x="0" y="100"/>
                  </a:moveTo>
                  <a:lnTo>
                    <a:pt x="8" y="0"/>
                  </a:lnTo>
                  <a:lnTo>
                    <a:pt x="50" y="44"/>
                  </a:lnTo>
                  <a:lnTo>
                    <a:pt x="25" y="11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74" name="Freeform 314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2978398" y="4360863"/>
              <a:ext cx="73025" cy="85725"/>
            </a:xfrm>
            <a:custGeom>
              <a:avLst/>
              <a:gdLst>
                <a:gd name="T0" fmla="*/ 0 w 50"/>
                <a:gd name="T1" fmla="*/ 2147483647 h 110"/>
                <a:gd name="T2" fmla="*/ 2147483647 w 50"/>
                <a:gd name="T3" fmla="*/ 0 h 110"/>
                <a:gd name="T4" fmla="*/ 2147483647 w 50"/>
                <a:gd name="T5" fmla="*/ 2147483647 h 110"/>
                <a:gd name="T6" fmla="*/ 2147483647 w 50"/>
                <a:gd name="T7" fmla="*/ 2147483647 h 110"/>
                <a:gd name="T8" fmla="*/ 0 w 50"/>
                <a:gd name="T9" fmla="*/ 2147483647 h 1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110">
                  <a:moveTo>
                    <a:pt x="0" y="100"/>
                  </a:moveTo>
                  <a:lnTo>
                    <a:pt x="8" y="0"/>
                  </a:lnTo>
                  <a:lnTo>
                    <a:pt x="50" y="44"/>
                  </a:lnTo>
                  <a:lnTo>
                    <a:pt x="25" y="110"/>
                  </a:lnTo>
                  <a:lnTo>
                    <a:pt x="0" y="10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75" name="Freeform 315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4538911" y="2954338"/>
              <a:ext cx="203200" cy="249237"/>
            </a:xfrm>
            <a:custGeom>
              <a:avLst/>
              <a:gdLst>
                <a:gd name="T0" fmla="*/ 0 w 139"/>
                <a:gd name="T1" fmla="*/ 2147483647 h 313"/>
                <a:gd name="T2" fmla="*/ 2147483647 w 139"/>
                <a:gd name="T3" fmla="*/ 2147483647 h 313"/>
                <a:gd name="T4" fmla="*/ 2147483647 w 139"/>
                <a:gd name="T5" fmla="*/ 2147483647 h 313"/>
                <a:gd name="T6" fmla="*/ 2147483647 w 139"/>
                <a:gd name="T7" fmla="*/ 2147483647 h 313"/>
                <a:gd name="T8" fmla="*/ 2147483647 w 139"/>
                <a:gd name="T9" fmla="*/ 2147483647 h 313"/>
                <a:gd name="T10" fmla="*/ 2147483647 w 139"/>
                <a:gd name="T11" fmla="*/ 2147483647 h 313"/>
                <a:gd name="T12" fmla="*/ 2147483647 w 139"/>
                <a:gd name="T13" fmla="*/ 2147483647 h 313"/>
                <a:gd name="T14" fmla="*/ 2147483647 w 139"/>
                <a:gd name="T15" fmla="*/ 2147483647 h 313"/>
                <a:gd name="T16" fmla="*/ 2147483647 w 139"/>
                <a:gd name="T17" fmla="*/ 2147483647 h 313"/>
                <a:gd name="T18" fmla="*/ 2147483647 w 139"/>
                <a:gd name="T19" fmla="*/ 2147483647 h 313"/>
                <a:gd name="T20" fmla="*/ 2147483647 w 139"/>
                <a:gd name="T21" fmla="*/ 2147483647 h 313"/>
                <a:gd name="T22" fmla="*/ 2147483647 w 139"/>
                <a:gd name="T23" fmla="*/ 2147483647 h 313"/>
                <a:gd name="T24" fmla="*/ 2147483647 w 139"/>
                <a:gd name="T25" fmla="*/ 2147483647 h 313"/>
                <a:gd name="T26" fmla="*/ 2147483647 w 139"/>
                <a:gd name="T27" fmla="*/ 2147483647 h 313"/>
                <a:gd name="T28" fmla="*/ 2147483647 w 139"/>
                <a:gd name="T29" fmla="*/ 2147483647 h 313"/>
                <a:gd name="T30" fmla="*/ 2147483647 w 139"/>
                <a:gd name="T31" fmla="*/ 2147483647 h 313"/>
                <a:gd name="T32" fmla="*/ 2147483647 w 139"/>
                <a:gd name="T33" fmla="*/ 0 h 313"/>
                <a:gd name="T34" fmla="*/ 2147483647 w 139"/>
                <a:gd name="T35" fmla="*/ 0 h 313"/>
                <a:gd name="T36" fmla="*/ 2147483647 w 139"/>
                <a:gd name="T37" fmla="*/ 2147483647 h 313"/>
                <a:gd name="T38" fmla="*/ 2147483647 w 139"/>
                <a:gd name="T39" fmla="*/ 2147483647 h 313"/>
                <a:gd name="T40" fmla="*/ 2147483647 w 139"/>
                <a:gd name="T41" fmla="*/ 2147483647 h 313"/>
                <a:gd name="T42" fmla="*/ 2147483647 w 139"/>
                <a:gd name="T43" fmla="*/ 2147483647 h 313"/>
                <a:gd name="T44" fmla="*/ 0 w 139"/>
                <a:gd name="T45" fmla="*/ 2147483647 h 31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39" h="313">
                  <a:moveTo>
                    <a:pt x="0" y="123"/>
                  </a:moveTo>
                  <a:lnTo>
                    <a:pt x="7" y="179"/>
                  </a:lnTo>
                  <a:lnTo>
                    <a:pt x="7" y="200"/>
                  </a:lnTo>
                  <a:lnTo>
                    <a:pt x="7" y="223"/>
                  </a:lnTo>
                  <a:lnTo>
                    <a:pt x="38" y="258"/>
                  </a:lnTo>
                  <a:lnTo>
                    <a:pt x="25" y="302"/>
                  </a:lnTo>
                  <a:lnTo>
                    <a:pt x="57" y="313"/>
                  </a:lnTo>
                  <a:lnTo>
                    <a:pt x="113" y="313"/>
                  </a:lnTo>
                  <a:lnTo>
                    <a:pt x="126" y="258"/>
                  </a:lnTo>
                  <a:lnTo>
                    <a:pt x="94" y="189"/>
                  </a:lnTo>
                  <a:lnTo>
                    <a:pt x="132" y="156"/>
                  </a:lnTo>
                  <a:lnTo>
                    <a:pt x="139" y="167"/>
                  </a:lnTo>
                  <a:lnTo>
                    <a:pt x="132" y="45"/>
                  </a:lnTo>
                  <a:lnTo>
                    <a:pt x="107" y="12"/>
                  </a:lnTo>
                  <a:lnTo>
                    <a:pt x="82" y="33"/>
                  </a:lnTo>
                  <a:lnTo>
                    <a:pt x="82" y="21"/>
                  </a:lnTo>
                  <a:lnTo>
                    <a:pt x="57" y="0"/>
                  </a:lnTo>
                  <a:lnTo>
                    <a:pt x="44" y="0"/>
                  </a:lnTo>
                  <a:lnTo>
                    <a:pt x="44" y="66"/>
                  </a:lnTo>
                  <a:lnTo>
                    <a:pt x="32" y="45"/>
                  </a:lnTo>
                  <a:lnTo>
                    <a:pt x="25" y="66"/>
                  </a:lnTo>
                  <a:lnTo>
                    <a:pt x="19" y="11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76" name="Group 316"/>
            <p:cNvGrpSpPr>
              <a:grpSpLocks/>
            </p:cNvGrpSpPr>
            <p:nvPr>
              <p:custDataLst>
                <p:tags r:id="rId270"/>
              </p:custDataLst>
            </p:nvPr>
          </p:nvGrpSpPr>
          <p:grpSpPr bwMode="auto">
            <a:xfrm>
              <a:off x="4538911" y="2954338"/>
              <a:ext cx="203200" cy="249237"/>
              <a:chOff x="3032" y="1679"/>
              <a:chExt cx="139" cy="15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91" name="Freeform 317"/>
              <p:cNvSpPr>
                <a:spLocks/>
              </p:cNvSpPr>
              <p:nvPr/>
            </p:nvSpPr>
            <p:spPr bwMode="auto">
              <a:xfrm>
                <a:off x="3032" y="1679"/>
                <a:ext cx="139" cy="157"/>
              </a:xfrm>
              <a:custGeom>
                <a:avLst/>
                <a:gdLst>
                  <a:gd name="T0" fmla="*/ 0 w 139"/>
                  <a:gd name="T1" fmla="*/ 1 h 313"/>
                  <a:gd name="T2" fmla="*/ 7 w 139"/>
                  <a:gd name="T3" fmla="*/ 1 h 313"/>
                  <a:gd name="T4" fmla="*/ 7 w 139"/>
                  <a:gd name="T5" fmla="*/ 1 h 313"/>
                  <a:gd name="T6" fmla="*/ 7 w 139"/>
                  <a:gd name="T7" fmla="*/ 1 h 313"/>
                  <a:gd name="T8" fmla="*/ 38 w 139"/>
                  <a:gd name="T9" fmla="*/ 1 h 313"/>
                  <a:gd name="T10" fmla="*/ 25 w 139"/>
                  <a:gd name="T11" fmla="*/ 1 h 313"/>
                  <a:gd name="T12" fmla="*/ 57 w 139"/>
                  <a:gd name="T13" fmla="*/ 1 h 313"/>
                  <a:gd name="T14" fmla="*/ 113 w 139"/>
                  <a:gd name="T15" fmla="*/ 1 h 313"/>
                  <a:gd name="T16" fmla="*/ 126 w 139"/>
                  <a:gd name="T17" fmla="*/ 1 h 313"/>
                  <a:gd name="T18" fmla="*/ 94 w 139"/>
                  <a:gd name="T19" fmla="*/ 1 h 313"/>
                  <a:gd name="T20" fmla="*/ 132 w 139"/>
                  <a:gd name="T21" fmla="*/ 1 h 313"/>
                  <a:gd name="T22" fmla="*/ 139 w 139"/>
                  <a:gd name="T23" fmla="*/ 1 h 313"/>
                  <a:gd name="T24" fmla="*/ 132 w 139"/>
                  <a:gd name="T25" fmla="*/ 1 h 313"/>
                  <a:gd name="T26" fmla="*/ 107 w 139"/>
                  <a:gd name="T27" fmla="*/ 1 h 313"/>
                  <a:gd name="T28" fmla="*/ 82 w 139"/>
                  <a:gd name="T29" fmla="*/ 1 h 313"/>
                  <a:gd name="T30" fmla="*/ 82 w 139"/>
                  <a:gd name="T31" fmla="*/ 1 h 313"/>
                  <a:gd name="T32" fmla="*/ 57 w 139"/>
                  <a:gd name="T33" fmla="*/ 0 h 313"/>
                  <a:gd name="T34" fmla="*/ 44 w 139"/>
                  <a:gd name="T35" fmla="*/ 0 h 313"/>
                  <a:gd name="T36" fmla="*/ 44 w 139"/>
                  <a:gd name="T37" fmla="*/ 1 h 313"/>
                  <a:gd name="T38" fmla="*/ 32 w 139"/>
                  <a:gd name="T39" fmla="*/ 1 h 313"/>
                  <a:gd name="T40" fmla="*/ 25 w 139"/>
                  <a:gd name="T41" fmla="*/ 1 h 313"/>
                  <a:gd name="T42" fmla="*/ 19 w 139"/>
                  <a:gd name="T43" fmla="*/ 1 h 313"/>
                  <a:gd name="T44" fmla="*/ 0 w 139"/>
                  <a:gd name="T45" fmla="*/ 1 h 3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39" h="313">
                    <a:moveTo>
                      <a:pt x="0" y="123"/>
                    </a:moveTo>
                    <a:lnTo>
                      <a:pt x="7" y="179"/>
                    </a:lnTo>
                    <a:lnTo>
                      <a:pt x="7" y="200"/>
                    </a:lnTo>
                    <a:lnTo>
                      <a:pt x="7" y="223"/>
                    </a:lnTo>
                    <a:lnTo>
                      <a:pt x="38" y="258"/>
                    </a:lnTo>
                    <a:lnTo>
                      <a:pt x="25" y="302"/>
                    </a:lnTo>
                    <a:lnTo>
                      <a:pt x="57" y="313"/>
                    </a:lnTo>
                    <a:lnTo>
                      <a:pt x="113" y="313"/>
                    </a:lnTo>
                    <a:lnTo>
                      <a:pt x="126" y="258"/>
                    </a:lnTo>
                    <a:lnTo>
                      <a:pt x="94" y="189"/>
                    </a:lnTo>
                    <a:lnTo>
                      <a:pt x="132" y="156"/>
                    </a:lnTo>
                    <a:lnTo>
                      <a:pt x="139" y="167"/>
                    </a:lnTo>
                    <a:lnTo>
                      <a:pt x="132" y="45"/>
                    </a:lnTo>
                    <a:lnTo>
                      <a:pt x="107" y="12"/>
                    </a:lnTo>
                    <a:lnTo>
                      <a:pt x="82" y="33"/>
                    </a:lnTo>
                    <a:lnTo>
                      <a:pt x="82" y="21"/>
                    </a:lnTo>
                    <a:lnTo>
                      <a:pt x="57" y="0"/>
                    </a:lnTo>
                    <a:lnTo>
                      <a:pt x="44" y="0"/>
                    </a:lnTo>
                    <a:lnTo>
                      <a:pt x="44" y="66"/>
                    </a:lnTo>
                    <a:lnTo>
                      <a:pt x="32" y="45"/>
                    </a:lnTo>
                    <a:lnTo>
                      <a:pt x="25" y="66"/>
                    </a:lnTo>
                    <a:lnTo>
                      <a:pt x="19" y="112"/>
                    </a:lnTo>
                    <a:lnTo>
                      <a:pt x="0" y="123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92" name="Freeform 318"/>
              <p:cNvSpPr>
                <a:spLocks/>
              </p:cNvSpPr>
              <p:nvPr/>
            </p:nvSpPr>
            <p:spPr bwMode="auto">
              <a:xfrm>
                <a:off x="3032" y="1679"/>
                <a:ext cx="139" cy="157"/>
              </a:xfrm>
              <a:custGeom>
                <a:avLst/>
                <a:gdLst>
                  <a:gd name="T0" fmla="*/ 0 w 139"/>
                  <a:gd name="T1" fmla="*/ 1 h 313"/>
                  <a:gd name="T2" fmla="*/ 7 w 139"/>
                  <a:gd name="T3" fmla="*/ 1 h 313"/>
                  <a:gd name="T4" fmla="*/ 7 w 139"/>
                  <a:gd name="T5" fmla="*/ 1 h 313"/>
                  <a:gd name="T6" fmla="*/ 7 w 139"/>
                  <a:gd name="T7" fmla="*/ 1 h 313"/>
                  <a:gd name="T8" fmla="*/ 38 w 139"/>
                  <a:gd name="T9" fmla="*/ 1 h 313"/>
                  <a:gd name="T10" fmla="*/ 25 w 139"/>
                  <a:gd name="T11" fmla="*/ 1 h 313"/>
                  <a:gd name="T12" fmla="*/ 57 w 139"/>
                  <a:gd name="T13" fmla="*/ 1 h 313"/>
                  <a:gd name="T14" fmla="*/ 113 w 139"/>
                  <a:gd name="T15" fmla="*/ 1 h 313"/>
                  <a:gd name="T16" fmla="*/ 126 w 139"/>
                  <a:gd name="T17" fmla="*/ 1 h 313"/>
                  <a:gd name="T18" fmla="*/ 94 w 139"/>
                  <a:gd name="T19" fmla="*/ 1 h 313"/>
                  <a:gd name="T20" fmla="*/ 132 w 139"/>
                  <a:gd name="T21" fmla="*/ 1 h 313"/>
                  <a:gd name="T22" fmla="*/ 139 w 139"/>
                  <a:gd name="T23" fmla="*/ 1 h 313"/>
                  <a:gd name="T24" fmla="*/ 132 w 139"/>
                  <a:gd name="T25" fmla="*/ 1 h 313"/>
                  <a:gd name="T26" fmla="*/ 107 w 139"/>
                  <a:gd name="T27" fmla="*/ 1 h 313"/>
                  <a:gd name="T28" fmla="*/ 82 w 139"/>
                  <a:gd name="T29" fmla="*/ 1 h 313"/>
                  <a:gd name="T30" fmla="*/ 82 w 139"/>
                  <a:gd name="T31" fmla="*/ 1 h 313"/>
                  <a:gd name="T32" fmla="*/ 57 w 139"/>
                  <a:gd name="T33" fmla="*/ 0 h 313"/>
                  <a:gd name="T34" fmla="*/ 44 w 139"/>
                  <a:gd name="T35" fmla="*/ 0 h 313"/>
                  <a:gd name="T36" fmla="*/ 44 w 139"/>
                  <a:gd name="T37" fmla="*/ 1 h 313"/>
                  <a:gd name="T38" fmla="*/ 32 w 139"/>
                  <a:gd name="T39" fmla="*/ 1 h 313"/>
                  <a:gd name="T40" fmla="*/ 25 w 139"/>
                  <a:gd name="T41" fmla="*/ 1 h 313"/>
                  <a:gd name="T42" fmla="*/ 19 w 139"/>
                  <a:gd name="T43" fmla="*/ 1 h 313"/>
                  <a:gd name="T44" fmla="*/ 0 w 139"/>
                  <a:gd name="T45" fmla="*/ 1 h 3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39" h="313">
                    <a:moveTo>
                      <a:pt x="0" y="123"/>
                    </a:moveTo>
                    <a:lnTo>
                      <a:pt x="7" y="179"/>
                    </a:lnTo>
                    <a:lnTo>
                      <a:pt x="7" y="200"/>
                    </a:lnTo>
                    <a:lnTo>
                      <a:pt x="7" y="223"/>
                    </a:lnTo>
                    <a:lnTo>
                      <a:pt x="38" y="258"/>
                    </a:lnTo>
                    <a:lnTo>
                      <a:pt x="25" y="302"/>
                    </a:lnTo>
                    <a:lnTo>
                      <a:pt x="57" y="313"/>
                    </a:lnTo>
                    <a:lnTo>
                      <a:pt x="113" y="313"/>
                    </a:lnTo>
                    <a:lnTo>
                      <a:pt x="126" y="258"/>
                    </a:lnTo>
                    <a:lnTo>
                      <a:pt x="94" y="189"/>
                    </a:lnTo>
                    <a:lnTo>
                      <a:pt x="132" y="156"/>
                    </a:lnTo>
                    <a:lnTo>
                      <a:pt x="139" y="167"/>
                    </a:lnTo>
                    <a:lnTo>
                      <a:pt x="132" y="45"/>
                    </a:lnTo>
                    <a:lnTo>
                      <a:pt x="107" y="12"/>
                    </a:lnTo>
                    <a:lnTo>
                      <a:pt x="82" y="33"/>
                    </a:lnTo>
                    <a:lnTo>
                      <a:pt x="82" y="21"/>
                    </a:lnTo>
                    <a:lnTo>
                      <a:pt x="57" y="0"/>
                    </a:lnTo>
                    <a:lnTo>
                      <a:pt x="44" y="0"/>
                    </a:lnTo>
                    <a:lnTo>
                      <a:pt x="44" y="66"/>
                    </a:lnTo>
                    <a:lnTo>
                      <a:pt x="32" y="45"/>
                    </a:lnTo>
                    <a:lnTo>
                      <a:pt x="25" y="66"/>
                    </a:lnTo>
                    <a:lnTo>
                      <a:pt x="19" y="112"/>
                    </a:lnTo>
                    <a:lnTo>
                      <a:pt x="0" y="123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77" name="Freeform 319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4538911" y="2954338"/>
              <a:ext cx="203200" cy="249237"/>
            </a:xfrm>
            <a:custGeom>
              <a:avLst/>
              <a:gdLst>
                <a:gd name="T0" fmla="*/ 0 w 139"/>
                <a:gd name="T1" fmla="*/ 2147483647 h 313"/>
                <a:gd name="T2" fmla="*/ 2147483647 w 139"/>
                <a:gd name="T3" fmla="*/ 2147483647 h 313"/>
                <a:gd name="T4" fmla="*/ 2147483647 w 139"/>
                <a:gd name="T5" fmla="*/ 2147483647 h 313"/>
                <a:gd name="T6" fmla="*/ 2147483647 w 139"/>
                <a:gd name="T7" fmla="*/ 2147483647 h 313"/>
                <a:gd name="T8" fmla="*/ 2147483647 w 139"/>
                <a:gd name="T9" fmla="*/ 2147483647 h 313"/>
                <a:gd name="T10" fmla="*/ 2147483647 w 139"/>
                <a:gd name="T11" fmla="*/ 2147483647 h 313"/>
                <a:gd name="T12" fmla="*/ 2147483647 w 139"/>
                <a:gd name="T13" fmla="*/ 2147483647 h 313"/>
                <a:gd name="T14" fmla="*/ 2147483647 w 139"/>
                <a:gd name="T15" fmla="*/ 2147483647 h 313"/>
                <a:gd name="T16" fmla="*/ 2147483647 w 139"/>
                <a:gd name="T17" fmla="*/ 2147483647 h 313"/>
                <a:gd name="T18" fmla="*/ 2147483647 w 139"/>
                <a:gd name="T19" fmla="*/ 2147483647 h 313"/>
                <a:gd name="T20" fmla="*/ 2147483647 w 139"/>
                <a:gd name="T21" fmla="*/ 2147483647 h 313"/>
                <a:gd name="T22" fmla="*/ 2147483647 w 139"/>
                <a:gd name="T23" fmla="*/ 2147483647 h 313"/>
                <a:gd name="T24" fmla="*/ 2147483647 w 139"/>
                <a:gd name="T25" fmla="*/ 2147483647 h 313"/>
                <a:gd name="T26" fmla="*/ 2147483647 w 139"/>
                <a:gd name="T27" fmla="*/ 2147483647 h 313"/>
                <a:gd name="T28" fmla="*/ 2147483647 w 139"/>
                <a:gd name="T29" fmla="*/ 2147483647 h 313"/>
                <a:gd name="T30" fmla="*/ 2147483647 w 139"/>
                <a:gd name="T31" fmla="*/ 2147483647 h 313"/>
                <a:gd name="T32" fmla="*/ 2147483647 w 139"/>
                <a:gd name="T33" fmla="*/ 0 h 313"/>
                <a:gd name="T34" fmla="*/ 2147483647 w 139"/>
                <a:gd name="T35" fmla="*/ 0 h 313"/>
                <a:gd name="T36" fmla="*/ 2147483647 w 139"/>
                <a:gd name="T37" fmla="*/ 2147483647 h 313"/>
                <a:gd name="T38" fmla="*/ 2147483647 w 139"/>
                <a:gd name="T39" fmla="*/ 2147483647 h 313"/>
                <a:gd name="T40" fmla="*/ 2147483647 w 139"/>
                <a:gd name="T41" fmla="*/ 2147483647 h 313"/>
                <a:gd name="T42" fmla="*/ 2147483647 w 139"/>
                <a:gd name="T43" fmla="*/ 2147483647 h 313"/>
                <a:gd name="T44" fmla="*/ 0 w 139"/>
                <a:gd name="T45" fmla="*/ 2147483647 h 31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39" h="313">
                  <a:moveTo>
                    <a:pt x="0" y="123"/>
                  </a:moveTo>
                  <a:lnTo>
                    <a:pt x="7" y="179"/>
                  </a:lnTo>
                  <a:lnTo>
                    <a:pt x="7" y="200"/>
                  </a:lnTo>
                  <a:lnTo>
                    <a:pt x="7" y="223"/>
                  </a:lnTo>
                  <a:lnTo>
                    <a:pt x="38" y="258"/>
                  </a:lnTo>
                  <a:lnTo>
                    <a:pt x="25" y="302"/>
                  </a:lnTo>
                  <a:lnTo>
                    <a:pt x="57" y="313"/>
                  </a:lnTo>
                  <a:lnTo>
                    <a:pt x="113" y="313"/>
                  </a:lnTo>
                  <a:lnTo>
                    <a:pt x="126" y="258"/>
                  </a:lnTo>
                  <a:lnTo>
                    <a:pt x="94" y="189"/>
                  </a:lnTo>
                  <a:lnTo>
                    <a:pt x="132" y="156"/>
                  </a:lnTo>
                  <a:lnTo>
                    <a:pt x="139" y="167"/>
                  </a:lnTo>
                  <a:lnTo>
                    <a:pt x="132" y="45"/>
                  </a:lnTo>
                  <a:lnTo>
                    <a:pt x="107" y="12"/>
                  </a:lnTo>
                  <a:lnTo>
                    <a:pt x="82" y="33"/>
                  </a:lnTo>
                  <a:lnTo>
                    <a:pt x="82" y="21"/>
                  </a:lnTo>
                  <a:lnTo>
                    <a:pt x="57" y="0"/>
                  </a:lnTo>
                  <a:lnTo>
                    <a:pt x="44" y="0"/>
                  </a:lnTo>
                  <a:lnTo>
                    <a:pt x="44" y="66"/>
                  </a:lnTo>
                  <a:lnTo>
                    <a:pt x="32" y="45"/>
                  </a:lnTo>
                  <a:lnTo>
                    <a:pt x="25" y="66"/>
                  </a:lnTo>
                  <a:lnTo>
                    <a:pt x="19" y="11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78" name="Group 320"/>
            <p:cNvGrpSpPr>
              <a:grpSpLocks/>
            </p:cNvGrpSpPr>
            <p:nvPr>
              <p:custDataLst>
                <p:tags r:id="rId272"/>
              </p:custDataLst>
            </p:nvPr>
          </p:nvGrpSpPr>
          <p:grpSpPr bwMode="auto">
            <a:xfrm>
              <a:off x="4538911" y="2954338"/>
              <a:ext cx="203200" cy="249237"/>
              <a:chOff x="3032" y="1679"/>
              <a:chExt cx="139" cy="157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089" name="Freeform 321"/>
              <p:cNvSpPr>
                <a:spLocks/>
              </p:cNvSpPr>
              <p:nvPr/>
            </p:nvSpPr>
            <p:spPr bwMode="auto">
              <a:xfrm>
                <a:off x="3032" y="1679"/>
                <a:ext cx="139" cy="157"/>
              </a:xfrm>
              <a:custGeom>
                <a:avLst/>
                <a:gdLst>
                  <a:gd name="T0" fmla="*/ 0 w 139"/>
                  <a:gd name="T1" fmla="*/ 1 h 313"/>
                  <a:gd name="T2" fmla="*/ 7 w 139"/>
                  <a:gd name="T3" fmla="*/ 1 h 313"/>
                  <a:gd name="T4" fmla="*/ 7 w 139"/>
                  <a:gd name="T5" fmla="*/ 1 h 313"/>
                  <a:gd name="T6" fmla="*/ 7 w 139"/>
                  <a:gd name="T7" fmla="*/ 1 h 313"/>
                  <a:gd name="T8" fmla="*/ 38 w 139"/>
                  <a:gd name="T9" fmla="*/ 1 h 313"/>
                  <a:gd name="T10" fmla="*/ 25 w 139"/>
                  <a:gd name="T11" fmla="*/ 1 h 313"/>
                  <a:gd name="T12" fmla="*/ 57 w 139"/>
                  <a:gd name="T13" fmla="*/ 1 h 313"/>
                  <a:gd name="T14" fmla="*/ 113 w 139"/>
                  <a:gd name="T15" fmla="*/ 1 h 313"/>
                  <a:gd name="T16" fmla="*/ 126 w 139"/>
                  <a:gd name="T17" fmla="*/ 1 h 313"/>
                  <a:gd name="T18" fmla="*/ 94 w 139"/>
                  <a:gd name="T19" fmla="*/ 1 h 313"/>
                  <a:gd name="T20" fmla="*/ 132 w 139"/>
                  <a:gd name="T21" fmla="*/ 1 h 313"/>
                  <a:gd name="T22" fmla="*/ 139 w 139"/>
                  <a:gd name="T23" fmla="*/ 1 h 313"/>
                  <a:gd name="T24" fmla="*/ 132 w 139"/>
                  <a:gd name="T25" fmla="*/ 1 h 313"/>
                  <a:gd name="T26" fmla="*/ 107 w 139"/>
                  <a:gd name="T27" fmla="*/ 1 h 313"/>
                  <a:gd name="T28" fmla="*/ 82 w 139"/>
                  <a:gd name="T29" fmla="*/ 1 h 313"/>
                  <a:gd name="T30" fmla="*/ 82 w 139"/>
                  <a:gd name="T31" fmla="*/ 1 h 313"/>
                  <a:gd name="T32" fmla="*/ 57 w 139"/>
                  <a:gd name="T33" fmla="*/ 0 h 313"/>
                  <a:gd name="T34" fmla="*/ 44 w 139"/>
                  <a:gd name="T35" fmla="*/ 0 h 313"/>
                  <a:gd name="T36" fmla="*/ 44 w 139"/>
                  <a:gd name="T37" fmla="*/ 1 h 313"/>
                  <a:gd name="T38" fmla="*/ 32 w 139"/>
                  <a:gd name="T39" fmla="*/ 1 h 313"/>
                  <a:gd name="T40" fmla="*/ 25 w 139"/>
                  <a:gd name="T41" fmla="*/ 1 h 313"/>
                  <a:gd name="T42" fmla="*/ 19 w 139"/>
                  <a:gd name="T43" fmla="*/ 1 h 313"/>
                  <a:gd name="T44" fmla="*/ 0 w 139"/>
                  <a:gd name="T45" fmla="*/ 1 h 3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39" h="313">
                    <a:moveTo>
                      <a:pt x="0" y="123"/>
                    </a:moveTo>
                    <a:lnTo>
                      <a:pt x="7" y="179"/>
                    </a:lnTo>
                    <a:lnTo>
                      <a:pt x="7" y="200"/>
                    </a:lnTo>
                    <a:lnTo>
                      <a:pt x="7" y="223"/>
                    </a:lnTo>
                    <a:lnTo>
                      <a:pt x="38" y="258"/>
                    </a:lnTo>
                    <a:lnTo>
                      <a:pt x="25" y="302"/>
                    </a:lnTo>
                    <a:lnTo>
                      <a:pt x="57" y="313"/>
                    </a:lnTo>
                    <a:lnTo>
                      <a:pt x="113" y="313"/>
                    </a:lnTo>
                    <a:lnTo>
                      <a:pt x="126" y="258"/>
                    </a:lnTo>
                    <a:lnTo>
                      <a:pt x="94" y="189"/>
                    </a:lnTo>
                    <a:lnTo>
                      <a:pt x="132" y="156"/>
                    </a:lnTo>
                    <a:lnTo>
                      <a:pt x="139" y="167"/>
                    </a:lnTo>
                    <a:lnTo>
                      <a:pt x="132" y="45"/>
                    </a:lnTo>
                    <a:lnTo>
                      <a:pt x="107" y="12"/>
                    </a:lnTo>
                    <a:lnTo>
                      <a:pt x="82" y="33"/>
                    </a:lnTo>
                    <a:lnTo>
                      <a:pt x="82" y="21"/>
                    </a:lnTo>
                    <a:lnTo>
                      <a:pt x="57" y="0"/>
                    </a:lnTo>
                    <a:lnTo>
                      <a:pt x="44" y="0"/>
                    </a:lnTo>
                    <a:lnTo>
                      <a:pt x="44" y="66"/>
                    </a:lnTo>
                    <a:lnTo>
                      <a:pt x="32" y="45"/>
                    </a:lnTo>
                    <a:lnTo>
                      <a:pt x="25" y="66"/>
                    </a:lnTo>
                    <a:lnTo>
                      <a:pt x="19" y="112"/>
                    </a:lnTo>
                    <a:lnTo>
                      <a:pt x="0" y="123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90" name="Freeform 322"/>
              <p:cNvSpPr>
                <a:spLocks/>
              </p:cNvSpPr>
              <p:nvPr/>
            </p:nvSpPr>
            <p:spPr bwMode="auto">
              <a:xfrm>
                <a:off x="3032" y="1679"/>
                <a:ext cx="139" cy="157"/>
              </a:xfrm>
              <a:custGeom>
                <a:avLst/>
                <a:gdLst>
                  <a:gd name="T0" fmla="*/ 0 w 139"/>
                  <a:gd name="T1" fmla="*/ 1 h 313"/>
                  <a:gd name="T2" fmla="*/ 7 w 139"/>
                  <a:gd name="T3" fmla="*/ 1 h 313"/>
                  <a:gd name="T4" fmla="*/ 7 w 139"/>
                  <a:gd name="T5" fmla="*/ 1 h 313"/>
                  <a:gd name="T6" fmla="*/ 7 w 139"/>
                  <a:gd name="T7" fmla="*/ 1 h 313"/>
                  <a:gd name="T8" fmla="*/ 38 w 139"/>
                  <a:gd name="T9" fmla="*/ 1 h 313"/>
                  <a:gd name="T10" fmla="*/ 25 w 139"/>
                  <a:gd name="T11" fmla="*/ 1 h 313"/>
                  <a:gd name="T12" fmla="*/ 57 w 139"/>
                  <a:gd name="T13" fmla="*/ 1 h 313"/>
                  <a:gd name="T14" fmla="*/ 113 w 139"/>
                  <a:gd name="T15" fmla="*/ 1 h 313"/>
                  <a:gd name="T16" fmla="*/ 126 w 139"/>
                  <a:gd name="T17" fmla="*/ 1 h 313"/>
                  <a:gd name="T18" fmla="*/ 94 w 139"/>
                  <a:gd name="T19" fmla="*/ 1 h 313"/>
                  <a:gd name="T20" fmla="*/ 132 w 139"/>
                  <a:gd name="T21" fmla="*/ 1 h 313"/>
                  <a:gd name="T22" fmla="*/ 139 w 139"/>
                  <a:gd name="T23" fmla="*/ 1 h 313"/>
                  <a:gd name="T24" fmla="*/ 132 w 139"/>
                  <a:gd name="T25" fmla="*/ 1 h 313"/>
                  <a:gd name="T26" fmla="*/ 107 w 139"/>
                  <a:gd name="T27" fmla="*/ 1 h 313"/>
                  <a:gd name="T28" fmla="*/ 82 w 139"/>
                  <a:gd name="T29" fmla="*/ 1 h 313"/>
                  <a:gd name="T30" fmla="*/ 82 w 139"/>
                  <a:gd name="T31" fmla="*/ 1 h 313"/>
                  <a:gd name="T32" fmla="*/ 57 w 139"/>
                  <a:gd name="T33" fmla="*/ 0 h 313"/>
                  <a:gd name="T34" fmla="*/ 44 w 139"/>
                  <a:gd name="T35" fmla="*/ 0 h 313"/>
                  <a:gd name="T36" fmla="*/ 44 w 139"/>
                  <a:gd name="T37" fmla="*/ 1 h 313"/>
                  <a:gd name="T38" fmla="*/ 32 w 139"/>
                  <a:gd name="T39" fmla="*/ 1 h 313"/>
                  <a:gd name="T40" fmla="*/ 25 w 139"/>
                  <a:gd name="T41" fmla="*/ 1 h 313"/>
                  <a:gd name="T42" fmla="*/ 19 w 139"/>
                  <a:gd name="T43" fmla="*/ 1 h 313"/>
                  <a:gd name="T44" fmla="*/ 0 w 139"/>
                  <a:gd name="T45" fmla="*/ 1 h 3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39" h="313">
                    <a:moveTo>
                      <a:pt x="0" y="123"/>
                    </a:moveTo>
                    <a:lnTo>
                      <a:pt x="7" y="179"/>
                    </a:lnTo>
                    <a:lnTo>
                      <a:pt x="7" y="200"/>
                    </a:lnTo>
                    <a:lnTo>
                      <a:pt x="7" y="223"/>
                    </a:lnTo>
                    <a:lnTo>
                      <a:pt x="38" y="258"/>
                    </a:lnTo>
                    <a:lnTo>
                      <a:pt x="25" y="302"/>
                    </a:lnTo>
                    <a:lnTo>
                      <a:pt x="57" y="313"/>
                    </a:lnTo>
                    <a:lnTo>
                      <a:pt x="113" y="313"/>
                    </a:lnTo>
                    <a:lnTo>
                      <a:pt x="126" y="258"/>
                    </a:lnTo>
                    <a:lnTo>
                      <a:pt x="94" y="189"/>
                    </a:lnTo>
                    <a:lnTo>
                      <a:pt x="132" y="156"/>
                    </a:lnTo>
                    <a:lnTo>
                      <a:pt x="139" y="167"/>
                    </a:lnTo>
                    <a:lnTo>
                      <a:pt x="132" y="45"/>
                    </a:lnTo>
                    <a:lnTo>
                      <a:pt x="107" y="12"/>
                    </a:lnTo>
                    <a:lnTo>
                      <a:pt x="82" y="33"/>
                    </a:lnTo>
                    <a:lnTo>
                      <a:pt x="82" y="21"/>
                    </a:lnTo>
                    <a:lnTo>
                      <a:pt x="57" y="0"/>
                    </a:lnTo>
                    <a:lnTo>
                      <a:pt x="44" y="0"/>
                    </a:lnTo>
                    <a:lnTo>
                      <a:pt x="44" y="66"/>
                    </a:lnTo>
                    <a:lnTo>
                      <a:pt x="32" y="45"/>
                    </a:lnTo>
                    <a:lnTo>
                      <a:pt x="25" y="66"/>
                    </a:lnTo>
                    <a:lnTo>
                      <a:pt x="19" y="112"/>
                    </a:lnTo>
                    <a:lnTo>
                      <a:pt x="0" y="123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79" name="Freeform 323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4869111" y="3378200"/>
              <a:ext cx="147637" cy="150813"/>
            </a:xfrm>
            <a:custGeom>
              <a:avLst/>
              <a:gdLst>
                <a:gd name="T0" fmla="*/ 0 w 100"/>
                <a:gd name="T1" fmla="*/ 2147483647 h 190"/>
                <a:gd name="T2" fmla="*/ 2147483647 w 100"/>
                <a:gd name="T3" fmla="*/ 2147483647 h 190"/>
                <a:gd name="T4" fmla="*/ 2147483647 w 100"/>
                <a:gd name="T5" fmla="*/ 2147483647 h 190"/>
                <a:gd name="T6" fmla="*/ 2147483647 w 100"/>
                <a:gd name="T7" fmla="*/ 2147483647 h 190"/>
                <a:gd name="T8" fmla="*/ 2147483647 w 100"/>
                <a:gd name="T9" fmla="*/ 0 h 190"/>
                <a:gd name="T10" fmla="*/ 2147483647 w 100"/>
                <a:gd name="T11" fmla="*/ 2147483647 h 190"/>
                <a:gd name="T12" fmla="*/ 2147483647 w 100"/>
                <a:gd name="T13" fmla="*/ 2147483647 h 190"/>
                <a:gd name="T14" fmla="*/ 2147483647 w 100"/>
                <a:gd name="T15" fmla="*/ 2147483647 h 190"/>
                <a:gd name="T16" fmla="*/ 2147483647 w 100"/>
                <a:gd name="T17" fmla="*/ 2147483647 h 190"/>
                <a:gd name="T18" fmla="*/ 2147483647 w 100"/>
                <a:gd name="T19" fmla="*/ 2147483647 h 190"/>
                <a:gd name="T20" fmla="*/ 2147483647 w 100"/>
                <a:gd name="T21" fmla="*/ 2147483647 h 190"/>
                <a:gd name="T22" fmla="*/ 2147483647 w 100"/>
                <a:gd name="T23" fmla="*/ 2147483647 h 190"/>
                <a:gd name="T24" fmla="*/ 2147483647 w 100"/>
                <a:gd name="T25" fmla="*/ 2147483647 h 190"/>
                <a:gd name="T26" fmla="*/ 2147483647 w 100"/>
                <a:gd name="T27" fmla="*/ 2147483647 h 190"/>
                <a:gd name="T28" fmla="*/ 2147483647 w 100"/>
                <a:gd name="T29" fmla="*/ 2147483647 h 190"/>
                <a:gd name="T30" fmla="*/ 2147483647 w 100"/>
                <a:gd name="T31" fmla="*/ 2147483647 h 190"/>
                <a:gd name="T32" fmla="*/ 2147483647 w 100"/>
                <a:gd name="T33" fmla="*/ 2147483647 h 190"/>
                <a:gd name="T34" fmla="*/ 2147483647 w 100"/>
                <a:gd name="T35" fmla="*/ 2147483647 h 190"/>
                <a:gd name="T36" fmla="*/ 2147483647 w 100"/>
                <a:gd name="T37" fmla="*/ 2147483647 h 190"/>
                <a:gd name="T38" fmla="*/ 0 w 100"/>
                <a:gd name="T39" fmla="*/ 2147483647 h 1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0" h="190">
                  <a:moveTo>
                    <a:pt x="0" y="79"/>
                  </a:moveTo>
                  <a:lnTo>
                    <a:pt x="11" y="35"/>
                  </a:lnTo>
                  <a:lnTo>
                    <a:pt x="43" y="12"/>
                  </a:lnTo>
                  <a:lnTo>
                    <a:pt x="81" y="23"/>
                  </a:lnTo>
                  <a:lnTo>
                    <a:pt x="100" y="0"/>
                  </a:lnTo>
                  <a:lnTo>
                    <a:pt x="93" y="44"/>
                  </a:lnTo>
                  <a:lnTo>
                    <a:pt x="68" y="35"/>
                  </a:lnTo>
                  <a:lnTo>
                    <a:pt x="50" y="68"/>
                  </a:lnTo>
                  <a:lnTo>
                    <a:pt x="37" y="44"/>
                  </a:lnTo>
                  <a:lnTo>
                    <a:pt x="50" y="100"/>
                  </a:lnTo>
                  <a:lnTo>
                    <a:pt x="37" y="112"/>
                  </a:lnTo>
                  <a:lnTo>
                    <a:pt x="56" y="133"/>
                  </a:lnTo>
                  <a:lnTo>
                    <a:pt x="56" y="158"/>
                  </a:lnTo>
                  <a:lnTo>
                    <a:pt x="37" y="158"/>
                  </a:lnTo>
                  <a:lnTo>
                    <a:pt x="43" y="190"/>
                  </a:lnTo>
                  <a:lnTo>
                    <a:pt x="18" y="179"/>
                  </a:lnTo>
                  <a:lnTo>
                    <a:pt x="11" y="144"/>
                  </a:lnTo>
                  <a:lnTo>
                    <a:pt x="50" y="133"/>
                  </a:lnTo>
                  <a:lnTo>
                    <a:pt x="11" y="133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80" name="Group 324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4869111" y="3378200"/>
              <a:ext cx="147637" cy="150813"/>
              <a:chOff x="3258" y="1946"/>
              <a:chExt cx="100" cy="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87" name="Freeform 325"/>
              <p:cNvSpPr>
                <a:spLocks/>
              </p:cNvSpPr>
              <p:nvPr/>
            </p:nvSpPr>
            <p:spPr bwMode="auto">
              <a:xfrm>
                <a:off x="3258" y="1946"/>
                <a:ext cx="100" cy="95"/>
              </a:xfrm>
              <a:custGeom>
                <a:avLst/>
                <a:gdLst>
                  <a:gd name="T0" fmla="*/ 0 w 100"/>
                  <a:gd name="T1" fmla="*/ 1 h 190"/>
                  <a:gd name="T2" fmla="*/ 11 w 100"/>
                  <a:gd name="T3" fmla="*/ 1 h 190"/>
                  <a:gd name="T4" fmla="*/ 43 w 100"/>
                  <a:gd name="T5" fmla="*/ 1 h 190"/>
                  <a:gd name="T6" fmla="*/ 81 w 100"/>
                  <a:gd name="T7" fmla="*/ 1 h 190"/>
                  <a:gd name="T8" fmla="*/ 100 w 100"/>
                  <a:gd name="T9" fmla="*/ 0 h 190"/>
                  <a:gd name="T10" fmla="*/ 93 w 100"/>
                  <a:gd name="T11" fmla="*/ 1 h 190"/>
                  <a:gd name="T12" fmla="*/ 68 w 100"/>
                  <a:gd name="T13" fmla="*/ 1 h 190"/>
                  <a:gd name="T14" fmla="*/ 50 w 100"/>
                  <a:gd name="T15" fmla="*/ 1 h 190"/>
                  <a:gd name="T16" fmla="*/ 37 w 100"/>
                  <a:gd name="T17" fmla="*/ 1 h 190"/>
                  <a:gd name="T18" fmla="*/ 50 w 100"/>
                  <a:gd name="T19" fmla="*/ 1 h 190"/>
                  <a:gd name="T20" fmla="*/ 37 w 100"/>
                  <a:gd name="T21" fmla="*/ 1 h 190"/>
                  <a:gd name="T22" fmla="*/ 56 w 100"/>
                  <a:gd name="T23" fmla="*/ 1 h 190"/>
                  <a:gd name="T24" fmla="*/ 56 w 100"/>
                  <a:gd name="T25" fmla="*/ 1 h 190"/>
                  <a:gd name="T26" fmla="*/ 37 w 100"/>
                  <a:gd name="T27" fmla="*/ 1 h 190"/>
                  <a:gd name="T28" fmla="*/ 43 w 100"/>
                  <a:gd name="T29" fmla="*/ 1 h 190"/>
                  <a:gd name="T30" fmla="*/ 18 w 100"/>
                  <a:gd name="T31" fmla="*/ 1 h 190"/>
                  <a:gd name="T32" fmla="*/ 11 w 100"/>
                  <a:gd name="T33" fmla="*/ 1 h 190"/>
                  <a:gd name="T34" fmla="*/ 50 w 100"/>
                  <a:gd name="T35" fmla="*/ 1 h 190"/>
                  <a:gd name="T36" fmla="*/ 11 w 100"/>
                  <a:gd name="T37" fmla="*/ 1 h 190"/>
                  <a:gd name="T38" fmla="*/ 0 w 100"/>
                  <a:gd name="T39" fmla="*/ 1 h 1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0" h="190">
                    <a:moveTo>
                      <a:pt x="0" y="79"/>
                    </a:moveTo>
                    <a:lnTo>
                      <a:pt x="11" y="35"/>
                    </a:lnTo>
                    <a:lnTo>
                      <a:pt x="43" y="12"/>
                    </a:lnTo>
                    <a:lnTo>
                      <a:pt x="81" y="23"/>
                    </a:lnTo>
                    <a:lnTo>
                      <a:pt x="100" y="0"/>
                    </a:lnTo>
                    <a:lnTo>
                      <a:pt x="93" y="44"/>
                    </a:lnTo>
                    <a:lnTo>
                      <a:pt x="68" y="35"/>
                    </a:lnTo>
                    <a:lnTo>
                      <a:pt x="50" y="68"/>
                    </a:lnTo>
                    <a:lnTo>
                      <a:pt x="37" y="44"/>
                    </a:lnTo>
                    <a:lnTo>
                      <a:pt x="50" y="100"/>
                    </a:lnTo>
                    <a:lnTo>
                      <a:pt x="37" y="112"/>
                    </a:lnTo>
                    <a:lnTo>
                      <a:pt x="56" y="133"/>
                    </a:lnTo>
                    <a:lnTo>
                      <a:pt x="56" y="158"/>
                    </a:lnTo>
                    <a:lnTo>
                      <a:pt x="37" y="158"/>
                    </a:lnTo>
                    <a:lnTo>
                      <a:pt x="43" y="190"/>
                    </a:lnTo>
                    <a:lnTo>
                      <a:pt x="18" y="179"/>
                    </a:lnTo>
                    <a:lnTo>
                      <a:pt x="11" y="144"/>
                    </a:lnTo>
                    <a:lnTo>
                      <a:pt x="50" y="133"/>
                    </a:lnTo>
                    <a:lnTo>
                      <a:pt x="11" y="133"/>
                    </a:lnTo>
                    <a:lnTo>
                      <a:pt x="0" y="79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88" name="Freeform 326"/>
              <p:cNvSpPr>
                <a:spLocks/>
              </p:cNvSpPr>
              <p:nvPr/>
            </p:nvSpPr>
            <p:spPr bwMode="auto">
              <a:xfrm>
                <a:off x="3258" y="1946"/>
                <a:ext cx="100" cy="95"/>
              </a:xfrm>
              <a:custGeom>
                <a:avLst/>
                <a:gdLst>
                  <a:gd name="T0" fmla="*/ 0 w 100"/>
                  <a:gd name="T1" fmla="*/ 1 h 190"/>
                  <a:gd name="T2" fmla="*/ 11 w 100"/>
                  <a:gd name="T3" fmla="*/ 1 h 190"/>
                  <a:gd name="T4" fmla="*/ 43 w 100"/>
                  <a:gd name="T5" fmla="*/ 1 h 190"/>
                  <a:gd name="T6" fmla="*/ 81 w 100"/>
                  <a:gd name="T7" fmla="*/ 1 h 190"/>
                  <a:gd name="T8" fmla="*/ 100 w 100"/>
                  <a:gd name="T9" fmla="*/ 0 h 190"/>
                  <a:gd name="T10" fmla="*/ 93 w 100"/>
                  <a:gd name="T11" fmla="*/ 1 h 190"/>
                  <a:gd name="T12" fmla="*/ 68 w 100"/>
                  <a:gd name="T13" fmla="*/ 1 h 190"/>
                  <a:gd name="T14" fmla="*/ 50 w 100"/>
                  <a:gd name="T15" fmla="*/ 1 h 190"/>
                  <a:gd name="T16" fmla="*/ 37 w 100"/>
                  <a:gd name="T17" fmla="*/ 1 h 190"/>
                  <a:gd name="T18" fmla="*/ 50 w 100"/>
                  <a:gd name="T19" fmla="*/ 1 h 190"/>
                  <a:gd name="T20" fmla="*/ 37 w 100"/>
                  <a:gd name="T21" fmla="*/ 1 h 190"/>
                  <a:gd name="T22" fmla="*/ 56 w 100"/>
                  <a:gd name="T23" fmla="*/ 1 h 190"/>
                  <a:gd name="T24" fmla="*/ 56 w 100"/>
                  <a:gd name="T25" fmla="*/ 1 h 190"/>
                  <a:gd name="T26" fmla="*/ 37 w 100"/>
                  <a:gd name="T27" fmla="*/ 1 h 190"/>
                  <a:gd name="T28" fmla="*/ 43 w 100"/>
                  <a:gd name="T29" fmla="*/ 1 h 190"/>
                  <a:gd name="T30" fmla="*/ 18 w 100"/>
                  <a:gd name="T31" fmla="*/ 1 h 190"/>
                  <a:gd name="T32" fmla="*/ 11 w 100"/>
                  <a:gd name="T33" fmla="*/ 1 h 190"/>
                  <a:gd name="T34" fmla="*/ 50 w 100"/>
                  <a:gd name="T35" fmla="*/ 1 h 190"/>
                  <a:gd name="T36" fmla="*/ 11 w 100"/>
                  <a:gd name="T37" fmla="*/ 1 h 190"/>
                  <a:gd name="T38" fmla="*/ 0 w 100"/>
                  <a:gd name="T39" fmla="*/ 1 h 1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0" h="190">
                    <a:moveTo>
                      <a:pt x="0" y="79"/>
                    </a:moveTo>
                    <a:lnTo>
                      <a:pt x="11" y="35"/>
                    </a:lnTo>
                    <a:lnTo>
                      <a:pt x="43" y="12"/>
                    </a:lnTo>
                    <a:lnTo>
                      <a:pt x="81" y="23"/>
                    </a:lnTo>
                    <a:lnTo>
                      <a:pt x="100" y="0"/>
                    </a:lnTo>
                    <a:lnTo>
                      <a:pt x="93" y="44"/>
                    </a:lnTo>
                    <a:lnTo>
                      <a:pt x="68" y="35"/>
                    </a:lnTo>
                    <a:lnTo>
                      <a:pt x="50" y="68"/>
                    </a:lnTo>
                    <a:lnTo>
                      <a:pt x="37" y="44"/>
                    </a:lnTo>
                    <a:lnTo>
                      <a:pt x="50" y="100"/>
                    </a:lnTo>
                    <a:lnTo>
                      <a:pt x="37" y="112"/>
                    </a:lnTo>
                    <a:lnTo>
                      <a:pt x="56" y="133"/>
                    </a:lnTo>
                    <a:lnTo>
                      <a:pt x="56" y="158"/>
                    </a:lnTo>
                    <a:lnTo>
                      <a:pt x="37" y="158"/>
                    </a:lnTo>
                    <a:lnTo>
                      <a:pt x="43" y="190"/>
                    </a:lnTo>
                    <a:lnTo>
                      <a:pt x="18" y="179"/>
                    </a:lnTo>
                    <a:lnTo>
                      <a:pt x="11" y="144"/>
                    </a:lnTo>
                    <a:lnTo>
                      <a:pt x="50" y="133"/>
                    </a:lnTo>
                    <a:lnTo>
                      <a:pt x="11" y="133"/>
                    </a:lnTo>
                    <a:lnTo>
                      <a:pt x="0" y="79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81" name="Freeform 327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869111" y="3378200"/>
              <a:ext cx="147637" cy="150813"/>
            </a:xfrm>
            <a:custGeom>
              <a:avLst/>
              <a:gdLst>
                <a:gd name="T0" fmla="*/ 0 w 100"/>
                <a:gd name="T1" fmla="*/ 2147483647 h 190"/>
                <a:gd name="T2" fmla="*/ 2147483647 w 100"/>
                <a:gd name="T3" fmla="*/ 2147483647 h 190"/>
                <a:gd name="T4" fmla="*/ 2147483647 w 100"/>
                <a:gd name="T5" fmla="*/ 2147483647 h 190"/>
                <a:gd name="T6" fmla="*/ 2147483647 w 100"/>
                <a:gd name="T7" fmla="*/ 2147483647 h 190"/>
                <a:gd name="T8" fmla="*/ 2147483647 w 100"/>
                <a:gd name="T9" fmla="*/ 0 h 190"/>
                <a:gd name="T10" fmla="*/ 2147483647 w 100"/>
                <a:gd name="T11" fmla="*/ 2147483647 h 190"/>
                <a:gd name="T12" fmla="*/ 2147483647 w 100"/>
                <a:gd name="T13" fmla="*/ 2147483647 h 190"/>
                <a:gd name="T14" fmla="*/ 2147483647 w 100"/>
                <a:gd name="T15" fmla="*/ 2147483647 h 190"/>
                <a:gd name="T16" fmla="*/ 2147483647 w 100"/>
                <a:gd name="T17" fmla="*/ 2147483647 h 190"/>
                <a:gd name="T18" fmla="*/ 2147483647 w 100"/>
                <a:gd name="T19" fmla="*/ 2147483647 h 190"/>
                <a:gd name="T20" fmla="*/ 2147483647 w 100"/>
                <a:gd name="T21" fmla="*/ 2147483647 h 190"/>
                <a:gd name="T22" fmla="*/ 2147483647 w 100"/>
                <a:gd name="T23" fmla="*/ 2147483647 h 190"/>
                <a:gd name="T24" fmla="*/ 2147483647 w 100"/>
                <a:gd name="T25" fmla="*/ 2147483647 h 190"/>
                <a:gd name="T26" fmla="*/ 2147483647 w 100"/>
                <a:gd name="T27" fmla="*/ 2147483647 h 190"/>
                <a:gd name="T28" fmla="*/ 2147483647 w 100"/>
                <a:gd name="T29" fmla="*/ 2147483647 h 190"/>
                <a:gd name="T30" fmla="*/ 2147483647 w 100"/>
                <a:gd name="T31" fmla="*/ 2147483647 h 190"/>
                <a:gd name="T32" fmla="*/ 2147483647 w 100"/>
                <a:gd name="T33" fmla="*/ 2147483647 h 190"/>
                <a:gd name="T34" fmla="*/ 2147483647 w 100"/>
                <a:gd name="T35" fmla="*/ 2147483647 h 190"/>
                <a:gd name="T36" fmla="*/ 2147483647 w 100"/>
                <a:gd name="T37" fmla="*/ 2147483647 h 190"/>
                <a:gd name="T38" fmla="*/ 0 w 100"/>
                <a:gd name="T39" fmla="*/ 2147483647 h 1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0" h="190">
                  <a:moveTo>
                    <a:pt x="0" y="79"/>
                  </a:moveTo>
                  <a:lnTo>
                    <a:pt x="11" y="35"/>
                  </a:lnTo>
                  <a:lnTo>
                    <a:pt x="43" y="12"/>
                  </a:lnTo>
                  <a:lnTo>
                    <a:pt x="81" y="23"/>
                  </a:lnTo>
                  <a:lnTo>
                    <a:pt x="100" y="0"/>
                  </a:lnTo>
                  <a:lnTo>
                    <a:pt x="93" y="44"/>
                  </a:lnTo>
                  <a:lnTo>
                    <a:pt x="68" y="35"/>
                  </a:lnTo>
                  <a:lnTo>
                    <a:pt x="50" y="68"/>
                  </a:lnTo>
                  <a:lnTo>
                    <a:pt x="37" y="44"/>
                  </a:lnTo>
                  <a:lnTo>
                    <a:pt x="50" y="100"/>
                  </a:lnTo>
                  <a:lnTo>
                    <a:pt x="37" y="112"/>
                  </a:lnTo>
                  <a:lnTo>
                    <a:pt x="56" y="133"/>
                  </a:lnTo>
                  <a:lnTo>
                    <a:pt x="56" y="158"/>
                  </a:lnTo>
                  <a:lnTo>
                    <a:pt x="37" y="158"/>
                  </a:lnTo>
                  <a:lnTo>
                    <a:pt x="43" y="190"/>
                  </a:lnTo>
                  <a:lnTo>
                    <a:pt x="18" y="179"/>
                  </a:lnTo>
                  <a:lnTo>
                    <a:pt x="11" y="144"/>
                  </a:lnTo>
                  <a:lnTo>
                    <a:pt x="50" y="133"/>
                  </a:lnTo>
                  <a:lnTo>
                    <a:pt x="11" y="133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282" name="Group 328"/>
            <p:cNvGrpSpPr>
              <a:grpSpLocks/>
            </p:cNvGrpSpPr>
            <p:nvPr>
              <p:custDataLst>
                <p:tags r:id="rId276"/>
              </p:custDataLst>
            </p:nvPr>
          </p:nvGrpSpPr>
          <p:grpSpPr bwMode="auto">
            <a:xfrm>
              <a:off x="4869111" y="3378200"/>
              <a:ext cx="147637" cy="150813"/>
              <a:chOff x="3258" y="1946"/>
              <a:chExt cx="100" cy="95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085" name="Freeform 329"/>
              <p:cNvSpPr>
                <a:spLocks/>
              </p:cNvSpPr>
              <p:nvPr/>
            </p:nvSpPr>
            <p:spPr bwMode="auto">
              <a:xfrm>
                <a:off x="3258" y="1946"/>
                <a:ext cx="100" cy="95"/>
              </a:xfrm>
              <a:custGeom>
                <a:avLst/>
                <a:gdLst>
                  <a:gd name="T0" fmla="*/ 0 w 100"/>
                  <a:gd name="T1" fmla="*/ 1 h 190"/>
                  <a:gd name="T2" fmla="*/ 11 w 100"/>
                  <a:gd name="T3" fmla="*/ 1 h 190"/>
                  <a:gd name="T4" fmla="*/ 43 w 100"/>
                  <a:gd name="T5" fmla="*/ 1 h 190"/>
                  <a:gd name="T6" fmla="*/ 81 w 100"/>
                  <a:gd name="T7" fmla="*/ 1 h 190"/>
                  <a:gd name="T8" fmla="*/ 100 w 100"/>
                  <a:gd name="T9" fmla="*/ 0 h 190"/>
                  <a:gd name="T10" fmla="*/ 93 w 100"/>
                  <a:gd name="T11" fmla="*/ 1 h 190"/>
                  <a:gd name="T12" fmla="*/ 68 w 100"/>
                  <a:gd name="T13" fmla="*/ 1 h 190"/>
                  <a:gd name="T14" fmla="*/ 50 w 100"/>
                  <a:gd name="T15" fmla="*/ 1 h 190"/>
                  <a:gd name="T16" fmla="*/ 37 w 100"/>
                  <a:gd name="T17" fmla="*/ 1 h 190"/>
                  <a:gd name="T18" fmla="*/ 50 w 100"/>
                  <a:gd name="T19" fmla="*/ 1 h 190"/>
                  <a:gd name="T20" fmla="*/ 37 w 100"/>
                  <a:gd name="T21" fmla="*/ 1 h 190"/>
                  <a:gd name="T22" fmla="*/ 56 w 100"/>
                  <a:gd name="T23" fmla="*/ 1 h 190"/>
                  <a:gd name="T24" fmla="*/ 56 w 100"/>
                  <a:gd name="T25" fmla="*/ 1 h 190"/>
                  <a:gd name="T26" fmla="*/ 37 w 100"/>
                  <a:gd name="T27" fmla="*/ 1 h 190"/>
                  <a:gd name="T28" fmla="*/ 43 w 100"/>
                  <a:gd name="T29" fmla="*/ 1 h 190"/>
                  <a:gd name="T30" fmla="*/ 18 w 100"/>
                  <a:gd name="T31" fmla="*/ 1 h 190"/>
                  <a:gd name="T32" fmla="*/ 11 w 100"/>
                  <a:gd name="T33" fmla="*/ 1 h 190"/>
                  <a:gd name="T34" fmla="*/ 50 w 100"/>
                  <a:gd name="T35" fmla="*/ 1 h 190"/>
                  <a:gd name="T36" fmla="*/ 11 w 100"/>
                  <a:gd name="T37" fmla="*/ 1 h 190"/>
                  <a:gd name="T38" fmla="*/ 0 w 100"/>
                  <a:gd name="T39" fmla="*/ 1 h 1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0" h="190">
                    <a:moveTo>
                      <a:pt x="0" y="79"/>
                    </a:moveTo>
                    <a:lnTo>
                      <a:pt x="11" y="35"/>
                    </a:lnTo>
                    <a:lnTo>
                      <a:pt x="43" y="12"/>
                    </a:lnTo>
                    <a:lnTo>
                      <a:pt x="81" y="23"/>
                    </a:lnTo>
                    <a:lnTo>
                      <a:pt x="100" y="0"/>
                    </a:lnTo>
                    <a:lnTo>
                      <a:pt x="93" y="44"/>
                    </a:lnTo>
                    <a:lnTo>
                      <a:pt x="68" y="35"/>
                    </a:lnTo>
                    <a:lnTo>
                      <a:pt x="50" y="68"/>
                    </a:lnTo>
                    <a:lnTo>
                      <a:pt x="37" y="44"/>
                    </a:lnTo>
                    <a:lnTo>
                      <a:pt x="50" y="100"/>
                    </a:lnTo>
                    <a:lnTo>
                      <a:pt x="37" y="112"/>
                    </a:lnTo>
                    <a:lnTo>
                      <a:pt x="56" y="133"/>
                    </a:lnTo>
                    <a:lnTo>
                      <a:pt x="56" y="158"/>
                    </a:lnTo>
                    <a:lnTo>
                      <a:pt x="37" y="158"/>
                    </a:lnTo>
                    <a:lnTo>
                      <a:pt x="43" y="190"/>
                    </a:lnTo>
                    <a:lnTo>
                      <a:pt x="18" y="179"/>
                    </a:lnTo>
                    <a:lnTo>
                      <a:pt x="11" y="144"/>
                    </a:lnTo>
                    <a:lnTo>
                      <a:pt x="50" y="133"/>
                    </a:lnTo>
                    <a:lnTo>
                      <a:pt x="11" y="133"/>
                    </a:lnTo>
                    <a:lnTo>
                      <a:pt x="0" y="79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86" name="Freeform 330"/>
              <p:cNvSpPr>
                <a:spLocks/>
              </p:cNvSpPr>
              <p:nvPr/>
            </p:nvSpPr>
            <p:spPr bwMode="auto">
              <a:xfrm>
                <a:off x="3258" y="1946"/>
                <a:ext cx="100" cy="95"/>
              </a:xfrm>
              <a:custGeom>
                <a:avLst/>
                <a:gdLst>
                  <a:gd name="T0" fmla="*/ 0 w 100"/>
                  <a:gd name="T1" fmla="*/ 1 h 190"/>
                  <a:gd name="T2" fmla="*/ 11 w 100"/>
                  <a:gd name="T3" fmla="*/ 1 h 190"/>
                  <a:gd name="T4" fmla="*/ 43 w 100"/>
                  <a:gd name="T5" fmla="*/ 1 h 190"/>
                  <a:gd name="T6" fmla="*/ 81 w 100"/>
                  <a:gd name="T7" fmla="*/ 1 h 190"/>
                  <a:gd name="T8" fmla="*/ 100 w 100"/>
                  <a:gd name="T9" fmla="*/ 0 h 190"/>
                  <a:gd name="T10" fmla="*/ 93 w 100"/>
                  <a:gd name="T11" fmla="*/ 1 h 190"/>
                  <a:gd name="T12" fmla="*/ 68 w 100"/>
                  <a:gd name="T13" fmla="*/ 1 h 190"/>
                  <a:gd name="T14" fmla="*/ 50 w 100"/>
                  <a:gd name="T15" fmla="*/ 1 h 190"/>
                  <a:gd name="T16" fmla="*/ 37 w 100"/>
                  <a:gd name="T17" fmla="*/ 1 h 190"/>
                  <a:gd name="T18" fmla="*/ 50 w 100"/>
                  <a:gd name="T19" fmla="*/ 1 h 190"/>
                  <a:gd name="T20" fmla="*/ 37 w 100"/>
                  <a:gd name="T21" fmla="*/ 1 h 190"/>
                  <a:gd name="T22" fmla="*/ 56 w 100"/>
                  <a:gd name="T23" fmla="*/ 1 h 190"/>
                  <a:gd name="T24" fmla="*/ 56 w 100"/>
                  <a:gd name="T25" fmla="*/ 1 h 190"/>
                  <a:gd name="T26" fmla="*/ 37 w 100"/>
                  <a:gd name="T27" fmla="*/ 1 h 190"/>
                  <a:gd name="T28" fmla="*/ 43 w 100"/>
                  <a:gd name="T29" fmla="*/ 1 h 190"/>
                  <a:gd name="T30" fmla="*/ 18 w 100"/>
                  <a:gd name="T31" fmla="*/ 1 h 190"/>
                  <a:gd name="T32" fmla="*/ 11 w 100"/>
                  <a:gd name="T33" fmla="*/ 1 h 190"/>
                  <a:gd name="T34" fmla="*/ 50 w 100"/>
                  <a:gd name="T35" fmla="*/ 1 h 190"/>
                  <a:gd name="T36" fmla="*/ 11 w 100"/>
                  <a:gd name="T37" fmla="*/ 1 h 190"/>
                  <a:gd name="T38" fmla="*/ 0 w 100"/>
                  <a:gd name="T39" fmla="*/ 1 h 1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0" h="190">
                    <a:moveTo>
                      <a:pt x="0" y="79"/>
                    </a:moveTo>
                    <a:lnTo>
                      <a:pt x="11" y="35"/>
                    </a:lnTo>
                    <a:lnTo>
                      <a:pt x="43" y="12"/>
                    </a:lnTo>
                    <a:lnTo>
                      <a:pt x="81" y="23"/>
                    </a:lnTo>
                    <a:lnTo>
                      <a:pt x="100" y="0"/>
                    </a:lnTo>
                    <a:lnTo>
                      <a:pt x="93" y="44"/>
                    </a:lnTo>
                    <a:lnTo>
                      <a:pt x="68" y="35"/>
                    </a:lnTo>
                    <a:lnTo>
                      <a:pt x="50" y="68"/>
                    </a:lnTo>
                    <a:lnTo>
                      <a:pt x="37" y="44"/>
                    </a:lnTo>
                    <a:lnTo>
                      <a:pt x="50" y="100"/>
                    </a:lnTo>
                    <a:lnTo>
                      <a:pt x="37" y="112"/>
                    </a:lnTo>
                    <a:lnTo>
                      <a:pt x="56" y="133"/>
                    </a:lnTo>
                    <a:lnTo>
                      <a:pt x="56" y="158"/>
                    </a:lnTo>
                    <a:lnTo>
                      <a:pt x="37" y="158"/>
                    </a:lnTo>
                    <a:lnTo>
                      <a:pt x="43" y="190"/>
                    </a:lnTo>
                    <a:lnTo>
                      <a:pt x="18" y="179"/>
                    </a:lnTo>
                    <a:lnTo>
                      <a:pt x="11" y="144"/>
                    </a:lnTo>
                    <a:lnTo>
                      <a:pt x="50" y="133"/>
                    </a:lnTo>
                    <a:lnTo>
                      <a:pt x="11" y="133"/>
                    </a:lnTo>
                    <a:lnTo>
                      <a:pt x="0" y="79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83" name="Freeform 331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943723" y="3563938"/>
              <a:ext cx="73025" cy="26987"/>
            </a:xfrm>
            <a:custGeom>
              <a:avLst/>
              <a:gdLst>
                <a:gd name="T0" fmla="*/ 0 w 49"/>
                <a:gd name="T1" fmla="*/ 2147483647 h 32"/>
                <a:gd name="T2" fmla="*/ 2147483647 w 49"/>
                <a:gd name="T3" fmla="*/ 0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0 w 49"/>
                <a:gd name="T9" fmla="*/ 2147483647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2">
                  <a:moveTo>
                    <a:pt x="0" y="32"/>
                  </a:moveTo>
                  <a:lnTo>
                    <a:pt x="5" y="0"/>
                  </a:lnTo>
                  <a:lnTo>
                    <a:pt x="49" y="32"/>
                  </a:lnTo>
                  <a:lnTo>
                    <a:pt x="18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84" name="Freeform 332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943723" y="3563938"/>
              <a:ext cx="73025" cy="26987"/>
            </a:xfrm>
            <a:custGeom>
              <a:avLst/>
              <a:gdLst>
                <a:gd name="T0" fmla="*/ 0 w 49"/>
                <a:gd name="T1" fmla="*/ 2147483647 h 32"/>
                <a:gd name="T2" fmla="*/ 2147483647 w 49"/>
                <a:gd name="T3" fmla="*/ 0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0 w 49"/>
                <a:gd name="T9" fmla="*/ 2147483647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2">
                  <a:moveTo>
                    <a:pt x="0" y="32"/>
                  </a:moveTo>
                  <a:lnTo>
                    <a:pt x="5" y="0"/>
                  </a:lnTo>
                  <a:lnTo>
                    <a:pt x="49" y="32"/>
                  </a:lnTo>
                  <a:lnTo>
                    <a:pt x="18" y="32"/>
                  </a:lnTo>
                  <a:lnTo>
                    <a:pt x="0" y="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85" name="Freeform 333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4943723" y="3563938"/>
              <a:ext cx="73025" cy="26987"/>
            </a:xfrm>
            <a:custGeom>
              <a:avLst/>
              <a:gdLst>
                <a:gd name="T0" fmla="*/ 0 w 49"/>
                <a:gd name="T1" fmla="*/ 2147483647 h 32"/>
                <a:gd name="T2" fmla="*/ 2147483647 w 49"/>
                <a:gd name="T3" fmla="*/ 0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0 w 49"/>
                <a:gd name="T9" fmla="*/ 2147483647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2">
                  <a:moveTo>
                    <a:pt x="0" y="32"/>
                  </a:moveTo>
                  <a:lnTo>
                    <a:pt x="5" y="0"/>
                  </a:lnTo>
                  <a:lnTo>
                    <a:pt x="49" y="32"/>
                  </a:lnTo>
                  <a:lnTo>
                    <a:pt x="18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86" name="Freeform 334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4943723" y="3563938"/>
              <a:ext cx="73025" cy="26987"/>
            </a:xfrm>
            <a:custGeom>
              <a:avLst/>
              <a:gdLst>
                <a:gd name="T0" fmla="*/ 0 w 49"/>
                <a:gd name="T1" fmla="*/ 2147483647 h 32"/>
                <a:gd name="T2" fmla="*/ 2147483647 w 49"/>
                <a:gd name="T3" fmla="*/ 0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0 w 49"/>
                <a:gd name="T9" fmla="*/ 2147483647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2">
                  <a:moveTo>
                    <a:pt x="0" y="32"/>
                  </a:moveTo>
                  <a:lnTo>
                    <a:pt x="5" y="0"/>
                  </a:lnTo>
                  <a:lnTo>
                    <a:pt x="49" y="32"/>
                  </a:lnTo>
                  <a:lnTo>
                    <a:pt x="18" y="32"/>
                  </a:lnTo>
                  <a:lnTo>
                    <a:pt x="0" y="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87" name="Freeform 335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2117973" y="4041775"/>
              <a:ext cx="90488" cy="106363"/>
            </a:xfrm>
            <a:custGeom>
              <a:avLst/>
              <a:gdLst>
                <a:gd name="T0" fmla="*/ 0 w 62"/>
                <a:gd name="T1" fmla="*/ 2147483647 h 134"/>
                <a:gd name="T2" fmla="*/ 2147483647 w 62"/>
                <a:gd name="T3" fmla="*/ 2147483647 h 134"/>
                <a:gd name="T4" fmla="*/ 2147483647 w 62"/>
                <a:gd name="T5" fmla="*/ 2147483647 h 134"/>
                <a:gd name="T6" fmla="*/ 2147483647 w 62"/>
                <a:gd name="T7" fmla="*/ 2147483647 h 134"/>
                <a:gd name="T8" fmla="*/ 2147483647 w 62"/>
                <a:gd name="T9" fmla="*/ 0 h 134"/>
                <a:gd name="T10" fmla="*/ 2147483647 w 62"/>
                <a:gd name="T11" fmla="*/ 2147483647 h 134"/>
                <a:gd name="T12" fmla="*/ 2147483647 w 62"/>
                <a:gd name="T13" fmla="*/ 2147483647 h 134"/>
                <a:gd name="T14" fmla="*/ 2147483647 w 62"/>
                <a:gd name="T15" fmla="*/ 2147483647 h 134"/>
                <a:gd name="T16" fmla="*/ 2147483647 w 62"/>
                <a:gd name="T17" fmla="*/ 2147483647 h 134"/>
                <a:gd name="T18" fmla="*/ 0 w 62"/>
                <a:gd name="T19" fmla="*/ 2147483647 h 1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2" h="134">
                  <a:moveTo>
                    <a:pt x="0" y="111"/>
                  </a:moveTo>
                  <a:lnTo>
                    <a:pt x="12" y="55"/>
                  </a:lnTo>
                  <a:lnTo>
                    <a:pt x="31" y="55"/>
                  </a:lnTo>
                  <a:lnTo>
                    <a:pt x="12" y="11"/>
                  </a:lnTo>
                  <a:lnTo>
                    <a:pt x="50" y="0"/>
                  </a:lnTo>
                  <a:lnTo>
                    <a:pt x="57" y="67"/>
                  </a:lnTo>
                  <a:lnTo>
                    <a:pt x="62" y="67"/>
                  </a:lnTo>
                  <a:lnTo>
                    <a:pt x="50" y="111"/>
                  </a:lnTo>
                  <a:lnTo>
                    <a:pt x="38" y="134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88" name="Freeform 336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2117973" y="4041775"/>
              <a:ext cx="90488" cy="106363"/>
            </a:xfrm>
            <a:custGeom>
              <a:avLst/>
              <a:gdLst>
                <a:gd name="T0" fmla="*/ 0 w 62"/>
                <a:gd name="T1" fmla="*/ 2147483647 h 134"/>
                <a:gd name="T2" fmla="*/ 2147483647 w 62"/>
                <a:gd name="T3" fmla="*/ 2147483647 h 134"/>
                <a:gd name="T4" fmla="*/ 2147483647 w 62"/>
                <a:gd name="T5" fmla="*/ 2147483647 h 134"/>
                <a:gd name="T6" fmla="*/ 2147483647 w 62"/>
                <a:gd name="T7" fmla="*/ 2147483647 h 134"/>
                <a:gd name="T8" fmla="*/ 2147483647 w 62"/>
                <a:gd name="T9" fmla="*/ 0 h 134"/>
                <a:gd name="T10" fmla="*/ 2147483647 w 62"/>
                <a:gd name="T11" fmla="*/ 2147483647 h 134"/>
                <a:gd name="T12" fmla="*/ 2147483647 w 62"/>
                <a:gd name="T13" fmla="*/ 2147483647 h 134"/>
                <a:gd name="T14" fmla="*/ 2147483647 w 62"/>
                <a:gd name="T15" fmla="*/ 2147483647 h 134"/>
                <a:gd name="T16" fmla="*/ 2147483647 w 62"/>
                <a:gd name="T17" fmla="*/ 2147483647 h 134"/>
                <a:gd name="T18" fmla="*/ 0 w 62"/>
                <a:gd name="T19" fmla="*/ 2147483647 h 1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2" h="134">
                  <a:moveTo>
                    <a:pt x="0" y="111"/>
                  </a:moveTo>
                  <a:lnTo>
                    <a:pt x="12" y="55"/>
                  </a:lnTo>
                  <a:lnTo>
                    <a:pt x="31" y="55"/>
                  </a:lnTo>
                  <a:lnTo>
                    <a:pt x="12" y="11"/>
                  </a:lnTo>
                  <a:lnTo>
                    <a:pt x="50" y="0"/>
                  </a:lnTo>
                  <a:lnTo>
                    <a:pt x="57" y="67"/>
                  </a:lnTo>
                  <a:lnTo>
                    <a:pt x="62" y="67"/>
                  </a:lnTo>
                  <a:lnTo>
                    <a:pt x="50" y="111"/>
                  </a:lnTo>
                  <a:lnTo>
                    <a:pt x="38" y="134"/>
                  </a:lnTo>
                  <a:lnTo>
                    <a:pt x="0" y="1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89" name="Freeform 337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2117973" y="4041775"/>
              <a:ext cx="90488" cy="106363"/>
            </a:xfrm>
            <a:custGeom>
              <a:avLst/>
              <a:gdLst>
                <a:gd name="T0" fmla="*/ 0 w 62"/>
                <a:gd name="T1" fmla="*/ 2147483647 h 134"/>
                <a:gd name="T2" fmla="*/ 2147483647 w 62"/>
                <a:gd name="T3" fmla="*/ 2147483647 h 134"/>
                <a:gd name="T4" fmla="*/ 2147483647 w 62"/>
                <a:gd name="T5" fmla="*/ 2147483647 h 134"/>
                <a:gd name="T6" fmla="*/ 2147483647 w 62"/>
                <a:gd name="T7" fmla="*/ 2147483647 h 134"/>
                <a:gd name="T8" fmla="*/ 2147483647 w 62"/>
                <a:gd name="T9" fmla="*/ 0 h 134"/>
                <a:gd name="T10" fmla="*/ 2147483647 w 62"/>
                <a:gd name="T11" fmla="*/ 2147483647 h 134"/>
                <a:gd name="T12" fmla="*/ 2147483647 w 62"/>
                <a:gd name="T13" fmla="*/ 2147483647 h 134"/>
                <a:gd name="T14" fmla="*/ 2147483647 w 62"/>
                <a:gd name="T15" fmla="*/ 2147483647 h 134"/>
                <a:gd name="T16" fmla="*/ 2147483647 w 62"/>
                <a:gd name="T17" fmla="*/ 2147483647 h 134"/>
                <a:gd name="T18" fmla="*/ 0 w 62"/>
                <a:gd name="T19" fmla="*/ 2147483647 h 1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2" h="134">
                  <a:moveTo>
                    <a:pt x="0" y="111"/>
                  </a:moveTo>
                  <a:lnTo>
                    <a:pt x="12" y="55"/>
                  </a:lnTo>
                  <a:lnTo>
                    <a:pt x="31" y="55"/>
                  </a:lnTo>
                  <a:lnTo>
                    <a:pt x="12" y="11"/>
                  </a:lnTo>
                  <a:lnTo>
                    <a:pt x="50" y="0"/>
                  </a:lnTo>
                  <a:lnTo>
                    <a:pt x="57" y="67"/>
                  </a:lnTo>
                  <a:lnTo>
                    <a:pt x="62" y="67"/>
                  </a:lnTo>
                  <a:lnTo>
                    <a:pt x="50" y="111"/>
                  </a:lnTo>
                  <a:lnTo>
                    <a:pt x="38" y="134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90" name="Freeform 338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2117973" y="4041775"/>
              <a:ext cx="90488" cy="106363"/>
            </a:xfrm>
            <a:custGeom>
              <a:avLst/>
              <a:gdLst>
                <a:gd name="T0" fmla="*/ 0 w 62"/>
                <a:gd name="T1" fmla="*/ 2147483647 h 134"/>
                <a:gd name="T2" fmla="*/ 2147483647 w 62"/>
                <a:gd name="T3" fmla="*/ 2147483647 h 134"/>
                <a:gd name="T4" fmla="*/ 2147483647 w 62"/>
                <a:gd name="T5" fmla="*/ 2147483647 h 134"/>
                <a:gd name="T6" fmla="*/ 2147483647 w 62"/>
                <a:gd name="T7" fmla="*/ 2147483647 h 134"/>
                <a:gd name="T8" fmla="*/ 2147483647 w 62"/>
                <a:gd name="T9" fmla="*/ 0 h 134"/>
                <a:gd name="T10" fmla="*/ 2147483647 w 62"/>
                <a:gd name="T11" fmla="*/ 2147483647 h 134"/>
                <a:gd name="T12" fmla="*/ 2147483647 w 62"/>
                <a:gd name="T13" fmla="*/ 2147483647 h 134"/>
                <a:gd name="T14" fmla="*/ 2147483647 w 62"/>
                <a:gd name="T15" fmla="*/ 2147483647 h 134"/>
                <a:gd name="T16" fmla="*/ 2147483647 w 62"/>
                <a:gd name="T17" fmla="*/ 2147483647 h 134"/>
                <a:gd name="T18" fmla="*/ 0 w 62"/>
                <a:gd name="T19" fmla="*/ 2147483647 h 1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2" h="134">
                  <a:moveTo>
                    <a:pt x="0" y="111"/>
                  </a:moveTo>
                  <a:lnTo>
                    <a:pt x="12" y="55"/>
                  </a:lnTo>
                  <a:lnTo>
                    <a:pt x="31" y="55"/>
                  </a:lnTo>
                  <a:lnTo>
                    <a:pt x="12" y="11"/>
                  </a:lnTo>
                  <a:lnTo>
                    <a:pt x="50" y="0"/>
                  </a:lnTo>
                  <a:lnTo>
                    <a:pt x="57" y="67"/>
                  </a:lnTo>
                  <a:lnTo>
                    <a:pt x="62" y="67"/>
                  </a:lnTo>
                  <a:lnTo>
                    <a:pt x="50" y="111"/>
                  </a:lnTo>
                  <a:lnTo>
                    <a:pt x="38" y="134"/>
                  </a:lnTo>
                  <a:lnTo>
                    <a:pt x="0" y="1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91" name="Freeform 339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2822823" y="4289425"/>
              <a:ext cx="111125" cy="177800"/>
            </a:xfrm>
            <a:custGeom>
              <a:avLst/>
              <a:gdLst>
                <a:gd name="T0" fmla="*/ 0 w 76"/>
                <a:gd name="T1" fmla="*/ 2147483647 h 223"/>
                <a:gd name="T2" fmla="*/ 2147483647 w 76"/>
                <a:gd name="T3" fmla="*/ 2147483647 h 223"/>
                <a:gd name="T4" fmla="*/ 2147483647 w 76"/>
                <a:gd name="T5" fmla="*/ 2147483647 h 223"/>
                <a:gd name="T6" fmla="*/ 2147483647 w 76"/>
                <a:gd name="T7" fmla="*/ 2147483647 h 223"/>
                <a:gd name="T8" fmla="*/ 2147483647 w 76"/>
                <a:gd name="T9" fmla="*/ 2147483647 h 223"/>
                <a:gd name="T10" fmla="*/ 2147483647 w 76"/>
                <a:gd name="T11" fmla="*/ 2147483647 h 223"/>
                <a:gd name="T12" fmla="*/ 2147483647 w 76"/>
                <a:gd name="T13" fmla="*/ 2147483647 h 223"/>
                <a:gd name="T14" fmla="*/ 2147483647 w 76"/>
                <a:gd name="T15" fmla="*/ 2147483647 h 223"/>
                <a:gd name="T16" fmla="*/ 2147483647 w 76"/>
                <a:gd name="T17" fmla="*/ 0 h 223"/>
                <a:gd name="T18" fmla="*/ 2147483647 w 76"/>
                <a:gd name="T19" fmla="*/ 2147483647 h 223"/>
                <a:gd name="T20" fmla="*/ 2147483647 w 76"/>
                <a:gd name="T21" fmla="*/ 2147483647 h 223"/>
                <a:gd name="T22" fmla="*/ 0 w 76"/>
                <a:gd name="T23" fmla="*/ 2147483647 h 2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6" h="223">
                  <a:moveTo>
                    <a:pt x="0" y="65"/>
                  </a:moveTo>
                  <a:lnTo>
                    <a:pt x="13" y="100"/>
                  </a:lnTo>
                  <a:lnTo>
                    <a:pt x="31" y="123"/>
                  </a:lnTo>
                  <a:lnTo>
                    <a:pt x="26" y="188"/>
                  </a:lnTo>
                  <a:lnTo>
                    <a:pt x="31" y="223"/>
                  </a:lnTo>
                  <a:lnTo>
                    <a:pt x="76" y="200"/>
                  </a:lnTo>
                  <a:lnTo>
                    <a:pt x="50" y="132"/>
                  </a:lnTo>
                  <a:lnTo>
                    <a:pt x="69" y="79"/>
                  </a:lnTo>
                  <a:lnTo>
                    <a:pt x="26" y="0"/>
                  </a:lnTo>
                  <a:lnTo>
                    <a:pt x="13" y="21"/>
                  </a:lnTo>
                  <a:lnTo>
                    <a:pt x="19" y="44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92" name="Freeform 340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2822823" y="4289425"/>
              <a:ext cx="111125" cy="177800"/>
            </a:xfrm>
            <a:custGeom>
              <a:avLst/>
              <a:gdLst>
                <a:gd name="T0" fmla="*/ 0 w 76"/>
                <a:gd name="T1" fmla="*/ 2147483647 h 223"/>
                <a:gd name="T2" fmla="*/ 2147483647 w 76"/>
                <a:gd name="T3" fmla="*/ 2147483647 h 223"/>
                <a:gd name="T4" fmla="*/ 2147483647 w 76"/>
                <a:gd name="T5" fmla="*/ 2147483647 h 223"/>
                <a:gd name="T6" fmla="*/ 2147483647 w 76"/>
                <a:gd name="T7" fmla="*/ 2147483647 h 223"/>
                <a:gd name="T8" fmla="*/ 2147483647 w 76"/>
                <a:gd name="T9" fmla="*/ 2147483647 h 223"/>
                <a:gd name="T10" fmla="*/ 2147483647 w 76"/>
                <a:gd name="T11" fmla="*/ 2147483647 h 223"/>
                <a:gd name="T12" fmla="*/ 2147483647 w 76"/>
                <a:gd name="T13" fmla="*/ 2147483647 h 223"/>
                <a:gd name="T14" fmla="*/ 2147483647 w 76"/>
                <a:gd name="T15" fmla="*/ 2147483647 h 223"/>
                <a:gd name="T16" fmla="*/ 2147483647 w 76"/>
                <a:gd name="T17" fmla="*/ 0 h 223"/>
                <a:gd name="T18" fmla="*/ 2147483647 w 76"/>
                <a:gd name="T19" fmla="*/ 2147483647 h 223"/>
                <a:gd name="T20" fmla="*/ 2147483647 w 76"/>
                <a:gd name="T21" fmla="*/ 2147483647 h 223"/>
                <a:gd name="T22" fmla="*/ 0 w 76"/>
                <a:gd name="T23" fmla="*/ 2147483647 h 2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6" h="223">
                  <a:moveTo>
                    <a:pt x="0" y="65"/>
                  </a:moveTo>
                  <a:lnTo>
                    <a:pt x="13" y="100"/>
                  </a:lnTo>
                  <a:lnTo>
                    <a:pt x="31" y="123"/>
                  </a:lnTo>
                  <a:lnTo>
                    <a:pt x="26" y="188"/>
                  </a:lnTo>
                  <a:lnTo>
                    <a:pt x="31" y="223"/>
                  </a:lnTo>
                  <a:lnTo>
                    <a:pt x="76" y="200"/>
                  </a:lnTo>
                  <a:lnTo>
                    <a:pt x="50" y="132"/>
                  </a:lnTo>
                  <a:lnTo>
                    <a:pt x="69" y="79"/>
                  </a:lnTo>
                  <a:lnTo>
                    <a:pt x="26" y="0"/>
                  </a:lnTo>
                  <a:lnTo>
                    <a:pt x="13" y="21"/>
                  </a:lnTo>
                  <a:lnTo>
                    <a:pt x="19" y="44"/>
                  </a:lnTo>
                  <a:lnTo>
                    <a:pt x="0" y="6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93" name="Freeform 341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2822823" y="4289425"/>
              <a:ext cx="111125" cy="177800"/>
            </a:xfrm>
            <a:custGeom>
              <a:avLst/>
              <a:gdLst>
                <a:gd name="T0" fmla="*/ 0 w 76"/>
                <a:gd name="T1" fmla="*/ 2147483647 h 223"/>
                <a:gd name="T2" fmla="*/ 2147483647 w 76"/>
                <a:gd name="T3" fmla="*/ 2147483647 h 223"/>
                <a:gd name="T4" fmla="*/ 2147483647 w 76"/>
                <a:gd name="T5" fmla="*/ 2147483647 h 223"/>
                <a:gd name="T6" fmla="*/ 2147483647 w 76"/>
                <a:gd name="T7" fmla="*/ 2147483647 h 223"/>
                <a:gd name="T8" fmla="*/ 2147483647 w 76"/>
                <a:gd name="T9" fmla="*/ 2147483647 h 223"/>
                <a:gd name="T10" fmla="*/ 2147483647 w 76"/>
                <a:gd name="T11" fmla="*/ 2147483647 h 223"/>
                <a:gd name="T12" fmla="*/ 2147483647 w 76"/>
                <a:gd name="T13" fmla="*/ 2147483647 h 223"/>
                <a:gd name="T14" fmla="*/ 2147483647 w 76"/>
                <a:gd name="T15" fmla="*/ 2147483647 h 223"/>
                <a:gd name="T16" fmla="*/ 2147483647 w 76"/>
                <a:gd name="T17" fmla="*/ 0 h 223"/>
                <a:gd name="T18" fmla="*/ 2147483647 w 76"/>
                <a:gd name="T19" fmla="*/ 2147483647 h 223"/>
                <a:gd name="T20" fmla="*/ 2147483647 w 76"/>
                <a:gd name="T21" fmla="*/ 2147483647 h 223"/>
                <a:gd name="T22" fmla="*/ 0 w 76"/>
                <a:gd name="T23" fmla="*/ 2147483647 h 2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6" h="223">
                  <a:moveTo>
                    <a:pt x="0" y="65"/>
                  </a:moveTo>
                  <a:lnTo>
                    <a:pt x="13" y="100"/>
                  </a:lnTo>
                  <a:lnTo>
                    <a:pt x="31" y="123"/>
                  </a:lnTo>
                  <a:lnTo>
                    <a:pt x="26" y="188"/>
                  </a:lnTo>
                  <a:lnTo>
                    <a:pt x="31" y="223"/>
                  </a:lnTo>
                  <a:lnTo>
                    <a:pt x="76" y="200"/>
                  </a:lnTo>
                  <a:lnTo>
                    <a:pt x="50" y="132"/>
                  </a:lnTo>
                  <a:lnTo>
                    <a:pt x="69" y="79"/>
                  </a:lnTo>
                  <a:lnTo>
                    <a:pt x="26" y="0"/>
                  </a:lnTo>
                  <a:lnTo>
                    <a:pt x="13" y="21"/>
                  </a:lnTo>
                  <a:lnTo>
                    <a:pt x="19" y="44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94" name="Freeform 342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2822823" y="4289425"/>
              <a:ext cx="111125" cy="177800"/>
            </a:xfrm>
            <a:custGeom>
              <a:avLst/>
              <a:gdLst>
                <a:gd name="T0" fmla="*/ 0 w 76"/>
                <a:gd name="T1" fmla="*/ 2147483647 h 223"/>
                <a:gd name="T2" fmla="*/ 2147483647 w 76"/>
                <a:gd name="T3" fmla="*/ 2147483647 h 223"/>
                <a:gd name="T4" fmla="*/ 2147483647 w 76"/>
                <a:gd name="T5" fmla="*/ 2147483647 h 223"/>
                <a:gd name="T6" fmla="*/ 2147483647 w 76"/>
                <a:gd name="T7" fmla="*/ 2147483647 h 223"/>
                <a:gd name="T8" fmla="*/ 2147483647 w 76"/>
                <a:gd name="T9" fmla="*/ 2147483647 h 223"/>
                <a:gd name="T10" fmla="*/ 2147483647 w 76"/>
                <a:gd name="T11" fmla="*/ 2147483647 h 223"/>
                <a:gd name="T12" fmla="*/ 2147483647 w 76"/>
                <a:gd name="T13" fmla="*/ 2147483647 h 223"/>
                <a:gd name="T14" fmla="*/ 2147483647 w 76"/>
                <a:gd name="T15" fmla="*/ 2147483647 h 223"/>
                <a:gd name="T16" fmla="*/ 2147483647 w 76"/>
                <a:gd name="T17" fmla="*/ 0 h 223"/>
                <a:gd name="T18" fmla="*/ 2147483647 w 76"/>
                <a:gd name="T19" fmla="*/ 2147483647 h 223"/>
                <a:gd name="T20" fmla="*/ 2147483647 w 76"/>
                <a:gd name="T21" fmla="*/ 2147483647 h 223"/>
                <a:gd name="T22" fmla="*/ 0 w 76"/>
                <a:gd name="T23" fmla="*/ 2147483647 h 2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6" h="223">
                  <a:moveTo>
                    <a:pt x="0" y="65"/>
                  </a:moveTo>
                  <a:lnTo>
                    <a:pt x="13" y="100"/>
                  </a:lnTo>
                  <a:lnTo>
                    <a:pt x="31" y="123"/>
                  </a:lnTo>
                  <a:lnTo>
                    <a:pt x="26" y="188"/>
                  </a:lnTo>
                  <a:lnTo>
                    <a:pt x="31" y="223"/>
                  </a:lnTo>
                  <a:lnTo>
                    <a:pt x="76" y="200"/>
                  </a:lnTo>
                  <a:lnTo>
                    <a:pt x="50" y="132"/>
                  </a:lnTo>
                  <a:lnTo>
                    <a:pt x="69" y="79"/>
                  </a:lnTo>
                  <a:lnTo>
                    <a:pt x="26" y="0"/>
                  </a:lnTo>
                  <a:lnTo>
                    <a:pt x="13" y="21"/>
                  </a:lnTo>
                  <a:lnTo>
                    <a:pt x="19" y="44"/>
                  </a:lnTo>
                  <a:lnTo>
                    <a:pt x="0" y="6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95" name="Freeform 343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2529136" y="3987800"/>
              <a:ext cx="55562" cy="44450"/>
            </a:xfrm>
            <a:custGeom>
              <a:avLst/>
              <a:gdLst>
                <a:gd name="T0" fmla="*/ 0 w 38"/>
                <a:gd name="T1" fmla="*/ 2147483647 h 55"/>
                <a:gd name="T2" fmla="*/ 2147483647 w 38"/>
                <a:gd name="T3" fmla="*/ 2147483647 h 55"/>
                <a:gd name="T4" fmla="*/ 2147483647 w 38"/>
                <a:gd name="T5" fmla="*/ 2147483647 h 55"/>
                <a:gd name="T6" fmla="*/ 2147483647 w 38"/>
                <a:gd name="T7" fmla="*/ 0 h 55"/>
                <a:gd name="T8" fmla="*/ 2147483647 w 38"/>
                <a:gd name="T9" fmla="*/ 2147483647 h 55"/>
                <a:gd name="T10" fmla="*/ 0 w 38"/>
                <a:gd name="T11" fmla="*/ 2147483647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55">
                  <a:moveTo>
                    <a:pt x="0" y="46"/>
                  </a:moveTo>
                  <a:lnTo>
                    <a:pt x="32" y="46"/>
                  </a:lnTo>
                  <a:lnTo>
                    <a:pt x="12" y="11"/>
                  </a:lnTo>
                  <a:lnTo>
                    <a:pt x="38" y="0"/>
                  </a:lnTo>
                  <a:lnTo>
                    <a:pt x="38" y="55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96" name="Freeform 344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2529136" y="3987800"/>
              <a:ext cx="55562" cy="44450"/>
            </a:xfrm>
            <a:custGeom>
              <a:avLst/>
              <a:gdLst>
                <a:gd name="T0" fmla="*/ 0 w 38"/>
                <a:gd name="T1" fmla="*/ 2147483647 h 55"/>
                <a:gd name="T2" fmla="*/ 2147483647 w 38"/>
                <a:gd name="T3" fmla="*/ 2147483647 h 55"/>
                <a:gd name="T4" fmla="*/ 2147483647 w 38"/>
                <a:gd name="T5" fmla="*/ 2147483647 h 55"/>
                <a:gd name="T6" fmla="*/ 2147483647 w 38"/>
                <a:gd name="T7" fmla="*/ 0 h 55"/>
                <a:gd name="T8" fmla="*/ 2147483647 w 38"/>
                <a:gd name="T9" fmla="*/ 2147483647 h 55"/>
                <a:gd name="T10" fmla="*/ 0 w 38"/>
                <a:gd name="T11" fmla="*/ 2147483647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55">
                  <a:moveTo>
                    <a:pt x="0" y="46"/>
                  </a:moveTo>
                  <a:lnTo>
                    <a:pt x="32" y="46"/>
                  </a:lnTo>
                  <a:lnTo>
                    <a:pt x="12" y="11"/>
                  </a:lnTo>
                  <a:lnTo>
                    <a:pt x="38" y="0"/>
                  </a:lnTo>
                  <a:lnTo>
                    <a:pt x="38" y="55"/>
                  </a:lnTo>
                  <a:lnTo>
                    <a:pt x="0" y="4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97" name="Freeform 345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2529136" y="3987800"/>
              <a:ext cx="55562" cy="44450"/>
            </a:xfrm>
            <a:custGeom>
              <a:avLst/>
              <a:gdLst>
                <a:gd name="T0" fmla="*/ 0 w 38"/>
                <a:gd name="T1" fmla="*/ 2147483647 h 55"/>
                <a:gd name="T2" fmla="*/ 2147483647 w 38"/>
                <a:gd name="T3" fmla="*/ 2147483647 h 55"/>
                <a:gd name="T4" fmla="*/ 2147483647 w 38"/>
                <a:gd name="T5" fmla="*/ 2147483647 h 55"/>
                <a:gd name="T6" fmla="*/ 2147483647 w 38"/>
                <a:gd name="T7" fmla="*/ 0 h 55"/>
                <a:gd name="T8" fmla="*/ 2147483647 w 38"/>
                <a:gd name="T9" fmla="*/ 2147483647 h 55"/>
                <a:gd name="T10" fmla="*/ 0 w 38"/>
                <a:gd name="T11" fmla="*/ 2147483647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55">
                  <a:moveTo>
                    <a:pt x="0" y="46"/>
                  </a:moveTo>
                  <a:lnTo>
                    <a:pt x="32" y="46"/>
                  </a:lnTo>
                  <a:lnTo>
                    <a:pt x="12" y="11"/>
                  </a:lnTo>
                  <a:lnTo>
                    <a:pt x="38" y="0"/>
                  </a:lnTo>
                  <a:lnTo>
                    <a:pt x="38" y="55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98" name="Freeform 346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2529136" y="3987800"/>
              <a:ext cx="55562" cy="44450"/>
            </a:xfrm>
            <a:custGeom>
              <a:avLst/>
              <a:gdLst>
                <a:gd name="T0" fmla="*/ 0 w 38"/>
                <a:gd name="T1" fmla="*/ 2147483647 h 55"/>
                <a:gd name="T2" fmla="*/ 2147483647 w 38"/>
                <a:gd name="T3" fmla="*/ 2147483647 h 55"/>
                <a:gd name="T4" fmla="*/ 2147483647 w 38"/>
                <a:gd name="T5" fmla="*/ 2147483647 h 55"/>
                <a:gd name="T6" fmla="*/ 2147483647 w 38"/>
                <a:gd name="T7" fmla="*/ 0 h 55"/>
                <a:gd name="T8" fmla="*/ 2147483647 w 38"/>
                <a:gd name="T9" fmla="*/ 2147483647 h 55"/>
                <a:gd name="T10" fmla="*/ 0 w 38"/>
                <a:gd name="T11" fmla="*/ 2147483647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55">
                  <a:moveTo>
                    <a:pt x="0" y="46"/>
                  </a:moveTo>
                  <a:lnTo>
                    <a:pt x="32" y="46"/>
                  </a:lnTo>
                  <a:lnTo>
                    <a:pt x="12" y="11"/>
                  </a:lnTo>
                  <a:lnTo>
                    <a:pt x="38" y="0"/>
                  </a:lnTo>
                  <a:lnTo>
                    <a:pt x="38" y="55"/>
                  </a:lnTo>
                  <a:lnTo>
                    <a:pt x="0" y="4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299" name="Freeform 347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2181473" y="4094163"/>
              <a:ext cx="136525" cy="79375"/>
            </a:xfrm>
            <a:custGeom>
              <a:avLst/>
              <a:gdLst>
                <a:gd name="T0" fmla="*/ 0 w 93"/>
                <a:gd name="T1" fmla="*/ 2147483647 h 100"/>
                <a:gd name="T2" fmla="*/ 2147483647 w 93"/>
                <a:gd name="T3" fmla="*/ 0 h 100"/>
                <a:gd name="T4" fmla="*/ 2147483647 w 93"/>
                <a:gd name="T5" fmla="*/ 0 h 100"/>
                <a:gd name="T6" fmla="*/ 2147483647 w 93"/>
                <a:gd name="T7" fmla="*/ 2147483647 h 100"/>
                <a:gd name="T8" fmla="*/ 2147483647 w 93"/>
                <a:gd name="T9" fmla="*/ 2147483647 h 100"/>
                <a:gd name="T10" fmla="*/ 2147483647 w 93"/>
                <a:gd name="T11" fmla="*/ 2147483647 h 100"/>
                <a:gd name="T12" fmla="*/ 2147483647 w 93"/>
                <a:gd name="T13" fmla="*/ 2147483647 h 100"/>
                <a:gd name="T14" fmla="*/ 0 w 93"/>
                <a:gd name="T15" fmla="*/ 2147483647 h 1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3" h="100">
                  <a:moveTo>
                    <a:pt x="0" y="44"/>
                  </a:moveTo>
                  <a:lnTo>
                    <a:pt x="18" y="0"/>
                  </a:lnTo>
                  <a:lnTo>
                    <a:pt x="69" y="0"/>
                  </a:lnTo>
                  <a:lnTo>
                    <a:pt x="93" y="35"/>
                  </a:lnTo>
                  <a:lnTo>
                    <a:pt x="74" y="35"/>
                  </a:lnTo>
                  <a:lnTo>
                    <a:pt x="37" y="100"/>
                  </a:lnTo>
                  <a:lnTo>
                    <a:pt x="25" y="79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00" name="Freeform 348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2181473" y="4094163"/>
              <a:ext cx="136525" cy="79375"/>
            </a:xfrm>
            <a:custGeom>
              <a:avLst/>
              <a:gdLst>
                <a:gd name="T0" fmla="*/ 0 w 93"/>
                <a:gd name="T1" fmla="*/ 2147483647 h 100"/>
                <a:gd name="T2" fmla="*/ 2147483647 w 93"/>
                <a:gd name="T3" fmla="*/ 0 h 100"/>
                <a:gd name="T4" fmla="*/ 2147483647 w 93"/>
                <a:gd name="T5" fmla="*/ 0 h 100"/>
                <a:gd name="T6" fmla="*/ 2147483647 w 93"/>
                <a:gd name="T7" fmla="*/ 2147483647 h 100"/>
                <a:gd name="T8" fmla="*/ 2147483647 w 93"/>
                <a:gd name="T9" fmla="*/ 2147483647 h 100"/>
                <a:gd name="T10" fmla="*/ 2147483647 w 93"/>
                <a:gd name="T11" fmla="*/ 2147483647 h 100"/>
                <a:gd name="T12" fmla="*/ 2147483647 w 93"/>
                <a:gd name="T13" fmla="*/ 2147483647 h 100"/>
                <a:gd name="T14" fmla="*/ 0 w 93"/>
                <a:gd name="T15" fmla="*/ 2147483647 h 1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3" h="100">
                  <a:moveTo>
                    <a:pt x="0" y="44"/>
                  </a:moveTo>
                  <a:lnTo>
                    <a:pt x="18" y="0"/>
                  </a:lnTo>
                  <a:lnTo>
                    <a:pt x="69" y="0"/>
                  </a:lnTo>
                  <a:lnTo>
                    <a:pt x="93" y="35"/>
                  </a:lnTo>
                  <a:lnTo>
                    <a:pt x="74" y="35"/>
                  </a:lnTo>
                  <a:lnTo>
                    <a:pt x="37" y="100"/>
                  </a:lnTo>
                  <a:lnTo>
                    <a:pt x="25" y="79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01" name="Freeform 349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2181473" y="4094163"/>
              <a:ext cx="136525" cy="79375"/>
            </a:xfrm>
            <a:custGeom>
              <a:avLst/>
              <a:gdLst>
                <a:gd name="T0" fmla="*/ 0 w 93"/>
                <a:gd name="T1" fmla="*/ 2147483647 h 100"/>
                <a:gd name="T2" fmla="*/ 2147483647 w 93"/>
                <a:gd name="T3" fmla="*/ 0 h 100"/>
                <a:gd name="T4" fmla="*/ 2147483647 w 93"/>
                <a:gd name="T5" fmla="*/ 0 h 100"/>
                <a:gd name="T6" fmla="*/ 2147483647 w 93"/>
                <a:gd name="T7" fmla="*/ 2147483647 h 100"/>
                <a:gd name="T8" fmla="*/ 2147483647 w 93"/>
                <a:gd name="T9" fmla="*/ 2147483647 h 100"/>
                <a:gd name="T10" fmla="*/ 2147483647 w 93"/>
                <a:gd name="T11" fmla="*/ 2147483647 h 100"/>
                <a:gd name="T12" fmla="*/ 2147483647 w 93"/>
                <a:gd name="T13" fmla="*/ 2147483647 h 100"/>
                <a:gd name="T14" fmla="*/ 0 w 93"/>
                <a:gd name="T15" fmla="*/ 2147483647 h 1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3" h="100">
                  <a:moveTo>
                    <a:pt x="0" y="44"/>
                  </a:moveTo>
                  <a:lnTo>
                    <a:pt x="18" y="0"/>
                  </a:lnTo>
                  <a:lnTo>
                    <a:pt x="69" y="0"/>
                  </a:lnTo>
                  <a:lnTo>
                    <a:pt x="93" y="35"/>
                  </a:lnTo>
                  <a:lnTo>
                    <a:pt x="74" y="35"/>
                  </a:lnTo>
                  <a:lnTo>
                    <a:pt x="37" y="100"/>
                  </a:lnTo>
                  <a:lnTo>
                    <a:pt x="25" y="79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02" name="Freeform 350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2181473" y="4094163"/>
              <a:ext cx="136525" cy="79375"/>
            </a:xfrm>
            <a:custGeom>
              <a:avLst/>
              <a:gdLst>
                <a:gd name="T0" fmla="*/ 0 w 93"/>
                <a:gd name="T1" fmla="*/ 2147483647 h 100"/>
                <a:gd name="T2" fmla="*/ 2147483647 w 93"/>
                <a:gd name="T3" fmla="*/ 0 h 100"/>
                <a:gd name="T4" fmla="*/ 2147483647 w 93"/>
                <a:gd name="T5" fmla="*/ 0 h 100"/>
                <a:gd name="T6" fmla="*/ 2147483647 w 93"/>
                <a:gd name="T7" fmla="*/ 2147483647 h 100"/>
                <a:gd name="T8" fmla="*/ 2147483647 w 93"/>
                <a:gd name="T9" fmla="*/ 2147483647 h 100"/>
                <a:gd name="T10" fmla="*/ 2147483647 w 93"/>
                <a:gd name="T11" fmla="*/ 2147483647 h 100"/>
                <a:gd name="T12" fmla="*/ 2147483647 w 93"/>
                <a:gd name="T13" fmla="*/ 2147483647 h 100"/>
                <a:gd name="T14" fmla="*/ 0 w 93"/>
                <a:gd name="T15" fmla="*/ 2147483647 h 1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3" h="100">
                  <a:moveTo>
                    <a:pt x="0" y="44"/>
                  </a:moveTo>
                  <a:lnTo>
                    <a:pt x="18" y="0"/>
                  </a:lnTo>
                  <a:lnTo>
                    <a:pt x="69" y="0"/>
                  </a:lnTo>
                  <a:lnTo>
                    <a:pt x="93" y="35"/>
                  </a:lnTo>
                  <a:lnTo>
                    <a:pt x="74" y="35"/>
                  </a:lnTo>
                  <a:lnTo>
                    <a:pt x="37" y="100"/>
                  </a:lnTo>
                  <a:lnTo>
                    <a:pt x="25" y="79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03" name="Freeform 351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4777036" y="3168650"/>
              <a:ext cx="147637" cy="85725"/>
            </a:xfrm>
            <a:custGeom>
              <a:avLst/>
              <a:gdLst>
                <a:gd name="T0" fmla="*/ 0 w 100"/>
                <a:gd name="T1" fmla="*/ 2147483647 h 110"/>
                <a:gd name="T2" fmla="*/ 2147483647 w 100"/>
                <a:gd name="T3" fmla="*/ 2147483647 h 110"/>
                <a:gd name="T4" fmla="*/ 2147483647 w 100"/>
                <a:gd name="T5" fmla="*/ 2147483647 h 110"/>
                <a:gd name="T6" fmla="*/ 2147483647 w 100"/>
                <a:gd name="T7" fmla="*/ 0 h 110"/>
                <a:gd name="T8" fmla="*/ 2147483647 w 100"/>
                <a:gd name="T9" fmla="*/ 2147483647 h 110"/>
                <a:gd name="T10" fmla="*/ 2147483647 w 100"/>
                <a:gd name="T11" fmla="*/ 2147483647 h 110"/>
                <a:gd name="T12" fmla="*/ 2147483647 w 100"/>
                <a:gd name="T13" fmla="*/ 2147483647 h 110"/>
                <a:gd name="T14" fmla="*/ 2147483647 w 100"/>
                <a:gd name="T15" fmla="*/ 2147483647 h 110"/>
                <a:gd name="T16" fmla="*/ 0 w 100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110">
                  <a:moveTo>
                    <a:pt x="0" y="66"/>
                  </a:moveTo>
                  <a:lnTo>
                    <a:pt x="13" y="21"/>
                  </a:lnTo>
                  <a:lnTo>
                    <a:pt x="31" y="33"/>
                  </a:lnTo>
                  <a:lnTo>
                    <a:pt x="69" y="0"/>
                  </a:lnTo>
                  <a:lnTo>
                    <a:pt x="94" y="10"/>
                  </a:lnTo>
                  <a:lnTo>
                    <a:pt x="100" y="21"/>
                  </a:lnTo>
                  <a:lnTo>
                    <a:pt x="63" y="98"/>
                  </a:lnTo>
                  <a:lnTo>
                    <a:pt x="24" y="110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04" name="Freeform 352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777036" y="3168650"/>
              <a:ext cx="147637" cy="85725"/>
            </a:xfrm>
            <a:custGeom>
              <a:avLst/>
              <a:gdLst>
                <a:gd name="T0" fmla="*/ 0 w 100"/>
                <a:gd name="T1" fmla="*/ 2147483647 h 110"/>
                <a:gd name="T2" fmla="*/ 2147483647 w 100"/>
                <a:gd name="T3" fmla="*/ 2147483647 h 110"/>
                <a:gd name="T4" fmla="*/ 2147483647 w 100"/>
                <a:gd name="T5" fmla="*/ 2147483647 h 110"/>
                <a:gd name="T6" fmla="*/ 2147483647 w 100"/>
                <a:gd name="T7" fmla="*/ 0 h 110"/>
                <a:gd name="T8" fmla="*/ 2147483647 w 100"/>
                <a:gd name="T9" fmla="*/ 2147483647 h 110"/>
                <a:gd name="T10" fmla="*/ 2147483647 w 100"/>
                <a:gd name="T11" fmla="*/ 2147483647 h 110"/>
                <a:gd name="T12" fmla="*/ 2147483647 w 100"/>
                <a:gd name="T13" fmla="*/ 2147483647 h 110"/>
                <a:gd name="T14" fmla="*/ 2147483647 w 100"/>
                <a:gd name="T15" fmla="*/ 2147483647 h 110"/>
                <a:gd name="T16" fmla="*/ 0 w 100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110">
                  <a:moveTo>
                    <a:pt x="0" y="66"/>
                  </a:moveTo>
                  <a:lnTo>
                    <a:pt x="13" y="21"/>
                  </a:lnTo>
                  <a:lnTo>
                    <a:pt x="31" y="33"/>
                  </a:lnTo>
                  <a:lnTo>
                    <a:pt x="69" y="0"/>
                  </a:lnTo>
                  <a:lnTo>
                    <a:pt x="94" y="10"/>
                  </a:lnTo>
                  <a:lnTo>
                    <a:pt x="100" y="21"/>
                  </a:lnTo>
                  <a:lnTo>
                    <a:pt x="63" y="98"/>
                  </a:lnTo>
                  <a:lnTo>
                    <a:pt x="24" y="110"/>
                  </a:lnTo>
                  <a:lnTo>
                    <a:pt x="0" y="6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05" name="Freeform 353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4777036" y="3168650"/>
              <a:ext cx="147637" cy="85725"/>
            </a:xfrm>
            <a:custGeom>
              <a:avLst/>
              <a:gdLst>
                <a:gd name="T0" fmla="*/ 0 w 100"/>
                <a:gd name="T1" fmla="*/ 2147483647 h 110"/>
                <a:gd name="T2" fmla="*/ 2147483647 w 100"/>
                <a:gd name="T3" fmla="*/ 2147483647 h 110"/>
                <a:gd name="T4" fmla="*/ 2147483647 w 100"/>
                <a:gd name="T5" fmla="*/ 2147483647 h 110"/>
                <a:gd name="T6" fmla="*/ 2147483647 w 100"/>
                <a:gd name="T7" fmla="*/ 0 h 110"/>
                <a:gd name="T8" fmla="*/ 2147483647 w 100"/>
                <a:gd name="T9" fmla="*/ 2147483647 h 110"/>
                <a:gd name="T10" fmla="*/ 2147483647 w 100"/>
                <a:gd name="T11" fmla="*/ 2147483647 h 110"/>
                <a:gd name="T12" fmla="*/ 2147483647 w 100"/>
                <a:gd name="T13" fmla="*/ 2147483647 h 110"/>
                <a:gd name="T14" fmla="*/ 2147483647 w 100"/>
                <a:gd name="T15" fmla="*/ 2147483647 h 110"/>
                <a:gd name="T16" fmla="*/ 0 w 100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110">
                  <a:moveTo>
                    <a:pt x="0" y="66"/>
                  </a:moveTo>
                  <a:lnTo>
                    <a:pt x="13" y="21"/>
                  </a:lnTo>
                  <a:lnTo>
                    <a:pt x="31" y="33"/>
                  </a:lnTo>
                  <a:lnTo>
                    <a:pt x="69" y="0"/>
                  </a:lnTo>
                  <a:lnTo>
                    <a:pt x="94" y="10"/>
                  </a:lnTo>
                  <a:lnTo>
                    <a:pt x="100" y="21"/>
                  </a:lnTo>
                  <a:lnTo>
                    <a:pt x="63" y="98"/>
                  </a:lnTo>
                  <a:lnTo>
                    <a:pt x="24" y="110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06" name="Freeform 354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4777036" y="3168650"/>
              <a:ext cx="147637" cy="85725"/>
            </a:xfrm>
            <a:custGeom>
              <a:avLst/>
              <a:gdLst>
                <a:gd name="T0" fmla="*/ 0 w 100"/>
                <a:gd name="T1" fmla="*/ 2147483647 h 110"/>
                <a:gd name="T2" fmla="*/ 2147483647 w 100"/>
                <a:gd name="T3" fmla="*/ 2147483647 h 110"/>
                <a:gd name="T4" fmla="*/ 2147483647 w 100"/>
                <a:gd name="T5" fmla="*/ 2147483647 h 110"/>
                <a:gd name="T6" fmla="*/ 2147483647 w 100"/>
                <a:gd name="T7" fmla="*/ 0 h 110"/>
                <a:gd name="T8" fmla="*/ 2147483647 w 100"/>
                <a:gd name="T9" fmla="*/ 2147483647 h 110"/>
                <a:gd name="T10" fmla="*/ 2147483647 w 100"/>
                <a:gd name="T11" fmla="*/ 2147483647 h 110"/>
                <a:gd name="T12" fmla="*/ 2147483647 w 100"/>
                <a:gd name="T13" fmla="*/ 2147483647 h 110"/>
                <a:gd name="T14" fmla="*/ 2147483647 w 100"/>
                <a:gd name="T15" fmla="*/ 2147483647 h 110"/>
                <a:gd name="T16" fmla="*/ 0 w 100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110">
                  <a:moveTo>
                    <a:pt x="0" y="66"/>
                  </a:moveTo>
                  <a:lnTo>
                    <a:pt x="13" y="21"/>
                  </a:lnTo>
                  <a:lnTo>
                    <a:pt x="31" y="33"/>
                  </a:lnTo>
                  <a:lnTo>
                    <a:pt x="69" y="0"/>
                  </a:lnTo>
                  <a:lnTo>
                    <a:pt x="94" y="10"/>
                  </a:lnTo>
                  <a:lnTo>
                    <a:pt x="100" y="21"/>
                  </a:lnTo>
                  <a:lnTo>
                    <a:pt x="63" y="98"/>
                  </a:lnTo>
                  <a:lnTo>
                    <a:pt x="24" y="110"/>
                  </a:lnTo>
                  <a:lnTo>
                    <a:pt x="0" y="6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07" name="Group 355"/>
            <p:cNvGrpSpPr>
              <a:grpSpLocks/>
            </p:cNvGrpSpPr>
            <p:nvPr>
              <p:custDataLst>
                <p:tags r:id="rId301"/>
              </p:custDataLst>
            </p:nvPr>
          </p:nvGrpSpPr>
          <p:grpSpPr bwMode="auto">
            <a:xfrm>
              <a:off x="3029198" y="1628775"/>
              <a:ext cx="1384300" cy="1130300"/>
              <a:chOff x="1806" y="844"/>
              <a:chExt cx="945" cy="712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77" name="Freeform 356"/>
              <p:cNvSpPr>
                <a:spLocks/>
              </p:cNvSpPr>
              <p:nvPr/>
            </p:nvSpPr>
            <p:spPr bwMode="auto">
              <a:xfrm>
                <a:off x="1806" y="844"/>
                <a:ext cx="945" cy="712"/>
              </a:xfrm>
              <a:custGeom>
                <a:avLst/>
                <a:gdLst>
                  <a:gd name="T0" fmla="*/ 106 w 945"/>
                  <a:gd name="T1" fmla="*/ 0 h 1426"/>
                  <a:gd name="T2" fmla="*/ 125 w 945"/>
                  <a:gd name="T3" fmla="*/ 0 h 1426"/>
                  <a:gd name="T4" fmla="*/ 82 w 945"/>
                  <a:gd name="T5" fmla="*/ 0 h 1426"/>
                  <a:gd name="T6" fmla="*/ 175 w 945"/>
                  <a:gd name="T7" fmla="*/ 0 h 1426"/>
                  <a:gd name="T8" fmla="*/ 276 w 945"/>
                  <a:gd name="T9" fmla="*/ 0 h 1426"/>
                  <a:gd name="T10" fmla="*/ 350 w 945"/>
                  <a:gd name="T11" fmla="*/ 0 h 1426"/>
                  <a:gd name="T12" fmla="*/ 331 w 945"/>
                  <a:gd name="T13" fmla="*/ 0 h 1426"/>
                  <a:gd name="T14" fmla="*/ 445 w 945"/>
                  <a:gd name="T15" fmla="*/ 0 h 1426"/>
                  <a:gd name="T16" fmla="*/ 501 w 945"/>
                  <a:gd name="T17" fmla="*/ 0 h 1426"/>
                  <a:gd name="T18" fmla="*/ 420 w 945"/>
                  <a:gd name="T19" fmla="*/ 0 h 1426"/>
                  <a:gd name="T20" fmla="*/ 520 w 945"/>
                  <a:gd name="T21" fmla="*/ 0 h 1426"/>
                  <a:gd name="T22" fmla="*/ 520 w 945"/>
                  <a:gd name="T23" fmla="*/ 0 h 1426"/>
                  <a:gd name="T24" fmla="*/ 714 w 945"/>
                  <a:gd name="T25" fmla="*/ 0 h 1426"/>
                  <a:gd name="T26" fmla="*/ 732 w 945"/>
                  <a:gd name="T27" fmla="*/ 0 h 1426"/>
                  <a:gd name="T28" fmla="*/ 795 w 945"/>
                  <a:gd name="T29" fmla="*/ 0 h 1426"/>
                  <a:gd name="T30" fmla="*/ 607 w 945"/>
                  <a:gd name="T31" fmla="*/ 0 h 1426"/>
                  <a:gd name="T32" fmla="*/ 707 w 945"/>
                  <a:gd name="T33" fmla="*/ 0 h 1426"/>
                  <a:gd name="T34" fmla="*/ 820 w 945"/>
                  <a:gd name="T35" fmla="*/ 0 h 1426"/>
                  <a:gd name="T36" fmla="*/ 901 w 945"/>
                  <a:gd name="T37" fmla="*/ 0 h 1426"/>
                  <a:gd name="T38" fmla="*/ 801 w 945"/>
                  <a:gd name="T39" fmla="*/ 0 h 1426"/>
                  <a:gd name="T40" fmla="*/ 870 w 945"/>
                  <a:gd name="T41" fmla="*/ 0 h 1426"/>
                  <a:gd name="T42" fmla="*/ 807 w 945"/>
                  <a:gd name="T43" fmla="*/ 0 h 1426"/>
                  <a:gd name="T44" fmla="*/ 820 w 945"/>
                  <a:gd name="T45" fmla="*/ 0 h 1426"/>
                  <a:gd name="T46" fmla="*/ 801 w 945"/>
                  <a:gd name="T47" fmla="*/ 0 h 1426"/>
                  <a:gd name="T48" fmla="*/ 827 w 945"/>
                  <a:gd name="T49" fmla="*/ 0 h 1426"/>
                  <a:gd name="T50" fmla="*/ 795 w 945"/>
                  <a:gd name="T51" fmla="*/ 0 h 1426"/>
                  <a:gd name="T52" fmla="*/ 814 w 945"/>
                  <a:gd name="T53" fmla="*/ 0 h 1426"/>
                  <a:gd name="T54" fmla="*/ 820 w 945"/>
                  <a:gd name="T55" fmla="*/ 0 h 1426"/>
                  <a:gd name="T56" fmla="*/ 720 w 945"/>
                  <a:gd name="T57" fmla="*/ 0 h 1426"/>
                  <a:gd name="T58" fmla="*/ 740 w 945"/>
                  <a:gd name="T59" fmla="*/ 0 h 1426"/>
                  <a:gd name="T60" fmla="*/ 795 w 945"/>
                  <a:gd name="T61" fmla="*/ 0 h 1426"/>
                  <a:gd name="T62" fmla="*/ 789 w 945"/>
                  <a:gd name="T63" fmla="*/ 0 h 1426"/>
                  <a:gd name="T64" fmla="*/ 707 w 945"/>
                  <a:gd name="T65" fmla="*/ 0 h 1426"/>
                  <a:gd name="T66" fmla="*/ 726 w 945"/>
                  <a:gd name="T67" fmla="*/ 0 h 1426"/>
                  <a:gd name="T68" fmla="*/ 726 w 945"/>
                  <a:gd name="T69" fmla="*/ 0 h 1426"/>
                  <a:gd name="T70" fmla="*/ 639 w 945"/>
                  <a:gd name="T71" fmla="*/ 0 h 1426"/>
                  <a:gd name="T72" fmla="*/ 576 w 945"/>
                  <a:gd name="T73" fmla="*/ 0 h 1426"/>
                  <a:gd name="T74" fmla="*/ 551 w 945"/>
                  <a:gd name="T75" fmla="*/ 0 h 1426"/>
                  <a:gd name="T76" fmla="*/ 494 w 945"/>
                  <a:gd name="T77" fmla="*/ 0 h 1426"/>
                  <a:gd name="T78" fmla="*/ 494 w 945"/>
                  <a:gd name="T79" fmla="*/ 0 h 1426"/>
                  <a:gd name="T80" fmla="*/ 494 w 945"/>
                  <a:gd name="T81" fmla="*/ 0 h 1426"/>
                  <a:gd name="T82" fmla="*/ 456 w 945"/>
                  <a:gd name="T83" fmla="*/ 0 h 1426"/>
                  <a:gd name="T84" fmla="*/ 387 w 945"/>
                  <a:gd name="T85" fmla="*/ 0 h 1426"/>
                  <a:gd name="T86" fmla="*/ 369 w 945"/>
                  <a:gd name="T87" fmla="*/ 0 h 1426"/>
                  <a:gd name="T88" fmla="*/ 337 w 945"/>
                  <a:gd name="T89" fmla="*/ 0 h 1426"/>
                  <a:gd name="T90" fmla="*/ 326 w 945"/>
                  <a:gd name="T91" fmla="*/ 0 h 1426"/>
                  <a:gd name="T92" fmla="*/ 319 w 945"/>
                  <a:gd name="T93" fmla="*/ 0 h 1426"/>
                  <a:gd name="T94" fmla="*/ 313 w 945"/>
                  <a:gd name="T95" fmla="*/ 0 h 1426"/>
                  <a:gd name="T96" fmla="*/ 326 w 945"/>
                  <a:gd name="T97" fmla="*/ 0 h 1426"/>
                  <a:gd name="T98" fmla="*/ 350 w 945"/>
                  <a:gd name="T99" fmla="*/ 0 h 1426"/>
                  <a:gd name="T100" fmla="*/ 331 w 945"/>
                  <a:gd name="T101" fmla="*/ 0 h 1426"/>
                  <a:gd name="T102" fmla="*/ 300 w 945"/>
                  <a:gd name="T103" fmla="*/ 0 h 1426"/>
                  <a:gd name="T104" fmla="*/ 276 w 945"/>
                  <a:gd name="T105" fmla="*/ 0 h 1426"/>
                  <a:gd name="T106" fmla="*/ 257 w 945"/>
                  <a:gd name="T107" fmla="*/ 0 h 1426"/>
                  <a:gd name="T108" fmla="*/ 188 w 945"/>
                  <a:gd name="T109" fmla="*/ 0 h 1426"/>
                  <a:gd name="T110" fmla="*/ 106 w 945"/>
                  <a:gd name="T111" fmla="*/ 0 h 1426"/>
                  <a:gd name="T112" fmla="*/ 25 w 945"/>
                  <a:gd name="T113" fmla="*/ 0 h 1426"/>
                  <a:gd name="T114" fmla="*/ 106 w 945"/>
                  <a:gd name="T115" fmla="*/ 0 h 14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945" h="1426">
                    <a:moveTo>
                      <a:pt x="0" y="402"/>
                    </a:moveTo>
                    <a:lnTo>
                      <a:pt x="6" y="379"/>
                    </a:lnTo>
                    <a:lnTo>
                      <a:pt x="68" y="346"/>
                    </a:lnTo>
                    <a:lnTo>
                      <a:pt x="106" y="346"/>
                    </a:lnTo>
                    <a:lnTo>
                      <a:pt x="131" y="312"/>
                    </a:lnTo>
                    <a:lnTo>
                      <a:pt x="125" y="302"/>
                    </a:lnTo>
                    <a:lnTo>
                      <a:pt x="137" y="290"/>
                    </a:lnTo>
                    <a:lnTo>
                      <a:pt x="125" y="279"/>
                    </a:lnTo>
                    <a:lnTo>
                      <a:pt x="144" y="267"/>
                    </a:lnTo>
                    <a:lnTo>
                      <a:pt x="137" y="256"/>
                    </a:lnTo>
                    <a:lnTo>
                      <a:pt x="112" y="279"/>
                    </a:lnTo>
                    <a:lnTo>
                      <a:pt x="82" y="244"/>
                    </a:lnTo>
                    <a:lnTo>
                      <a:pt x="119" y="233"/>
                    </a:lnTo>
                    <a:lnTo>
                      <a:pt x="137" y="189"/>
                    </a:lnTo>
                    <a:lnTo>
                      <a:pt x="181" y="189"/>
                    </a:lnTo>
                    <a:lnTo>
                      <a:pt x="175" y="135"/>
                    </a:lnTo>
                    <a:lnTo>
                      <a:pt x="212" y="135"/>
                    </a:lnTo>
                    <a:lnTo>
                      <a:pt x="244" y="168"/>
                    </a:lnTo>
                    <a:lnTo>
                      <a:pt x="200" y="123"/>
                    </a:lnTo>
                    <a:lnTo>
                      <a:pt x="276" y="100"/>
                    </a:lnTo>
                    <a:lnTo>
                      <a:pt x="295" y="123"/>
                    </a:lnTo>
                    <a:lnTo>
                      <a:pt x="295" y="156"/>
                    </a:lnTo>
                    <a:lnTo>
                      <a:pt x="307" y="123"/>
                    </a:lnTo>
                    <a:lnTo>
                      <a:pt x="350" y="156"/>
                    </a:lnTo>
                    <a:lnTo>
                      <a:pt x="331" y="123"/>
                    </a:lnTo>
                    <a:lnTo>
                      <a:pt x="356" y="135"/>
                    </a:lnTo>
                    <a:lnTo>
                      <a:pt x="337" y="112"/>
                    </a:lnTo>
                    <a:lnTo>
                      <a:pt x="331" y="89"/>
                    </a:lnTo>
                    <a:lnTo>
                      <a:pt x="345" y="89"/>
                    </a:lnTo>
                    <a:lnTo>
                      <a:pt x="432" y="145"/>
                    </a:lnTo>
                    <a:lnTo>
                      <a:pt x="425" y="123"/>
                    </a:lnTo>
                    <a:lnTo>
                      <a:pt x="445" y="123"/>
                    </a:lnTo>
                    <a:lnTo>
                      <a:pt x="432" y="100"/>
                    </a:lnTo>
                    <a:lnTo>
                      <a:pt x="463" y="112"/>
                    </a:lnTo>
                    <a:lnTo>
                      <a:pt x="413" y="66"/>
                    </a:lnTo>
                    <a:lnTo>
                      <a:pt x="501" y="89"/>
                    </a:lnTo>
                    <a:lnTo>
                      <a:pt x="482" y="66"/>
                    </a:lnTo>
                    <a:lnTo>
                      <a:pt x="432" y="56"/>
                    </a:lnTo>
                    <a:lnTo>
                      <a:pt x="451" y="56"/>
                    </a:lnTo>
                    <a:lnTo>
                      <a:pt x="420" y="35"/>
                    </a:lnTo>
                    <a:lnTo>
                      <a:pt x="456" y="45"/>
                    </a:lnTo>
                    <a:lnTo>
                      <a:pt x="438" y="35"/>
                    </a:lnTo>
                    <a:lnTo>
                      <a:pt x="456" y="22"/>
                    </a:lnTo>
                    <a:lnTo>
                      <a:pt x="520" y="66"/>
                    </a:lnTo>
                    <a:lnTo>
                      <a:pt x="512" y="45"/>
                    </a:lnTo>
                    <a:lnTo>
                      <a:pt x="544" y="35"/>
                    </a:lnTo>
                    <a:lnTo>
                      <a:pt x="520" y="35"/>
                    </a:lnTo>
                    <a:lnTo>
                      <a:pt x="520" y="12"/>
                    </a:lnTo>
                    <a:lnTo>
                      <a:pt x="532" y="0"/>
                    </a:lnTo>
                    <a:lnTo>
                      <a:pt x="707" y="12"/>
                    </a:lnTo>
                    <a:lnTo>
                      <a:pt x="720" y="22"/>
                    </a:lnTo>
                    <a:lnTo>
                      <a:pt x="714" y="35"/>
                    </a:lnTo>
                    <a:lnTo>
                      <a:pt x="601" y="35"/>
                    </a:lnTo>
                    <a:lnTo>
                      <a:pt x="614" y="45"/>
                    </a:lnTo>
                    <a:lnTo>
                      <a:pt x="570" y="56"/>
                    </a:lnTo>
                    <a:lnTo>
                      <a:pt x="732" y="35"/>
                    </a:lnTo>
                    <a:lnTo>
                      <a:pt x="740" y="56"/>
                    </a:lnTo>
                    <a:lnTo>
                      <a:pt x="714" y="66"/>
                    </a:lnTo>
                    <a:lnTo>
                      <a:pt x="751" y="56"/>
                    </a:lnTo>
                    <a:lnTo>
                      <a:pt x="795" y="79"/>
                    </a:lnTo>
                    <a:lnTo>
                      <a:pt x="732" y="123"/>
                    </a:lnTo>
                    <a:lnTo>
                      <a:pt x="626" y="112"/>
                    </a:lnTo>
                    <a:lnTo>
                      <a:pt x="650" y="123"/>
                    </a:lnTo>
                    <a:lnTo>
                      <a:pt x="607" y="135"/>
                    </a:lnTo>
                    <a:lnTo>
                      <a:pt x="607" y="156"/>
                    </a:lnTo>
                    <a:lnTo>
                      <a:pt x="726" y="123"/>
                    </a:lnTo>
                    <a:lnTo>
                      <a:pt x="732" y="135"/>
                    </a:lnTo>
                    <a:lnTo>
                      <a:pt x="707" y="168"/>
                    </a:lnTo>
                    <a:lnTo>
                      <a:pt x="782" y="123"/>
                    </a:lnTo>
                    <a:lnTo>
                      <a:pt x="789" y="168"/>
                    </a:lnTo>
                    <a:lnTo>
                      <a:pt x="751" y="244"/>
                    </a:lnTo>
                    <a:lnTo>
                      <a:pt x="820" y="156"/>
                    </a:lnTo>
                    <a:lnTo>
                      <a:pt x="820" y="168"/>
                    </a:lnTo>
                    <a:lnTo>
                      <a:pt x="857" y="168"/>
                    </a:lnTo>
                    <a:lnTo>
                      <a:pt x="864" y="135"/>
                    </a:lnTo>
                    <a:lnTo>
                      <a:pt x="901" y="135"/>
                    </a:lnTo>
                    <a:lnTo>
                      <a:pt x="945" y="156"/>
                    </a:lnTo>
                    <a:lnTo>
                      <a:pt x="901" y="200"/>
                    </a:lnTo>
                    <a:lnTo>
                      <a:pt x="907" y="212"/>
                    </a:lnTo>
                    <a:lnTo>
                      <a:pt x="801" y="233"/>
                    </a:lnTo>
                    <a:lnTo>
                      <a:pt x="889" y="233"/>
                    </a:lnTo>
                    <a:lnTo>
                      <a:pt x="820" y="267"/>
                    </a:lnTo>
                    <a:lnTo>
                      <a:pt x="827" y="290"/>
                    </a:lnTo>
                    <a:lnTo>
                      <a:pt x="870" y="267"/>
                    </a:lnTo>
                    <a:lnTo>
                      <a:pt x="839" y="302"/>
                    </a:lnTo>
                    <a:lnTo>
                      <a:pt x="832" y="335"/>
                    </a:lnTo>
                    <a:lnTo>
                      <a:pt x="839" y="323"/>
                    </a:lnTo>
                    <a:lnTo>
                      <a:pt x="807" y="356"/>
                    </a:lnTo>
                    <a:lnTo>
                      <a:pt x="801" y="435"/>
                    </a:lnTo>
                    <a:lnTo>
                      <a:pt x="814" y="425"/>
                    </a:lnTo>
                    <a:lnTo>
                      <a:pt x="839" y="435"/>
                    </a:lnTo>
                    <a:lnTo>
                      <a:pt x="820" y="435"/>
                    </a:lnTo>
                    <a:lnTo>
                      <a:pt x="820" y="456"/>
                    </a:lnTo>
                    <a:lnTo>
                      <a:pt x="851" y="469"/>
                    </a:lnTo>
                    <a:lnTo>
                      <a:pt x="857" y="490"/>
                    </a:lnTo>
                    <a:lnTo>
                      <a:pt x="801" y="490"/>
                    </a:lnTo>
                    <a:lnTo>
                      <a:pt x="814" y="500"/>
                    </a:lnTo>
                    <a:lnTo>
                      <a:pt x="789" y="500"/>
                    </a:lnTo>
                    <a:lnTo>
                      <a:pt x="801" y="534"/>
                    </a:lnTo>
                    <a:lnTo>
                      <a:pt x="827" y="534"/>
                    </a:lnTo>
                    <a:lnTo>
                      <a:pt x="814" y="557"/>
                    </a:lnTo>
                    <a:lnTo>
                      <a:pt x="832" y="569"/>
                    </a:lnTo>
                    <a:lnTo>
                      <a:pt x="832" y="602"/>
                    </a:lnTo>
                    <a:lnTo>
                      <a:pt x="795" y="579"/>
                    </a:lnTo>
                    <a:lnTo>
                      <a:pt x="820" y="602"/>
                    </a:lnTo>
                    <a:lnTo>
                      <a:pt x="801" y="613"/>
                    </a:lnTo>
                    <a:lnTo>
                      <a:pt x="814" y="613"/>
                    </a:lnTo>
                    <a:lnTo>
                      <a:pt x="814" y="636"/>
                    </a:lnTo>
                    <a:lnTo>
                      <a:pt x="839" y="646"/>
                    </a:lnTo>
                    <a:lnTo>
                      <a:pt x="795" y="646"/>
                    </a:lnTo>
                    <a:lnTo>
                      <a:pt x="789" y="657"/>
                    </a:lnTo>
                    <a:lnTo>
                      <a:pt x="820" y="690"/>
                    </a:lnTo>
                    <a:lnTo>
                      <a:pt x="820" y="713"/>
                    </a:lnTo>
                    <a:lnTo>
                      <a:pt x="789" y="725"/>
                    </a:lnTo>
                    <a:lnTo>
                      <a:pt x="764" y="690"/>
                    </a:lnTo>
                    <a:lnTo>
                      <a:pt x="720" y="725"/>
                    </a:lnTo>
                    <a:lnTo>
                      <a:pt x="751" y="736"/>
                    </a:lnTo>
                    <a:lnTo>
                      <a:pt x="720" y="757"/>
                    </a:lnTo>
                    <a:lnTo>
                      <a:pt x="751" y="757"/>
                    </a:lnTo>
                    <a:lnTo>
                      <a:pt x="740" y="790"/>
                    </a:lnTo>
                    <a:lnTo>
                      <a:pt x="751" y="769"/>
                    </a:lnTo>
                    <a:lnTo>
                      <a:pt x="789" y="801"/>
                    </a:lnTo>
                    <a:lnTo>
                      <a:pt x="776" y="824"/>
                    </a:lnTo>
                    <a:lnTo>
                      <a:pt x="795" y="813"/>
                    </a:lnTo>
                    <a:lnTo>
                      <a:pt x="789" y="846"/>
                    </a:lnTo>
                    <a:lnTo>
                      <a:pt x="801" y="834"/>
                    </a:lnTo>
                    <a:lnTo>
                      <a:pt x="801" y="892"/>
                    </a:lnTo>
                    <a:lnTo>
                      <a:pt x="789" y="869"/>
                    </a:lnTo>
                    <a:lnTo>
                      <a:pt x="789" y="892"/>
                    </a:lnTo>
                    <a:lnTo>
                      <a:pt x="770" y="892"/>
                    </a:lnTo>
                    <a:lnTo>
                      <a:pt x="751" y="834"/>
                    </a:lnTo>
                    <a:lnTo>
                      <a:pt x="707" y="813"/>
                    </a:lnTo>
                    <a:lnTo>
                      <a:pt x="740" y="846"/>
                    </a:lnTo>
                    <a:lnTo>
                      <a:pt x="695" y="859"/>
                    </a:lnTo>
                    <a:lnTo>
                      <a:pt x="689" y="892"/>
                    </a:lnTo>
                    <a:lnTo>
                      <a:pt x="726" y="903"/>
                    </a:lnTo>
                    <a:lnTo>
                      <a:pt x="689" y="913"/>
                    </a:lnTo>
                    <a:lnTo>
                      <a:pt x="740" y="892"/>
                    </a:lnTo>
                    <a:lnTo>
                      <a:pt x="789" y="924"/>
                    </a:lnTo>
                    <a:lnTo>
                      <a:pt x="726" y="991"/>
                    </a:lnTo>
                    <a:lnTo>
                      <a:pt x="669" y="1026"/>
                    </a:lnTo>
                    <a:lnTo>
                      <a:pt x="645" y="1026"/>
                    </a:lnTo>
                    <a:lnTo>
                      <a:pt x="632" y="991"/>
                    </a:lnTo>
                    <a:lnTo>
                      <a:pt x="639" y="1026"/>
                    </a:lnTo>
                    <a:lnTo>
                      <a:pt x="620" y="1047"/>
                    </a:lnTo>
                    <a:lnTo>
                      <a:pt x="601" y="1114"/>
                    </a:lnTo>
                    <a:lnTo>
                      <a:pt x="581" y="1114"/>
                    </a:lnTo>
                    <a:lnTo>
                      <a:pt x="576" y="1136"/>
                    </a:lnTo>
                    <a:lnTo>
                      <a:pt x="557" y="1136"/>
                    </a:lnTo>
                    <a:lnTo>
                      <a:pt x="551" y="1136"/>
                    </a:lnTo>
                    <a:lnTo>
                      <a:pt x="563" y="1114"/>
                    </a:lnTo>
                    <a:lnTo>
                      <a:pt x="551" y="1114"/>
                    </a:lnTo>
                    <a:lnTo>
                      <a:pt x="544" y="1159"/>
                    </a:lnTo>
                    <a:lnTo>
                      <a:pt x="512" y="1159"/>
                    </a:lnTo>
                    <a:lnTo>
                      <a:pt x="512" y="1193"/>
                    </a:lnTo>
                    <a:lnTo>
                      <a:pt x="494" y="1193"/>
                    </a:lnTo>
                    <a:lnTo>
                      <a:pt x="512" y="1214"/>
                    </a:lnTo>
                    <a:lnTo>
                      <a:pt x="494" y="1224"/>
                    </a:lnTo>
                    <a:lnTo>
                      <a:pt x="507" y="1247"/>
                    </a:lnTo>
                    <a:lnTo>
                      <a:pt x="494" y="1247"/>
                    </a:lnTo>
                    <a:lnTo>
                      <a:pt x="507" y="1258"/>
                    </a:lnTo>
                    <a:lnTo>
                      <a:pt x="494" y="1281"/>
                    </a:lnTo>
                    <a:lnTo>
                      <a:pt x="482" y="1281"/>
                    </a:lnTo>
                    <a:lnTo>
                      <a:pt x="494" y="1291"/>
                    </a:lnTo>
                    <a:lnTo>
                      <a:pt x="470" y="1303"/>
                    </a:lnTo>
                    <a:lnTo>
                      <a:pt x="482" y="1347"/>
                    </a:lnTo>
                    <a:lnTo>
                      <a:pt x="470" y="1402"/>
                    </a:lnTo>
                    <a:lnTo>
                      <a:pt x="456" y="1402"/>
                    </a:lnTo>
                    <a:lnTo>
                      <a:pt x="470" y="1426"/>
                    </a:lnTo>
                    <a:lnTo>
                      <a:pt x="438" y="1426"/>
                    </a:lnTo>
                    <a:lnTo>
                      <a:pt x="432" y="1391"/>
                    </a:lnTo>
                    <a:lnTo>
                      <a:pt x="387" y="1391"/>
                    </a:lnTo>
                    <a:lnTo>
                      <a:pt x="401" y="1381"/>
                    </a:lnTo>
                    <a:lnTo>
                      <a:pt x="376" y="1370"/>
                    </a:lnTo>
                    <a:lnTo>
                      <a:pt x="387" y="1358"/>
                    </a:lnTo>
                    <a:lnTo>
                      <a:pt x="369" y="1358"/>
                    </a:lnTo>
                    <a:lnTo>
                      <a:pt x="376" y="1326"/>
                    </a:lnTo>
                    <a:lnTo>
                      <a:pt x="369" y="1337"/>
                    </a:lnTo>
                    <a:lnTo>
                      <a:pt x="337" y="1258"/>
                    </a:lnTo>
                    <a:lnTo>
                      <a:pt x="337" y="1237"/>
                    </a:lnTo>
                    <a:lnTo>
                      <a:pt x="356" y="1203"/>
                    </a:lnTo>
                    <a:lnTo>
                      <a:pt x="350" y="1193"/>
                    </a:lnTo>
                    <a:lnTo>
                      <a:pt x="326" y="1224"/>
                    </a:lnTo>
                    <a:lnTo>
                      <a:pt x="326" y="1170"/>
                    </a:lnTo>
                    <a:lnTo>
                      <a:pt x="307" y="1136"/>
                    </a:lnTo>
                    <a:lnTo>
                      <a:pt x="313" y="1091"/>
                    </a:lnTo>
                    <a:lnTo>
                      <a:pt x="300" y="1070"/>
                    </a:lnTo>
                    <a:lnTo>
                      <a:pt x="319" y="1026"/>
                    </a:lnTo>
                    <a:lnTo>
                      <a:pt x="307" y="1026"/>
                    </a:lnTo>
                    <a:lnTo>
                      <a:pt x="345" y="1026"/>
                    </a:lnTo>
                    <a:lnTo>
                      <a:pt x="345" y="1003"/>
                    </a:lnTo>
                    <a:lnTo>
                      <a:pt x="313" y="1003"/>
                    </a:lnTo>
                    <a:lnTo>
                      <a:pt x="356" y="968"/>
                    </a:lnTo>
                    <a:lnTo>
                      <a:pt x="345" y="957"/>
                    </a:lnTo>
                    <a:lnTo>
                      <a:pt x="356" y="913"/>
                    </a:lnTo>
                    <a:lnTo>
                      <a:pt x="326" y="913"/>
                    </a:lnTo>
                    <a:lnTo>
                      <a:pt x="287" y="880"/>
                    </a:lnTo>
                    <a:lnTo>
                      <a:pt x="350" y="903"/>
                    </a:lnTo>
                    <a:lnTo>
                      <a:pt x="337" y="880"/>
                    </a:lnTo>
                    <a:lnTo>
                      <a:pt x="350" y="880"/>
                    </a:lnTo>
                    <a:lnTo>
                      <a:pt x="326" y="846"/>
                    </a:lnTo>
                    <a:lnTo>
                      <a:pt x="331" y="834"/>
                    </a:lnTo>
                    <a:lnTo>
                      <a:pt x="319" y="846"/>
                    </a:lnTo>
                    <a:lnTo>
                      <a:pt x="331" y="834"/>
                    </a:lnTo>
                    <a:lnTo>
                      <a:pt x="313" y="834"/>
                    </a:lnTo>
                    <a:lnTo>
                      <a:pt x="331" y="824"/>
                    </a:lnTo>
                    <a:lnTo>
                      <a:pt x="307" y="801"/>
                    </a:lnTo>
                    <a:lnTo>
                      <a:pt x="300" y="834"/>
                    </a:lnTo>
                    <a:lnTo>
                      <a:pt x="276" y="834"/>
                    </a:lnTo>
                    <a:lnTo>
                      <a:pt x="269" y="824"/>
                    </a:lnTo>
                    <a:lnTo>
                      <a:pt x="287" y="801"/>
                    </a:lnTo>
                    <a:lnTo>
                      <a:pt x="276" y="801"/>
                    </a:lnTo>
                    <a:lnTo>
                      <a:pt x="287" y="746"/>
                    </a:lnTo>
                    <a:lnTo>
                      <a:pt x="276" y="736"/>
                    </a:lnTo>
                    <a:lnTo>
                      <a:pt x="281" y="713"/>
                    </a:lnTo>
                    <a:lnTo>
                      <a:pt x="257" y="646"/>
                    </a:lnTo>
                    <a:lnTo>
                      <a:pt x="262" y="646"/>
                    </a:lnTo>
                    <a:lnTo>
                      <a:pt x="225" y="592"/>
                    </a:lnTo>
                    <a:lnTo>
                      <a:pt x="225" y="569"/>
                    </a:lnTo>
                    <a:lnTo>
                      <a:pt x="188" y="546"/>
                    </a:lnTo>
                    <a:lnTo>
                      <a:pt x="156" y="523"/>
                    </a:lnTo>
                    <a:lnTo>
                      <a:pt x="119" y="557"/>
                    </a:lnTo>
                    <a:lnTo>
                      <a:pt x="93" y="534"/>
                    </a:lnTo>
                    <a:lnTo>
                      <a:pt x="106" y="557"/>
                    </a:lnTo>
                    <a:lnTo>
                      <a:pt x="75" y="546"/>
                    </a:lnTo>
                    <a:lnTo>
                      <a:pt x="56" y="523"/>
                    </a:lnTo>
                    <a:lnTo>
                      <a:pt x="75" y="500"/>
                    </a:lnTo>
                    <a:lnTo>
                      <a:pt x="25" y="490"/>
                    </a:lnTo>
                    <a:lnTo>
                      <a:pt x="43" y="469"/>
                    </a:lnTo>
                    <a:lnTo>
                      <a:pt x="106" y="469"/>
                    </a:lnTo>
                    <a:lnTo>
                      <a:pt x="112" y="469"/>
                    </a:lnTo>
                    <a:lnTo>
                      <a:pt x="106" y="456"/>
                    </a:lnTo>
                    <a:lnTo>
                      <a:pt x="112" y="446"/>
                    </a:lnTo>
                    <a:lnTo>
                      <a:pt x="56" y="456"/>
                    </a:lnTo>
                    <a:lnTo>
                      <a:pt x="0" y="402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78" name="Freeform 357"/>
              <p:cNvSpPr>
                <a:spLocks/>
              </p:cNvSpPr>
              <p:nvPr/>
            </p:nvSpPr>
            <p:spPr bwMode="auto">
              <a:xfrm>
                <a:off x="1806" y="844"/>
                <a:ext cx="945" cy="712"/>
              </a:xfrm>
              <a:custGeom>
                <a:avLst/>
                <a:gdLst>
                  <a:gd name="T0" fmla="*/ 106 w 945"/>
                  <a:gd name="T1" fmla="*/ 0 h 1426"/>
                  <a:gd name="T2" fmla="*/ 125 w 945"/>
                  <a:gd name="T3" fmla="*/ 0 h 1426"/>
                  <a:gd name="T4" fmla="*/ 82 w 945"/>
                  <a:gd name="T5" fmla="*/ 0 h 1426"/>
                  <a:gd name="T6" fmla="*/ 175 w 945"/>
                  <a:gd name="T7" fmla="*/ 0 h 1426"/>
                  <a:gd name="T8" fmla="*/ 276 w 945"/>
                  <a:gd name="T9" fmla="*/ 0 h 1426"/>
                  <a:gd name="T10" fmla="*/ 350 w 945"/>
                  <a:gd name="T11" fmla="*/ 0 h 1426"/>
                  <a:gd name="T12" fmla="*/ 331 w 945"/>
                  <a:gd name="T13" fmla="*/ 0 h 1426"/>
                  <a:gd name="T14" fmla="*/ 445 w 945"/>
                  <a:gd name="T15" fmla="*/ 0 h 1426"/>
                  <a:gd name="T16" fmla="*/ 501 w 945"/>
                  <a:gd name="T17" fmla="*/ 0 h 1426"/>
                  <a:gd name="T18" fmla="*/ 420 w 945"/>
                  <a:gd name="T19" fmla="*/ 0 h 1426"/>
                  <a:gd name="T20" fmla="*/ 520 w 945"/>
                  <a:gd name="T21" fmla="*/ 0 h 1426"/>
                  <a:gd name="T22" fmla="*/ 520 w 945"/>
                  <a:gd name="T23" fmla="*/ 0 h 1426"/>
                  <a:gd name="T24" fmla="*/ 714 w 945"/>
                  <a:gd name="T25" fmla="*/ 0 h 1426"/>
                  <a:gd name="T26" fmla="*/ 732 w 945"/>
                  <a:gd name="T27" fmla="*/ 0 h 1426"/>
                  <a:gd name="T28" fmla="*/ 795 w 945"/>
                  <a:gd name="T29" fmla="*/ 0 h 1426"/>
                  <a:gd name="T30" fmla="*/ 607 w 945"/>
                  <a:gd name="T31" fmla="*/ 0 h 1426"/>
                  <a:gd name="T32" fmla="*/ 707 w 945"/>
                  <a:gd name="T33" fmla="*/ 0 h 1426"/>
                  <a:gd name="T34" fmla="*/ 820 w 945"/>
                  <a:gd name="T35" fmla="*/ 0 h 1426"/>
                  <a:gd name="T36" fmla="*/ 901 w 945"/>
                  <a:gd name="T37" fmla="*/ 0 h 1426"/>
                  <a:gd name="T38" fmla="*/ 801 w 945"/>
                  <a:gd name="T39" fmla="*/ 0 h 1426"/>
                  <a:gd name="T40" fmla="*/ 870 w 945"/>
                  <a:gd name="T41" fmla="*/ 0 h 1426"/>
                  <a:gd name="T42" fmla="*/ 807 w 945"/>
                  <a:gd name="T43" fmla="*/ 0 h 1426"/>
                  <a:gd name="T44" fmla="*/ 820 w 945"/>
                  <a:gd name="T45" fmla="*/ 0 h 1426"/>
                  <a:gd name="T46" fmla="*/ 801 w 945"/>
                  <a:gd name="T47" fmla="*/ 0 h 1426"/>
                  <a:gd name="T48" fmla="*/ 827 w 945"/>
                  <a:gd name="T49" fmla="*/ 0 h 1426"/>
                  <a:gd name="T50" fmla="*/ 795 w 945"/>
                  <a:gd name="T51" fmla="*/ 0 h 1426"/>
                  <a:gd name="T52" fmla="*/ 814 w 945"/>
                  <a:gd name="T53" fmla="*/ 0 h 1426"/>
                  <a:gd name="T54" fmla="*/ 820 w 945"/>
                  <a:gd name="T55" fmla="*/ 0 h 1426"/>
                  <a:gd name="T56" fmla="*/ 720 w 945"/>
                  <a:gd name="T57" fmla="*/ 0 h 1426"/>
                  <a:gd name="T58" fmla="*/ 740 w 945"/>
                  <a:gd name="T59" fmla="*/ 0 h 1426"/>
                  <a:gd name="T60" fmla="*/ 795 w 945"/>
                  <a:gd name="T61" fmla="*/ 0 h 1426"/>
                  <a:gd name="T62" fmla="*/ 789 w 945"/>
                  <a:gd name="T63" fmla="*/ 0 h 1426"/>
                  <a:gd name="T64" fmla="*/ 707 w 945"/>
                  <a:gd name="T65" fmla="*/ 0 h 1426"/>
                  <a:gd name="T66" fmla="*/ 726 w 945"/>
                  <a:gd name="T67" fmla="*/ 0 h 1426"/>
                  <a:gd name="T68" fmla="*/ 726 w 945"/>
                  <a:gd name="T69" fmla="*/ 0 h 1426"/>
                  <a:gd name="T70" fmla="*/ 639 w 945"/>
                  <a:gd name="T71" fmla="*/ 0 h 1426"/>
                  <a:gd name="T72" fmla="*/ 576 w 945"/>
                  <a:gd name="T73" fmla="*/ 0 h 1426"/>
                  <a:gd name="T74" fmla="*/ 551 w 945"/>
                  <a:gd name="T75" fmla="*/ 0 h 1426"/>
                  <a:gd name="T76" fmla="*/ 494 w 945"/>
                  <a:gd name="T77" fmla="*/ 0 h 1426"/>
                  <a:gd name="T78" fmla="*/ 494 w 945"/>
                  <a:gd name="T79" fmla="*/ 0 h 1426"/>
                  <a:gd name="T80" fmla="*/ 494 w 945"/>
                  <a:gd name="T81" fmla="*/ 0 h 1426"/>
                  <a:gd name="T82" fmla="*/ 456 w 945"/>
                  <a:gd name="T83" fmla="*/ 0 h 1426"/>
                  <a:gd name="T84" fmla="*/ 387 w 945"/>
                  <a:gd name="T85" fmla="*/ 0 h 1426"/>
                  <a:gd name="T86" fmla="*/ 369 w 945"/>
                  <a:gd name="T87" fmla="*/ 0 h 1426"/>
                  <a:gd name="T88" fmla="*/ 337 w 945"/>
                  <a:gd name="T89" fmla="*/ 0 h 1426"/>
                  <a:gd name="T90" fmla="*/ 326 w 945"/>
                  <a:gd name="T91" fmla="*/ 0 h 1426"/>
                  <a:gd name="T92" fmla="*/ 319 w 945"/>
                  <a:gd name="T93" fmla="*/ 0 h 1426"/>
                  <a:gd name="T94" fmla="*/ 313 w 945"/>
                  <a:gd name="T95" fmla="*/ 0 h 1426"/>
                  <a:gd name="T96" fmla="*/ 326 w 945"/>
                  <a:gd name="T97" fmla="*/ 0 h 1426"/>
                  <a:gd name="T98" fmla="*/ 350 w 945"/>
                  <a:gd name="T99" fmla="*/ 0 h 1426"/>
                  <a:gd name="T100" fmla="*/ 331 w 945"/>
                  <a:gd name="T101" fmla="*/ 0 h 1426"/>
                  <a:gd name="T102" fmla="*/ 300 w 945"/>
                  <a:gd name="T103" fmla="*/ 0 h 1426"/>
                  <a:gd name="T104" fmla="*/ 276 w 945"/>
                  <a:gd name="T105" fmla="*/ 0 h 1426"/>
                  <a:gd name="T106" fmla="*/ 257 w 945"/>
                  <a:gd name="T107" fmla="*/ 0 h 1426"/>
                  <a:gd name="T108" fmla="*/ 188 w 945"/>
                  <a:gd name="T109" fmla="*/ 0 h 1426"/>
                  <a:gd name="T110" fmla="*/ 106 w 945"/>
                  <a:gd name="T111" fmla="*/ 0 h 1426"/>
                  <a:gd name="T112" fmla="*/ 25 w 945"/>
                  <a:gd name="T113" fmla="*/ 0 h 1426"/>
                  <a:gd name="T114" fmla="*/ 106 w 945"/>
                  <a:gd name="T115" fmla="*/ 0 h 14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945" h="1426">
                    <a:moveTo>
                      <a:pt x="0" y="402"/>
                    </a:moveTo>
                    <a:lnTo>
                      <a:pt x="6" y="379"/>
                    </a:lnTo>
                    <a:lnTo>
                      <a:pt x="68" y="346"/>
                    </a:lnTo>
                    <a:lnTo>
                      <a:pt x="106" y="346"/>
                    </a:lnTo>
                    <a:lnTo>
                      <a:pt x="131" y="312"/>
                    </a:lnTo>
                    <a:lnTo>
                      <a:pt x="125" y="302"/>
                    </a:lnTo>
                    <a:lnTo>
                      <a:pt x="137" y="290"/>
                    </a:lnTo>
                    <a:lnTo>
                      <a:pt x="125" y="279"/>
                    </a:lnTo>
                    <a:lnTo>
                      <a:pt x="144" y="267"/>
                    </a:lnTo>
                    <a:lnTo>
                      <a:pt x="137" y="256"/>
                    </a:lnTo>
                    <a:lnTo>
                      <a:pt x="112" y="279"/>
                    </a:lnTo>
                    <a:lnTo>
                      <a:pt x="82" y="244"/>
                    </a:lnTo>
                    <a:lnTo>
                      <a:pt x="119" y="233"/>
                    </a:lnTo>
                    <a:lnTo>
                      <a:pt x="137" y="189"/>
                    </a:lnTo>
                    <a:lnTo>
                      <a:pt x="181" y="189"/>
                    </a:lnTo>
                    <a:lnTo>
                      <a:pt x="175" y="135"/>
                    </a:lnTo>
                    <a:lnTo>
                      <a:pt x="212" y="135"/>
                    </a:lnTo>
                    <a:lnTo>
                      <a:pt x="244" y="168"/>
                    </a:lnTo>
                    <a:lnTo>
                      <a:pt x="200" y="123"/>
                    </a:lnTo>
                    <a:lnTo>
                      <a:pt x="276" y="100"/>
                    </a:lnTo>
                    <a:lnTo>
                      <a:pt x="295" y="123"/>
                    </a:lnTo>
                    <a:lnTo>
                      <a:pt x="295" y="156"/>
                    </a:lnTo>
                    <a:lnTo>
                      <a:pt x="307" y="123"/>
                    </a:lnTo>
                    <a:lnTo>
                      <a:pt x="350" y="156"/>
                    </a:lnTo>
                    <a:lnTo>
                      <a:pt x="331" y="123"/>
                    </a:lnTo>
                    <a:lnTo>
                      <a:pt x="356" y="135"/>
                    </a:lnTo>
                    <a:lnTo>
                      <a:pt x="337" y="112"/>
                    </a:lnTo>
                    <a:lnTo>
                      <a:pt x="331" y="89"/>
                    </a:lnTo>
                    <a:lnTo>
                      <a:pt x="345" y="89"/>
                    </a:lnTo>
                    <a:lnTo>
                      <a:pt x="432" y="145"/>
                    </a:lnTo>
                    <a:lnTo>
                      <a:pt x="425" y="123"/>
                    </a:lnTo>
                    <a:lnTo>
                      <a:pt x="445" y="123"/>
                    </a:lnTo>
                    <a:lnTo>
                      <a:pt x="432" y="100"/>
                    </a:lnTo>
                    <a:lnTo>
                      <a:pt x="463" y="112"/>
                    </a:lnTo>
                    <a:lnTo>
                      <a:pt x="413" y="66"/>
                    </a:lnTo>
                    <a:lnTo>
                      <a:pt x="501" y="89"/>
                    </a:lnTo>
                    <a:lnTo>
                      <a:pt x="482" y="66"/>
                    </a:lnTo>
                    <a:lnTo>
                      <a:pt x="432" y="56"/>
                    </a:lnTo>
                    <a:lnTo>
                      <a:pt x="451" y="56"/>
                    </a:lnTo>
                    <a:lnTo>
                      <a:pt x="420" y="35"/>
                    </a:lnTo>
                    <a:lnTo>
                      <a:pt x="456" y="45"/>
                    </a:lnTo>
                    <a:lnTo>
                      <a:pt x="438" y="35"/>
                    </a:lnTo>
                    <a:lnTo>
                      <a:pt x="456" y="22"/>
                    </a:lnTo>
                    <a:lnTo>
                      <a:pt x="520" y="66"/>
                    </a:lnTo>
                    <a:lnTo>
                      <a:pt x="512" y="45"/>
                    </a:lnTo>
                    <a:lnTo>
                      <a:pt x="544" y="35"/>
                    </a:lnTo>
                    <a:lnTo>
                      <a:pt x="520" y="35"/>
                    </a:lnTo>
                    <a:lnTo>
                      <a:pt x="520" y="12"/>
                    </a:lnTo>
                    <a:lnTo>
                      <a:pt x="532" y="0"/>
                    </a:lnTo>
                    <a:lnTo>
                      <a:pt x="707" y="12"/>
                    </a:lnTo>
                    <a:lnTo>
                      <a:pt x="720" y="22"/>
                    </a:lnTo>
                    <a:lnTo>
                      <a:pt x="714" y="35"/>
                    </a:lnTo>
                    <a:lnTo>
                      <a:pt x="601" y="35"/>
                    </a:lnTo>
                    <a:lnTo>
                      <a:pt x="614" y="45"/>
                    </a:lnTo>
                    <a:lnTo>
                      <a:pt x="570" y="56"/>
                    </a:lnTo>
                    <a:lnTo>
                      <a:pt x="732" y="35"/>
                    </a:lnTo>
                    <a:lnTo>
                      <a:pt x="740" y="56"/>
                    </a:lnTo>
                    <a:lnTo>
                      <a:pt x="714" y="66"/>
                    </a:lnTo>
                    <a:lnTo>
                      <a:pt x="751" y="56"/>
                    </a:lnTo>
                    <a:lnTo>
                      <a:pt x="795" y="79"/>
                    </a:lnTo>
                    <a:lnTo>
                      <a:pt x="732" y="123"/>
                    </a:lnTo>
                    <a:lnTo>
                      <a:pt x="626" y="112"/>
                    </a:lnTo>
                    <a:lnTo>
                      <a:pt x="650" y="123"/>
                    </a:lnTo>
                    <a:lnTo>
                      <a:pt x="607" y="135"/>
                    </a:lnTo>
                    <a:lnTo>
                      <a:pt x="607" y="156"/>
                    </a:lnTo>
                    <a:lnTo>
                      <a:pt x="726" y="123"/>
                    </a:lnTo>
                    <a:lnTo>
                      <a:pt x="732" y="135"/>
                    </a:lnTo>
                    <a:lnTo>
                      <a:pt x="707" y="168"/>
                    </a:lnTo>
                    <a:lnTo>
                      <a:pt x="782" y="123"/>
                    </a:lnTo>
                    <a:lnTo>
                      <a:pt x="789" y="168"/>
                    </a:lnTo>
                    <a:lnTo>
                      <a:pt x="751" y="244"/>
                    </a:lnTo>
                    <a:lnTo>
                      <a:pt x="820" y="156"/>
                    </a:lnTo>
                    <a:lnTo>
                      <a:pt x="820" y="168"/>
                    </a:lnTo>
                    <a:lnTo>
                      <a:pt x="857" y="168"/>
                    </a:lnTo>
                    <a:lnTo>
                      <a:pt x="864" y="135"/>
                    </a:lnTo>
                    <a:lnTo>
                      <a:pt x="901" y="135"/>
                    </a:lnTo>
                    <a:lnTo>
                      <a:pt x="945" y="156"/>
                    </a:lnTo>
                    <a:lnTo>
                      <a:pt x="901" y="200"/>
                    </a:lnTo>
                    <a:lnTo>
                      <a:pt x="907" y="212"/>
                    </a:lnTo>
                    <a:lnTo>
                      <a:pt x="801" y="233"/>
                    </a:lnTo>
                    <a:lnTo>
                      <a:pt x="889" y="233"/>
                    </a:lnTo>
                    <a:lnTo>
                      <a:pt x="820" y="267"/>
                    </a:lnTo>
                    <a:lnTo>
                      <a:pt x="827" y="290"/>
                    </a:lnTo>
                    <a:lnTo>
                      <a:pt x="870" y="267"/>
                    </a:lnTo>
                    <a:lnTo>
                      <a:pt x="839" y="302"/>
                    </a:lnTo>
                    <a:lnTo>
                      <a:pt x="832" y="335"/>
                    </a:lnTo>
                    <a:lnTo>
                      <a:pt x="839" y="323"/>
                    </a:lnTo>
                    <a:lnTo>
                      <a:pt x="807" y="356"/>
                    </a:lnTo>
                    <a:lnTo>
                      <a:pt x="801" y="435"/>
                    </a:lnTo>
                    <a:lnTo>
                      <a:pt x="814" y="425"/>
                    </a:lnTo>
                    <a:lnTo>
                      <a:pt x="839" y="435"/>
                    </a:lnTo>
                    <a:lnTo>
                      <a:pt x="820" y="435"/>
                    </a:lnTo>
                    <a:lnTo>
                      <a:pt x="820" y="456"/>
                    </a:lnTo>
                    <a:lnTo>
                      <a:pt x="851" y="469"/>
                    </a:lnTo>
                    <a:lnTo>
                      <a:pt x="857" y="490"/>
                    </a:lnTo>
                    <a:lnTo>
                      <a:pt x="801" y="490"/>
                    </a:lnTo>
                    <a:lnTo>
                      <a:pt x="814" y="500"/>
                    </a:lnTo>
                    <a:lnTo>
                      <a:pt x="789" y="500"/>
                    </a:lnTo>
                    <a:lnTo>
                      <a:pt x="801" y="534"/>
                    </a:lnTo>
                    <a:lnTo>
                      <a:pt x="827" y="534"/>
                    </a:lnTo>
                    <a:lnTo>
                      <a:pt x="814" y="557"/>
                    </a:lnTo>
                    <a:lnTo>
                      <a:pt x="832" y="569"/>
                    </a:lnTo>
                    <a:lnTo>
                      <a:pt x="832" y="602"/>
                    </a:lnTo>
                    <a:lnTo>
                      <a:pt x="795" y="579"/>
                    </a:lnTo>
                    <a:lnTo>
                      <a:pt x="820" y="602"/>
                    </a:lnTo>
                    <a:lnTo>
                      <a:pt x="801" y="613"/>
                    </a:lnTo>
                    <a:lnTo>
                      <a:pt x="814" y="613"/>
                    </a:lnTo>
                    <a:lnTo>
                      <a:pt x="814" y="636"/>
                    </a:lnTo>
                    <a:lnTo>
                      <a:pt x="839" y="646"/>
                    </a:lnTo>
                    <a:lnTo>
                      <a:pt x="795" y="646"/>
                    </a:lnTo>
                    <a:lnTo>
                      <a:pt x="789" y="657"/>
                    </a:lnTo>
                    <a:lnTo>
                      <a:pt x="820" y="690"/>
                    </a:lnTo>
                    <a:lnTo>
                      <a:pt x="820" y="713"/>
                    </a:lnTo>
                    <a:lnTo>
                      <a:pt x="789" y="725"/>
                    </a:lnTo>
                    <a:lnTo>
                      <a:pt x="764" y="690"/>
                    </a:lnTo>
                    <a:lnTo>
                      <a:pt x="720" y="725"/>
                    </a:lnTo>
                    <a:lnTo>
                      <a:pt x="751" y="736"/>
                    </a:lnTo>
                    <a:lnTo>
                      <a:pt x="720" y="757"/>
                    </a:lnTo>
                    <a:lnTo>
                      <a:pt x="751" y="757"/>
                    </a:lnTo>
                    <a:lnTo>
                      <a:pt x="740" y="790"/>
                    </a:lnTo>
                    <a:lnTo>
                      <a:pt x="751" y="769"/>
                    </a:lnTo>
                    <a:lnTo>
                      <a:pt x="789" y="801"/>
                    </a:lnTo>
                    <a:lnTo>
                      <a:pt x="776" y="824"/>
                    </a:lnTo>
                    <a:lnTo>
                      <a:pt x="795" y="813"/>
                    </a:lnTo>
                    <a:lnTo>
                      <a:pt x="789" y="846"/>
                    </a:lnTo>
                    <a:lnTo>
                      <a:pt x="801" y="834"/>
                    </a:lnTo>
                    <a:lnTo>
                      <a:pt x="801" y="892"/>
                    </a:lnTo>
                    <a:lnTo>
                      <a:pt x="789" y="869"/>
                    </a:lnTo>
                    <a:lnTo>
                      <a:pt x="789" y="892"/>
                    </a:lnTo>
                    <a:lnTo>
                      <a:pt x="770" y="892"/>
                    </a:lnTo>
                    <a:lnTo>
                      <a:pt x="751" y="834"/>
                    </a:lnTo>
                    <a:lnTo>
                      <a:pt x="707" y="813"/>
                    </a:lnTo>
                    <a:lnTo>
                      <a:pt x="740" y="846"/>
                    </a:lnTo>
                    <a:lnTo>
                      <a:pt x="695" y="859"/>
                    </a:lnTo>
                    <a:lnTo>
                      <a:pt x="689" y="892"/>
                    </a:lnTo>
                    <a:lnTo>
                      <a:pt x="726" y="903"/>
                    </a:lnTo>
                    <a:lnTo>
                      <a:pt x="689" y="913"/>
                    </a:lnTo>
                    <a:lnTo>
                      <a:pt x="740" y="892"/>
                    </a:lnTo>
                    <a:lnTo>
                      <a:pt x="789" y="924"/>
                    </a:lnTo>
                    <a:lnTo>
                      <a:pt x="726" y="991"/>
                    </a:lnTo>
                    <a:lnTo>
                      <a:pt x="669" y="1026"/>
                    </a:lnTo>
                    <a:lnTo>
                      <a:pt x="645" y="1026"/>
                    </a:lnTo>
                    <a:lnTo>
                      <a:pt x="632" y="991"/>
                    </a:lnTo>
                    <a:lnTo>
                      <a:pt x="639" y="1026"/>
                    </a:lnTo>
                    <a:lnTo>
                      <a:pt x="620" y="1047"/>
                    </a:lnTo>
                    <a:lnTo>
                      <a:pt x="601" y="1114"/>
                    </a:lnTo>
                    <a:lnTo>
                      <a:pt x="581" y="1114"/>
                    </a:lnTo>
                    <a:lnTo>
                      <a:pt x="576" y="1136"/>
                    </a:lnTo>
                    <a:lnTo>
                      <a:pt x="557" y="1136"/>
                    </a:lnTo>
                    <a:lnTo>
                      <a:pt x="551" y="1136"/>
                    </a:lnTo>
                    <a:lnTo>
                      <a:pt x="563" y="1114"/>
                    </a:lnTo>
                    <a:lnTo>
                      <a:pt x="551" y="1114"/>
                    </a:lnTo>
                    <a:lnTo>
                      <a:pt x="544" y="1159"/>
                    </a:lnTo>
                    <a:lnTo>
                      <a:pt x="512" y="1159"/>
                    </a:lnTo>
                    <a:lnTo>
                      <a:pt x="512" y="1193"/>
                    </a:lnTo>
                    <a:lnTo>
                      <a:pt x="494" y="1193"/>
                    </a:lnTo>
                    <a:lnTo>
                      <a:pt x="512" y="1214"/>
                    </a:lnTo>
                    <a:lnTo>
                      <a:pt x="494" y="1224"/>
                    </a:lnTo>
                    <a:lnTo>
                      <a:pt x="507" y="1247"/>
                    </a:lnTo>
                    <a:lnTo>
                      <a:pt x="494" y="1247"/>
                    </a:lnTo>
                    <a:lnTo>
                      <a:pt x="507" y="1258"/>
                    </a:lnTo>
                    <a:lnTo>
                      <a:pt x="494" y="1281"/>
                    </a:lnTo>
                    <a:lnTo>
                      <a:pt x="482" y="1281"/>
                    </a:lnTo>
                    <a:lnTo>
                      <a:pt x="494" y="1291"/>
                    </a:lnTo>
                    <a:lnTo>
                      <a:pt x="470" y="1303"/>
                    </a:lnTo>
                    <a:lnTo>
                      <a:pt x="482" y="1347"/>
                    </a:lnTo>
                    <a:lnTo>
                      <a:pt x="470" y="1402"/>
                    </a:lnTo>
                    <a:lnTo>
                      <a:pt x="456" y="1402"/>
                    </a:lnTo>
                    <a:lnTo>
                      <a:pt x="470" y="1426"/>
                    </a:lnTo>
                    <a:lnTo>
                      <a:pt x="438" y="1426"/>
                    </a:lnTo>
                    <a:lnTo>
                      <a:pt x="432" y="1391"/>
                    </a:lnTo>
                    <a:lnTo>
                      <a:pt x="387" y="1391"/>
                    </a:lnTo>
                    <a:lnTo>
                      <a:pt x="401" y="1381"/>
                    </a:lnTo>
                    <a:lnTo>
                      <a:pt x="376" y="1370"/>
                    </a:lnTo>
                    <a:lnTo>
                      <a:pt x="387" y="1358"/>
                    </a:lnTo>
                    <a:lnTo>
                      <a:pt x="369" y="1358"/>
                    </a:lnTo>
                    <a:lnTo>
                      <a:pt x="376" y="1326"/>
                    </a:lnTo>
                    <a:lnTo>
                      <a:pt x="369" y="1337"/>
                    </a:lnTo>
                    <a:lnTo>
                      <a:pt x="337" y="1258"/>
                    </a:lnTo>
                    <a:lnTo>
                      <a:pt x="337" y="1237"/>
                    </a:lnTo>
                    <a:lnTo>
                      <a:pt x="356" y="1203"/>
                    </a:lnTo>
                    <a:lnTo>
                      <a:pt x="350" y="1193"/>
                    </a:lnTo>
                    <a:lnTo>
                      <a:pt x="326" y="1224"/>
                    </a:lnTo>
                    <a:lnTo>
                      <a:pt x="326" y="1170"/>
                    </a:lnTo>
                    <a:lnTo>
                      <a:pt x="307" y="1136"/>
                    </a:lnTo>
                    <a:lnTo>
                      <a:pt x="313" y="1091"/>
                    </a:lnTo>
                    <a:lnTo>
                      <a:pt x="300" y="1070"/>
                    </a:lnTo>
                    <a:lnTo>
                      <a:pt x="319" y="1026"/>
                    </a:lnTo>
                    <a:lnTo>
                      <a:pt x="307" y="1026"/>
                    </a:lnTo>
                    <a:lnTo>
                      <a:pt x="345" y="1026"/>
                    </a:lnTo>
                    <a:lnTo>
                      <a:pt x="345" y="1003"/>
                    </a:lnTo>
                    <a:lnTo>
                      <a:pt x="313" y="1003"/>
                    </a:lnTo>
                    <a:lnTo>
                      <a:pt x="356" y="968"/>
                    </a:lnTo>
                    <a:lnTo>
                      <a:pt x="345" y="957"/>
                    </a:lnTo>
                    <a:lnTo>
                      <a:pt x="356" y="913"/>
                    </a:lnTo>
                    <a:lnTo>
                      <a:pt x="326" y="913"/>
                    </a:lnTo>
                    <a:lnTo>
                      <a:pt x="287" y="880"/>
                    </a:lnTo>
                    <a:lnTo>
                      <a:pt x="350" y="903"/>
                    </a:lnTo>
                    <a:lnTo>
                      <a:pt x="337" y="880"/>
                    </a:lnTo>
                    <a:lnTo>
                      <a:pt x="350" y="880"/>
                    </a:lnTo>
                    <a:lnTo>
                      <a:pt x="326" y="846"/>
                    </a:lnTo>
                    <a:lnTo>
                      <a:pt x="331" y="834"/>
                    </a:lnTo>
                    <a:lnTo>
                      <a:pt x="319" y="846"/>
                    </a:lnTo>
                    <a:lnTo>
                      <a:pt x="331" y="834"/>
                    </a:lnTo>
                    <a:lnTo>
                      <a:pt x="313" y="834"/>
                    </a:lnTo>
                    <a:lnTo>
                      <a:pt x="331" y="824"/>
                    </a:lnTo>
                    <a:lnTo>
                      <a:pt x="307" y="801"/>
                    </a:lnTo>
                    <a:lnTo>
                      <a:pt x="300" y="834"/>
                    </a:lnTo>
                    <a:lnTo>
                      <a:pt x="276" y="834"/>
                    </a:lnTo>
                    <a:lnTo>
                      <a:pt x="269" y="824"/>
                    </a:lnTo>
                    <a:lnTo>
                      <a:pt x="287" y="801"/>
                    </a:lnTo>
                    <a:lnTo>
                      <a:pt x="276" y="801"/>
                    </a:lnTo>
                    <a:lnTo>
                      <a:pt x="287" y="746"/>
                    </a:lnTo>
                    <a:lnTo>
                      <a:pt x="276" y="736"/>
                    </a:lnTo>
                    <a:lnTo>
                      <a:pt x="281" y="713"/>
                    </a:lnTo>
                    <a:lnTo>
                      <a:pt x="257" y="646"/>
                    </a:lnTo>
                    <a:lnTo>
                      <a:pt x="262" y="646"/>
                    </a:lnTo>
                    <a:lnTo>
                      <a:pt x="225" y="592"/>
                    </a:lnTo>
                    <a:lnTo>
                      <a:pt x="225" y="569"/>
                    </a:lnTo>
                    <a:lnTo>
                      <a:pt x="188" y="546"/>
                    </a:lnTo>
                    <a:lnTo>
                      <a:pt x="156" y="523"/>
                    </a:lnTo>
                    <a:lnTo>
                      <a:pt x="119" y="557"/>
                    </a:lnTo>
                    <a:lnTo>
                      <a:pt x="93" y="534"/>
                    </a:lnTo>
                    <a:lnTo>
                      <a:pt x="106" y="557"/>
                    </a:lnTo>
                    <a:lnTo>
                      <a:pt x="75" y="546"/>
                    </a:lnTo>
                    <a:lnTo>
                      <a:pt x="56" y="523"/>
                    </a:lnTo>
                    <a:lnTo>
                      <a:pt x="75" y="500"/>
                    </a:lnTo>
                    <a:lnTo>
                      <a:pt x="25" y="490"/>
                    </a:lnTo>
                    <a:lnTo>
                      <a:pt x="43" y="469"/>
                    </a:lnTo>
                    <a:lnTo>
                      <a:pt x="106" y="469"/>
                    </a:lnTo>
                    <a:lnTo>
                      <a:pt x="112" y="469"/>
                    </a:lnTo>
                    <a:lnTo>
                      <a:pt x="106" y="456"/>
                    </a:lnTo>
                    <a:lnTo>
                      <a:pt x="112" y="446"/>
                    </a:lnTo>
                    <a:lnTo>
                      <a:pt x="56" y="456"/>
                    </a:lnTo>
                    <a:lnTo>
                      <a:pt x="0" y="402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79" name="Freeform 358"/>
              <p:cNvSpPr>
                <a:spLocks/>
              </p:cNvSpPr>
              <p:nvPr/>
            </p:nvSpPr>
            <p:spPr bwMode="auto">
              <a:xfrm>
                <a:off x="1806" y="844"/>
                <a:ext cx="945" cy="712"/>
              </a:xfrm>
              <a:custGeom>
                <a:avLst/>
                <a:gdLst>
                  <a:gd name="T0" fmla="*/ 106 w 945"/>
                  <a:gd name="T1" fmla="*/ 0 h 1426"/>
                  <a:gd name="T2" fmla="*/ 125 w 945"/>
                  <a:gd name="T3" fmla="*/ 0 h 1426"/>
                  <a:gd name="T4" fmla="*/ 82 w 945"/>
                  <a:gd name="T5" fmla="*/ 0 h 1426"/>
                  <a:gd name="T6" fmla="*/ 175 w 945"/>
                  <a:gd name="T7" fmla="*/ 0 h 1426"/>
                  <a:gd name="T8" fmla="*/ 276 w 945"/>
                  <a:gd name="T9" fmla="*/ 0 h 1426"/>
                  <a:gd name="T10" fmla="*/ 350 w 945"/>
                  <a:gd name="T11" fmla="*/ 0 h 1426"/>
                  <a:gd name="T12" fmla="*/ 331 w 945"/>
                  <a:gd name="T13" fmla="*/ 0 h 1426"/>
                  <a:gd name="T14" fmla="*/ 445 w 945"/>
                  <a:gd name="T15" fmla="*/ 0 h 1426"/>
                  <a:gd name="T16" fmla="*/ 501 w 945"/>
                  <a:gd name="T17" fmla="*/ 0 h 1426"/>
                  <a:gd name="T18" fmla="*/ 420 w 945"/>
                  <a:gd name="T19" fmla="*/ 0 h 1426"/>
                  <a:gd name="T20" fmla="*/ 520 w 945"/>
                  <a:gd name="T21" fmla="*/ 0 h 1426"/>
                  <a:gd name="T22" fmla="*/ 520 w 945"/>
                  <a:gd name="T23" fmla="*/ 0 h 1426"/>
                  <a:gd name="T24" fmla="*/ 714 w 945"/>
                  <a:gd name="T25" fmla="*/ 0 h 1426"/>
                  <a:gd name="T26" fmla="*/ 732 w 945"/>
                  <a:gd name="T27" fmla="*/ 0 h 1426"/>
                  <a:gd name="T28" fmla="*/ 795 w 945"/>
                  <a:gd name="T29" fmla="*/ 0 h 1426"/>
                  <a:gd name="T30" fmla="*/ 607 w 945"/>
                  <a:gd name="T31" fmla="*/ 0 h 1426"/>
                  <a:gd name="T32" fmla="*/ 707 w 945"/>
                  <a:gd name="T33" fmla="*/ 0 h 1426"/>
                  <a:gd name="T34" fmla="*/ 820 w 945"/>
                  <a:gd name="T35" fmla="*/ 0 h 1426"/>
                  <a:gd name="T36" fmla="*/ 901 w 945"/>
                  <a:gd name="T37" fmla="*/ 0 h 1426"/>
                  <a:gd name="T38" fmla="*/ 801 w 945"/>
                  <a:gd name="T39" fmla="*/ 0 h 1426"/>
                  <a:gd name="T40" fmla="*/ 870 w 945"/>
                  <a:gd name="T41" fmla="*/ 0 h 1426"/>
                  <a:gd name="T42" fmla="*/ 807 w 945"/>
                  <a:gd name="T43" fmla="*/ 0 h 1426"/>
                  <a:gd name="T44" fmla="*/ 820 w 945"/>
                  <a:gd name="T45" fmla="*/ 0 h 1426"/>
                  <a:gd name="T46" fmla="*/ 801 w 945"/>
                  <a:gd name="T47" fmla="*/ 0 h 1426"/>
                  <a:gd name="T48" fmla="*/ 827 w 945"/>
                  <a:gd name="T49" fmla="*/ 0 h 1426"/>
                  <a:gd name="T50" fmla="*/ 795 w 945"/>
                  <a:gd name="T51" fmla="*/ 0 h 1426"/>
                  <a:gd name="T52" fmla="*/ 814 w 945"/>
                  <a:gd name="T53" fmla="*/ 0 h 1426"/>
                  <a:gd name="T54" fmla="*/ 820 w 945"/>
                  <a:gd name="T55" fmla="*/ 0 h 1426"/>
                  <a:gd name="T56" fmla="*/ 720 w 945"/>
                  <a:gd name="T57" fmla="*/ 0 h 1426"/>
                  <a:gd name="T58" fmla="*/ 740 w 945"/>
                  <a:gd name="T59" fmla="*/ 0 h 1426"/>
                  <a:gd name="T60" fmla="*/ 795 w 945"/>
                  <a:gd name="T61" fmla="*/ 0 h 1426"/>
                  <a:gd name="T62" fmla="*/ 789 w 945"/>
                  <a:gd name="T63" fmla="*/ 0 h 1426"/>
                  <a:gd name="T64" fmla="*/ 707 w 945"/>
                  <a:gd name="T65" fmla="*/ 0 h 1426"/>
                  <a:gd name="T66" fmla="*/ 726 w 945"/>
                  <a:gd name="T67" fmla="*/ 0 h 1426"/>
                  <a:gd name="T68" fmla="*/ 726 w 945"/>
                  <a:gd name="T69" fmla="*/ 0 h 1426"/>
                  <a:gd name="T70" fmla="*/ 639 w 945"/>
                  <a:gd name="T71" fmla="*/ 0 h 1426"/>
                  <a:gd name="T72" fmla="*/ 576 w 945"/>
                  <a:gd name="T73" fmla="*/ 0 h 1426"/>
                  <a:gd name="T74" fmla="*/ 551 w 945"/>
                  <a:gd name="T75" fmla="*/ 0 h 1426"/>
                  <a:gd name="T76" fmla="*/ 494 w 945"/>
                  <a:gd name="T77" fmla="*/ 0 h 1426"/>
                  <a:gd name="T78" fmla="*/ 494 w 945"/>
                  <a:gd name="T79" fmla="*/ 0 h 1426"/>
                  <a:gd name="T80" fmla="*/ 494 w 945"/>
                  <a:gd name="T81" fmla="*/ 0 h 1426"/>
                  <a:gd name="T82" fmla="*/ 456 w 945"/>
                  <a:gd name="T83" fmla="*/ 0 h 1426"/>
                  <a:gd name="T84" fmla="*/ 387 w 945"/>
                  <a:gd name="T85" fmla="*/ 0 h 1426"/>
                  <a:gd name="T86" fmla="*/ 369 w 945"/>
                  <a:gd name="T87" fmla="*/ 0 h 1426"/>
                  <a:gd name="T88" fmla="*/ 337 w 945"/>
                  <a:gd name="T89" fmla="*/ 0 h 1426"/>
                  <a:gd name="T90" fmla="*/ 326 w 945"/>
                  <a:gd name="T91" fmla="*/ 0 h 1426"/>
                  <a:gd name="T92" fmla="*/ 319 w 945"/>
                  <a:gd name="T93" fmla="*/ 0 h 1426"/>
                  <a:gd name="T94" fmla="*/ 313 w 945"/>
                  <a:gd name="T95" fmla="*/ 0 h 1426"/>
                  <a:gd name="T96" fmla="*/ 326 w 945"/>
                  <a:gd name="T97" fmla="*/ 0 h 1426"/>
                  <a:gd name="T98" fmla="*/ 350 w 945"/>
                  <a:gd name="T99" fmla="*/ 0 h 1426"/>
                  <a:gd name="T100" fmla="*/ 331 w 945"/>
                  <a:gd name="T101" fmla="*/ 0 h 1426"/>
                  <a:gd name="T102" fmla="*/ 300 w 945"/>
                  <a:gd name="T103" fmla="*/ 0 h 1426"/>
                  <a:gd name="T104" fmla="*/ 276 w 945"/>
                  <a:gd name="T105" fmla="*/ 0 h 1426"/>
                  <a:gd name="T106" fmla="*/ 257 w 945"/>
                  <a:gd name="T107" fmla="*/ 0 h 1426"/>
                  <a:gd name="T108" fmla="*/ 188 w 945"/>
                  <a:gd name="T109" fmla="*/ 0 h 1426"/>
                  <a:gd name="T110" fmla="*/ 106 w 945"/>
                  <a:gd name="T111" fmla="*/ 0 h 1426"/>
                  <a:gd name="T112" fmla="*/ 25 w 945"/>
                  <a:gd name="T113" fmla="*/ 0 h 1426"/>
                  <a:gd name="T114" fmla="*/ 106 w 945"/>
                  <a:gd name="T115" fmla="*/ 0 h 14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945" h="1426">
                    <a:moveTo>
                      <a:pt x="0" y="402"/>
                    </a:moveTo>
                    <a:lnTo>
                      <a:pt x="6" y="379"/>
                    </a:lnTo>
                    <a:lnTo>
                      <a:pt x="68" y="346"/>
                    </a:lnTo>
                    <a:lnTo>
                      <a:pt x="106" y="346"/>
                    </a:lnTo>
                    <a:lnTo>
                      <a:pt x="131" y="312"/>
                    </a:lnTo>
                    <a:lnTo>
                      <a:pt x="125" y="302"/>
                    </a:lnTo>
                    <a:lnTo>
                      <a:pt x="137" y="290"/>
                    </a:lnTo>
                    <a:lnTo>
                      <a:pt x="125" y="279"/>
                    </a:lnTo>
                    <a:lnTo>
                      <a:pt x="144" y="267"/>
                    </a:lnTo>
                    <a:lnTo>
                      <a:pt x="137" y="256"/>
                    </a:lnTo>
                    <a:lnTo>
                      <a:pt x="112" y="279"/>
                    </a:lnTo>
                    <a:lnTo>
                      <a:pt x="82" y="244"/>
                    </a:lnTo>
                    <a:lnTo>
                      <a:pt x="119" y="233"/>
                    </a:lnTo>
                    <a:lnTo>
                      <a:pt x="137" y="189"/>
                    </a:lnTo>
                    <a:lnTo>
                      <a:pt x="181" y="189"/>
                    </a:lnTo>
                    <a:lnTo>
                      <a:pt x="175" y="135"/>
                    </a:lnTo>
                    <a:lnTo>
                      <a:pt x="212" y="135"/>
                    </a:lnTo>
                    <a:lnTo>
                      <a:pt x="244" y="168"/>
                    </a:lnTo>
                    <a:lnTo>
                      <a:pt x="200" y="123"/>
                    </a:lnTo>
                    <a:lnTo>
                      <a:pt x="276" y="100"/>
                    </a:lnTo>
                    <a:lnTo>
                      <a:pt x="295" y="123"/>
                    </a:lnTo>
                    <a:lnTo>
                      <a:pt x="295" y="156"/>
                    </a:lnTo>
                    <a:lnTo>
                      <a:pt x="307" y="123"/>
                    </a:lnTo>
                    <a:lnTo>
                      <a:pt x="350" y="156"/>
                    </a:lnTo>
                    <a:lnTo>
                      <a:pt x="331" y="123"/>
                    </a:lnTo>
                    <a:lnTo>
                      <a:pt x="356" y="135"/>
                    </a:lnTo>
                    <a:lnTo>
                      <a:pt x="337" y="112"/>
                    </a:lnTo>
                    <a:lnTo>
                      <a:pt x="331" y="89"/>
                    </a:lnTo>
                    <a:lnTo>
                      <a:pt x="345" y="89"/>
                    </a:lnTo>
                    <a:lnTo>
                      <a:pt x="432" y="145"/>
                    </a:lnTo>
                    <a:lnTo>
                      <a:pt x="425" y="123"/>
                    </a:lnTo>
                    <a:lnTo>
                      <a:pt x="445" y="123"/>
                    </a:lnTo>
                    <a:lnTo>
                      <a:pt x="432" y="100"/>
                    </a:lnTo>
                    <a:lnTo>
                      <a:pt x="463" y="112"/>
                    </a:lnTo>
                    <a:lnTo>
                      <a:pt x="413" y="66"/>
                    </a:lnTo>
                    <a:lnTo>
                      <a:pt x="501" y="89"/>
                    </a:lnTo>
                    <a:lnTo>
                      <a:pt x="482" y="66"/>
                    </a:lnTo>
                    <a:lnTo>
                      <a:pt x="432" y="56"/>
                    </a:lnTo>
                    <a:lnTo>
                      <a:pt x="451" y="56"/>
                    </a:lnTo>
                    <a:lnTo>
                      <a:pt x="420" y="35"/>
                    </a:lnTo>
                    <a:lnTo>
                      <a:pt x="456" y="45"/>
                    </a:lnTo>
                    <a:lnTo>
                      <a:pt x="438" y="35"/>
                    </a:lnTo>
                    <a:lnTo>
                      <a:pt x="456" y="22"/>
                    </a:lnTo>
                    <a:lnTo>
                      <a:pt x="520" y="66"/>
                    </a:lnTo>
                    <a:lnTo>
                      <a:pt x="512" y="45"/>
                    </a:lnTo>
                    <a:lnTo>
                      <a:pt x="544" y="35"/>
                    </a:lnTo>
                    <a:lnTo>
                      <a:pt x="520" y="35"/>
                    </a:lnTo>
                    <a:lnTo>
                      <a:pt x="520" y="12"/>
                    </a:lnTo>
                    <a:lnTo>
                      <a:pt x="532" y="0"/>
                    </a:lnTo>
                    <a:lnTo>
                      <a:pt x="707" y="12"/>
                    </a:lnTo>
                    <a:lnTo>
                      <a:pt x="720" y="22"/>
                    </a:lnTo>
                    <a:lnTo>
                      <a:pt x="714" y="35"/>
                    </a:lnTo>
                    <a:lnTo>
                      <a:pt x="601" y="35"/>
                    </a:lnTo>
                    <a:lnTo>
                      <a:pt x="614" y="45"/>
                    </a:lnTo>
                    <a:lnTo>
                      <a:pt x="570" y="56"/>
                    </a:lnTo>
                    <a:lnTo>
                      <a:pt x="732" y="35"/>
                    </a:lnTo>
                    <a:lnTo>
                      <a:pt x="740" y="56"/>
                    </a:lnTo>
                    <a:lnTo>
                      <a:pt x="714" y="66"/>
                    </a:lnTo>
                    <a:lnTo>
                      <a:pt x="751" y="56"/>
                    </a:lnTo>
                    <a:lnTo>
                      <a:pt x="795" y="79"/>
                    </a:lnTo>
                    <a:lnTo>
                      <a:pt x="732" y="123"/>
                    </a:lnTo>
                    <a:lnTo>
                      <a:pt x="626" y="112"/>
                    </a:lnTo>
                    <a:lnTo>
                      <a:pt x="650" y="123"/>
                    </a:lnTo>
                    <a:lnTo>
                      <a:pt x="607" y="135"/>
                    </a:lnTo>
                    <a:lnTo>
                      <a:pt x="607" y="156"/>
                    </a:lnTo>
                    <a:lnTo>
                      <a:pt x="726" y="123"/>
                    </a:lnTo>
                    <a:lnTo>
                      <a:pt x="732" y="135"/>
                    </a:lnTo>
                    <a:lnTo>
                      <a:pt x="707" y="168"/>
                    </a:lnTo>
                    <a:lnTo>
                      <a:pt x="782" y="123"/>
                    </a:lnTo>
                    <a:lnTo>
                      <a:pt x="789" y="168"/>
                    </a:lnTo>
                    <a:lnTo>
                      <a:pt x="751" y="244"/>
                    </a:lnTo>
                    <a:lnTo>
                      <a:pt x="820" y="156"/>
                    </a:lnTo>
                    <a:lnTo>
                      <a:pt x="820" y="168"/>
                    </a:lnTo>
                    <a:lnTo>
                      <a:pt x="857" y="168"/>
                    </a:lnTo>
                    <a:lnTo>
                      <a:pt x="864" y="135"/>
                    </a:lnTo>
                    <a:lnTo>
                      <a:pt x="901" y="135"/>
                    </a:lnTo>
                    <a:lnTo>
                      <a:pt x="945" y="156"/>
                    </a:lnTo>
                    <a:lnTo>
                      <a:pt x="901" y="200"/>
                    </a:lnTo>
                    <a:lnTo>
                      <a:pt x="907" y="212"/>
                    </a:lnTo>
                    <a:lnTo>
                      <a:pt x="801" y="233"/>
                    </a:lnTo>
                    <a:lnTo>
                      <a:pt x="889" y="233"/>
                    </a:lnTo>
                    <a:lnTo>
                      <a:pt x="820" y="267"/>
                    </a:lnTo>
                    <a:lnTo>
                      <a:pt x="827" y="290"/>
                    </a:lnTo>
                    <a:lnTo>
                      <a:pt x="870" y="267"/>
                    </a:lnTo>
                    <a:lnTo>
                      <a:pt x="839" y="302"/>
                    </a:lnTo>
                    <a:lnTo>
                      <a:pt x="832" y="335"/>
                    </a:lnTo>
                    <a:lnTo>
                      <a:pt x="839" y="323"/>
                    </a:lnTo>
                    <a:lnTo>
                      <a:pt x="807" y="356"/>
                    </a:lnTo>
                    <a:lnTo>
                      <a:pt x="801" y="435"/>
                    </a:lnTo>
                    <a:lnTo>
                      <a:pt x="814" y="425"/>
                    </a:lnTo>
                    <a:lnTo>
                      <a:pt x="839" y="435"/>
                    </a:lnTo>
                    <a:lnTo>
                      <a:pt x="820" y="435"/>
                    </a:lnTo>
                    <a:lnTo>
                      <a:pt x="820" y="456"/>
                    </a:lnTo>
                    <a:lnTo>
                      <a:pt x="851" y="469"/>
                    </a:lnTo>
                    <a:lnTo>
                      <a:pt x="857" y="490"/>
                    </a:lnTo>
                    <a:lnTo>
                      <a:pt x="801" y="490"/>
                    </a:lnTo>
                    <a:lnTo>
                      <a:pt x="814" y="500"/>
                    </a:lnTo>
                    <a:lnTo>
                      <a:pt x="789" y="500"/>
                    </a:lnTo>
                    <a:lnTo>
                      <a:pt x="801" y="534"/>
                    </a:lnTo>
                    <a:lnTo>
                      <a:pt x="827" y="534"/>
                    </a:lnTo>
                    <a:lnTo>
                      <a:pt x="814" y="557"/>
                    </a:lnTo>
                    <a:lnTo>
                      <a:pt x="832" y="569"/>
                    </a:lnTo>
                    <a:lnTo>
                      <a:pt x="832" y="602"/>
                    </a:lnTo>
                    <a:lnTo>
                      <a:pt x="795" y="579"/>
                    </a:lnTo>
                    <a:lnTo>
                      <a:pt x="820" y="602"/>
                    </a:lnTo>
                    <a:lnTo>
                      <a:pt x="801" y="613"/>
                    </a:lnTo>
                    <a:lnTo>
                      <a:pt x="814" y="613"/>
                    </a:lnTo>
                    <a:lnTo>
                      <a:pt x="814" y="636"/>
                    </a:lnTo>
                    <a:lnTo>
                      <a:pt x="839" y="646"/>
                    </a:lnTo>
                    <a:lnTo>
                      <a:pt x="795" y="646"/>
                    </a:lnTo>
                    <a:lnTo>
                      <a:pt x="789" y="657"/>
                    </a:lnTo>
                    <a:lnTo>
                      <a:pt x="820" y="690"/>
                    </a:lnTo>
                    <a:lnTo>
                      <a:pt x="820" y="713"/>
                    </a:lnTo>
                    <a:lnTo>
                      <a:pt x="789" y="725"/>
                    </a:lnTo>
                    <a:lnTo>
                      <a:pt x="764" y="690"/>
                    </a:lnTo>
                    <a:lnTo>
                      <a:pt x="720" y="725"/>
                    </a:lnTo>
                    <a:lnTo>
                      <a:pt x="751" y="736"/>
                    </a:lnTo>
                    <a:lnTo>
                      <a:pt x="720" y="757"/>
                    </a:lnTo>
                    <a:lnTo>
                      <a:pt x="751" y="757"/>
                    </a:lnTo>
                    <a:lnTo>
                      <a:pt x="740" y="790"/>
                    </a:lnTo>
                    <a:lnTo>
                      <a:pt x="751" y="769"/>
                    </a:lnTo>
                    <a:lnTo>
                      <a:pt x="789" y="801"/>
                    </a:lnTo>
                    <a:lnTo>
                      <a:pt x="776" y="824"/>
                    </a:lnTo>
                    <a:lnTo>
                      <a:pt x="795" y="813"/>
                    </a:lnTo>
                    <a:lnTo>
                      <a:pt x="789" y="846"/>
                    </a:lnTo>
                    <a:lnTo>
                      <a:pt x="801" y="834"/>
                    </a:lnTo>
                    <a:lnTo>
                      <a:pt x="801" y="892"/>
                    </a:lnTo>
                    <a:lnTo>
                      <a:pt x="789" y="869"/>
                    </a:lnTo>
                    <a:lnTo>
                      <a:pt x="789" y="892"/>
                    </a:lnTo>
                    <a:lnTo>
                      <a:pt x="770" y="892"/>
                    </a:lnTo>
                    <a:lnTo>
                      <a:pt x="751" y="834"/>
                    </a:lnTo>
                    <a:lnTo>
                      <a:pt x="707" y="813"/>
                    </a:lnTo>
                    <a:lnTo>
                      <a:pt x="740" y="846"/>
                    </a:lnTo>
                    <a:lnTo>
                      <a:pt x="695" y="859"/>
                    </a:lnTo>
                    <a:lnTo>
                      <a:pt x="689" y="892"/>
                    </a:lnTo>
                    <a:lnTo>
                      <a:pt x="726" y="903"/>
                    </a:lnTo>
                    <a:lnTo>
                      <a:pt x="689" y="913"/>
                    </a:lnTo>
                    <a:lnTo>
                      <a:pt x="740" y="892"/>
                    </a:lnTo>
                    <a:lnTo>
                      <a:pt x="789" y="924"/>
                    </a:lnTo>
                    <a:lnTo>
                      <a:pt x="726" y="991"/>
                    </a:lnTo>
                    <a:lnTo>
                      <a:pt x="669" y="1026"/>
                    </a:lnTo>
                    <a:lnTo>
                      <a:pt x="645" y="1026"/>
                    </a:lnTo>
                    <a:lnTo>
                      <a:pt x="632" y="991"/>
                    </a:lnTo>
                    <a:lnTo>
                      <a:pt x="639" y="1026"/>
                    </a:lnTo>
                    <a:lnTo>
                      <a:pt x="620" y="1047"/>
                    </a:lnTo>
                    <a:lnTo>
                      <a:pt x="601" y="1114"/>
                    </a:lnTo>
                    <a:lnTo>
                      <a:pt x="581" y="1114"/>
                    </a:lnTo>
                    <a:lnTo>
                      <a:pt x="576" y="1136"/>
                    </a:lnTo>
                    <a:lnTo>
                      <a:pt x="557" y="1136"/>
                    </a:lnTo>
                    <a:lnTo>
                      <a:pt x="551" y="1136"/>
                    </a:lnTo>
                    <a:lnTo>
                      <a:pt x="563" y="1114"/>
                    </a:lnTo>
                    <a:lnTo>
                      <a:pt x="551" y="1114"/>
                    </a:lnTo>
                    <a:lnTo>
                      <a:pt x="544" y="1159"/>
                    </a:lnTo>
                    <a:lnTo>
                      <a:pt x="512" y="1159"/>
                    </a:lnTo>
                    <a:lnTo>
                      <a:pt x="512" y="1193"/>
                    </a:lnTo>
                    <a:lnTo>
                      <a:pt x="494" y="1193"/>
                    </a:lnTo>
                    <a:lnTo>
                      <a:pt x="512" y="1214"/>
                    </a:lnTo>
                    <a:lnTo>
                      <a:pt x="494" y="1224"/>
                    </a:lnTo>
                    <a:lnTo>
                      <a:pt x="507" y="1247"/>
                    </a:lnTo>
                    <a:lnTo>
                      <a:pt x="494" y="1247"/>
                    </a:lnTo>
                    <a:lnTo>
                      <a:pt x="507" y="1258"/>
                    </a:lnTo>
                    <a:lnTo>
                      <a:pt x="494" y="1281"/>
                    </a:lnTo>
                    <a:lnTo>
                      <a:pt x="482" y="1281"/>
                    </a:lnTo>
                    <a:lnTo>
                      <a:pt x="494" y="1291"/>
                    </a:lnTo>
                    <a:lnTo>
                      <a:pt x="470" y="1303"/>
                    </a:lnTo>
                    <a:lnTo>
                      <a:pt x="482" y="1347"/>
                    </a:lnTo>
                    <a:lnTo>
                      <a:pt x="470" y="1402"/>
                    </a:lnTo>
                    <a:lnTo>
                      <a:pt x="456" y="1402"/>
                    </a:lnTo>
                    <a:lnTo>
                      <a:pt x="470" y="1426"/>
                    </a:lnTo>
                    <a:lnTo>
                      <a:pt x="438" y="1426"/>
                    </a:lnTo>
                    <a:lnTo>
                      <a:pt x="432" y="1391"/>
                    </a:lnTo>
                    <a:lnTo>
                      <a:pt x="387" y="1391"/>
                    </a:lnTo>
                    <a:lnTo>
                      <a:pt x="401" y="1381"/>
                    </a:lnTo>
                    <a:lnTo>
                      <a:pt x="376" y="1370"/>
                    </a:lnTo>
                    <a:lnTo>
                      <a:pt x="387" y="1358"/>
                    </a:lnTo>
                    <a:lnTo>
                      <a:pt x="369" y="1358"/>
                    </a:lnTo>
                    <a:lnTo>
                      <a:pt x="376" y="1326"/>
                    </a:lnTo>
                    <a:lnTo>
                      <a:pt x="369" y="1337"/>
                    </a:lnTo>
                    <a:lnTo>
                      <a:pt x="337" y="1258"/>
                    </a:lnTo>
                    <a:lnTo>
                      <a:pt x="337" y="1237"/>
                    </a:lnTo>
                    <a:lnTo>
                      <a:pt x="356" y="1203"/>
                    </a:lnTo>
                    <a:lnTo>
                      <a:pt x="350" y="1193"/>
                    </a:lnTo>
                    <a:lnTo>
                      <a:pt x="326" y="1224"/>
                    </a:lnTo>
                    <a:lnTo>
                      <a:pt x="326" y="1170"/>
                    </a:lnTo>
                    <a:lnTo>
                      <a:pt x="307" y="1136"/>
                    </a:lnTo>
                    <a:lnTo>
                      <a:pt x="313" y="1091"/>
                    </a:lnTo>
                    <a:lnTo>
                      <a:pt x="300" y="1070"/>
                    </a:lnTo>
                    <a:lnTo>
                      <a:pt x="319" y="1026"/>
                    </a:lnTo>
                    <a:lnTo>
                      <a:pt x="307" y="1026"/>
                    </a:lnTo>
                    <a:lnTo>
                      <a:pt x="345" y="1026"/>
                    </a:lnTo>
                    <a:lnTo>
                      <a:pt x="345" y="1003"/>
                    </a:lnTo>
                    <a:lnTo>
                      <a:pt x="313" y="1003"/>
                    </a:lnTo>
                    <a:lnTo>
                      <a:pt x="356" y="968"/>
                    </a:lnTo>
                    <a:lnTo>
                      <a:pt x="345" y="957"/>
                    </a:lnTo>
                    <a:lnTo>
                      <a:pt x="356" y="913"/>
                    </a:lnTo>
                    <a:lnTo>
                      <a:pt x="326" y="913"/>
                    </a:lnTo>
                    <a:lnTo>
                      <a:pt x="287" y="880"/>
                    </a:lnTo>
                    <a:lnTo>
                      <a:pt x="350" y="903"/>
                    </a:lnTo>
                    <a:lnTo>
                      <a:pt x="337" y="880"/>
                    </a:lnTo>
                    <a:lnTo>
                      <a:pt x="350" y="880"/>
                    </a:lnTo>
                    <a:lnTo>
                      <a:pt x="326" y="846"/>
                    </a:lnTo>
                    <a:lnTo>
                      <a:pt x="331" y="834"/>
                    </a:lnTo>
                    <a:lnTo>
                      <a:pt x="319" y="846"/>
                    </a:lnTo>
                    <a:lnTo>
                      <a:pt x="331" y="834"/>
                    </a:lnTo>
                    <a:lnTo>
                      <a:pt x="313" y="834"/>
                    </a:lnTo>
                    <a:lnTo>
                      <a:pt x="331" y="824"/>
                    </a:lnTo>
                    <a:lnTo>
                      <a:pt x="307" y="801"/>
                    </a:lnTo>
                    <a:lnTo>
                      <a:pt x="300" y="834"/>
                    </a:lnTo>
                    <a:lnTo>
                      <a:pt x="276" y="834"/>
                    </a:lnTo>
                    <a:lnTo>
                      <a:pt x="269" y="824"/>
                    </a:lnTo>
                    <a:lnTo>
                      <a:pt x="287" y="801"/>
                    </a:lnTo>
                    <a:lnTo>
                      <a:pt x="276" y="801"/>
                    </a:lnTo>
                    <a:lnTo>
                      <a:pt x="287" y="746"/>
                    </a:lnTo>
                    <a:lnTo>
                      <a:pt x="276" y="736"/>
                    </a:lnTo>
                    <a:lnTo>
                      <a:pt x="281" y="713"/>
                    </a:lnTo>
                    <a:lnTo>
                      <a:pt x="257" y="646"/>
                    </a:lnTo>
                    <a:lnTo>
                      <a:pt x="262" y="646"/>
                    </a:lnTo>
                    <a:lnTo>
                      <a:pt x="225" y="592"/>
                    </a:lnTo>
                    <a:lnTo>
                      <a:pt x="225" y="569"/>
                    </a:lnTo>
                    <a:lnTo>
                      <a:pt x="188" y="546"/>
                    </a:lnTo>
                    <a:lnTo>
                      <a:pt x="156" y="523"/>
                    </a:lnTo>
                    <a:lnTo>
                      <a:pt x="119" y="557"/>
                    </a:lnTo>
                    <a:lnTo>
                      <a:pt x="93" y="534"/>
                    </a:lnTo>
                    <a:lnTo>
                      <a:pt x="106" y="557"/>
                    </a:lnTo>
                    <a:lnTo>
                      <a:pt x="75" y="546"/>
                    </a:lnTo>
                    <a:lnTo>
                      <a:pt x="56" y="523"/>
                    </a:lnTo>
                    <a:lnTo>
                      <a:pt x="75" y="500"/>
                    </a:lnTo>
                    <a:lnTo>
                      <a:pt x="25" y="490"/>
                    </a:lnTo>
                    <a:lnTo>
                      <a:pt x="43" y="469"/>
                    </a:lnTo>
                    <a:lnTo>
                      <a:pt x="106" y="469"/>
                    </a:lnTo>
                    <a:lnTo>
                      <a:pt x="112" y="469"/>
                    </a:lnTo>
                    <a:lnTo>
                      <a:pt x="106" y="456"/>
                    </a:lnTo>
                    <a:lnTo>
                      <a:pt x="112" y="446"/>
                    </a:lnTo>
                    <a:lnTo>
                      <a:pt x="56" y="456"/>
                    </a:lnTo>
                    <a:lnTo>
                      <a:pt x="0" y="402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80" name="Freeform 359"/>
              <p:cNvSpPr>
                <a:spLocks/>
              </p:cNvSpPr>
              <p:nvPr/>
            </p:nvSpPr>
            <p:spPr bwMode="auto">
              <a:xfrm>
                <a:off x="1806" y="844"/>
                <a:ext cx="945" cy="712"/>
              </a:xfrm>
              <a:custGeom>
                <a:avLst/>
                <a:gdLst>
                  <a:gd name="T0" fmla="*/ 106 w 945"/>
                  <a:gd name="T1" fmla="*/ 0 h 1426"/>
                  <a:gd name="T2" fmla="*/ 125 w 945"/>
                  <a:gd name="T3" fmla="*/ 0 h 1426"/>
                  <a:gd name="T4" fmla="*/ 82 w 945"/>
                  <a:gd name="T5" fmla="*/ 0 h 1426"/>
                  <a:gd name="T6" fmla="*/ 175 w 945"/>
                  <a:gd name="T7" fmla="*/ 0 h 1426"/>
                  <a:gd name="T8" fmla="*/ 276 w 945"/>
                  <a:gd name="T9" fmla="*/ 0 h 1426"/>
                  <a:gd name="T10" fmla="*/ 350 w 945"/>
                  <a:gd name="T11" fmla="*/ 0 h 1426"/>
                  <a:gd name="T12" fmla="*/ 331 w 945"/>
                  <a:gd name="T13" fmla="*/ 0 h 1426"/>
                  <a:gd name="T14" fmla="*/ 445 w 945"/>
                  <a:gd name="T15" fmla="*/ 0 h 1426"/>
                  <a:gd name="T16" fmla="*/ 501 w 945"/>
                  <a:gd name="T17" fmla="*/ 0 h 1426"/>
                  <a:gd name="T18" fmla="*/ 420 w 945"/>
                  <a:gd name="T19" fmla="*/ 0 h 1426"/>
                  <a:gd name="T20" fmla="*/ 520 w 945"/>
                  <a:gd name="T21" fmla="*/ 0 h 1426"/>
                  <a:gd name="T22" fmla="*/ 520 w 945"/>
                  <a:gd name="T23" fmla="*/ 0 h 1426"/>
                  <a:gd name="T24" fmla="*/ 714 w 945"/>
                  <a:gd name="T25" fmla="*/ 0 h 1426"/>
                  <a:gd name="T26" fmla="*/ 732 w 945"/>
                  <a:gd name="T27" fmla="*/ 0 h 1426"/>
                  <a:gd name="T28" fmla="*/ 795 w 945"/>
                  <a:gd name="T29" fmla="*/ 0 h 1426"/>
                  <a:gd name="T30" fmla="*/ 607 w 945"/>
                  <a:gd name="T31" fmla="*/ 0 h 1426"/>
                  <a:gd name="T32" fmla="*/ 707 w 945"/>
                  <a:gd name="T33" fmla="*/ 0 h 1426"/>
                  <a:gd name="T34" fmla="*/ 820 w 945"/>
                  <a:gd name="T35" fmla="*/ 0 h 1426"/>
                  <a:gd name="T36" fmla="*/ 901 w 945"/>
                  <a:gd name="T37" fmla="*/ 0 h 1426"/>
                  <a:gd name="T38" fmla="*/ 801 w 945"/>
                  <a:gd name="T39" fmla="*/ 0 h 1426"/>
                  <a:gd name="T40" fmla="*/ 870 w 945"/>
                  <a:gd name="T41" fmla="*/ 0 h 1426"/>
                  <a:gd name="T42" fmla="*/ 807 w 945"/>
                  <a:gd name="T43" fmla="*/ 0 h 1426"/>
                  <a:gd name="T44" fmla="*/ 820 w 945"/>
                  <a:gd name="T45" fmla="*/ 0 h 1426"/>
                  <a:gd name="T46" fmla="*/ 801 w 945"/>
                  <a:gd name="T47" fmla="*/ 0 h 1426"/>
                  <a:gd name="T48" fmla="*/ 827 w 945"/>
                  <a:gd name="T49" fmla="*/ 0 h 1426"/>
                  <a:gd name="T50" fmla="*/ 795 w 945"/>
                  <a:gd name="T51" fmla="*/ 0 h 1426"/>
                  <a:gd name="T52" fmla="*/ 814 w 945"/>
                  <a:gd name="T53" fmla="*/ 0 h 1426"/>
                  <a:gd name="T54" fmla="*/ 820 w 945"/>
                  <a:gd name="T55" fmla="*/ 0 h 1426"/>
                  <a:gd name="T56" fmla="*/ 720 w 945"/>
                  <a:gd name="T57" fmla="*/ 0 h 1426"/>
                  <a:gd name="T58" fmla="*/ 740 w 945"/>
                  <a:gd name="T59" fmla="*/ 0 h 1426"/>
                  <a:gd name="T60" fmla="*/ 795 w 945"/>
                  <a:gd name="T61" fmla="*/ 0 h 1426"/>
                  <a:gd name="T62" fmla="*/ 789 w 945"/>
                  <a:gd name="T63" fmla="*/ 0 h 1426"/>
                  <a:gd name="T64" fmla="*/ 707 w 945"/>
                  <a:gd name="T65" fmla="*/ 0 h 1426"/>
                  <a:gd name="T66" fmla="*/ 726 w 945"/>
                  <a:gd name="T67" fmla="*/ 0 h 1426"/>
                  <a:gd name="T68" fmla="*/ 726 w 945"/>
                  <a:gd name="T69" fmla="*/ 0 h 1426"/>
                  <a:gd name="T70" fmla="*/ 639 w 945"/>
                  <a:gd name="T71" fmla="*/ 0 h 1426"/>
                  <a:gd name="T72" fmla="*/ 576 w 945"/>
                  <a:gd name="T73" fmla="*/ 0 h 1426"/>
                  <a:gd name="T74" fmla="*/ 551 w 945"/>
                  <a:gd name="T75" fmla="*/ 0 h 1426"/>
                  <a:gd name="T76" fmla="*/ 494 w 945"/>
                  <a:gd name="T77" fmla="*/ 0 h 1426"/>
                  <a:gd name="T78" fmla="*/ 494 w 945"/>
                  <a:gd name="T79" fmla="*/ 0 h 1426"/>
                  <a:gd name="T80" fmla="*/ 494 w 945"/>
                  <a:gd name="T81" fmla="*/ 0 h 1426"/>
                  <a:gd name="T82" fmla="*/ 456 w 945"/>
                  <a:gd name="T83" fmla="*/ 0 h 1426"/>
                  <a:gd name="T84" fmla="*/ 387 w 945"/>
                  <a:gd name="T85" fmla="*/ 0 h 1426"/>
                  <a:gd name="T86" fmla="*/ 369 w 945"/>
                  <a:gd name="T87" fmla="*/ 0 h 1426"/>
                  <a:gd name="T88" fmla="*/ 337 w 945"/>
                  <a:gd name="T89" fmla="*/ 0 h 1426"/>
                  <a:gd name="T90" fmla="*/ 326 w 945"/>
                  <a:gd name="T91" fmla="*/ 0 h 1426"/>
                  <a:gd name="T92" fmla="*/ 319 w 945"/>
                  <a:gd name="T93" fmla="*/ 0 h 1426"/>
                  <a:gd name="T94" fmla="*/ 313 w 945"/>
                  <a:gd name="T95" fmla="*/ 0 h 1426"/>
                  <a:gd name="T96" fmla="*/ 326 w 945"/>
                  <a:gd name="T97" fmla="*/ 0 h 1426"/>
                  <a:gd name="T98" fmla="*/ 350 w 945"/>
                  <a:gd name="T99" fmla="*/ 0 h 1426"/>
                  <a:gd name="T100" fmla="*/ 331 w 945"/>
                  <a:gd name="T101" fmla="*/ 0 h 1426"/>
                  <a:gd name="T102" fmla="*/ 300 w 945"/>
                  <a:gd name="T103" fmla="*/ 0 h 1426"/>
                  <a:gd name="T104" fmla="*/ 276 w 945"/>
                  <a:gd name="T105" fmla="*/ 0 h 1426"/>
                  <a:gd name="T106" fmla="*/ 257 w 945"/>
                  <a:gd name="T107" fmla="*/ 0 h 1426"/>
                  <a:gd name="T108" fmla="*/ 188 w 945"/>
                  <a:gd name="T109" fmla="*/ 0 h 1426"/>
                  <a:gd name="T110" fmla="*/ 106 w 945"/>
                  <a:gd name="T111" fmla="*/ 0 h 1426"/>
                  <a:gd name="T112" fmla="*/ 25 w 945"/>
                  <a:gd name="T113" fmla="*/ 0 h 1426"/>
                  <a:gd name="T114" fmla="*/ 106 w 945"/>
                  <a:gd name="T115" fmla="*/ 0 h 14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945" h="1426">
                    <a:moveTo>
                      <a:pt x="0" y="402"/>
                    </a:moveTo>
                    <a:lnTo>
                      <a:pt x="6" y="379"/>
                    </a:lnTo>
                    <a:lnTo>
                      <a:pt x="68" y="346"/>
                    </a:lnTo>
                    <a:lnTo>
                      <a:pt x="106" y="346"/>
                    </a:lnTo>
                    <a:lnTo>
                      <a:pt x="131" y="312"/>
                    </a:lnTo>
                    <a:lnTo>
                      <a:pt x="125" y="302"/>
                    </a:lnTo>
                    <a:lnTo>
                      <a:pt x="137" y="290"/>
                    </a:lnTo>
                    <a:lnTo>
                      <a:pt x="125" y="279"/>
                    </a:lnTo>
                    <a:lnTo>
                      <a:pt x="144" y="267"/>
                    </a:lnTo>
                    <a:lnTo>
                      <a:pt x="137" y="256"/>
                    </a:lnTo>
                    <a:lnTo>
                      <a:pt x="112" y="279"/>
                    </a:lnTo>
                    <a:lnTo>
                      <a:pt x="82" y="244"/>
                    </a:lnTo>
                    <a:lnTo>
                      <a:pt x="119" y="233"/>
                    </a:lnTo>
                    <a:lnTo>
                      <a:pt x="137" y="189"/>
                    </a:lnTo>
                    <a:lnTo>
                      <a:pt x="181" y="189"/>
                    </a:lnTo>
                    <a:lnTo>
                      <a:pt x="175" y="135"/>
                    </a:lnTo>
                    <a:lnTo>
                      <a:pt x="212" y="135"/>
                    </a:lnTo>
                    <a:lnTo>
                      <a:pt x="244" y="168"/>
                    </a:lnTo>
                    <a:lnTo>
                      <a:pt x="200" y="123"/>
                    </a:lnTo>
                    <a:lnTo>
                      <a:pt x="276" y="100"/>
                    </a:lnTo>
                    <a:lnTo>
                      <a:pt x="295" y="123"/>
                    </a:lnTo>
                    <a:lnTo>
                      <a:pt x="295" y="156"/>
                    </a:lnTo>
                    <a:lnTo>
                      <a:pt x="307" y="123"/>
                    </a:lnTo>
                    <a:lnTo>
                      <a:pt x="350" y="156"/>
                    </a:lnTo>
                    <a:lnTo>
                      <a:pt x="331" y="123"/>
                    </a:lnTo>
                    <a:lnTo>
                      <a:pt x="356" y="135"/>
                    </a:lnTo>
                    <a:lnTo>
                      <a:pt x="337" y="112"/>
                    </a:lnTo>
                    <a:lnTo>
                      <a:pt x="331" y="89"/>
                    </a:lnTo>
                    <a:lnTo>
                      <a:pt x="345" y="89"/>
                    </a:lnTo>
                    <a:lnTo>
                      <a:pt x="432" y="145"/>
                    </a:lnTo>
                    <a:lnTo>
                      <a:pt x="425" y="123"/>
                    </a:lnTo>
                    <a:lnTo>
                      <a:pt x="445" y="123"/>
                    </a:lnTo>
                    <a:lnTo>
                      <a:pt x="432" y="100"/>
                    </a:lnTo>
                    <a:lnTo>
                      <a:pt x="463" y="112"/>
                    </a:lnTo>
                    <a:lnTo>
                      <a:pt x="413" y="66"/>
                    </a:lnTo>
                    <a:lnTo>
                      <a:pt x="501" y="89"/>
                    </a:lnTo>
                    <a:lnTo>
                      <a:pt x="482" y="66"/>
                    </a:lnTo>
                    <a:lnTo>
                      <a:pt x="432" y="56"/>
                    </a:lnTo>
                    <a:lnTo>
                      <a:pt x="451" y="56"/>
                    </a:lnTo>
                    <a:lnTo>
                      <a:pt x="420" y="35"/>
                    </a:lnTo>
                    <a:lnTo>
                      <a:pt x="456" y="45"/>
                    </a:lnTo>
                    <a:lnTo>
                      <a:pt x="438" y="35"/>
                    </a:lnTo>
                    <a:lnTo>
                      <a:pt x="456" y="22"/>
                    </a:lnTo>
                    <a:lnTo>
                      <a:pt x="520" y="66"/>
                    </a:lnTo>
                    <a:lnTo>
                      <a:pt x="512" y="45"/>
                    </a:lnTo>
                    <a:lnTo>
                      <a:pt x="544" y="35"/>
                    </a:lnTo>
                    <a:lnTo>
                      <a:pt x="520" y="35"/>
                    </a:lnTo>
                    <a:lnTo>
                      <a:pt x="520" y="12"/>
                    </a:lnTo>
                    <a:lnTo>
                      <a:pt x="532" y="0"/>
                    </a:lnTo>
                    <a:lnTo>
                      <a:pt x="707" y="12"/>
                    </a:lnTo>
                    <a:lnTo>
                      <a:pt x="720" y="22"/>
                    </a:lnTo>
                    <a:lnTo>
                      <a:pt x="714" y="35"/>
                    </a:lnTo>
                    <a:lnTo>
                      <a:pt x="601" y="35"/>
                    </a:lnTo>
                    <a:lnTo>
                      <a:pt x="614" y="45"/>
                    </a:lnTo>
                    <a:lnTo>
                      <a:pt x="570" y="56"/>
                    </a:lnTo>
                    <a:lnTo>
                      <a:pt x="732" y="35"/>
                    </a:lnTo>
                    <a:lnTo>
                      <a:pt x="740" y="56"/>
                    </a:lnTo>
                    <a:lnTo>
                      <a:pt x="714" y="66"/>
                    </a:lnTo>
                    <a:lnTo>
                      <a:pt x="751" y="56"/>
                    </a:lnTo>
                    <a:lnTo>
                      <a:pt x="795" y="79"/>
                    </a:lnTo>
                    <a:lnTo>
                      <a:pt x="732" y="123"/>
                    </a:lnTo>
                    <a:lnTo>
                      <a:pt x="626" y="112"/>
                    </a:lnTo>
                    <a:lnTo>
                      <a:pt x="650" y="123"/>
                    </a:lnTo>
                    <a:lnTo>
                      <a:pt x="607" y="135"/>
                    </a:lnTo>
                    <a:lnTo>
                      <a:pt x="607" y="156"/>
                    </a:lnTo>
                    <a:lnTo>
                      <a:pt x="726" y="123"/>
                    </a:lnTo>
                    <a:lnTo>
                      <a:pt x="732" y="135"/>
                    </a:lnTo>
                    <a:lnTo>
                      <a:pt x="707" y="168"/>
                    </a:lnTo>
                    <a:lnTo>
                      <a:pt x="782" y="123"/>
                    </a:lnTo>
                    <a:lnTo>
                      <a:pt x="789" y="168"/>
                    </a:lnTo>
                    <a:lnTo>
                      <a:pt x="751" y="244"/>
                    </a:lnTo>
                    <a:lnTo>
                      <a:pt x="820" y="156"/>
                    </a:lnTo>
                    <a:lnTo>
                      <a:pt x="820" y="168"/>
                    </a:lnTo>
                    <a:lnTo>
                      <a:pt x="857" y="168"/>
                    </a:lnTo>
                    <a:lnTo>
                      <a:pt x="864" y="135"/>
                    </a:lnTo>
                    <a:lnTo>
                      <a:pt x="901" y="135"/>
                    </a:lnTo>
                    <a:lnTo>
                      <a:pt x="945" y="156"/>
                    </a:lnTo>
                    <a:lnTo>
                      <a:pt x="901" y="200"/>
                    </a:lnTo>
                    <a:lnTo>
                      <a:pt x="907" y="212"/>
                    </a:lnTo>
                    <a:lnTo>
                      <a:pt x="801" y="233"/>
                    </a:lnTo>
                    <a:lnTo>
                      <a:pt x="889" y="233"/>
                    </a:lnTo>
                    <a:lnTo>
                      <a:pt x="820" y="267"/>
                    </a:lnTo>
                    <a:lnTo>
                      <a:pt x="827" y="290"/>
                    </a:lnTo>
                    <a:lnTo>
                      <a:pt x="870" y="267"/>
                    </a:lnTo>
                    <a:lnTo>
                      <a:pt x="839" y="302"/>
                    </a:lnTo>
                    <a:lnTo>
                      <a:pt x="832" y="335"/>
                    </a:lnTo>
                    <a:lnTo>
                      <a:pt x="839" y="323"/>
                    </a:lnTo>
                    <a:lnTo>
                      <a:pt x="807" y="356"/>
                    </a:lnTo>
                    <a:lnTo>
                      <a:pt x="801" y="435"/>
                    </a:lnTo>
                    <a:lnTo>
                      <a:pt x="814" y="425"/>
                    </a:lnTo>
                    <a:lnTo>
                      <a:pt x="839" y="435"/>
                    </a:lnTo>
                    <a:lnTo>
                      <a:pt x="820" y="435"/>
                    </a:lnTo>
                    <a:lnTo>
                      <a:pt x="820" y="456"/>
                    </a:lnTo>
                    <a:lnTo>
                      <a:pt x="851" y="469"/>
                    </a:lnTo>
                    <a:lnTo>
                      <a:pt x="857" y="490"/>
                    </a:lnTo>
                    <a:lnTo>
                      <a:pt x="801" y="490"/>
                    </a:lnTo>
                    <a:lnTo>
                      <a:pt x="814" y="500"/>
                    </a:lnTo>
                    <a:lnTo>
                      <a:pt x="789" y="500"/>
                    </a:lnTo>
                    <a:lnTo>
                      <a:pt x="801" y="534"/>
                    </a:lnTo>
                    <a:lnTo>
                      <a:pt x="827" y="534"/>
                    </a:lnTo>
                    <a:lnTo>
                      <a:pt x="814" y="557"/>
                    </a:lnTo>
                    <a:lnTo>
                      <a:pt x="832" y="569"/>
                    </a:lnTo>
                    <a:lnTo>
                      <a:pt x="832" y="602"/>
                    </a:lnTo>
                    <a:lnTo>
                      <a:pt x="795" y="579"/>
                    </a:lnTo>
                    <a:lnTo>
                      <a:pt x="820" y="602"/>
                    </a:lnTo>
                    <a:lnTo>
                      <a:pt x="801" y="613"/>
                    </a:lnTo>
                    <a:lnTo>
                      <a:pt x="814" y="613"/>
                    </a:lnTo>
                    <a:lnTo>
                      <a:pt x="814" y="636"/>
                    </a:lnTo>
                    <a:lnTo>
                      <a:pt x="839" y="646"/>
                    </a:lnTo>
                    <a:lnTo>
                      <a:pt x="795" y="646"/>
                    </a:lnTo>
                    <a:lnTo>
                      <a:pt x="789" y="657"/>
                    </a:lnTo>
                    <a:lnTo>
                      <a:pt x="820" y="690"/>
                    </a:lnTo>
                    <a:lnTo>
                      <a:pt x="820" y="713"/>
                    </a:lnTo>
                    <a:lnTo>
                      <a:pt x="789" y="725"/>
                    </a:lnTo>
                    <a:lnTo>
                      <a:pt x="764" y="690"/>
                    </a:lnTo>
                    <a:lnTo>
                      <a:pt x="720" y="725"/>
                    </a:lnTo>
                    <a:lnTo>
                      <a:pt x="751" y="736"/>
                    </a:lnTo>
                    <a:lnTo>
                      <a:pt x="720" y="757"/>
                    </a:lnTo>
                    <a:lnTo>
                      <a:pt x="751" y="757"/>
                    </a:lnTo>
                    <a:lnTo>
                      <a:pt x="740" y="790"/>
                    </a:lnTo>
                    <a:lnTo>
                      <a:pt x="751" y="769"/>
                    </a:lnTo>
                    <a:lnTo>
                      <a:pt x="789" y="801"/>
                    </a:lnTo>
                    <a:lnTo>
                      <a:pt x="776" y="824"/>
                    </a:lnTo>
                    <a:lnTo>
                      <a:pt x="795" y="813"/>
                    </a:lnTo>
                    <a:lnTo>
                      <a:pt x="789" y="846"/>
                    </a:lnTo>
                    <a:lnTo>
                      <a:pt x="801" y="834"/>
                    </a:lnTo>
                    <a:lnTo>
                      <a:pt x="801" y="892"/>
                    </a:lnTo>
                    <a:lnTo>
                      <a:pt x="789" y="869"/>
                    </a:lnTo>
                    <a:lnTo>
                      <a:pt x="789" y="892"/>
                    </a:lnTo>
                    <a:lnTo>
                      <a:pt x="770" y="892"/>
                    </a:lnTo>
                    <a:lnTo>
                      <a:pt x="751" y="834"/>
                    </a:lnTo>
                    <a:lnTo>
                      <a:pt x="707" y="813"/>
                    </a:lnTo>
                    <a:lnTo>
                      <a:pt x="740" y="846"/>
                    </a:lnTo>
                    <a:lnTo>
                      <a:pt x="695" y="859"/>
                    </a:lnTo>
                    <a:lnTo>
                      <a:pt x="689" y="892"/>
                    </a:lnTo>
                    <a:lnTo>
                      <a:pt x="726" y="903"/>
                    </a:lnTo>
                    <a:lnTo>
                      <a:pt x="689" y="913"/>
                    </a:lnTo>
                    <a:lnTo>
                      <a:pt x="740" y="892"/>
                    </a:lnTo>
                    <a:lnTo>
                      <a:pt x="789" y="924"/>
                    </a:lnTo>
                    <a:lnTo>
                      <a:pt x="726" y="991"/>
                    </a:lnTo>
                    <a:lnTo>
                      <a:pt x="669" y="1026"/>
                    </a:lnTo>
                    <a:lnTo>
                      <a:pt x="645" y="1026"/>
                    </a:lnTo>
                    <a:lnTo>
                      <a:pt x="632" y="991"/>
                    </a:lnTo>
                    <a:lnTo>
                      <a:pt x="639" y="1026"/>
                    </a:lnTo>
                    <a:lnTo>
                      <a:pt x="620" y="1047"/>
                    </a:lnTo>
                    <a:lnTo>
                      <a:pt x="601" y="1114"/>
                    </a:lnTo>
                    <a:lnTo>
                      <a:pt x="581" y="1114"/>
                    </a:lnTo>
                    <a:lnTo>
                      <a:pt x="576" y="1136"/>
                    </a:lnTo>
                    <a:lnTo>
                      <a:pt x="557" y="1136"/>
                    </a:lnTo>
                    <a:lnTo>
                      <a:pt x="551" y="1136"/>
                    </a:lnTo>
                    <a:lnTo>
                      <a:pt x="563" y="1114"/>
                    </a:lnTo>
                    <a:lnTo>
                      <a:pt x="551" y="1114"/>
                    </a:lnTo>
                    <a:lnTo>
                      <a:pt x="544" y="1159"/>
                    </a:lnTo>
                    <a:lnTo>
                      <a:pt x="512" y="1159"/>
                    </a:lnTo>
                    <a:lnTo>
                      <a:pt x="512" y="1193"/>
                    </a:lnTo>
                    <a:lnTo>
                      <a:pt x="494" y="1193"/>
                    </a:lnTo>
                    <a:lnTo>
                      <a:pt x="512" y="1214"/>
                    </a:lnTo>
                    <a:lnTo>
                      <a:pt x="494" y="1224"/>
                    </a:lnTo>
                    <a:lnTo>
                      <a:pt x="507" y="1247"/>
                    </a:lnTo>
                    <a:lnTo>
                      <a:pt x="494" y="1247"/>
                    </a:lnTo>
                    <a:lnTo>
                      <a:pt x="507" y="1258"/>
                    </a:lnTo>
                    <a:lnTo>
                      <a:pt x="494" y="1281"/>
                    </a:lnTo>
                    <a:lnTo>
                      <a:pt x="482" y="1281"/>
                    </a:lnTo>
                    <a:lnTo>
                      <a:pt x="494" y="1291"/>
                    </a:lnTo>
                    <a:lnTo>
                      <a:pt x="470" y="1303"/>
                    </a:lnTo>
                    <a:lnTo>
                      <a:pt x="482" y="1347"/>
                    </a:lnTo>
                    <a:lnTo>
                      <a:pt x="470" y="1402"/>
                    </a:lnTo>
                    <a:lnTo>
                      <a:pt x="456" y="1402"/>
                    </a:lnTo>
                    <a:lnTo>
                      <a:pt x="470" y="1426"/>
                    </a:lnTo>
                    <a:lnTo>
                      <a:pt x="438" y="1426"/>
                    </a:lnTo>
                    <a:lnTo>
                      <a:pt x="432" y="1391"/>
                    </a:lnTo>
                    <a:lnTo>
                      <a:pt x="387" y="1391"/>
                    </a:lnTo>
                    <a:lnTo>
                      <a:pt x="401" y="1381"/>
                    </a:lnTo>
                    <a:lnTo>
                      <a:pt x="376" y="1370"/>
                    </a:lnTo>
                    <a:lnTo>
                      <a:pt x="387" y="1358"/>
                    </a:lnTo>
                    <a:lnTo>
                      <a:pt x="369" y="1358"/>
                    </a:lnTo>
                    <a:lnTo>
                      <a:pt x="376" y="1326"/>
                    </a:lnTo>
                    <a:lnTo>
                      <a:pt x="369" y="1337"/>
                    </a:lnTo>
                    <a:lnTo>
                      <a:pt x="337" y="1258"/>
                    </a:lnTo>
                    <a:lnTo>
                      <a:pt x="337" y="1237"/>
                    </a:lnTo>
                    <a:lnTo>
                      <a:pt x="356" y="1203"/>
                    </a:lnTo>
                    <a:lnTo>
                      <a:pt x="350" y="1193"/>
                    </a:lnTo>
                    <a:lnTo>
                      <a:pt x="326" y="1224"/>
                    </a:lnTo>
                    <a:lnTo>
                      <a:pt x="326" y="1170"/>
                    </a:lnTo>
                    <a:lnTo>
                      <a:pt x="307" y="1136"/>
                    </a:lnTo>
                    <a:lnTo>
                      <a:pt x="313" y="1091"/>
                    </a:lnTo>
                    <a:lnTo>
                      <a:pt x="300" y="1070"/>
                    </a:lnTo>
                    <a:lnTo>
                      <a:pt x="319" y="1026"/>
                    </a:lnTo>
                    <a:lnTo>
                      <a:pt x="307" y="1026"/>
                    </a:lnTo>
                    <a:lnTo>
                      <a:pt x="345" y="1026"/>
                    </a:lnTo>
                    <a:lnTo>
                      <a:pt x="345" y="1003"/>
                    </a:lnTo>
                    <a:lnTo>
                      <a:pt x="313" y="1003"/>
                    </a:lnTo>
                    <a:lnTo>
                      <a:pt x="356" y="968"/>
                    </a:lnTo>
                    <a:lnTo>
                      <a:pt x="345" y="957"/>
                    </a:lnTo>
                    <a:lnTo>
                      <a:pt x="356" y="913"/>
                    </a:lnTo>
                    <a:lnTo>
                      <a:pt x="326" y="913"/>
                    </a:lnTo>
                    <a:lnTo>
                      <a:pt x="287" y="880"/>
                    </a:lnTo>
                    <a:lnTo>
                      <a:pt x="350" y="903"/>
                    </a:lnTo>
                    <a:lnTo>
                      <a:pt x="337" y="880"/>
                    </a:lnTo>
                    <a:lnTo>
                      <a:pt x="350" y="880"/>
                    </a:lnTo>
                    <a:lnTo>
                      <a:pt x="326" y="846"/>
                    </a:lnTo>
                    <a:lnTo>
                      <a:pt x="331" y="834"/>
                    </a:lnTo>
                    <a:lnTo>
                      <a:pt x="319" y="846"/>
                    </a:lnTo>
                    <a:lnTo>
                      <a:pt x="331" y="834"/>
                    </a:lnTo>
                    <a:lnTo>
                      <a:pt x="313" y="834"/>
                    </a:lnTo>
                    <a:lnTo>
                      <a:pt x="331" y="824"/>
                    </a:lnTo>
                    <a:lnTo>
                      <a:pt x="307" y="801"/>
                    </a:lnTo>
                    <a:lnTo>
                      <a:pt x="300" y="834"/>
                    </a:lnTo>
                    <a:lnTo>
                      <a:pt x="276" y="834"/>
                    </a:lnTo>
                    <a:lnTo>
                      <a:pt x="269" y="824"/>
                    </a:lnTo>
                    <a:lnTo>
                      <a:pt x="287" y="801"/>
                    </a:lnTo>
                    <a:lnTo>
                      <a:pt x="276" y="801"/>
                    </a:lnTo>
                    <a:lnTo>
                      <a:pt x="287" y="746"/>
                    </a:lnTo>
                    <a:lnTo>
                      <a:pt x="276" y="736"/>
                    </a:lnTo>
                    <a:lnTo>
                      <a:pt x="281" y="713"/>
                    </a:lnTo>
                    <a:lnTo>
                      <a:pt x="257" y="646"/>
                    </a:lnTo>
                    <a:lnTo>
                      <a:pt x="262" y="646"/>
                    </a:lnTo>
                    <a:lnTo>
                      <a:pt x="225" y="592"/>
                    </a:lnTo>
                    <a:lnTo>
                      <a:pt x="225" y="569"/>
                    </a:lnTo>
                    <a:lnTo>
                      <a:pt x="188" y="546"/>
                    </a:lnTo>
                    <a:lnTo>
                      <a:pt x="156" y="523"/>
                    </a:lnTo>
                    <a:lnTo>
                      <a:pt x="119" y="557"/>
                    </a:lnTo>
                    <a:lnTo>
                      <a:pt x="93" y="534"/>
                    </a:lnTo>
                    <a:lnTo>
                      <a:pt x="106" y="557"/>
                    </a:lnTo>
                    <a:lnTo>
                      <a:pt x="75" y="546"/>
                    </a:lnTo>
                    <a:lnTo>
                      <a:pt x="56" y="523"/>
                    </a:lnTo>
                    <a:lnTo>
                      <a:pt x="75" y="500"/>
                    </a:lnTo>
                    <a:lnTo>
                      <a:pt x="25" y="490"/>
                    </a:lnTo>
                    <a:lnTo>
                      <a:pt x="43" y="469"/>
                    </a:lnTo>
                    <a:lnTo>
                      <a:pt x="106" y="469"/>
                    </a:lnTo>
                    <a:lnTo>
                      <a:pt x="112" y="469"/>
                    </a:lnTo>
                    <a:lnTo>
                      <a:pt x="106" y="456"/>
                    </a:lnTo>
                    <a:lnTo>
                      <a:pt x="112" y="446"/>
                    </a:lnTo>
                    <a:lnTo>
                      <a:pt x="56" y="456"/>
                    </a:lnTo>
                    <a:lnTo>
                      <a:pt x="0" y="402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81" name="Freeform 360"/>
              <p:cNvSpPr>
                <a:spLocks/>
              </p:cNvSpPr>
              <p:nvPr/>
            </p:nvSpPr>
            <p:spPr bwMode="auto">
              <a:xfrm>
                <a:off x="2564" y="1395"/>
                <a:ext cx="167" cy="83"/>
              </a:xfrm>
              <a:custGeom>
                <a:avLst/>
                <a:gdLst>
                  <a:gd name="T0" fmla="*/ 0 w 167"/>
                  <a:gd name="T1" fmla="*/ 0 h 167"/>
                  <a:gd name="T2" fmla="*/ 6 w 167"/>
                  <a:gd name="T3" fmla="*/ 0 h 167"/>
                  <a:gd name="T4" fmla="*/ 6 w 167"/>
                  <a:gd name="T5" fmla="*/ 0 h 167"/>
                  <a:gd name="T6" fmla="*/ 19 w 167"/>
                  <a:gd name="T7" fmla="*/ 0 h 167"/>
                  <a:gd name="T8" fmla="*/ 12 w 167"/>
                  <a:gd name="T9" fmla="*/ 0 h 167"/>
                  <a:gd name="T10" fmla="*/ 31 w 167"/>
                  <a:gd name="T11" fmla="*/ 0 h 167"/>
                  <a:gd name="T12" fmla="*/ 19 w 167"/>
                  <a:gd name="T13" fmla="*/ 0 h 167"/>
                  <a:gd name="T14" fmla="*/ 49 w 167"/>
                  <a:gd name="T15" fmla="*/ 0 h 167"/>
                  <a:gd name="T16" fmla="*/ 49 w 167"/>
                  <a:gd name="T17" fmla="*/ 0 h 167"/>
                  <a:gd name="T18" fmla="*/ 62 w 167"/>
                  <a:gd name="T19" fmla="*/ 0 h 167"/>
                  <a:gd name="T20" fmla="*/ 74 w 167"/>
                  <a:gd name="T21" fmla="*/ 0 h 167"/>
                  <a:gd name="T22" fmla="*/ 87 w 167"/>
                  <a:gd name="T23" fmla="*/ 0 h 167"/>
                  <a:gd name="T24" fmla="*/ 98 w 167"/>
                  <a:gd name="T25" fmla="*/ 0 h 167"/>
                  <a:gd name="T26" fmla="*/ 93 w 167"/>
                  <a:gd name="T27" fmla="*/ 0 h 167"/>
                  <a:gd name="T28" fmla="*/ 124 w 167"/>
                  <a:gd name="T29" fmla="*/ 0 h 167"/>
                  <a:gd name="T30" fmla="*/ 124 w 167"/>
                  <a:gd name="T31" fmla="*/ 0 h 167"/>
                  <a:gd name="T32" fmla="*/ 136 w 167"/>
                  <a:gd name="T33" fmla="*/ 0 h 167"/>
                  <a:gd name="T34" fmla="*/ 156 w 167"/>
                  <a:gd name="T35" fmla="*/ 0 h 167"/>
                  <a:gd name="T36" fmla="*/ 143 w 167"/>
                  <a:gd name="T37" fmla="*/ 0 h 167"/>
                  <a:gd name="T38" fmla="*/ 167 w 167"/>
                  <a:gd name="T39" fmla="*/ 0 h 167"/>
                  <a:gd name="T40" fmla="*/ 148 w 167"/>
                  <a:gd name="T41" fmla="*/ 0 h 167"/>
                  <a:gd name="T42" fmla="*/ 87 w 167"/>
                  <a:gd name="T43" fmla="*/ 0 h 167"/>
                  <a:gd name="T44" fmla="*/ 24 w 167"/>
                  <a:gd name="T45" fmla="*/ 0 h 167"/>
                  <a:gd name="T46" fmla="*/ 43 w 167"/>
                  <a:gd name="T47" fmla="*/ 0 h 167"/>
                  <a:gd name="T48" fmla="*/ 6 w 167"/>
                  <a:gd name="T49" fmla="*/ 0 h 167"/>
                  <a:gd name="T50" fmla="*/ 43 w 167"/>
                  <a:gd name="T51" fmla="*/ 0 h 167"/>
                  <a:gd name="T52" fmla="*/ 31 w 167"/>
                  <a:gd name="T53" fmla="*/ 0 h 167"/>
                  <a:gd name="T54" fmla="*/ 43 w 167"/>
                  <a:gd name="T55" fmla="*/ 0 h 167"/>
                  <a:gd name="T56" fmla="*/ 0 w 167"/>
                  <a:gd name="T57" fmla="*/ 0 h 16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67" h="167">
                    <a:moveTo>
                      <a:pt x="0" y="67"/>
                    </a:moveTo>
                    <a:lnTo>
                      <a:pt x="6" y="58"/>
                    </a:lnTo>
                    <a:lnTo>
                      <a:pt x="6" y="44"/>
                    </a:lnTo>
                    <a:lnTo>
                      <a:pt x="19" y="44"/>
                    </a:lnTo>
                    <a:lnTo>
                      <a:pt x="12" y="23"/>
                    </a:lnTo>
                    <a:lnTo>
                      <a:pt x="31" y="44"/>
                    </a:lnTo>
                    <a:lnTo>
                      <a:pt x="19" y="13"/>
                    </a:lnTo>
                    <a:lnTo>
                      <a:pt x="49" y="34"/>
                    </a:lnTo>
                    <a:lnTo>
                      <a:pt x="49" y="79"/>
                    </a:lnTo>
                    <a:lnTo>
                      <a:pt x="62" y="34"/>
                    </a:lnTo>
                    <a:lnTo>
                      <a:pt x="74" y="44"/>
                    </a:lnTo>
                    <a:lnTo>
                      <a:pt x="87" y="23"/>
                    </a:lnTo>
                    <a:lnTo>
                      <a:pt x="98" y="44"/>
                    </a:lnTo>
                    <a:lnTo>
                      <a:pt x="93" y="23"/>
                    </a:lnTo>
                    <a:lnTo>
                      <a:pt x="124" y="23"/>
                    </a:lnTo>
                    <a:lnTo>
                      <a:pt x="124" y="0"/>
                    </a:lnTo>
                    <a:lnTo>
                      <a:pt x="136" y="23"/>
                    </a:lnTo>
                    <a:lnTo>
                      <a:pt x="156" y="13"/>
                    </a:lnTo>
                    <a:lnTo>
                      <a:pt x="143" y="34"/>
                    </a:lnTo>
                    <a:lnTo>
                      <a:pt x="167" y="79"/>
                    </a:lnTo>
                    <a:lnTo>
                      <a:pt x="148" y="123"/>
                    </a:lnTo>
                    <a:lnTo>
                      <a:pt x="87" y="167"/>
                    </a:lnTo>
                    <a:lnTo>
                      <a:pt x="24" y="146"/>
                    </a:lnTo>
                    <a:lnTo>
                      <a:pt x="43" y="102"/>
                    </a:lnTo>
                    <a:lnTo>
                      <a:pt x="6" y="90"/>
                    </a:lnTo>
                    <a:lnTo>
                      <a:pt x="43" y="90"/>
                    </a:lnTo>
                    <a:lnTo>
                      <a:pt x="31" y="79"/>
                    </a:lnTo>
                    <a:lnTo>
                      <a:pt x="43" y="67"/>
                    </a:lnTo>
                    <a:lnTo>
                      <a:pt x="0" y="67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82" name="Freeform 361"/>
              <p:cNvSpPr>
                <a:spLocks/>
              </p:cNvSpPr>
              <p:nvPr/>
            </p:nvSpPr>
            <p:spPr bwMode="auto">
              <a:xfrm>
                <a:off x="2564" y="1395"/>
                <a:ext cx="167" cy="83"/>
              </a:xfrm>
              <a:custGeom>
                <a:avLst/>
                <a:gdLst>
                  <a:gd name="T0" fmla="*/ 0 w 167"/>
                  <a:gd name="T1" fmla="*/ 0 h 167"/>
                  <a:gd name="T2" fmla="*/ 6 w 167"/>
                  <a:gd name="T3" fmla="*/ 0 h 167"/>
                  <a:gd name="T4" fmla="*/ 6 w 167"/>
                  <a:gd name="T5" fmla="*/ 0 h 167"/>
                  <a:gd name="T6" fmla="*/ 19 w 167"/>
                  <a:gd name="T7" fmla="*/ 0 h 167"/>
                  <a:gd name="T8" fmla="*/ 12 w 167"/>
                  <a:gd name="T9" fmla="*/ 0 h 167"/>
                  <a:gd name="T10" fmla="*/ 31 w 167"/>
                  <a:gd name="T11" fmla="*/ 0 h 167"/>
                  <a:gd name="T12" fmla="*/ 19 w 167"/>
                  <a:gd name="T13" fmla="*/ 0 h 167"/>
                  <a:gd name="T14" fmla="*/ 49 w 167"/>
                  <a:gd name="T15" fmla="*/ 0 h 167"/>
                  <a:gd name="T16" fmla="*/ 49 w 167"/>
                  <a:gd name="T17" fmla="*/ 0 h 167"/>
                  <a:gd name="T18" fmla="*/ 62 w 167"/>
                  <a:gd name="T19" fmla="*/ 0 h 167"/>
                  <a:gd name="T20" fmla="*/ 74 w 167"/>
                  <a:gd name="T21" fmla="*/ 0 h 167"/>
                  <a:gd name="T22" fmla="*/ 87 w 167"/>
                  <a:gd name="T23" fmla="*/ 0 h 167"/>
                  <a:gd name="T24" fmla="*/ 98 w 167"/>
                  <a:gd name="T25" fmla="*/ 0 h 167"/>
                  <a:gd name="T26" fmla="*/ 93 w 167"/>
                  <a:gd name="T27" fmla="*/ 0 h 167"/>
                  <a:gd name="T28" fmla="*/ 124 w 167"/>
                  <a:gd name="T29" fmla="*/ 0 h 167"/>
                  <a:gd name="T30" fmla="*/ 124 w 167"/>
                  <a:gd name="T31" fmla="*/ 0 h 167"/>
                  <a:gd name="T32" fmla="*/ 136 w 167"/>
                  <a:gd name="T33" fmla="*/ 0 h 167"/>
                  <a:gd name="T34" fmla="*/ 156 w 167"/>
                  <a:gd name="T35" fmla="*/ 0 h 167"/>
                  <a:gd name="T36" fmla="*/ 143 w 167"/>
                  <a:gd name="T37" fmla="*/ 0 h 167"/>
                  <a:gd name="T38" fmla="*/ 167 w 167"/>
                  <a:gd name="T39" fmla="*/ 0 h 167"/>
                  <a:gd name="T40" fmla="*/ 148 w 167"/>
                  <a:gd name="T41" fmla="*/ 0 h 167"/>
                  <a:gd name="T42" fmla="*/ 87 w 167"/>
                  <a:gd name="T43" fmla="*/ 0 h 167"/>
                  <a:gd name="T44" fmla="*/ 24 w 167"/>
                  <a:gd name="T45" fmla="*/ 0 h 167"/>
                  <a:gd name="T46" fmla="*/ 43 w 167"/>
                  <a:gd name="T47" fmla="*/ 0 h 167"/>
                  <a:gd name="T48" fmla="*/ 6 w 167"/>
                  <a:gd name="T49" fmla="*/ 0 h 167"/>
                  <a:gd name="T50" fmla="*/ 43 w 167"/>
                  <a:gd name="T51" fmla="*/ 0 h 167"/>
                  <a:gd name="T52" fmla="*/ 31 w 167"/>
                  <a:gd name="T53" fmla="*/ 0 h 167"/>
                  <a:gd name="T54" fmla="*/ 43 w 167"/>
                  <a:gd name="T55" fmla="*/ 0 h 167"/>
                  <a:gd name="T56" fmla="*/ 0 w 167"/>
                  <a:gd name="T57" fmla="*/ 0 h 16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67" h="167">
                    <a:moveTo>
                      <a:pt x="0" y="67"/>
                    </a:moveTo>
                    <a:lnTo>
                      <a:pt x="6" y="58"/>
                    </a:lnTo>
                    <a:lnTo>
                      <a:pt x="6" y="44"/>
                    </a:lnTo>
                    <a:lnTo>
                      <a:pt x="19" y="44"/>
                    </a:lnTo>
                    <a:lnTo>
                      <a:pt x="12" y="23"/>
                    </a:lnTo>
                    <a:lnTo>
                      <a:pt x="31" y="44"/>
                    </a:lnTo>
                    <a:lnTo>
                      <a:pt x="19" y="13"/>
                    </a:lnTo>
                    <a:lnTo>
                      <a:pt x="49" y="34"/>
                    </a:lnTo>
                    <a:lnTo>
                      <a:pt x="49" y="79"/>
                    </a:lnTo>
                    <a:lnTo>
                      <a:pt x="62" y="34"/>
                    </a:lnTo>
                    <a:lnTo>
                      <a:pt x="74" y="44"/>
                    </a:lnTo>
                    <a:lnTo>
                      <a:pt x="87" y="23"/>
                    </a:lnTo>
                    <a:lnTo>
                      <a:pt x="98" y="44"/>
                    </a:lnTo>
                    <a:lnTo>
                      <a:pt x="93" y="23"/>
                    </a:lnTo>
                    <a:lnTo>
                      <a:pt x="124" y="23"/>
                    </a:lnTo>
                    <a:lnTo>
                      <a:pt x="124" y="0"/>
                    </a:lnTo>
                    <a:lnTo>
                      <a:pt x="136" y="23"/>
                    </a:lnTo>
                    <a:lnTo>
                      <a:pt x="156" y="13"/>
                    </a:lnTo>
                    <a:lnTo>
                      <a:pt x="143" y="34"/>
                    </a:lnTo>
                    <a:lnTo>
                      <a:pt x="167" y="79"/>
                    </a:lnTo>
                    <a:lnTo>
                      <a:pt x="148" y="123"/>
                    </a:lnTo>
                    <a:lnTo>
                      <a:pt x="87" y="167"/>
                    </a:lnTo>
                    <a:lnTo>
                      <a:pt x="24" y="146"/>
                    </a:lnTo>
                    <a:lnTo>
                      <a:pt x="43" y="102"/>
                    </a:lnTo>
                    <a:lnTo>
                      <a:pt x="6" y="90"/>
                    </a:lnTo>
                    <a:lnTo>
                      <a:pt x="43" y="90"/>
                    </a:lnTo>
                    <a:lnTo>
                      <a:pt x="31" y="79"/>
                    </a:lnTo>
                    <a:lnTo>
                      <a:pt x="43" y="67"/>
                    </a:lnTo>
                    <a:lnTo>
                      <a:pt x="0" y="67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83" name="Freeform 362"/>
              <p:cNvSpPr>
                <a:spLocks/>
              </p:cNvSpPr>
              <p:nvPr/>
            </p:nvSpPr>
            <p:spPr bwMode="auto">
              <a:xfrm>
                <a:off x="2564" y="1395"/>
                <a:ext cx="167" cy="83"/>
              </a:xfrm>
              <a:custGeom>
                <a:avLst/>
                <a:gdLst>
                  <a:gd name="T0" fmla="*/ 0 w 167"/>
                  <a:gd name="T1" fmla="*/ 0 h 167"/>
                  <a:gd name="T2" fmla="*/ 6 w 167"/>
                  <a:gd name="T3" fmla="*/ 0 h 167"/>
                  <a:gd name="T4" fmla="*/ 6 w 167"/>
                  <a:gd name="T5" fmla="*/ 0 h 167"/>
                  <a:gd name="T6" fmla="*/ 19 w 167"/>
                  <a:gd name="T7" fmla="*/ 0 h 167"/>
                  <a:gd name="T8" fmla="*/ 12 w 167"/>
                  <a:gd name="T9" fmla="*/ 0 h 167"/>
                  <a:gd name="T10" fmla="*/ 31 w 167"/>
                  <a:gd name="T11" fmla="*/ 0 h 167"/>
                  <a:gd name="T12" fmla="*/ 19 w 167"/>
                  <a:gd name="T13" fmla="*/ 0 h 167"/>
                  <a:gd name="T14" fmla="*/ 49 w 167"/>
                  <a:gd name="T15" fmla="*/ 0 h 167"/>
                  <a:gd name="T16" fmla="*/ 49 w 167"/>
                  <a:gd name="T17" fmla="*/ 0 h 167"/>
                  <a:gd name="T18" fmla="*/ 62 w 167"/>
                  <a:gd name="T19" fmla="*/ 0 h 167"/>
                  <a:gd name="T20" fmla="*/ 74 w 167"/>
                  <a:gd name="T21" fmla="*/ 0 h 167"/>
                  <a:gd name="T22" fmla="*/ 87 w 167"/>
                  <a:gd name="T23" fmla="*/ 0 h 167"/>
                  <a:gd name="T24" fmla="*/ 98 w 167"/>
                  <a:gd name="T25" fmla="*/ 0 h 167"/>
                  <a:gd name="T26" fmla="*/ 93 w 167"/>
                  <a:gd name="T27" fmla="*/ 0 h 167"/>
                  <a:gd name="T28" fmla="*/ 124 w 167"/>
                  <a:gd name="T29" fmla="*/ 0 h 167"/>
                  <a:gd name="T30" fmla="*/ 124 w 167"/>
                  <a:gd name="T31" fmla="*/ 0 h 167"/>
                  <a:gd name="T32" fmla="*/ 136 w 167"/>
                  <a:gd name="T33" fmla="*/ 0 h 167"/>
                  <a:gd name="T34" fmla="*/ 156 w 167"/>
                  <a:gd name="T35" fmla="*/ 0 h 167"/>
                  <a:gd name="T36" fmla="*/ 143 w 167"/>
                  <a:gd name="T37" fmla="*/ 0 h 167"/>
                  <a:gd name="T38" fmla="*/ 167 w 167"/>
                  <a:gd name="T39" fmla="*/ 0 h 167"/>
                  <a:gd name="T40" fmla="*/ 148 w 167"/>
                  <a:gd name="T41" fmla="*/ 0 h 167"/>
                  <a:gd name="T42" fmla="*/ 87 w 167"/>
                  <a:gd name="T43" fmla="*/ 0 h 167"/>
                  <a:gd name="T44" fmla="*/ 24 w 167"/>
                  <a:gd name="T45" fmla="*/ 0 h 167"/>
                  <a:gd name="T46" fmla="*/ 43 w 167"/>
                  <a:gd name="T47" fmla="*/ 0 h 167"/>
                  <a:gd name="T48" fmla="*/ 6 w 167"/>
                  <a:gd name="T49" fmla="*/ 0 h 167"/>
                  <a:gd name="T50" fmla="*/ 43 w 167"/>
                  <a:gd name="T51" fmla="*/ 0 h 167"/>
                  <a:gd name="T52" fmla="*/ 31 w 167"/>
                  <a:gd name="T53" fmla="*/ 0 h 167"/>
                  <a:gd name="T54" fmla="*/ 43 w 167"/>
                  <a:gd name="T55" fmla="*/ 0 h 167"/>
                  <a:gd name="T56" fmla="*/ 0 w 167"/>
                  <a:gd name="T57" fmla="*/ 0 h 16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67" h="167">
                    <a:moveTo>
                      <a:pt x="0" y="67"/>
                    </a:moveTo>
                    <a:lnTo>
                      <a:pt x="6" y="58"/>
                    </a:lnTo>
                    <a:lnTo>
                      <a:pt x="6" y="44"/>
                    </a:lnTo>
                    <a:lnTo>
                      <a:pt x="19" y="44"/>
                    </a:lnTo>
                    <a:lnTo>
                      <a:pt x="12" y="23"/>
                    </a:lnTo>
                    <a:lnTo>
                      <a:pt x="31" y="44"/>
                    </a:lnTo>
                    <a:lnTo>
                      <a:pt x="19" y="13"/>
                    </a:lnTo>
                    <a:lnTo>
                      <a:pt x="49" y="34"/>
                    </a:lnTo>
                    <a:lnTo>
                      <a:pt x="49" y="79"/>
                    </a:lnTo>
                    <a:lnTo>
                      <a:pt x="62" y="34"/>
                    </a:lnTo>
                    <a:lnTo>
                      <a:pt x="74" y="44"/>
                    </a:lnTo>
                    <a:lnTo>
                      <a:pt x="87" y="23"/>
                    </a:lnTo>
                    <a:lnTo>
                      <a:pt x="98" y="44"/>
                    </a:lnTo>
                    <a:lnTo>
                      <a:pt x="93" y="23"/>
                    </a:lnTo>
                    <a:lnTo>
                      <a:pt x="124" y="23"/>
                    </a:lnTo>
                    <a:lnTo>
                      <a:pt x="124" y="0"/>
                    </a:lnTo>
                    <a:lnTo>
                      <a:pt x="136" y="23"/>
                    </a:lnTo>
                    <a:lnTo>
                      <a:pt x="156" y="13"/>
                    </a:lnTo>
                    <a:lnTo>
                      <a:pt x="143" y="34"/>
                    </a:lnTo>
                    <a:lnTo>
                      <a:pt x="167" y="79"/>
                    </a:lnTo>
                    <a:lnTo>
                      <a:pt x="148" y="123"/>
                    </a:lnTo>
                    <a:lnTo>
                      <a:pt x="87" y="167"/>
                    </a:lnTo>
                    <a:lnTo>
                      <a:pt x="24" y="146"/>
                    </a:lnTo>
                    <a:lnTo>
                      <a:pt x="43" y="102"/>
                    </a:lnTo>
                    <a:lnTo>
                      <a:pt x="6" y="90"/>
                    </a:lnTo>
                    <a:lnTo>
                      <a:pt x="43" y="90"/>
                    </a:lnTo>
                    <a:lnTo>
                      <a:pt x="31" y="79"/>
                    </a:lnTo>
                    <a:lnTo>
                      <a:pt x="43" y="67"/>
                    </a:lnTo>
                    <a:lnTo>
                      <a:pt x="0" y="67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84" name="Freeform 363"/>
              <p:cNvSpPr>
                <a:spLocks/>
              </p:cNvSpPr>
              <p:nvPr/>
            </p:nvSpPr>
            <p:spPr bwMode="auto">
              <a:xfrm>
                <a:off x="2564" y="1395"/>
                <a:ext cx="167" cy="83"/>
              </a:xfrm>
              <a:custGeom>
                <a:avLst/>
                <a:gdLst>
                  <a:gd name="T0" fmla="*/ 0 w 167"/>
                  <a:gd name="T1" fmla="*/ 0 h 167"/>
                  <a:gd name="T2" fmla="*/ 6 w 167"/>
                  <a:gd name="T3" fmla="*/ 0 h 167"/>
                  <a:gd name="T4" fmla="*/ 6 w 167"/>
                  <a:gd name="T5" fmla="*/ 0 h 167"/>
                  <a:gd name="T6" fmla="*/ 19 w 167"/>
                  <a:gd name="T7" fmla="*/ 0 h 167"/>
                  <a:gd name="T8" fmla="*/ 12 w 167"/>
                  <a:gd name="T9" fmla="*/ 0 h 167"/>
                  <a:gd name="T10" fmla="*/ 31 w 167"/>
                  <a:gd name="T11" fmla="*/ 0 h 167"/>
                  <a:gd name="T12" fmla="*/ 19 w 167"/>
                  <a:gd name="T13" fmla="*/ 0 h 167"/>
                  <a:gd name="T14" fmla="*/ 49 w 167"/>
                  <a:gd name="T15" fmla="*/ 0 h 167"/>
                  <a:gd name="T16" fmla="*/ 49 w 167"/>
                  <a:gd name="T17" fmla="*/ 0 h 167"/>
                  <a:gd name="T18" fmla="*/ 62 w 167"/>
                  <a:gd name="T19" fmla="*/ 0 h 167"/>
                  <a:gd name="T20" fmla="*/ 74 w 167"/>
                  <a:gd name="T21" fmla="*/ 0 h 167"/>
                  <a:gd name="T22" fmla="*/ 87 w 167"/>
                  <a:gd name="T23" fmla="*/ 0 h 167"/>
                  <a:gd name="T24" fmla="*/ 98 w 167"/>
                  <a:gd name="T25" fmla="*/ 0 h 167"/>
                  <a:gd name="T26" fmla="*/ 93 w 167"/>
                  <a:gd name="T27" fmla="*/ 0 h 167"/>
                  <a:gd name="T28" fmla="*/ 124 w 167"/>
                  <a:gd name="T29" fmla="*/ 0 h 167"/>
                  <a:gd name="T30" fmla="*/ 124 w 167"/>
                  <a:gd name="T31" fmla="*/ 0 h 167"/>
                  <a:gd name="T32" fmla="*/ 136 w 167"/>
                  <a:gd name="T33" fmla="*/ 0 h 167"/>
                  <a:gd name="T34" fmla="*/ 156 w 167"/>
                  <a:gd name="T35" fmla="*/ 0 h 167"/>
                  <a:gd name="T36" fmla="*/ 143 w 167"/>
                  <a:gd name="T37" fmla="*/ 0 h 167"/>
                  <a:gd name="T38" fmla="*/ 167 w 167"/>
                  <a:gd name="T39" fmla="*/ 0 h 167"/>
                  <a:gd name="T40" fmla="*/ 148 w 167"/>
                  <a:gd name="T41" fmla="*/ 0 h 167"/>
                  <a:gd name="T42" fmla="*/ 87 w 167"/>
                  <a:gd name="T43" fmla="*/ 0 h 167"/>
                  <a:gd name="T44" fmla="*/ 24 w 167"/>
                  <a:gd name="T45" fmla="*/ 0 h 167"/>
                  <a:gd name="T46" fmla="*/ 43 w 167"/>
                  <a:gd name="T47" fmla="*/ 0 h 167"/>
                  <a:gd name="T48" fmla="*/ 6 w 167"/>
                  <a:gd name="T49" fmla="*/ 0 h 167"/>
                  <a:gd name="T50" fmla="*/ 43 w 167"/>
                  <a:gd name="T51" fmla="*/ 0 h 167"/>
                  <a:gd name="T52" fmla="*/ 31 w 167"/>
                  <a:gd name="T53" fmla="*/ 0 h 167"/>
                  <a:gd name="T54" fmla="*/ 43 w 167"/>
                  <a:gd name="T55" fmla="*/ 0 h 167"/>
                  <a:gd name="T56" fmla="*/ 0 w 167"/>
                  <a:gd name="T57" fmla="*/ 0 h 16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67" h="167">
                    <a:moveTo>
                      <a:pt x="0" y="67"/>
                    </a:moveTo>
                    <a:lnTo>
                      <a:pt x="6" y="58"/>
                    </a:lnTo>
                    <a:lnTo>
                      <a:pt x="6" y="44"/>
                    </a:lnTo>
                    <a:lnTo>
                      <a:pt x="19" y="44"/>
                    </a:lnTo>
                    <a:lnTo>
                      <a:pt x="12" y="23"/>
                    </a:lnTo>
                    <a:lnTo>
                      <a:pt x="31" y="44"/>
                    </a:lnTo>
                    <a:lnTo>
                      <a:pt x="19" y="13"/>
                    </a:lnTo>
                    <a:lnTo>
                      <a:pt x="49" y="34"/>
                    </a:lnTo>
                    <a:lnTo>
                      <a:pt x="49" y="79"/>
                    </a:lnTo>
                    <a:lnTo>
                      <a:pt x="62" y="34"/>
                    </a:lnTo>
                    <a:lnTo>
                      <a:pt x="74" y="44"/>
                    </a:lnTo>
                    <a:lnTo>
                      <a:pt x="87" y="23"/>
                    </a:lnTo>
                    <a:lnTo>
                      <a:pt x="98" y="44"/>
                    </a:lnTo>
                    <a:lnTo>
                      <a:pt x="93" y="23"/>
                    </a:lnTo>
                    <a:lnTo>
                      <a:pt x="124" y="23"/>
                    </a:lnTo>
                    <a:lnTo>
                      <a:pt x="124" y="0"/>
                    </a:lnTo>
                    <a:lnTo>
                      <a:pt x="136" y="23"/>
                    </a:lnTo>
                    <a:lnTo>
                      <a:pt x="156" y="13"/>
                    </a:lnTo>
                    <a:lnTo>
                      <a:pt x="143" y="34"/>
                    </a:lnTo>
                    <a:lnTo>
                      <a:pt x="167" y="79"/>
                    </a:lnTo>
                    <a:lnTo>
                      <a:pt x="148" y="123"/>
                    </a:lnTo>
                    <a:lnTo>
                      <a:pt x="87" y="167"/>
                    </a:lnTo>
                    <a:lnTo>
                      <a:pt x="24" y="146"/>
                    </a:lnTo>
                    <a:lnTo>
                      <a:pt x="43" y="102"/>
                    </a:lnTo>
                    <a:lnTo>
                      <a:pt x="6" y="90"/>
                    </a:lnTo>
                    <a:lnTo>
                      <a:pt x="43" y="90"/>
                    </a:lnTo>
                    <a:lnTo>
                      <a:pt x="31" y="79"/>
                    </a:lnTo>
                    <a:lnTo>
                      <a:pt x="43" y="67"/>
                    </a:lnTo>
                    <a:lnTo>
                      <a:pt x="0" y="67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08" name="Freeform 3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5961311" y="3546475"/>
              <a:ext cx="666750" cy="750888"/>
            </a:xfrm>
            <a:custGeom>
              <a:avLst/>
              <a:gdLst>
                <a:gd name="T0" fmla="*/ 0 w 455"/>
                <a:gd name="T1" fmla="*/ 2147483647 h 946"/>
                <a:gd name="T2" fmla="*/ 2147483647 w 455"/>
                <a:gd name="T3" fmla="*/ 2147483647 h 946"/>
                <a:gd name="T4" fmla="*/ 2147483647 w 455"/>
                <a:gd name="T5" fmla="*/ 2147483647 h 946"/>
                <a:gd name="T6" fmla="*/ 2147483647 w 455"/>
                <a:gd name="T7" fmla="*/ 2147483647 h 946"/>
                <a:gd name="T8" fmla="*/ 2147483647 w 455"/>
                <a:gd name="T9" fmla="*/ 2147483647 h 946"/>
                <a:gd name="T10" fmla="*/ 2147483647 w 455"/>
                <a:gd name="T11" fmla="*/ 2147483647 h 946"/>
                <a:gd name="T12" fmla="*/ 2147483647 w 455"/>
                <a:gd name="T13" fmla="*/ 2147483647 h 946"/>
                <a:gd name="T14" fmla="*/ 2147483647 w 455"/>
                <a:gd name="T15" fmla="*/ 2147483647 h 946"/>
                <a:gd name="T16" fmla="*/ 2147483647 w 455"/>
                <a:gd name="T17" fmla="*/ 2147483647 h 946"/>
                <a:gd name="T18" fmla="*/ 2147483647 w 455"/>
                <a:gd name="T19" fmla="*/ 2147483647 h 946"/>
                <a:gd name="T20" fmla="*/ 2147483647 w 455"/>
                <a:gd name="T21" fmla="*/ 2147483647 h 946"/>
                <a:gd name="T22" fmla="*/ 2147483647 w 455"/>
                <a:gd name="T23" fmla="*/ 2147483647 h 946"/>
                <a:gd name="T24" fmla="*/ 2147483647 w 455"/>
                <a:gd name="T25" fmla="*/ 2147483647 h 946"/>
                <a:gd name="T26" fmla="*/ 2147483647 w 455"/>
                <a:gd name="T27" fmla="*/ 0 h 946"/>
                <a:gd name="T28" fmla="*/ 2147483647 w 455"/>
                <a:gd name="T29" fmla="*/ 2147483647 h 946"/>
                <a:gd name="T30" fmla="*/ 2147483647 w 455"/>
                <a:gd name="T31" fmla="*/ 2147483647 h 946"/>
                <a:gd name="T32" fmla="*/ 2147483647 w 455"/>
                <a:gd name="T33" fmla="*/ 2147483647 h 946"/>
                <a:gd name="T34" fmla="*/ 2147483647 w 455"/>
                <a:gd name="T35" fmla="*/ 2147483647 h 946"/>
                <a:gd name="T36" fmla="*/ 2147483647 w 455"/>
                <a:gd name="T37" fmla="*/ 2147483647 h 946"/>
                <a:gd name="T38" fmla="*/ 2147483647 w 455"/>
                <a:gd name="T39" fmla="*/ 2147483647 h 946"/>
                <a:gd name="T40" fmla="*/ 2147483647 w 455"/>
                <a:gd name="T41" fmla="*/ 2147483647 h 946"/>
                <a:gd name="T42" fmla="*/ 2147483647 w 455"/>
                <a:gd name="T43" fmla="*/ 2147483647 h 946"/>
                <a:gd name="T44" fmla="*/ 2147483647 w 455"/>
                <a:gd name="T45" fmla="*/ 2147483647 h 946"/>
                <a:gd name="T46" fmla="*/ 2147483647 w 455"/>
                <a:gd name="T47" fmla="*/ 2147483647 h 946"/>
                <a:gd name="T48" fmla="*/ 2147483647 w 455"/>
                <a:gd name="T49" fmla="*/ 2147483647 h 946"/>
                <a:gd name="T50" fmla="*/ 2147483647 w 455"/>
                <a:gd name="T51" fmla="*/ 2147483647 h 946"/>
                <a:gd name="T52" fmla="*/ 2147483647 w 455"/>
                <a:gd name="T53" fmla="*/ 2147483647 h 946"/>
                <a:gd name="T54" fmla="*/ 2147483647 w 455"/>
                <a:gd name="T55" fmla="*/ 2147483647 h 946"/>
                <a:gd name="T56" fmla="*/ 2147483647 w 455"/>
                <a:gd name="T57" fmla="*/ 2147483647 h 946"/>
                <a:gd name="T58" fmla="*/ 2147483647 w 455"/>
                <a:gd name="T59" fmla="*/ 2147483647 h 946"/>
                <a:gd name="T60" fmla="*/ 2147483647 w 455"/>
                <a:gd name="T61" fmla="*/ 2147483647 h 946"/>
                <a:gd name="T62" fmla="*/ 2147483647 w 455"/>
                <a:gd name="T63" fmla="*/ 2147483647 h 946"/>
                <a:gd name="T64" fmla="*/ 2147483647 w 455"/>
                <a:gd name="T65" fmla="*/ 2147483647 h 946"/>
                <a:gd name="T66" fmla="*/ 2147483647 w 455"/>
                <a:gd name="T67" fmla="*/ 2147483647 h 946"/>
                <a:gd name="T68" fmla="*/ 2147483647 w 455"/>
                <a:gd name="T69" fmla="*/ 2147483647 h 946"/>
                <a:gd name="T70" fmla="*/ 2147483647 w 455"/>
                <a:gd name="T71" fmla="*/ 2147483647 h 946"/>
                <a:gd name="T72" fmla="*/ 2147483647 w 455"/>
                <a:gd name="T73" fmla="*/ 2147483647 h 946"/>
                <a:gd name="T74" fmla="*/ 2147483647 w 455"/>
                <a:gd name="T75" fmla="*/ 2147483647 h 946"/>
                <a:gd name="T76" fmla="*/ 2147483647 w 455"/>
                <a:gd name="T77" fmla="*/ 2147483647 h 946"/>
                <a:gd name="T78" fmla="*/ 2147483647 w 455"/>
                <a:gd name="T79" fmla="*/ 2147483647 h 946"/>
                <a:gd name="T80" fmla="*/ 2147483647 w 455"/>
                <a:gd name="T81" fmla="*/ 2147483647 h 946"/>
                <a:gd name="T82" fmla="*/ 2147483647 w 455"/>
                <a:gd name="T83" fmla="*/ 2147483647 h 946"/>
                <a:gd name="T84" fmla="*/ 2147483647 w 455"/>
                <a:gd name="T85" fmla="*/ 2147483647 h 946"/>
                <a:gd name="T86" fmla="*/ 2147483647 w 455"/>
                <a:gd name="T87" fmla="*/ 2147483647 h 946"/>
                <a:gd name="T88" fmla="*/ 2147483647 w 455"/>
                <a:gd name="T89" fmla="*/ 2147483647 h 946"/>
                <a:gd name="T90" fmla="*/ 2147483647 w 455"/>
                <a:gd name="T91" fmla="*/ 2147483647 h 946"/>
                <a:gd name="T92" fmla="*/ 2147483647 w 455"/>
                <a:gd name="T93" fmla="*/ 2147483647 h 946"/>
                <a:gd name="T94" fmla="*/ 2147483647 w 455"/>
                <a:gd name="T95" fmla="*/ 2147483647 h 946"/>
                <a:gd name="T96" fmla="*/ 2147483647 w 455"/>
                <a:gd name="T97" fmla="*/ 2147483647 h 946"/>
                <a:gd name="T98" fmla="*/ 2147483647 w 455"/>
                <a:gd name="T99" fmla="*/ 2147483647 h 946"/>
                <a:gd name="T100" fmla="*/ 2147483647 w 455"/>
                <a:gd name="T101" fmla="*/ 2147483647 h 946"/>
                <a:gd name="T102" fmla="*/ 2147483647 w 455"/>
                <a:gd name="T103" fmla="*/ 2147483647 h 946"/>
                <a:gd name="T104" fmla="*/ 2147483647 w 455"/>
                <a:gd name="T105" fmla="*/ 2147483647 h 946"/>
                <a:gd name="T106" fmla="*/ 2147483647 w 455"/>
                <a:gd name="T107" fmla="*/ 2147483647 h 946"/>
                <a:gd name="T108" fmla="*/ 2147483647 w 455"/>
                <a:gd name="T109" fmla="*/ 2147483647 h 946"/>
                <a:gd name="T110" fmla="*/ 2147483647 w 455"/>
                <a:gd name="T111" fmla="*/ 2147483647 h 946"/>
                <a:gd name="T112" fmla="*/ 2147483647 w 455"/>
                <a:gd name="T113" fmla="*/ 2147483647 h 946"/>
                <a:gd name="T114" fmla="*/ 2147483647 w 455"/>
                <a:gd name="T115" fmla="*/ 2147483647 h 946"/>
                <a:gd name="T116" fmla="*/ 2147483647 w 455"/>
                <a:gd name="T117" fmla="*/ 2147483647 h 946"/>
                <a:gd name="T118" fmla="*/ 2147483647 w 455"/>
                <a:gd name="T119" fmla="*/ 2147483647 h 946"/>
                <a:gd name="T120" fmla="*/ 2147483647 w 455"/>
                <a:gd name="T121" fmla="*/ 2147483647 h 946"/>
                <a:gd name="T122" fmla="*/ 0 w 455"/>
                <a:gd name="T123" fmla="*/ 2147483647 h 94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55" h="946">
                  <a:moveTo>
                    <a:pt x="0" y="436"/>
                  </a:moveTo>
                  <a:lnTo>
                    <a:pt x="11" y="412"/>
                  </a:lnTo>
                  <a:lnTo>
                    <a:pt x="49" y="412"/>
                  </a:lnTo>
                  <a:lnTo>
                    <a:pt x="25" y="313"/>
                  </a:lnTo>
                  <a:lnTo>
                    <a:pt x="37" y="290"/>
                  </a:lnTo>
                  <a:lnTo>
                    <a:pt x="56" y="290"/>
                  </a:lnTo>
                  <a:lnTo>
                    <a:pt x="106" y="178"/>
                  </a:lnTo>
                  <a:lnTo>
                    <a:pt x="99" y="157"/>
                  </a:lnTo>
                  <a:lnTo>
                    <a:pt x="111" y="134"/>
                  </a:lnTo>
                  <a:lnTo>
                    <a:pt x="93" y="99"/>
                  </a:lnTo>
                  <a:lnTo>
                    <a:pt x="93" y="55"/>
                  </a:lnTo>
                  <a:lnTo>
                    <a:pt x="137" y="55"/>
                  </a:lnTo>
                  <a:lnTo>
                    <a:pt x="149" y="25"/>
                  </a:lnTo>
                  <a:lnTo>
                    <a:pt x="175" y="0"/>
                  </a:lnTo>
                  <a:lnTo>
                    <a:pt x="194" y="25"/>
                  </a:lnTo>
                  <a:lnTo>
                    <a:pt x="168" y="78"/>
                  </a:lnTo>
                  <a:lnTo>
                    <a:pt x="180" y="122"/>
                  </a:lnTo>
                  <a:lnTo>
                    <a:pt x="161" y="122"/>
                  </a:lnTo>
                  <a:lnTo>
                    <a:pt x="168" y="190"/>
                  </a:lnTo>
                  <a:lnTo>
                    <a:pt x="199" y="201"/>
                  </a:lnTo>
                  <a:lnTo>
                    <a:pt x="186" y="257"/>
                  </a:lnTo>
                  <a:lnTo>
                    <a:pt x="225" y="313"/>
                  </a:lnTo>
                  <a:lnTo>
                    <a:pt x="305" y="336"/>
                  </a:lnTo>
                  <a:lnTo>
                    <a:pt x="312" y="290"/>
                  </a:lnTo>
                  <a:lnTo>
                    <a:pt x="324" y="290"/>
                  </a:lnTo>
                  <a:lnTo>
                    <a:pt x="324" y="313"/>
                  </a:lnTo>
                  <a:lnTo>
                    <a:pt x="331" y="336"/>
                  </a:lnTo>
                  <a:lnTo>
                    <a:pt x="368" y="324"/>
                  </a:lnTo>
                  <a:lnTo>
                    <a:pt x="368" y="290"/>
                  </a:lnTo>
                  <a:lnTo>
                    <a:pt x="437" y="234"/>
                  </a:lnTo>
                  <a:lnTo>
                    <a:pt x="437" y="267"/>
                  </a:lnTo>
                  <a:lnTo>
                    <a:pt x="455" y="280"/>
                  </a:lnTo>
                  <a:lnTo>
                    <a:pt x="450" y="324"/>
                  </a:lnTo>
                  <a:lnTo>
                    <a:pt x="424" y="336"/>
                  </a:lnTo>
                  <a:lnTo>
                    <a:pt x="381" y="489"/>
                  </a:lnTo>
                  <a:lnTo>
                    <a:pt x="374" y="436"/>
                  </a:lnTo>
                  <a:lnTo>
                    <a:pt x="368" y="459"/>
                  </a:lnTo>
                  <a:lnTo>
                    <a:pt x="355" y="424"/>
                  </a:lnTo>
                  <a:lnTo>
                    <a:pt x="374" y="389"/>
                  </a:lnTo>
                  <a:lnTo>
                    <a:pt x="336" y="380"/>
                  </a:lnTo>
                  <a:lnTo>
                    <a:pt x="318" y="336"/>
                  </a:lnTo>
                  <a:lnTo>
                    <a:pt x="312" y="357"/>
                  </a:lnTo>
                  <a:lnTo>
                    <a:pt x="318" y="380"/>
                  </a:lnTo>
                  <a:lnTo>
                    <a:pt x="305" y="389"/>
                  </a:lnTo>
                  <a:lnTo>
                    <a:pt x="318" y="412"/>
                  </a:lnTo>
                  <a:lnTo>
                    <a:pt x="324" y="503"/>
                  </a:lnTo>
                  <a:lnTo>
                    <a:pt x="312" y="489"/>
                  </a:lnTo>
                  <a:lnTo>
                    <a:pt x="286" y="557"/>
                  </a:lnTo>
                  <a:lnTo>
                    <a:pt x="194" y="701"/>
                  </a:lnTo>
                  <a:lnTo>
                    <a:pt x="180" y="881"/>
                  </a:lnTo>
                  <a:lnTo>
                    <a:pt x="144" y="946"/>
                  </a:lnTo>
                  <a:lnTo>
                    <a:pt x="106" y="814"/>
                  </a:lnTo>
                  <a:lnTo>
                    <a:pt x="93" y="701"/>
                  </a:lnTo>
                  <a:lnTo>
                    <a:pt x="80" y="679"/>
                  </a:lnTo>
                  <a:lnTo>
                    <a:pt x="69" y="480"/>
                  </a:lnTo>
                  <a:lnTo>
                    <a:pt x="61" y="468"/>
                  </a:lnTo>
                  <a:lnTo>
                    <a:pt x="56" y="512"/>
                  </a:lnTo>
                  <a:lnTo>
                    <a:pt x="37" y="533"/>
                  </a:lnTo>
                  <a:lnTo>
                    <a:pt x="11" y="480"/>
                  </a:lnTo>
                  <a:lnTo>
                    <a:pt x="37" y="459"/>
                  </a:lnTo>
                  <a:lnTo>
                    <a:pt x="11" y="459"/>
                  </a:lnTo>
                  <a:lnTo>
                    <a:pt x="0" y="43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09" name="Group 365"/>
            <p:cNvGrpSpPr>
              <a:grpSpLocks/>
            </p:cNvGrpSpPr>
            <p:nvPr>
              <p:custDataLst>
                <p:tags r:id="rId303"/>
              </p:custDataLst>
            </p:nvPr>
          </p:nvGrpSpPr>
          <p:grpSpPr bwMode="auto">
            <a:xfrm>
              <a:off x="5961311" y="3546475"/>
              <a:ext cx="666750" cy="750888"/>
              <a:chOff x="4003" y="2052"/>
              <a:chExt cx="455" cy="473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75" name="Freeform 366"/>
              <p:cNvSpPr>
                <a:spLocks/>
              </p:cNvSpPr>
              <p:nvPr/>
            </p:nvSpPr>
            <p:spPr bwMode="auto">
              <a:xfrm>
                <a:off x="4003" y="2052"/>
                <a:ext cx="455" cy="473"/>
              </a:xfrm>
              <a:custGeom>
                <a:avLst/>
                <a:gdLst>
                  <a:gd name="T0" fmla="*/ 0 w 455"/>
                  <a:gd name="T1" fmla="*/ 1 h 946"/>
                  <a:gd name="T2" fmla="*/ 11 w 455"/>
                  <a:gd name="T3" fmla="*/ 1 h 946"/>
                  <a:gd name="T4" fmla="*/ 49 w 455"/>
                  <a:gd name="T5" fmla="*/ 1 h 946"/>
                  <a:gd name="T6" fmla="*/ 25 w 455"/>
                  <a:gd name="T7" fmla="*/ 1 h 946"/>
                  <a:gd name="T8" fmla="*/ 37 w 455"/>
                  <a:gd name="T9" fmla="*/ 1 h 946"/>
                  <a:gd name="T10" fmla="*/ 56 w 455"/>
                  <a:gd name="T11" fmla="*/ 1 h 946"/>
                  <a:gd name="T12" fmla="*/ 106 w 455"/>
                  <a:gd name="T13" fmla="*/ 1 h 946"/>
                  <a:gd name="T14" fmla="*/ 99 w 455"/>
                  <a:gd name="T15" fmla="*/ 1 h 946"/>
                  <a:gd name="T16" fmla="*/ 111 w 455"/>
                  <a:gd name="T17" fmla="*/ 1 h 946"/>
                  <a:gd name="T18" fmla="*/ 93 w 455"/>
                  <a:gd name="T19" fmla="*/ 1 h 946"/>
                  <a:gd name="T20" fmla="*/ 93 w 455"/>
                  <a:gd name="T21" fmla="*/ 1 h 946"/>
                  <a:gd name="T22" fmla="*/ 137 w 455"/>
                  <a:gd name="T23" fmla="*/ 1 h 946"/>
                  <a:gd name="T24" fmla="*/ 149 w 455"/>
                  <a:gd name="T25" fmla="*/ 1 h 946"/>
                  <a:gd name="T26" fmla="*/ 175 w 455"/>
                  <a:gd name="T27" fmla="*/ 0 h 946"/>
                  <a:gd name="T28" fmla="*/ 194 w 455"/>
                  <a:gd name="T29" fmla="*/ 1 h 946"/>
                  <a:gd name="T30" fmla="*/ 168 w 455"/>
                  <a:gd name="T31" fmla="*/ 1 h 946"/>
                  <a:gd name="T32" fmla="*/ 180 w 455"/>
                  <a:gd name="T33" fmla="*/ 1 h 946"/>
                  <a:gd name="T34" fmla="*/ 161 w 455"/>
                  <a:gd name="T35" fmla="*/ 1 h 946"/>
                  <a:gd name="T36" fmla="*/ 168 w 455"/>
                  <a:gd name="T37" fmla="*/ 1 h 946"/>
                  <a:gd name="T38" fmla="*/ 199 w 455"/>
                  <a:gd name="T39" fmla="*/ 1 h 946"/>
                  <a:gd name="T40" fmla="*/ 186 w 455"/>
                  <a:gd name="T41" fmla="*/ 1 h 946"/>
                  <a:gd name="T42" fmla="*/ 225 w 455"/>
                  <a:gd name="T43" fmla="*/ 1 h 946"/>
                  <a:gd name="T44" fmla="*/ 305 w 455"/>
                  <a:gd name="T45" fmla="*/ 1 h 946"/>
                  <a:gd name="T46" fmla="*/ 312 w 455"/>
                  <a:gd name="T47" fmla="*/ 1 h 946"/>
                  <a:gd name="T48" fmla="*/ 324 w 455"/>
                  <a:gd name="T49" fmla="*/ 1 h 946"/>
                  <a:gd name="T50" fmla="*/ 324 w 455"/>
                  <a:gd name="T51" fmla="*/ 1 h 946"/>
                  <a:gd name="T52" fmla="*/ 331 w 455"/>
                  <a:gd name="T53" fmla="*/ 1 h 946"/>
                  <a:gd name="T54" fmla="*/ 368 w 455"/>
                  <a:gd name="T55" fmla="*/ 1 h 946"/>
                  <a:gd name="T56" fmla="*/ 368 w 455"/>
                  <a:gd name="T57" fmla="*/ 1 h 946"/>
                  <a:gd name="T58" fmla="*/ 437 w 455"/>
                  <a:gd name="T59" fmla="*/ 1 h 946"/>
                  <a:gd name="T60" fmla="*/ 437 w 455"/>
                  <a:gd name="T61" fmla="*/ 1 h 946"/>
                  <a:gd name="T62" fmla="*/ 455 w 455"/>
                  <a:gd name="T63" fmla="*/ 1 h 946"/>
                  <a:gd name="T64" fmla="*/ 450 w 455"/>
                  <a:gd name="T65" fmla="*/ 1 h 946"/>
                  <a:gd name="T66" fmla="*/ 424 w 455"/>
                  <a:gd name="T67" fmla="*/ 1 h 946"/>
                  <a:gd name="T68" fmla="*/ 381 w 455"/>
                  <a:gd name="T69" fmla="*/ 1 h 946"/>
                  <a:gd name="T70" fmla="*/ 374 w 455"/>
                  <a:gd name="T71" fmla="*/ 1 h 946"/>
                  <a:gd name="T72" fmla="*/ 368 w 455"/>
                  <a:gd name="T73" fmla="*/ 1 h 946"/>
                  <a:gd name="T74" fmla="*/ 355 w 455"/>
                  <a:gd name="T75" fmla="*/ 1 h 946"/>
                  <a:gd name="T76" fmla="*/ 374 w 455"/>
                  <a:gd name="T77" fmla="*/ 1 h 946"/>
                  <a:gd name="T78" fmla="*/ 336 w 455"/>
                  <a:gd name="T79" fmla="*/ 1 h 946"/>
                  <a:gd name="T80" fmla="*/ 318 w 455"/>
                  <a:gd name="T81" fmla="*/ 1 h 946"/>
                  <a:gd name="T82" fmla="*/ 312 w 455"/>
                  <a:gd name="T83" fmla="*/ 1 h 946"/>
                  <a:gd name="T84" fmla="*/ 318 w 455"/>
                  <a:gd name="T85" fmla="*/ 1 h 946"/>
                  <a:gd name="T86" fmla="*/ 305 w 455"/>
                  <a:gd name="T87" fmla="*/ 1 h 946"/>
                  <a:gd name="T88" fmla="*/ 318 w 455"/>
                  <a:gd name="T89" fmla="*/ 1 h 946"/>
                  <a:gd name="T90" fmla="*/ 324 w 455"/>
                  <a:gd name="T91" fmla="*/ 1 h 946"/>
                  <a:gd name="T92" fmla="*/ 312 w 455"/>
                  <a:gd name="T93" fmla="*/ 1 h 946"/>
                  <a:gd name="T94" fmla="*/ 286 w 455"/>
                  <a:gd name="T95" fmla="*/ 1 h 946"/>
                  <a:gd name="T96" fmla="*/ 194 w 455"/>
                  <a:gd name="T97" fmla="*/ 1 h 946"/>
                  <a:gd name="T98" fmla="*/ 180 w 455"/>
                  <a:gd name="T99" fmla="*/ 1 h 946"/>
                  <a:gd name="T100" fmla="*/ 144 w 455"/>
                  <a:gd name="T101" fmla="*/ 1 h 946"/>
                  <a:gd name="T102" fmla="*/ 106 w 455"/>
                  <a:gd name="T103" fmla="*/ 1 h 946"/>
                  <a:gd name="T104" fmla="*/ 93 w 455"/>
                  <a:gd name="T105" fmla="*/ 1 h 946"/>
                  <a:gd name="T106" fmla="*/ 80 w 455"/>
                  <a:gd name="T107" fmla="*/ 1 h 946"/>
                  <a:gd name="T108" fmla="*/ 69 w 455"/>
                  <a:gd name="T109" fmla="*/ 1 h 946"/>
                  <a:gd name="T110" fmla="*/ 61 w 455"/>
                  <a:gd name="T111" fmla="*/ 1 h 946"/>
                  <a:gd name="T112" fmla="*/ 56 w 455"/>
                  <a:gd name="T113" fmla="*/ 1 h 946"/>
                  <a:gd name="T114" fmla="*/ 37 w 455"/>
                  <a:gd name="T115" fmla="*/ 1 h 946"/>
                  <a:gd name="T116" fmla="*/ 11 w 455"/>
                  <a:gd name="T117" fmla="*/ 1 h 946"/>
                  <a:gd name="T118" fmla="*/ 37 w 455"/>
                  <a:gd name="T119" fmla="*/ 1 h 946"/>
                  <a:gd name="T120" fmla="*/ 11 w 455"/>
                  <a:gd name="T121" fmla="*/ 1 h 946"/>
                  <a:gd name="T122" fmla="*/ 0 w 455"/>
                  <a:gd name="T123" fmla="*/ 1 h 9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55" h="946">
                    <a:moveTo>
                      <a:pt x="0" y="436"/>
                    </a:moveTo>
                    <a:lnTo>
                      <a:pt x="11" y="412"/>
                    </a:lnTo>
                    <a:lnTo>
                      <a:pt x="49" y="412"/>
                    </a:lnTo>
                    <a:lnTo>
                      <a:pt x="25" y="313"/>
                    </a:lnTo>
                    <a:lnTo>
                      <a:pt x="37" y="290"/>
                    </a:lnTo>
                    <a:lnTo>
                      <a:pt x="56" y="290"/>
                    </a:lnTo>
                    <a:lnTo>
                      <a:pt x="106" y="178"/>
                    </a:lnTo>
                    <a:lnTo>
                      <a:pt x="99" y="157"/>
                    </a:lnTo>
                    <a:lnTo>
                      <a:pt x="111" y="134"/>
                    </a:lnTo>
                    <a:lnTo>
                      <a:pt x="93" y="99"/>
                    </a:lnTo>
                    <a:lnTo>
                      <a:pt x="93" y="55"/>
                    </a:lnTo>
                    <a:lnTo>
                      <a:pt x="137" y="55"/>
                    </a:lnTo>
                    <a:lnTo>
                      <a:pt x="149" y="25"/>
                    </a:lnTo>
                    <a:lnTo>
                      <a:pt x="175" y="0"/>
                    </a:lnTo>
                    <a:lnTo>
                      <a:pt x="194" y="25"/>
                    </a:lnTo>
                    <a:lnTo>
                      <a:pt x="168" y="78"/>
                    </a:lnTo>
                    <a:lnTo>
                      <a:pt x="180" y="122"/>
                    </a:lnTo>
                    <a:lnTo>
                      <a:pt x="161" y="122"/>
                    </a:lnTo>
                    <a:lnTo>
                      <a:pt x="168" y="190"/>
                    </a:lnTo>
                    <a:lnTo>
                      <a:pt x="199" y="201"/>
                    </a:lnTo>
                    <a:lnTo>
                      <a:pt x="186" y="257"/>
                    </a:lnTo>
                    <a:lnTo>
                      <a:pt x="225" y="313"/>
                    </a:lnTo>
                    <a:lnTo>
                      <a:pt x="305" y="336"/>
                    </a:lnTo>
                    <a:lnTo>
                      <a:pt x="312" y="290"/>
                    </a:lnTo>
                    <a:lnTo>
                      <a:pt x="324" y="290"/>
                    </a:lnTo>
                    <a:lnTo>
                      <a:pt x="324" y="313"/>
                    </a:lnTo>
                    <a:lnTo>
                      <a:pt x="331" y="336"/>
                    </a:lnTo>
                    <a:lnTo>
                      <a:pt x="368" y="324"/>
                    </a:lnTo>
                    <a:lnTo>
                      <a:pt x="368" y="290"/>
                    </a:lnTo>
                    <a:lnTo>
                      <a:pt x="437" y="234"/>
                    </a:lnTo>
                    <a:lnTo>
                      <a:pt x="437" y="267"/>
                    </a:lnTo>
                    <a:lnTo>
                      <a:pt x="455" y="280"/>
                    </a:lnTo>
                    <a:lnTo>
                      <a:pt x="450" y="324"/>
                    </a:lnTo>
                    <a:lnTo>
                      <a:pt x="424" y="336"/>
                    </a:lnTo>
                    <a:lnTo>
                      <a:pt x="381" y="489"/>
                    </a:lnTo>
                    <a:lnTo>
                      <a:pt x="374" y="436"/>
                    </a:lnTo>
                    <a:lnTo>
                      <a:pt x="368" y="459"/>
                    </a:lnTo>
                    <a:lnTo>
                      <a:pt x="355" y="424"/>
                    </a:lnTo>
                    <a:lnTo>
                      <a:pt x="374" y="389"/>
                    </a:lnTo>
                    <a:lnTo>
                      <a:pt x="336" y="380"/>
                    </a:lnTo>
                    <a:lnTo>
                      <a:pt x="318" y="336"/>
                    </a:lnTo>
                    <a:lnTo>
                      <a:pt x="312" y="357"/>
                    </a:lnTo>
                    <a:lnTo>
                      <a:pt x="318" y="380"/>
                    </a:lnTo>
                    <a:lnTo>
                      <a:pt x="305" y="389"/>
                    </a:lnTo>
                    <a:lnTo>
                      <a:pt x="318" y="412"/>
                    </a:lnTo>
                    <a:lnTo>
                      <a:pt x="324" y="503"/>
                    </a:lnTo>
                    <a:lnTo>
                      <a:pt x="312" y="489"/>
                    </a:lnTo>
                    <a:lnTo>
                      <a:pt x="286" y="557"/>
                    </a:lnTo>
                    <a:lnTo>
                      <a:pt x="194" y="701"/>
                    </a:lnTo>
                    <a:lnTo>
                      <a:pt x="180" y="881"/>
                    </a:lnTo>
                    <a:lnTo>
                      <a:pt x="144" y="946"/>
                    </a:lnTo>
                    <a:lnTo>
                      <a:pt x="106" y="814"/>
                    </a:lnTo>
                    <a:lnTo>
                      <a:pt x="93" y="701"/>
                    </a:lnTo>
                    <a:lnTo>
                      <a:pt x="80" y="679"/>
                    </a:lnTo>
                    <a:lnTo>
                      <a:pt x="69" y="480"/>
                    </a:lnTo>
                    <a:lnTo>
                      <a:pt x="61" y="468"/>
                    </a:lnTo>
                    <a:lnTo>
                      <a:pt x="56" y="512"/>
                    </a:lnTo>
                    <a:lnTo>
                      <a:pt x="37" y="533"/>
                    </a:lnTo>
                    <a:lnTo>
                      <a:pt x="11" y="480"/>
                    </a:lnTo>
                    <a:lnTo>
                      <a:pt x="37" y="459"/>
                    </a:lnTo>
                    <a:lnTo>
                      <a:pt x="11" y="459"/>
                    </a:lnTo>
                    <a:lnTo>
                      <a:pt x="0" y="436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76" name="Freeform 367"/>
              <p:cNvSpPr>
                <a:spLocks/>
              </p:cNvSpPr>
              <p:nvPr/>
            </p:nvSpPr>
            <p:spPr bwMode="auto">
              <a:xfrm>
                <a:off x="4003" y="2052"/>
                <a:ext cx="455" cy="473"/>
              </a:xfrm>
              <a:custGeom>
                <a:avLst/>
                <a:gdLst>
                  <a:gd name="T0" fmla="*/ 0 w 455"/>
                  <a:gd name="T1" fmla="*/ 1 h 946"/>
                  <a:gd name="T2" fmla="*/ 11 w 455"/>
                  <a:gd name="T3" fmla="*/ 1 h 946"/>
                  <a:gd name="T4" fmla="*/ 49 w 455"/>
                  <a:gd name="T5" fmla="*/ 1 h 946"/>
                  <a:gd name="T6" fmla="*/ 25 w 455"/>
                  <a:gd name="T7" fmla="*/ 1 h 946"/>
                  <a:gd name="T8" fmla="*/ 37 w 455"/>
                  <a:gd name="T9" fmla="*/ 1 h 946"/>
                  <a:gd name="T10" fmla="*/ 56 w 455"/>
                  <a:gd name="T11" fmla="*/ 1 h 946"/>
                  <a:gd name="T12" fmla="*/ 106 w 455"/>
                  <a:gd name="T13" fmla="*/ 1 h 946"/>
                  <a:gd name="T14" fmla="*/ 99 w 455"/>
                  <a:gd name="T15" fmla="*/ 1 h 946"/>
                  <a:gd name="T16" fmla="*/ 111 w 455"/>
                  <a:gd name="T17" fmla="*/ 1 h 946"/>
                  <a:gd name="T18" fmla="*/ 93 w 455"/>
                  <a:gd name="T19" fmla="*/ 1 h 946"/>
                  <a:gd name="T20" fmla="*/ 93 w 455"/>
                  <a:gd name="T21" fmla="*/ 1 h 946"/>
                  <a:gd name="T22" fmla="*/ 137 w 455"/>
                  <a:gd name="T23" fmla="*/ 1 h 946"/>
                  <a:gd name="T24" fmla="*/ 149 w 455"/>
                  <a:gd name="T25" fmla="*/ 1 h 946"/>
                  <a:gd name="T26" fmla="*/ 175 w 455"/>
                  <a:gd name="T27" fmla="*/ 0 h 946"/>
                  <a:gd name="T28" fmla="*/ 194 w 455"/>
                  <a:gd name="T29" fmla="*/ 1 h 946"/>
                  <a:gd name="T30" fmla="*/ 168 w 455"/>
                  <a:gd name="T31" fmla="*/ 1 h 946"/>
                  <a:gd name="T32" fmla="*/ 180 w 455"/>
                  <a:gd name="T33" fmla="*/ 1 h 946"/>
                  <a:gd name="T34" fmla="*/ 161 w 455"/>
                  <a:gd name="T35" fmla="*/ 1 h 946"/>
                  <a:gd name="T36" fmla="*/ 168 w 455"/>
                  <a:gd name="T37" fmla="*/ 1 h 946"/>
                  <a:gd name="T38" fmla="*/ 199 w 455"/>
                  <a:gd name="T39" fmla="*/ 1 h 946"/>
                  <a:gd name="T40" fmla="*/ 186 w 455"/>
                  <a:gd name="T41" fmla="*/ 1 h 946"/>
                  <a:gd name="T42" fmla="*/ 225 w 455"/>
                  <a:gd name="T43" fmla="*/ 1 h 946"/>
                  <a:gd name="T44" fmla="*/ 305 w 455"/>
                  <a:gd name="T45" fmla="*/ 1 h 946"/>
                  <a:gd name="T46" fmla="*/ 312 w 455"/>
                  <a:gd name="T47" fmla="*/ 1 h 946"/>
                  <a:gd name="T48" fmla="*/ 324 w 455"/>
                  <a:gd name="T49" fmla="*/ 1 h 946"/>
                  <a:gd name="T50" fmla="*/ 324 w 455"/>
                  <a:gd name="T51" fmla="*/ 1 h 946"/>
                  <a:gd name="T52" fmla="*/ 331 w 455"/>
                  <a:gd name="T53" fmla="*/ 1 h 946"/>
                  <a:gd name="T54" fmla="*/ 368 w 455"/>
                  <a:gd name="T55" fmla="*/ 1 h 946"/>
                  <a:gd name="T56" fmla="*/ 368 w 455"/>
                  <a:gd name="T57" fmla="*/ 1 h 946"/>
                  <a:gd name="T58" fmla="*/ 437 w 455"/>
                  <a:gd name="T59" fmla="*/ 1 h 946"/>
                  <a:gd name="T60" fmla="*/ 437 w 455"/>
                  <a:gd name="T61" fmla="*/ 1 h 946"/>
                  <a:gd name="T62" fmla="*/ 455 w 455"/>
                  <a:gd name="T63" fmla="*/ 1 h 946"/>
                  <a:gd name="T64" fmla="*/ 450 w 455"/>
                  <a:gd name="T65" fmla="*/ 1 h 946"/>
                  <a:gd name="T66" fmla="*/ 424 w 455"/>
                  <a:gd name="T67" fmla="*/ 1 h 946"/>
                  <a:gd name="T68" fmla="*/ 381 w 455"/>
                  <a:gd name="T69" fmla="*/ 1 h 946"/>
                  <a:gd name="T70" fmla="*/ 374 w 455"/>
                  <a:gd name="T71" fmla="*/ 1 h 946"/>
                  <a:gd name="T72" fmla="*/ 368 w 455"/>
                  <a:gd name="T73" fmla="*/ 1 h 946"/>
                  <a:gd name="T74" fmla="*/ 355 w 455"/>
                  <a:gd name="T75" fmla="*/ 1 h 946"/>
                  <a:gd name="T76" fmla="*/ 374 w 455"/>
                  <a:gd name="T77" fmla="*/ 1 h 946"/>
                  <a:gd name="T78" fmla="*/ 336 w 455"/>
                  <a:gd name="T79" fmla="*/ 1 h 946"/>
                  <a:gd name="T80" fmla="*/ 318 w 455"/>
                  <a:gd name="T81" fmla="*/ 1 h 946"/>
                  <a:gd name="T82" fmla="*/ 312 w 455"/>
                  <a:gd name="T83" fmla="*/ 1 h 946"/>
                  <a:gd name="T84" fmla="*/ 318 w 455"/>
                  <a:gd name="T85" fmla="*/ 1 h 946"/>
                  <a:gd name="T86" fmla="*/ 305 w 455"/>
                  <a:gd name="T87" fmla="*/ 1 h 946"/>
                  <a:gd name="T88" fmla="*/ 318 w 455"/>
                  <a:gd name="T89" fmla="*/ 1 h 946"/>
                  <a:gd name="T90" fmla="*/ 324 w 455"/>
                  <a:gd name="T91" fmla="*/ 1 h 946"/>
                  <a:gd name="T92" fmla="*/ 312 w 455"/>
                  <a:gd name="T93" fmla="*/ 1 h 946"/>
                  <a:gd name="T94" fmla="*/ 286 w 455"/>
                  <a:gd name="T95" fmla="*/ 1 h 946"/>
                  <a:gd name="T96" fmla="*/ 194 w 455"/>
                  <a:gd name="T97" fmla="*/ 1 h 946"/>
                  <a:gd name="T98" fmla="*/ 180 w 455"/>
                  <a:gd name="T99" fmla="*/ 1 h 946"/>
                  <a:gd name="T100" fmla="*/ 144 w 455"/>
                  <a:gd name="T101" fmla="*/ 1 h 946"/>
                  <a:gd name="T102" fmla="*/ 106 w 455"/>
                  <a:gd name="T103" fmla="*/ 1 h 946"/>
                  <a:gd name="T104" fmla="*/ 93 w 455"/>
                  <a:gd name="T105" fmla="*/ 1 h 946"/>
                  <a:gd name="T106" fmla="*/ 80 w 455"/>
                  <a:gd name="T107" fmla="*/ 1 h 946"/>
                  <a:gd name="T108" fmla="*/ 69 w 455"/>
                  <a:gd name="T109" fmla="*/ 1 h 946"/>
                  <a:gd name="T110" fmla="*/ 61 w 455"/>
                  <a:gd name="T111" fmla="*/ 1 h 946"/>
                  <a:gd name="T112" fmla="*/ 56 w 455"/>
                  <a:gd name="T113" fmla="*/ 1 h 946"/>
                  <a:gd name="T114" fmla="*/ 37 w 455"/>
                  <a:gd name="T115" fmla="*/ 1 h 946"/>
                  <a:gd name="T116" fmla="*/ 11 w 455"/>
                  <a:gd name="T117" fmla="*/ 1 h 946"/>
                  <a:gd name="T118" fmla="*/ 37 w 455"/>
                  <a:gd name="T119" fmla="*/ 1 h 946"/>
                  <a:gd name="T120" fmla="*/ 11 w 455"/>
                  <a:gd name="T121" fmla="*/ 1 h 946"/>
                  <a:gd name="T122" fmla="*/ 0 w 455"/>
                  <a:gd name="T123" fmla="*/ 1 h 9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55" h="946">
                    <a:moveTo>
                      <a:pt x="0" y="436"/>
                    </a:moveTo>
                    <a:lnTo>
                      <a:pt x="11" y="412"/>
                    </a:lnTo>
                    <a:lnTo>
                      <a:pt x="49" y="412"/>
                    </a:lnTo>
                    <a:lnTo>
                      <a:pt x="25" y="313"/>
                    </a:lnTo>
                    <a:lnTo>
                      <a:pt x="37" y="290"/>
                    </a:lnTo>
                    <a:lnTo>
                      <a:pt x="56" y="290"/>
                    </a:lnTo>
                    <a:lnTo>
                      <a:pt x="106" y="178"/>
                    </a:lnTo>
                    <a:lnTo>
                      <a:pt x="99" y="157"/>
                    </a:lnTo>
                    <a:lnTo>
                      <a:pt x="111" y="134"/>
                    </a:lnTo>
                    <a:lnTo>
                      <a:pt x="93" y="99"/>
                    </a:lnTo>
                    <a:lnTo>
                      <a:pt x="93" y="55"/>
                    </a:lnTo>
                    <a:lnTo>
                      <a:pt x="137" y="55"/>
                    </a:lnTo>
                    <a:lnTo>
                      <a:pt x="149" y="25"/>
                    </a:lnTo>
                    <a:lnTo>
                      <a:pt x="175" y="0"/>
                    </a:lnTo>
                    <a:lnTo>
                      <a:pt x="194" y="25"/>
                    </a:lnTo>
                    <a:lnTo>
                      <a:pt x="168" y="78"/>
                    </a:lnTo>
                    <a:lnTo>
                      <a:pt x="180" y="122"/>
                    </a:lnTo>
                    <a:lnTo>
                      <a:pt x="161" y="122"/>
                    </a:lnTo>
                    <a:lnTo>
                      <a:pt x="168" y="190"/>
                    </a:lnTo>
                    <a:lnTo>
                      <a:pt x="199" y="201"/>
                    </a:lnTo>
                    <a:lnTo>
                      <a:pt x="186" y="257"/>
                    </a:lnTo>
                    <a:lnTo>
                      <a:pt x="225" y="313"/>
                    </a:lnTo>
                    <a:lnTo>
                      <a:pt x="305" y="336"/>
                    </a:lnTo>
                    <a:lnTo>
                      <a:pt x="312" y="290"/>
                    </a:lnTo>
                    <a:lnTo>
                      <a:pt x="324" y="290"/>
                    </a:lnTo>
                    <a:lnTo>
                      <a:pt x="324" y="313"/>
                    </a:lnTo>
                    <a:lnTo>
                      <a:pt x="331" y="336"/>
                    </a:lnTo>
                    <a:lnTo>
                      <a:pt x="368" y="324"/>
                    </a:lnTo>
                    <a:lnTo>
                      <a:pt x="368" y="290"/>
                    </a:lnTo>
                    <a:lnTo>
                      <a:pt x="437" y="234"/>
                    </a:lnTo>
                    <a:lnTo>
                      <a:pt x="437" y="267"/>
                    </a:lnTo>
                    <a:lnTo>
                      <a:pt x="455" y="280"/>
                    </a:lnTo>
                    <a:lnTo>
                      <a:pt x="450" y="324"/>
                    </a:lnTo>
                    <a:lnTo>
                      <a:pt x="424" y="336"/>
                    </a:lnTo>
                    <a:lnTo>
                      <a:pt x="381" y="489"/>
                    </a:lnTo>
                    <a:lnTo>
                      <a:pt x="374" y="436"/>
                    </a:lnTo>
                    <a:lnTo>
                      <a:pt x="368" y="459"/>
                    </a:lnTo>
                    <a:lnTo>
                      <a:pt x="355" y="424"/>
                    </a:lnTo>
                    <a:lnTo>
                      <a:pt x="374" y="389"/>
                    </a:lnTo>
                    <a:lnTo>
                      <a:pt x="336" y="380"/>
                    </a:lnTo>
                    <a:lnTo>
                      <a:pt x="318" y="336"/>
                    </a:lnTo>
                    <a:lnTo>
                      <a:pt x="312" y="357"/>
                    </a:lnTo>
                    <a:lnTo>
                      <a:pt x="318" y="380"/>
                    </a:lnTo>
                    <a:lnTo>
                      <a:pt x="305" y="389"/>
                    </a:lnTo>
                    <a:lnTo>
                      <a:pt x="318" y="412"/>
                    </a:lnTo>
                    <a:lnTo>
                      <a:pt x="324" y="503"/>
                    </a:lnTo>
                    <a:lnTo>
                      <a:pt x="312" y="489"/>
                    </a:lnTo>
                    <a:lnTo>
                      <a:pt x="286" y="557"/>
                    </a:lnTo>
                    <a:lnTo>
                      <a:pt x="194" y="701"/>
                    </a:lnTo>
                    <a:lnTo>
                      <a:pt x="180" y="881"/>
                    </a:lnTo>
                    <a:lnTo>
                      <a:pt x="144" y="946"/>
                    </a:lnTo>
                    <a:lnTo>
                      <a:pt x="106" y="814"/>
                    </a:lnTo>
                    <a:lnTo>
                      <a:pt x="93" y="701"/>
                    </a:lnTo>
                    <a:lnTo>
                      <a:pt x="80" y="679"/>
                    </a:lnTo>
                    <a:lnTo>
                      <a:pt x="69" y="480"/>
                    </a:lnTo>
                    <a:lnTo>
                      <a:pt x="61" y="468"/>
                    </a:lnTo>
                    <a:lnTo>
                      <a:pt x="56" y="512"/>
                    </a:lnTo>
                    <a:lnTo>
                      <a:pt x="37" y="533"/>
                    </a:lnTo>
                    <a:lnTo>
                      <a:pt x="11" y="480"/>
                    </a:lnTo>
                    <a:lnTo>
                      <a:pt x="37" y="459"/>
                    </a:lnTo>
                    <a:lnTo>
                      <a:pt x="11" y="459"/>
                    </a:lnTo>
                    <a:lnTo>
                      <a:pt x="0" y="436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10" name="Freeform 368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5961311" y="3546475"/>
              <a:ext cx="666750" cy="750888"/>
            </a:xfrm>
            <a:custGeom>
              <a:avLst/>
              <a:gdLst>
                <a:gd name="T0" fmla="*/ 0 w 455"/>
                <a:gd name="T1" fmla="*/ 2147483647 h 946"/>
                <a:gd name="T2" fmla="*/ 2147483647 w 455"/>
                <a:gd name="T3" fmla="*/ 2147483647 h 946"/>
                <a:gd name="T4" fmla="*/ 2147483647 w 455"/>
                <a:gd name="T5" fmla="*/ 2147483647 h 946"/>
                <a:gd name="T6" fmla="*/ 2147483647 w 455"/>
                <a:gd name="T7" fmla="*/ 2147483647 h 946"/>
                <a:gd name="T8" fmla="*/ 2147483647 w 455"/>
                <a:gd name="T9" fmla="*/ 2147483647 h 946"/>
                <a:gd name="T10" fmla="*/ 2147483647 w 455"/>
                <a:gd name="T11" fmla="*/ 2147483647 h 946"/>
                <a:gd name="T12" fmla="*/ 2147483647 w 455"/>
                <a:gd name="T13" fmla="*/ 2147483647 h 946"/>
                <a:gd name="T14" fmla="*/ 2147483647 w 455"/>
                <a:gd name="T15" fmla="*/ 2147483647 h 946"/>
                <a:gd name="T16" fmla="*/ 2147483647 w 455"/>
                <a:gd name="T17" fmla="*/ 2147483647 h 946"/>
                <a:gd name="T18" fmla="*/ 2147483647 w 455"/>
                <a:gd name="T19" fmla="*/ 2147483647 h 946"/>
                <a:gd name="T20" fmla="*/ 2147483647 w 455"/>
                <a:gd name="T21" fmla="*/ 2147483647 h 946"/>
                <a:gd name="T22" fmla="*/ 2147483647 w 455"/>
                <a:gd name="T23" fmla="*/ 2147483647 h 946"/>
                <a:gd name="T24" fmla="*/ 2147483647 w 455"/>
                <a:gd name="T25" fmla="*/ 2147483647 h 946"/>
                <a:gd name="T26" fmla="*/ 2147483647 w 455"/>
                <a:gd name="T27" fmla="*/ 0 h 946"/>
                <a:gd name="T28" fmla="*/ 2147483647 w 455"/>
                <a:gd name="T29" fmla="*/ 2147483647 h 946"/>
                <a:gd name="T30" fmla="*/ 2147483647 w 455"/>
                <a:gd name="T31" fmla="*/ 2147483647 h 946"/>
                <a:gd name="T32" fmla="*/ 2147483647 w 455"/>
                <a:gd name="T33" fmla="*/ 2147483647 h 946"/>
                <a:gd name="T34" fmla="*/ 2147483647 w 455"/>
                <a:gd name="T35" fmla="*/ 2147483647 h 946"/>
                <a:gd name="T36" fmla="*/ 2147483647 w 455"/>
                <a:gd name="T37" fmla="*/ 2147483647 h 946"/>
                <a:gd name="T38" fmla="*/ 2147483647 w 455"/>
                <a:gd name="T39" fmla="*/ 2147483647 h 946"/>
                <a:gd name="T40" fmla="*/ 2147483647 w 455"/>
                <a:gd name="T41" fmla="*/ 2147483647 h 946"/>
                <a:gd name="T42" fmla="*/ 2147483647 w 455"/>
                <a:gd name="T43" fmla="*/ 2147483647 h 946"/>
                <a:gd name="T44" fmla="*/ 2147483647 w 455"/>
                <a:gd name="T45" fmla="*/ 2147483647 h 946"/>
                <a:gd name="T46" fmla="*/ 2147483647 w 455"/>
                <a:gd name="T47" fmla="*/ 2147483647 h 946"/>
                <a:gd name="T48" fmla="*/ 2147483647 w 455"/>
                <a:gd name="T49" fmla="*/ 2147483647 h 946"/>
                <a:gd name="T50" fmla="*/ 2147483647 w 455"/>
                <a:gd name="T51" fmla="*/ 2147483647 h 946"/>
                <a:gd name="T52" fmla="*/ 2147483647 w 455"/>
                <a:gd name="T53" fmla="*/ 2147483647 h 946"/>
                <a:gd name="T54" fmla="*/ 2147483647 w 455"/>
                <a:gd name="T55" fmla="*/ 2147483647 h 946"/>
                <a:gd name="T56" fmla="*/ 2147483647 w 455"/>
                <a:gd name="T57" fmla="*/ 2147483647 h 946"/>
                <a:gd name="T58" fmla="*/ 2147483647 w 455"/>
                <a:gd name="T59" fmla="*/ 2147483647 h 946"/>
                <a:gd name="T60" fmla="*/ 2147483647 w 455"/>
                <a:gd name="T61" fmla="*/ 2147483647 h 946"/>
                <a:gd name="T62" fmla="*/ 2147483647 w 455"/>
                <a:gd name="T63" fmla="*/ 2147483647 h 946"/>
                <a:gd name="T64" fmla="*/ 2147483647 w 455"/>
                <a:gd name="T65" fmla="*/ 2147483647 h 946"/>
                <a:gd name="T66" fmla="*/ 2147483647 w 455"/>
                <a:gd name="T67" fmla="*/ 2147483647 h 946"/>
                <a:gd name="T68" fmla="*/ 2147483647 w 455"/>
                <a:gd name="T69" fmla="*/ 2147483647 h 946"/>
                <a:gd name="T70" fmla="*/ 2147483647 w 455"/>
                <a:gd name="T71" fmla="*/ 2147483647 h 946"/>
                <a:gd name="T72" fmla="*/ 2147483647 w 455"/>
                <a:gd name="T73" fmla="*/ 2147483647 h 946"/>
                <a:gd name="T74" fmla="*/ 2147483647 w 455"/>
                <a:gd name="T75" fmla="*/ 2147483647 h 946"/>
                <a:gd name="T76" fmla="*/ 2147483647 w 455"/>
                <a:gd name="T77" fmla="*/ 2147483647 h 946"/>
                <a:gd name="T78" fmla="*/ 2147483647 w 455"/>
                <a:gd name="T79" fmla="*/ 2147483647 h 946"/>
                <a:gd name="T80" fmla="*/ 2147483647 w 455"/>
                <a:gd name="T81" fmla="*/ 2147483647 h 946"/>
                <a:gd name="T82" fmla="*/ 2147483647 w 455"/>
                <a:gd name="T83" fmla="*/ 2147483647 h 946"/>
                <a:gd name="T84" fmla="*/ 2147483647 w 455"/>
                <a:gd name="T85" fmla="*/ 2147483647 h 946"/>
                <a:gd name="T86" fmla="*/ 2147483647 w 455"/>
                <a:gd name="T87" fmla="*/ 2147483647 h 946"/>
                <a:gd name="T88" fmla="*/ 2147483647 w 455"/>
                <a:gd name="T89" fmla="*/ 2147483647 h 946"/>
                <a:gd name="T90" fmla="*/ 2147483647 w 455"/>
                <a:gd name="T91" fmla="*/ 2147483647 h 946"/>
                <a:gd name="T92" fmla="*/ 2147483647 w 455"/>
                <a:gd name="T93" fmla="*/ 2147483647 h 946"/>
                <a:gd name="T94" fmla="*/ 2147483647 w 455"/>
                <a:gd name="T95" fmla="*/ 2147483647 h 946"/>
                <a:gd name="T96" fmla="*/ 2147483647 w 455"/>
                <a:gd name="T97" fmla="*/ 2147483647 h 946"/>
                <a:gd name="T98" fmla="*/ 2147483647 w 455"/>
                <a:gd name="T99" fmla="*/ 2147483647 h 946"/>
                <a:gd name="T100" fmla="*/ 2147483647 w 455"/>
                <a:gd name="T101" fmla="*/ 2147483647 h 946"/>
                <a:gd name="T102" fmla="*/ 2147483647 w 455"/>
                <a:gd name="T103" fmla="*/ 2147483647 h 946"/>
                <a:gd name="T104" fmla="*/ 2147483647 w 455"/>
                <a:gd name="T105" fmla="*/ 2147483647 h 946"/>
                <a:gd name="T106" fmla="*/ 2147483647 w 455"/>
                <a:gd name="T107" fmla="*/ 2147483647 h 946"/>
                <a:gd name="T108" fmla="*/ 2147483647 w 455"/>
                <a:gd name="T109" fmla="*/ 2147483647 h 946"/>
                <a:gd name="T110" fmla="*/ 2147483647 w 455"/>
                <a:gd name="T111" fmla="*/ 2147483647 h 946"/>
                <a:gd name="T112" fmla="*/ 2147483647 w 455"/>
                <a:gd name="T113" fmla="*/ 2147483647 h 946"/>
                <a:gd name="T114" fmla="*/ 2147483647 w 455"/>
                <a:gd name="T115" fmla="*/ 2147483647 h 946"/>
                <a:gd name="T116" fmla="*/ 2147483647 w 455"/>
                <a:gd name="T117" fmla="*/ 2147483647 h 946"/>
                <a:gd name="T118" fmla="*/ 2147483647 w 455"/>
                <a:gd name="T119" fmla="*/ 2147483647 h 946"/>
                <a:gd name="T120" fmla="*/ 2147483647 w 455"/>
                <a:gd name="T121" fmla="*/ 2147483647 h 946"/>
                <a:gd name="T122" fmla="*/ 0 w 455"/>
                <a:gd name="T123" fmla="*/ 2147483647 h 94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55" h="946">
                  <a:moveTo>
                    <a:pt x="0" y="436"/>
                  </a:moveTo>
                  <a:lnTo>
                    <a:pt x="11" y="412"/>
                  </a:lnTo>
                  <a:lnTo>
                    <a:pt x="49" y="412"/>
                  </a:lnTo>
                  <a:lnTo>
                    <a:pt x="25" y="313"/>
                  </a:lnTo>
                  <a:lnTo>
                    <a:pt x="37" y="290"/>
                  </a:lnTo>
                  <a:lnTo>
                    <a:pt x="56" y="290"/>
                  </a:lnTo>
                  <a:lnTo>
                    <a:pt x="106" y="178"/>
                  </a:lnTo>
                  <a:lnTo>
                    <a:pt x="99" y="157"/>
                  </a:lnTo>
                  <a:lnTo>
                    <a:pt x="111" y="134"/>
                  </a:lnTo>
                  <a:lnTo>
                    <a:pt x="93" y="99"/>
                  </a:lnTo>
                  <a:lnTo>
                    <a:pt x="93" y="55"/>
                  </a:lnTo>
                  <a:lnTo>
                    <a:pt x="137" y="55"/>
                  </a:lnTo>
                  <a:lnTo>
                    <a:pt x="149" y="25"/>
                  </a:lnTo>
                  <a:lnTo>
                    <a:pt x="175" y="0"/>
                  </a:lnTo>
                  <a:lnTo>
                    <a:pt x="194" y="25"/>
                  </a:lnTo>
                  <a:lnTo>
                    <a:pt x="168" y="78"/>
                  </a:lnTo>
                  <a:lnTo>
                    <a:pt x="180" y="122"/>
                  </a:lnTo>
                  <a:lnTo>
                    <a:pt x="161" y="122"/>
                  </a:lnTo>
                  <a:lnTo>
                    <a:pt x="168" y="190"/>
                  </a:lnTo>
                  <a:lnTo>
                    <a:pt x="199" y="201"/>
                  </a:lnTo>
                  <a:lnTo>
                    <a:pt x="186" y="257"/>
                  </a:lnTo>
                  <a:lnTo>
                    <a:pt x="225" y="313"/>
                  </a:lnTo>
                  <a:lnTo>
                    <a:pt x="305" y="336"/>
                  </a:lnTo>
                  <a:lnTo>
                    <a:pt x="312" y="290"/>
                  </a:lnTo>
                  <a:lnTo>
                    <a:pt x="324" y="290"/>
                  </a:lnTo>
                  <a:lnTo>
                    <a:pt x="324" y="313"/>
                  </a:lnTo>
                  <a:lnTo>
                    <a:pt x="331" y="336"/>
                  </a:lnTo>
                  <a:lnTo>
                    <a:pt x="368" y="324"/>
                  </a:lnTo>
                  <a:lnTo>
                    <a:pt x="368" y="290"/>
                  </a:lnTo>
                  <a:lnTo>
                    <a:pt x="437" y="234"/>
                  </a:lnTo>
                  <a:lnTo>
                    <a:pt x="437" y="267"/>
                  </a:lnTo>
                  <a:lnTo>
                    <a:pt x="455" y="280"/>
                  </a:lnTo>
                  <a:lnTo>
                    <a:pt x="450" y="324"/>
                  </a:lnTo>
                  <a:lnTo>
                    <a:pt x="424" y="336"/>
                  </a:lnTo>
                  <a:lnTo>
                    <a:pt x="381" y="489"/>
                  </a:lnTo>
                  <a:lnTo>
                    <a:pt x="374" y="436"/>
                  </a:lnTo>
                  <a:lnTo>
                    <a:pt x="368" y="459"/>
                  </a:lnTo>
                  <a:lnTo>
                    <a:pt x="355" y="424"/>
                  </a:lnTo>
                  <a:lnTo>
                    <a:pt x="374" y="389"/>
                  </a:lnTo>
                  <a:lnTo>
                    <a:pt x="336" y="380"/>
                  </a:lnTo>
                  <a:lnTo>
                    <a:pt x="318" y="336"/>
                  </a:lnTo>
                  <a:lnTo>
                    <a:pt x="312" y="357"/>
                  </a:lnTo>
                  <a:lnTo>
                    <a:pt x="318" y="380"/>
                  </a:lnTo>
                  <a:lnTo>
                    <a:pt x="305" y="389"/>
                  </a:lnTo>
                  <a:lnTo>
                    <a:pt x="318" y="412"/>
                  </a:lnTo>
                  <a:lnTo>
                    <a:pt x="324" y="503"/>
                  </a:lnTo>
                  <a:lnTo>
                    <a:pt x="312" y="489"/>
                  </a:lnTo>
                  <a:lnTo>
                    <a:pt x="286" y="557"/>
                  </a:lnTo>
                  <a:lnTo>
                    <a:pt x="194" y="701"/>
                  </a:lnTo>
                  <a:lnTo>
                    <a:pt x="180" y="881"/>
                  </a:lnTo>
                  <a:lnTo>
                    <a:pt x="144" y="946"/>
                  </a:lnTo>
                  <a:lnTo>
                    <a:pt x="106" y="814"/>
                  </a:lnTo>
                  <a:lnTo>
                    <a:pt x="93" y="701"/>
                  </a:lnTo>
                  <a:lnTo>
                    <a:pt x="80" y="679"/>
                  </a:lnTo>
                  <a:lnTo>
                    <a:pt x="69" y="480"/>
                  </a:lnTo>
                  <a:lnTo>
                    <a:pt x="61" y="468"/>
                  </a:lnTo>
                  <a:lnTo>
                    <a:pt x="56" y="512"/>
                  </a:lnTo>
                  <a:lnTo>
                    <a:pt x="37" y="533"/>
                  </a:lnTo>
                  <a:lnTo>
                    <a:pt x="11" y="480"/>
                  </a:lnTo>
                  <a:lnTo>
                    <a:pt x="37" y="459"/>
                  </a:lnTo>
                  <a:lnTo>
                    <a:pt x="11" y="459"/>
                  </a:lnTo>
                  <a:lnTo>
                    <a:pt x="0" y="43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11" name="Group 369"/>
            <p:cNvGrpSpPr>
              <a:grpSpLocks/>
            </p:cNvGrpSpPr>
            <p:nvPr>
              <p:custDataLst>
                <p:tags r:id="rId305"/>
              </p:custDataLst>
            </p:nvPr>
          </p:nvGrpSpPr>
          <p:grpSpPr bwMode="auto">
            <a:xfrm>
              <a:off x="5961311" y="3546475"/>
              <a:ext cx="666750" cy="750888"/>
              <a:chOff x="4003" y="2052"/>
              <a:chExt cx="455" cy="473"/>
            </a:xfrm>
            <a:solidFill>
              <a:srgbClr val="FFC000"/>
            </a:solidFill>
          </p:grpSpPr>
          <p:sp>
            <p:nvSpPr>
              <p:cNvPr id="1073" name="Freeform 370"/>
              <p:cNvSpPr>
                <a:spLocks/>
              </p:cNvSpPr>
              <p:nvPr/>
            </p:nvSpPr>
            <p:spPr bwMode="auto">
              <a:xfrm>
                <a:off x="4003" y="2052"/>
                <a:ext cx="455" cy="473"/>
              </a:xfrm>
              <a:custGeom>
                <a:avLst/>
                <a:gdLst>
                  <a:gd name="T0" fmla="*/ 0 w 455"/>
                  <a:gd name="T1" fmla="*/ 1 h 946"/>
                  <a:gd name="T2" fmla="*/ 11 w 455"/>
                  <a:gd name="T3" fmla="*/ 1 h 946"/>
                  <a:gd name="T4" fmla="*/ 49 w 455"/>
                  <a:gd name="T5" fmla="*/ 1 h 946"/>
                  <a:gd name="T6" fmla="*/ 25 w 455"/>
                  <a:gd name="T7" fmla="*/ 1 h 946"/>
                  <a:gd name="T8" fmla="*/ 37 w 455"/>
                  <a:gd name="T9" fmla="*/ 1 h 946"/>
                  <a:gd name="T10" fmla="*/ 56 w 455"/>
                  <a:gd name="T11" fmla="*/ 1 h 946"/>
                  <a:gd name="T12" fmla="*/ 106 w 455"/>
                  <a:gd name="T13" fmla="*/ 1 h 946"/>
                  <a:gd name="T14" fmla="*/ 99 w 455"/>
                  <a:gd name="T15" fmla="*/ 1 h 946"/>
                  <a:gd name="T16" fmla="*/ 111 w 455"/>
                  <a:gd name="T17" fmla="*/ 1 h 946"/>
                  <a:gd name="T18" fmla="*/ 93 w 455"/>
                  <a:gd name="T19" fmla="*/ 1 h 946"/>
                  <a:gd name="T20" fmla="*/ 93 w 455"/>
                  <a:gd name="T21" fmla="*/ 1 h 946"/>
                  <a:gd name="T22" fmla="*/ 137 w 455"/>
                  <a:gd name="T23" fmla="*/ 1 h 946"/>
                  <a:gd name="T24" fmla="*/ 149 w 455"/>
                  <a:gd name="T25" fmla="*/ 1 h 946"/>
                  <a:gd name="T26" fmla="*/ 175 w 455"/>
                  <a:gd name="T27" fmla="*/ 0 h 946"/>
                  <a:gd name="T28" fmla="*/ 194 w 455"/>
                  <a:gd name="T29" fmla="*/ 1 h 946"/>
                  <a:gd name="T30" fmla="*/ 168 w 455"/>
                  <a:gd name="T31" fmla="*/ 1 h 946"/>
                  <a:gd name="T32" fmla="*/ 180 w 455"/>
                  <a:gd name="T33" fmla="*/ 1 h 946"/>
                  <a:gd name="T34" fmla="*/ 161 w 455"/>
                  <a:gd name="T35" fmla="*/ 1 h 946"/>
                  <a:gd name="T36" fmla="*/ 168 w 455"/>
                  <a:gd name="T37" fmla="*/ 1 h 946"/>
                  <a:gd name="T38" fmla="*/ 199 w 455"/>
                  <a:gd name="T39" fmla="*/ 1 h 946"/>
                  <a:gd name="T40" fmla="*/ 186 w 455"/>
                  <a:gd name="T41" fmla="*/ 1 h 946"/>
                  <a:gd name="T42" fmla="*/ 225 w 455"/>
                  <a:gd name="T43" fmla="*/ 1 h 946"/>
                  <a:gd name="T44" fmla="*/ 305 w 455"/>
                  <a:gd name="T45" fmla="*/ 1 h 946"/>
                  <a:gd name="T46" fmla="*/ 312 w 455"/>
                  <a:gd name="T47" fmla="*/ 1 h 946"/>
                  <a:gd name="T48" fmla="*/ 324 w 455"/>
                  <a:gd name="T49" fmla="*/ 1 h 946"/>
                  <a:gd name="T50" fmla="*/ 324 w 455"/>
                  <a:gd name="T51" fmla="*/ 1 h 946"/>
                  <a:gd name="T52" fmla="*/ 331 w 455"/>
                  <a:gd name="T53" fmla="*/ 1 h 946"/>
                  <a:gd name="T54" fmla="*/ 368 w 455"/>
                  <a:gd name="T55" fmla="*/ 1 h 946"/>
                  <a:gd name="T56" fmla="*/ 368 w 455"/>
                  <a:gd name="T57" fmla="*/ 1 h 946"/>
                  <a:gd name="T58" fmla="*/ 437 w 455"/>
                  <a:gd name="T59" fmla="*/ 1 h 946"/>
                  <a:gd name="T60" fmla="*/ 437 w 455"/>
                  <a:gd name="T61" fmla="*/ 1 h 946"/>
                  <a:gd name="T62" fmla="*/ 455 w 455"/>
                  <a:gd name="T63" fmla="*/ 1 h 946"/>
                  <a:gd name="T64" fmla="*/ 450 w 455"/>
                  <a:gd name="T65" fmla="*/ 1 h 946"/>
                  <a:gd name="T66" fmla="*/ 424 w 455"/>
                  <a:gd name="T67" fmla="*/ 1 h 946"/>
                  <a:gd name="T68" fmla="*/ 381 w 455"/>
                  <a:gd name="T69" fmla="*/ 1 h 946"/>
                  <a:gd name="T70" fmla="*/ 374 w 455"/>
                  <a:gd name="T71" fmla="*/ 1 h 946"/>
                  <a:gd name="T72" fmla="*/ 368 w 455"/>
                  <a:gd name="T73" fmla="*/ 1 h 946"/>
                  <a:gd name="T74" fmla="*/ 355 w 455"/>
                  <a:gd name="T75" fmla="*/ 1 h 946"/>
                  <a:gd name="T76" fmla="*/ 374 w 455"/>
                  <a:gd name="T77" fmla="*/ 1 h 946"/>
                  <a:gd name="T78" fmla="*/ 336 w 455"/>
                  <a:gd name="T79" fmla="*/ 1 h 946"/>
                  <a:gd name="T80" fmla="*/ 318 w 455"/>
                  <a:gd name="T81" fmla="*/ 1 h 946"/>
                  <a:gd name="T82" fmla="*/ 312 w 455"/>
                  <a:gd name="T83" fmla="*/ 1 h 946"/>
                  <a:gd name="T84" fmla="*/ 318 w 455"/>
                  <a:gd name="T85" fmla="*/ 1 h 946"/>
                  <a:gd name="T86" fmla="*/ 305 w 455"/>
                  <a:gd name="T87" fmla="*/ 1 h 946"/>
                  <a:gd name="T88" fmla="*/ 318 w 455"/>
                  <a:gd name="T89" fmla="*/ 1 h 946"/>
                  <a:gd name="T90" fmla="*/ 324 w 455"/>
                  <a:gd name="T91" fmla="*/ 1 h 946"/>
                  <a:gd name="T92" fmla="*/ 312 w 455"/>
                  <a:gd name="T93" fmla="*/ 1 h 946"/>
                  <a:gd name="T94" fmla="*/ 286 w 455"/>
                  <a:gd name="T95" fmla="*/ 1 h 946"/>
                  <a:gd name="T96" fmla="*/ 194 w 455"/>
                  <a:gd name="T97" fmla="*/ 1 h 946"/>
                  <a:gd name="T98" fmla="*/ 180 w 455"/>
                  <a:gd name="T99" fmla="*/ 1 h 946"/>
                  <a:gd name="T100" fmla="*/ 144 w 455"/>
                  <a:gd name="T101" fmla="*/ 1 h 946"/>
                  <a:gd name="T102" fmla="*/ 106 w 455"/>
                  <a:gd name="T103" fmla="*/ 1 h 946"/>
                  <a:gd name="T104" fmla="*/ 93 w 455"/>
                  <a:gd name="T105" fmla="*/ 1 h 946"/>
                  <a:gd name="T106" fmla="*/ 80 w 455"/>
                  <a:gd name="T107" fmla="*/ 1 h 946"/>
                  <a:gd name="T108" fmla="*/ 69 w 455"/>
                  <a:gd name="T109" fmla="*/ 1 h 946"/>
                  <a:gd name="T110" fmla="*/ 61 w 455"/>
                  <a:gd name="T111" fmla="*/ 1 h 946"/>
                  <a:gd name="T112" fmla="*/ 56 w 455"/>
                  <a:gd name="T113" fmla="*/ 1 h 946"/>
                  <a:gd name="T114" fmla="*/ 37 w 455"/>
                  <a:gd name="T115" fmla="*/ 1 h 946"/>
                  <a:gd name="T116" fmla="*/ 11 w 455"/>
                  <a:gd name="T117" fmla="*/ 1 h 946"/>
                  <a:gd name="T118" fmla="*/ 37 w 455"/>
                  <a:gd name="T119" fmla="*/ 1 h 946"/>
                  <a:gd name="T120" fmla="*/ 11 w 455"/>
                  <a:gd name="T121" fmla="*/ 1 h 946"/>
                  <a:gd name="T122" fmla="*/ 0 w 455"/>
                  <a:gd name="T123" fmla="*/ 1 h 9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55" h="946">
                    <a:moveTo>
                      <a:pt x="0" y="436"/>
                    </a:moveTo>
                    <a:lnTo>
                      <a:pt x="11" y="412"/>
                    </a:lnTo>
                    <a:lnTo>
                      <a:pt x="49" y="412"/>
                    </a:lnTo>
                    <a:lnTo>
                      <a:pt x="25" y="313"/>
                    </a:lnTo>
                    <a:lnTo>
                      <a:pt x="37" y="290"/>
                    </a:lnTo>
                    <a:lnTo>
                      <a:pt x="56" y="290"/>
                    </a:lnTo>
                    <a:lnTo>
                      <a:pt x="106" y="178"/>
                    </a:lnTo>
                    <a:lnTo>
                      <a:pt x="99" y="157"/>
                    </a:lnTo>
                    <a:lnTo>
                      <a:pt x="111" y="134"/>
                    </a:lnTo>
                    <a:lnTo>
                      <a:pt x="93" y="99"/>
                    </a:lnTo>
                    <a:lnTo>
                      <a:pt x="93" y="55"/>
                    </a:lnTo>
                    <a:lnTo>
                      <a:pt x="137" y="55"/>
                    </a:lnTo>
                    <a:lnTo>
                      <a:pt x="149" y="25"/>
                    </a:lnTo>
                    <a:lnTo>
                      <a:pt x="175" y="0"/>
                    </a:lnTo>
                    <a:lnTo>
                      <a:pt x="194" y="25"/>
                    </a:lnTo>
                    <a:lnTo>
                      <a:pt x="168" y="78"/>
                    </a:lnTo>
                    <a:lnTo>
                      <a:pt x="180" y="122"/>
                    </a:lnTo>
                    <a:lnTo>
                      <a:pt x="161" y="122"/>
                    </a:lnTo>
                    <a:lnTo>
                      <a:pt x="168" y="190"/>
                    </a:lnTo>
                    <a:lnTo>
                      <a:pt x="199" y="201"/>
                    </a:lnTo>
                    <a:lnTo>
                      <a:pt x="186" y="257"/>
                    </a:lnTo>
                    <a:lnTo>
                      <a:pt x="225" y="313"/>
                    </a:lnTo>
                    <a:lnTo>
                      <a:pt x="305" y="336"/>
                    </a:lnTo>
                    <a:lnTo>
                      <a:pt x="312" y="290"/>
                    </a:lnTo>
                    <a:lnTo>
                      <a:pt x="324" y="290"/>
                    </a:lnTo>
                    <a:lnTo>
                      <a:pt x="324" y="313"/>
                    </a:lnTo>
                    <a:lnTo>
                      <a:pt x="331" y="336"/>
                    </a:lnTo>
                    <a:lnTo>
                      <a:pt x="368" y="324"/>
                    </a:lnTo>
                    <a:lnTo>
                      <a:pt x="368" y="290"/>
                    </a:lnTo>
                    <a:lnTo>
                      <a:pt x="437" y="234"/>
                    </a:lnTo>
                    <a:lnTo>
                      <a:pt x="437" y="267"/>
                    </a:lnTo>
                    <a:lnTo>
                      <a:pt x="455" y="280"/>
                    </a:lnTo>
                    <a:lnTo>
                      <a:pt x="450" y="324"/>
                    </a:lnTo>
                    <a:lnTo>
                      <a:pt x="424" y="336"/>
                    </a:lnTo>
                    <a:lnTo>
                      <a:pt x="381" y="489"/>
                    </a:lnTo>
                    <a:lnTo>
                      <a:pt x="374" y="436"/>
                    </a:lnTo>
                    <a:lnTo>
                      <a:pt x="368" y="459"/>
                    </a:lnTo>
                    <a:lnTo>
                      <a:pt x="355" y="424"/>
                    </a:lnTo>
                    <a:lnTo>
                      <a:pt x="374" y="389"/>
                    </a:lnTo>
                    <a:lnTo>
                      <a:pt x="336" y="380"/>
                    </a:lnTo>
                    <a:lnTo>
                      <a:pt x="318" y="336"/>
                    </a:lnTo>
                    <a:lnTo>
                      <a:pt x="312" y="357"/>
                    </a:lnTo>
                    <a:lnTo>
                      <a:pt x="318" y="380"/>
                    </a:lnTo>
                    <a:lnTo>
                      <a:pt x="305" y="389"/>
                    </a:lnTo>
                    <a:lnTo>
                      <a:pt x="318" y="412"/>
                    </a:lnTo>
                    <a:lnTo>
                      <a:pt x="324" y="503"/>
                    </a:lnTo>
                    <a:lnTo>
                      <a:pt x="312" y="489"/>
                    </a:lnTo>
                    <a:lnTo>
                      <a:pt x="286" y="557"/>
                    </a:lnTo>
                    <a:lnTo>
                      <a:pt x="194" y="701"/>
                    </a:lnTo>
                    <a:lnTo>
                      <a:pt x="180" y="881"/>
                    </a:lnTo>
                    <a:lnTo>
                      <a:pt x="144" y="946"/>
                    </a:lnTo>
                    <a:lnTo>
                      <a:pt x="106" y="814"/>
                    </a:lnTo>
                    <a:lnTo>
                      <a:pt x="93" y="701"/>
                    </a:lnTo>
                    <a:lnTo>
                      <a:pt x="80" y="679"/>
                    </a:lnTo>
                    <a:lnTo>
                      <a:pt x="69" y="480"/>
                    </a:lnTo>
                    <a:lnTo>
                      <a:pt x="61" y="468"/>
                    </a:lnTo>
                    <a:lnTo>
                      <a:pt x="56" y="512"/>
                    </a:lnTo>
                    <a:lnTo>
                      <a:pt x="37" y="533"/>
                    </a:lnTo>
                    <a:lnTo>
                      <a:pt x="11" y="480"/>
                    </a:lnTo>
                    <a:lnTo>
                      <a:pt x="37" y="459"/>
                    </a:lnTo>
                    <a:lnTo>
                      <a:pt x="11" y="459"/>
                    </a:lnTo>
                    <a:lnTo>
                      <a:pt x="0" y="436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74" name="Freeform 371"/>
              <p:cNvSpPr>
                <a:spLocks/>
              </p:cNvSpPr>
              <p:nvPr/>
            </p:nvSpPr>
            <p:spPr bwMode="auto">
              <a:xfrm>
                <a:off x="4003" y="2052"/>
                <a:ext cx="455" cy="473"/>
              </a:xfrm>
              <a:custGeom>
                <a:avLst/>
                <a:gdLst>
                  <a:gd name="T0" fmla="*/ 0 w 455"/>
                  <a:gd name="T1" fmla="*/ 1 h 946"/>
                  <a:gd name="T2" fmla="*/ 11 w 455"/>
                  <a:gd name="T3" fmla="*/ 1 h 946"/>
                  <a:gd name="T4" fmla="*/ 49 w 455"/>
                  <a:gd name="T5" fmla="*/ 1 h 946"/>
                  <a:gd name="T6" fmla="*/ 25 w 455"/>
                  <a:gd name="T7" fmla="*/ 1 h 946"/>
                  <a:gd name="T8" fmla="*/ 37 w 455"/>
                  <a:gd name="T9" fmla="*/ 1 h 946"/>
                  <a:gd name="T10" fmla="*/ 56 w 455"/>
                  <a:gd name="T11" fmla="*/ 1 h 946"/>
                  <a:gd name="T12" fmla="*/ 106 w 455"/>
                  <a:gd name="T13" fmla="*/ 1 h 946"/>
                  <a:gd name="T14" fmla="*/ 99 w 455"/>
                  <a:gd name="T15" fmla="*/ 1 h 946"/>
                  <a:gd name="T16" fmla="*/ 111 w 455"/>
                  <a:gd name="T17" fmla="*/ 1 h 946"/>
                  <a:gd name="T18" fmla="*/ 93 w 455"/>
                  <a:gd name="T19" fmla="*/ 1 h 946"/>
                  <a:gd name="T20" fmla="*/ 93 w 455"/>
                  <a:gd name="T21" fmla="*/ 1 h 946"/>
                  <a:gd name="T22" fmla="*/ 137 w 455"/>
                  <a:gd name="T23" fmla="*/ 1 h 946"/>
                  <a:gd name="T24" fmla="*/ 149 w 455"/>
                  <a:gd name="T25" fmla="*/ 1 h 946"/>
                  <a:gd name="T26" fmla="*/ 175 w 455"/>
                  <a:gd name="T27" fmla="*/ 0 h 946"/>
                  <a:gd name="T28" fmla="*/ 194 w 455"/>
                  <a:gd name="T29" fmla="*/ 1 h 946"/>
                  <a:gd name="T30" fmla="*/ 168 w 455"/>
                  <a:gd name="T31" fmla="*/ 1 h 946"/>
                  <a:gd name="T32" fmla="*/ 180 w 455"/>
                  <a:gd name="T33" fmla="*/ 1 h 946"/>
                  <a:gd name="T34" fmla="*/ 161 w 455"/>
                  <a:gd name="T35" fmla="*/ 1 h 946"/>
                  <a:gd name="T36" fmla="*/ 168 w 455"/>
                  <a:gd name="T37" fmla="*/ 1 h 946"/>
                  <a:gd name="T38" fmla="*/ 199 w 455"/>
                  <a:gd name="T39" fmla="*/ 1 h 946"/>
                  <a:gd name="T40" fmla="*/ 186 w 455"/>
                  <a:gd name="T41" fmla="*/ 1 h 946"/>
                  <a:gd name="T42" fmla="*/ 225 w 455"/>
                  <a:gd name="T43" fmla="*/ 1 h 946"/>
                  <a:gd name="T44" fmla="*/ 305 w 455"/>
                  <a:gd name="T45" fmla="*/ 1 h 946"/>
                  <a:gd name="T46" fmla="*/ 312 w 455"/>
                  <a:gd name="T47" fmla="*/ 1 h 946"/>
                  <a:gd name="T48" fmla="*/ 324 w 455"/>
                  <a:gd name="T49" fmla="*/ 1 h 946"/>
                  <a:gd name="T50" fmla="*/ 324 w 455"/>
                  <a:gd name="T51" fmla="*/ 1 h 946"/>
                  <a:gd name="T52" fmla="*/ 331 w 455"/>
                  <a:gd name="T53" fmla="*/ 1 h 946"/>
                  <a:gd name="T54" fmla="*/ 368 w 455"/>
                  <a:gd name="T55" fmla="*/ 1 h 946"/>
                  <a:gd name="T56" fmla="*/ 368 w 455"/>
                  <a:gd name="T57" fmla="*/ 1 h 946"/>
                  <a:gd name="T58" fmla="*/ 437 w 455"/>
                  <a:gd name="T59" fmla="*/ 1 h 946"/>
                  <a:gd name="T60" fmla="*/ 437 w 455"/>
                  <a:gd name="T61" fmla="*/ 1 h 946"/>
                  <a:gd name="T62" fmla="*/ 455 w 455"/>
                  <a:gd name="T63" fmla="*/ 1 h 946"/>
                  <a:gd name="T64" fmla="*/ 450 w 455"/>
                  <a:gd name="T65" fmla="*/ 1 h 946"/>
                  <a:gd name="T66" fmla="*/ 424 w 455"/>
                  <a:gd name="T67" fmla="*/ 1 h 946"/>
                  <a:gd name="T68" fmla="*/ 381 w 455"/>
                  <a:gd name="T69" fmla="*/ 1 h 946"/>
                  <a:gd name="T70" fmla="*/ 374 w 455"/>
                  <a:gd name="T71" fmla="*/ 1 h 946"/>
                  <a:gd name="T72" fmla="*/ 368 w 455"/>
                  <a:gd name="T73" fmla="*/ 1 h 946"/>
                  <a:gd name="T74" fmla="*/ 355 w 455"/>
                  <a:gd name="T75" fmla="*/ 1 h 946"/>
                  <a:gd name="T76" fmla="*/ 374 w 455"/>
                  <a:gd name="T77" fmla="*/ 1 h 946"/>
                  <a:gd name="T78" fmla="*/ 336 w 455"/>
                  <a:gd name="T79" fmla="*/ 1 h 946"/>
                  <a:gd name="T80" fmla="*/ 318 w 455"/>
                  <a:gd name="T81" fmla="*/ 1 h 946"/>
                  <a:gd name="T82" fmla="*/ 312 w 455"/>
                  <a:gd name="T83" fmla="*/ 1 h 946"/>
                  <a:gd name="T84" fmla="*/ 318 w 455"/>
                  <a:gd name="T85" fmla="*/ 1 h 946"/>
                  <a:gd name="T86" fmla="*/ 305 w 455"/>
                  <a:gd name="T87" fmla="*/ 1 h 946"/>
                  <a:gd name="T88" fmla="*/ 318 w 455"/>
                  <a:gd name="T89" fmla="*/ 1 h 946"/>
                  <a:gd name="T90" fmla="*/ 324 w 455"/>
                  <a:gd name="T91" fmla="*/ 1 h 946"/>
                  <a:gd name="T92" fmla="*/ 312 w 455"/>
                  <a:gd name="T93" fmla="*/ 1 h 946"/>
                  <a:gd name="T94" fmla="*/ 286 w 455"/>
                  <a:gd name="T95" fmla="*/ 1 h 946"/>
                  <a:gd name="T96" fmla="*/ 194 w 455"/>
                  <a:gd name="T97" fmla="*/ 1 h 946"/>
                  <a:gd name="T98" fmla="*/ 180 w 455"/>
                  <a:gd name="T99" fmla="*/ 1 h 946"/>
                  <a:gd name="T100" fmla="*/ 144 w 455"/>
                  <a:gd name="T101" fmla="*/ 1 h 946"/>
                  <a:gd name="T102" fmla="*/ 106 w 455"/>
                  <a:gd name="T103" fmla="*/ 1 h 946"/>
                  <a:gd name="T104" fmla="*/ 93 w 455"/>
                  <a:gd name="T105" fmla="*/ 1 h 946"/>
                  <a:gd name="T106" fmla="*/ 80 w 455"/>
                  <a:gd name="T107" fmla="*/ 1 h 946"/>
                  <a:gd name="T108" fmla="*/ 69 w 455"/>
                  <a:gd name="T109" fmla="*/ 1 h 946"/>
                  <a:gd name="T110" fmla="*/ 61 w 455"/>
                  <a:gd name="T111" fmla="*/ 1 h 946"/>
                  <a:gd name="T112" fmla="*/ 56 w 455"/>
                  <a:gd name="T113" fmla="*/ 1 h 946"/>
                  <a:gd name="T114" fmla="*/ 37 w 455"/>
                  <a:gd name="T115" fmla="*/ 1 h 946"/>
                  <a:gd name="T116" fmla="*/ 11 w 455"/>
                  <a:gd name="T117" fmla="*/ 1 h 946"/>
                  <a:gd name="T118" fmla="*/ 37 w 455"/>
                  <a:gd name="T119" fmla="*/ 1 h 946"/>
                  <a:gd name="T120" fmla="*/ 11 w 455"/>
                  <a:gd name="T121" fmla="*/ 1 h 946"/>
                  <a:gd name="T122" fmla="*/ 0 w 455"/>
                  <a:gd name="T123" fmla="*/ 1 h 9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55" h="946">
                    <a:moveTo>
                      <a:pt x="0" y="436"/>
                    </a:moveTo>
                    <a:lnTo>
                      <a:pt x="11" y="412"/>
                    </a:lnTo>
                    <a:lnTo>
                      <a:pt x="49" y="412"/>
                    </a:lnTo>
                    <a:lnTo>
                      <a:pt x="25" y="313"/>
                    </a:lnTo>
                    <a:lnTo>
                      <a:pt x="37" y="290"/>
                    </a:lnTo>
                    <a:lnTo>
                      <a:pt x="56" y="290"/>
                    </a:lnTo>
                    <a:lnTo>
                      <a:pt x="106" y="178"/>
                    </a:lnTo>
                    <a:lnTo>
                      <a:pt x="99" y="157"/>
                    </a:lnTo>
                    <a:lnTo>
                      <a:pt x="111" y="134"/>
                    </a:lnTo>
                    <a:lnTo>
                      <a:pt x="93" y="99"/>
                    </a:lnTo>
                    <a:lnTo>
                      <a:pt x="93" y="55"/>
                    </a:lnTo>
                    <a:lnTo>
                      <a:pt x="137" y="55"/>
                    </a:lnTo>
                    <a:lnTo>
                      <a:pt x="149" y="25"/>
                    </a:lnTo>
                    <a:lnTo>
                      <a:pt x="175" y="0"/>
                    </a:lnTo>
                    <a:lnTo>
                      <a:pt x="194" y="25"/>
                    </a:lnTo>
                    <a:lnTo>
                      <a:pt x="168" y="78"/>
                    </a:lnTo>
                    <a:lnTo>
                      <a:pt x="180" y="122"/>
                    </a:lnTo>
                    <a:lnTo>
                      <a:pt x="161" y="122"/>
                    </a:lnTo>
                    <a:lnTo>
                      <a:pt x="168" y="190"/>
                    </a:lnTo>
                    <a:lnTo>
                      <a:pt x="199" y="201"/>
                    </a:lnTo>
                    <a:lnTo>
                      <a:pt x="186" y="257"/>
                    </a:lnTo>
                    <a:lnTo>
                      <a:pt x="225" y="313"/>
                    </a:lnTo>
                    <a:lnTo>
                      <a:pt x="305" y="336"/>
                    </a:lnTo>
                    <a:lnTo>
                      <a:pt x="312" y="290"/>
                    </a:lnTo>
                    <a:lnTo>
                      <a:pt x="324" y="290"/>
                    </a:lnTo>
                    <a:lnTo>
                      <a:pt x="324" y="313"/>
                    </a:lnTo>
                    <a:lnTo>
                      <a:pt x="331" y="336"/>
                    </a:lnTo>
                    <a:lnTo>
                      <a:pt x="368" y="324"/>
                    </a:lnTo>
                    <a:lnTo>
                      <a:pt x="368" y="290"/>
                    </a:lnTo>
                    <a:lnTo>
                      <a:pt x="437" y="234"/>
                    </a:lnTo>
                    <a:lnTo>
                      <a:pt x="437" y="267"/>
                    </a:lnTo>
                    <a:lnTo>
                      <a:pt x="455" y="280"/>
                    </a:lnTo>
                    <a:lnTo>
                      <a:pt x="450" y="324"/>
                    </a:lnTo>
                    <a:lnTo>
                      <a:pt x="424" y="336"/>
                    </a:lnTo>
                    <a:lnTo>
                      <a:pt x="381" y="489"/>
                    </a:lnTo>
                    <a:lnTo>
                      <a:pt x="374" y="436"/>
                    </a:lnTo>
                    <a:lnTo>
                      <a:pt x="368" y="459"/>
                    </a:lnTo>
                    <a:lnTo>
                      <a:pt x="355" y="424"/>
                    </a:lnTo>
                    <a:lnTo>
                      <a:pt x="374" y="389"/>
                    </a:lnTo>
                    <a:lnTo>
                      <a:pt x="336" y="380"/>
                    </a:lnTo>
                    <a:lnTo>
                      <a:pt x="318" y="336"/>
                    </a:lnTo>
                    <a:lnTo>
                      <a:pt x="312" y="357"/>
                    </a:lnTo>
                    <a:lnTo>
                      <a:pt x="318" y="380"/>
                    </a:lnTo>
                    <a:lnTo>
                      <a:pt x="305" y="389"/>
                    </a:lnTo>
                    <a:lnTo>
                      <a:pt x="318" y="412"/>
                    </a:lnTo>
                    <a:lnTo>
                      <a:pt x="324" y="503"/>
                    </a:lnTo>
                    <a:lnTo>
                      <a:pt x="312" y="489"/>
                    </a:lnTo>
                    <a:lnTo>
                      <a:pt x="286" y="557"/>
                    </a:lnTo>
                    <a:lnTo>
                      <a:pt x="194" y="701"/>
                    </a:lnTo>
                    <a:lnTo>
                      <a:pt x="180" y="881"/>
                    </a:lnTo>
                    <a:lnTo>
                      <a:pt x="144" y="946"/>
                    </a:lnTo>
                    <a:lnTo>
                      <a:pt x="106" y="814"/>
                    </a:lnTo>
                    <a:lnTo>
                      <a:pt x="93" y="701"/>
                    </a:lnTo>
                    <a:lnTo>
                      <a:pt x="80" y="679"/>
                    </a:lnTo>
                    <a:lnTo>
                      <a:pt x="69" y="480"/>
                    </a:lnTo>
                    <a:lnTo>
                      <a:pt x="61" y="468"/>
                    </a:lnTo>
                    <a:lnTo>
                      <a:pt x="56" y="512"/>
                    </a:lnTo>
                    <a:lnTo>
                      <a:pt x="37" y="533"/>
                    </a:lnTo>
                    <a:lnTo>
                      <a:pt x="11" y="480"/>
                    </a:lnTo>
                    <a:lnTo>
                      <a:pt x="37" y="459"/>
                    </a:lnTo>
                    <a:lnTo>
                      <a:pt x="11" y="459"/>
                    </a:lnTo>
                    <a:lnTo>
                      <a:pt x="0" y="436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12" name="Freeform 372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6582023" y="4360863"/>
              <a:ext cx="247650" cy="280987"/>
            </a:xfrm>
            <a:custGeom>
              <a:avLst/>
              <a:gdLst>
                <a:gd name="T0" fmla="*/ 0 w 169"/>
                <a:gd name="T1" fmla="*/ 0 h 355"/>
                <a:gd name="T2" fmla="*/ 2147483647 w 169"/>
                <a:gd name="T3" fmla="*/ 2147483647 h 355"/>
                <a:gd name="T4" fmla="*/ 2147483647 w 169"/>
                <a:gd name="T5" fmla="*/ 2147483647 h 355"/>
                <a:gd name="T6" fmla="*/ 2147483647 w 169"/>
                <a:gd name="T7" fmla="*/ 2147483647 h 355"/>
                <a:gd name="T8" fmla="*/ 2147483647 w 169"/>
                <a:gd name="T9" fmla="*/ 2147483647 h 355"/>
                <a:gd name="T10" fmla="*/ 2147483647 w 169"/>
                <a:gd name="T11" fmla="*/ 2147483647 h 355"/>
                <a:gd name="T12" fmla="*/ 2147483647 w 169"/>
                <a:gd name="T13" fmla="*/ 2147483647 h 355"/>
                <a:gd name="T14" fmla="*/ 2147483647 w 169"/>
                <a:gd name="T15" fmla="*/ 2147483647 h 355"/>
                <a:gd name="T16" fmla="*/ 2147483647 w 169"/>
                <a:gd name="T17" fmla="*/ 2147483647 h 355"/>
                <a:gd name="T18" fmla="*/ 2147483647 w 169"/>
                <a:gd name="T19" fmla="*/ 2147483647 h 355"/>
                <a:gd name="T20" fmla="*/ 2147483647 w 169"/>
                <a:gd name="T21" fmla="*/ 2147483647 h 355"/>
                <a:gd name="T22" fmla="*/ 2147483647 w 169"/>
                <a:gd name="T23" fmla="*/ 2147483647 h 355"/>
                <a:gd name="T24" fmla="*/ 0 w 169"/>
                <a:gd name="T25" fmla="*/ 0 h 3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9" h="355">
                  <a:moveTo>
                    <a:pt x="0" y="0"/>
                  </a:moveTo>
                  <a:lnTo>
                    <a:pt x="38" y="10"/>
                  </a:lnTo>
                  <a:lnTo>
                    <a:pt x="81" y="110"/>
                  </a:lnTo>
                  <a:lnTo>
                    <a:pt x="125" y="144"/>
                  </a:lnTo>
                  <a:lnTo>
                    <a:pt x="119" y="167"/>
                  </a:lnTo>
                  <a:lnTo>
                    <a:pt x="132" y="167"/>
                  </a:lnTo>
                  <a:lnTo>
                    <a:pt x="132" y="202"/>
                  </a:lnTo>
                  <a:lnTo>
                    <a:pt x="169" y="267"/>
                  </a:lnTo>
                  <a:lnTo>
                    <a:pt x="164" y="355"/>
                  </a:lnTo>
                  <a:lnTo>
                    <a:pt x="144" y="355"/>
                  </a:lnTo>
                  <a:lnTo>
                    <a:pt x="114" y="311"/>
                  </a:lnTo>
                  <a:lnTo>
                    <a:pt x="56" y="1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13" name="Freeform 373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6582023" y="4360863"/>
              <a:ext cx="247650" cy="280987"/>
            </a:xfrm>
            <a:custGeom>
              <a:avLst/>
              <a:gdLst>
                <a:gd name="T0" fmla="*/ 0 w 169"/>
                <a:gd name="T1" fmla="*/ 0 h 355"/>
                <a:gd name="T2" fmla="*/ 2147483647 w 169"/>
                <a:gd name="T3" fmla="*/ 2147483647 h 355"/>
                <a:gd name="T4" fmla="*/ 2147483647 w 169"/>
                <a:gd name="T5" fmla="*/ 2147483647 h 355"/>
                <a:gd name="T6" fmla="*/ 2147483647 w 169"/>
                <a:gd name="T7" fmla="*/ 2147483647 h 355"/>
                <a:gd name="T8" fmla="*/ 2147483647 w 169"/>
                <a:gd name="T9" fmla="*/ 2147483647 h 355"/>
                <a:gd name="T10" fmla="*/ 2147483647 w 169"/>
                <a:gd name="T11" fmla="*/ 2147483647 h 355"/>
                <a:gd name="T12" fmla="*/ 2147483647 w 169"/>
                <a:gd name="T13" fmla="*/ 2147483647 h 355"/>
                <a:gd name="T14" fmla="*/ 2147483647 w 169"/>
                <a:gd name="T15" fmla="*/ 2147483647 h 355"/>
                <a:gd name="T16" fmla="*/ 2147483647 w 169"/>
                <a:gd name="T17" fmla="*/ 2147483647 h 355"/>
                <a:gd name="T18" fmla="*/ 2147483647 w 169"/>
                <a:gd name="T19" fmla="*/ 2147483647 h 355"/>
                <a:gd name="T20" fmla="*/ 2147483647 w 169"/>
                <a:gd name="T21" fmla="*/ 2147483647 h 355"/>
                <a:gd name="T22" fmla="*/ 2147483647 w 169"/>
                <a:gd name="T23" fmla="*/ 2147483647 h 355"/>
                <a:gd name="T24" fmla="*/ 0 w 169"/>
                <a:gd name="T25" fmla="*/ 0 h 3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9" h="355">
                  <a:moveTo>
                    <a:pt x="0" y="0"/>
                  </a:moveTo>
                  <a:lnTo>
                    <a:pt x="38" y="10"/>
                  </a:lnTo>
                  <a:lnTo>
                    <a:pt x="81" y="110"/>
                  </a:lnTo>
                  <a:lnTo>
                    <a:pt x="125" y="144"/>
                  </a:lnTo>
                  <a:lnTo>
                    <a:pt x="119" y="167"/>
                  </a:lnTo>
                  <a:lnTo>
                    <a:pt x="132" y="167"/>
                  </a:lnTo>
                  <a:lnTo>
                    <a:pt x="132" y="202"/>
                  </a:lnTo>
                  <a:lnTo>
                    <a:pt x="169" y="267"/>
                  </a:lnTo>
                  <a:lnTo>
                    <a:pt x="164" y="355"/>
                  </a:lnTo>
                  <a:lnTo>
                    <a:pt x="144" y="355"/>
                  </a:lnTo>
                  <a:lnTo>
                    <a:pt x="114" y="311"/>
                  </a:lnTo>
                  <a:lnTo>
                    <a:pt x="56" y="123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14" name="Freeform 374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582023" y="4360863"/>
              <a:ext cx="247650" cy="280987"/>
            </a:xfrm>
            <a:custGeom>
              <a:avLst/>
              <a:gdLst>
                <a:gd name="T0" fmla="*/ 0 w 169"/>
                <a:gd name="T1" fmla="*/ 0 h 355"/>
                <a:gd name="T2" fmla="*/ 2147483647 w 169"/>
                <a:gd name="T3" fmla="*/ 2147483647 h 355"/>
                <a:gd name="T4" fmla="*/ 2147483647 w 169"/>
                <a:gd name="T5" fmla="*/ 2147483647 h 355"/>
                <a:gd name="T6" fmla="*/ 2147483647 w 169"/>
                <a:gd name="T7" fmla="*/ 2147483647 h 355"/>
                <a:gd name="T8" fmla="*/ 2147483647 w 169"/>
                <a:gd name="T9" fmla="*/ 2147483647 h 355"/>
                <a:gd name="T10" fmla="*/ 2147483647 w 169"/>
                <a:gd name="T11" fmla="*/ 2147483647 h 355"/>
                <a:gd name="T12" fmla="*/ 2147483647 w 169"/>
                <a:gd name="T13" fmla="*/ 2147483647 h 355"/>
                <a:gd name="T14" fmla="*/ 2147483647 w 169"/>
                <a:gd name="T15" fmla="*/ 2147483647 h 355"/>
                <a:gd name="T16" fmla="*/ 2147483647 w 169"/>
                <a:gd name="T17" fmla="*/ 2147483647 h 355"/>
                <a:gd name="T18" fmla="*/ 2147483647 w 169"/>
                <a:gd name="T19" fmla="*/ 2147483647 h 355"/>
                <a:gd name="T20" fmla="*/ 2147483647 w 169"/>
                <a:gd name="T21" fmla="*/ 2147483647 h 355"/>
                <a:gd name="T22" fmla="*/ 2147483647 w 169"/>
                <a:gd name="T23" fmla="*/ 2147483647 h 355"/>
                <a:gd name="T24" fmla="*/ 0 w 169"/>
                <a:gd name="T25" fmla="*/ 0 h 3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9" h="355">
                  <a:moveTo>
                    <a:pt x="0" y="0"/>
                  </a:moveTo>
                  <a:lnTo>
                    <a:pt x="38" y="10"/>
                  </a:lnTo>
                  <a:lnTo>
                    <a:pt x="81" y="110"/>
                  </a:lnTo>
                  <a:lnTo>
                    <a:pt x="125" y="144"/>
                  </a:lnTo>
                  <a:lnTo>
                    <a:pt x="119" y="167"/>
                  </a:lnTo>
                  <a:lnTo>
                    <a:pt x="132" y="167"/>
                  </a:lnTo>
                  <a:lnTo>
                    <a:pt x="132" y="202"/>
                  </a:lnTo>
                  <a:lnTo>
                    <a:pt x="169" y="267"/>
                  </a:lnTo>
                  <a:lnTo>
                    <a:pt x="164" y="355"/>
                  </a:lnTo>
                  <a:lnTo>
                    <a:pt x="144" y="355"/>
                  </a:lnTo>
                  <a:lnTo>
                    <a:pt x="114" y="311"/>
                  </a:lnTo>
                  <a:lnTo>
                    <a:pt x="56" y="1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15" name="Freeform 375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582023" y="4360863"/>
              <a:ext cx="247650" cy="280987"/>
            </a:xfrm>
            <a:custGeom>
              <a:avLst/>
              <a:gdLst>
                <a:gd name="T0" fmla="*/ 0 w 169"/>
                <a:gd name="T1" fmla="*/ 0 h 355"/>
                <a:gd name="T2" fmla="*/ 2147483647 w 169"/>
                <a:gd name="T3" fmla="*/ 2147483647 h 355"/>
                <a:gd name="T4" fmla="*/ 2147483647 w 169"/>
                <a:gd name="T5" fmla="*/ 2147483647 h 355"/>
                <a:gd name="T6" fmla="*/ 2147483647 w 169"/>
                <a:gd name="T7" fmla="*/ 2147483647 h 355"/>
                <a:gd name="T8" fmla="*/ 2147483647 w 169"/>
                <a:gd name="T9" fmla="*/ 2147483647 h 355"/>
                <a:gd name="T10" fmla="*/ 2147483647 w 169"/>
                <a:gd name="T11" fmla="*/ 2147483647 h 355"/>
                <a:gd name="T12" fmla="*/ 2147483647 w 169"/>
                <a:gd name="T13" fmla="*/ 2147483647 h 355"/>
                <a:gd name="T14" fmla="*/ 2147483647 w 169"/>
                <a:gd name="T15" fmla="*/ 2147483647 h 355"/>
                <a:gd name="T16" fmla="*/ 2147483647 w 169"/>
                <a:gd name="T17" fmla="*/ 2147483647 h 355"/>
                <a:gd name="T18" fmla="*/ 2147483647 w 169"/>
                <a:gd name="T19" fmla="*/ 2147483647 h 355"/>
                <a:gd name="T20" fmla="*/ 2147483647 w 169"/>
                <a:gd name="T21" fmla="*/ 2147483647 h 355"/>
                <a:gd name="T22" fmla="*/ 2147483647 w 169"/>
                <a:gd name="T23" fmla="*/ 2147483647 h 355"/>
                <a:gd name="T24" fmla="*/ 0 w 169"/>
                <a:gd name="T25" fmla="*/ 0 h 3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9" h="355">
                  <a:moveTo>
                    <a:pt x="0" y="0"/>
                  </a:moveTo>
                  <a:lnTo>
                    <a:pt x="38" y="10"/>
                  </a:lnTo>
                  <a:lnTo>
                    <a:pt x="81" y="110"/>
                  </a:lnTo>
                  <a:lnTo>
                    <a:pt x="125" y="144"/>
                  </a:lnTo>
                  <a:lnTo>
                    <a:pt x="119" y="167"/>
                  </a:lnTo>
                  <a:lnTo>
                    <a:pt x="132" y="167"/>
                  </a:lnTo>
                  <a:lnTo>
                    <a:pt x="132" y="202"/>
                  </a:lnTo>
                  <a:lnTo>
                    <a:pt x="169" y="267"/>
                  </a:lnTo>
                  <a:lnTo>
                    <a:pt x="164" y="355"/>
                  </a:lnTo>
                  <a:lnTo>
                    <a:pt x="144" y="355"/>
                  </a:lnTo>
                  <a:lnTo>
                    <a:pt x="114" y="311"/>
                  </a:lnTo>
                  <a:lnTo>
                    <a:pt x="56" y="123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16" name="Freeform 376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6810623" y="4649788"/>
              <a:ext cx="211138" cy="71437"/>
            </a:xfrm>
            <a:custGeom>
              <a:avLst/>
              <a:gdLst>
                <a:gd name="T0" fmla="*/ 0 w 144"/>
                <a:gd name="T1" fmla="*/ 2147483647 h 90"/>
                <a:gd name="T2" fmla="*/ 2147483647 w 144"/>
                <a:gd name="T3" fmla="*/ 0 h 90"/>
                <a:gd name="T4" fmla="*/ 2147483647 w 144"/>
                <a:gd name="T5" fmla="*/ 2147483647 h 90"/>
                <a:gd name="T6" fmla="*/ 2147483647 w 144"/>
                <a:gd name="T7" fmla="*/ 2147483647 h 90"/>
                <a:gd name="T8" fmla="*/ 2147483647 w 144"/>
                <a:gd name="T9" fmla="*/ 2147483647 h 90"/>
                <a:gd name="T10" fmla="*/ 2147483647 w 144"/>
                <a:gd name="T11" fmla="*/ 2147483647 h 90"/>
                <a:gd name="T12" fmla="*/ 2147483647 w 144"/>
                <a:gd name="T13" fmla="*/ 2147483647 h 90"/>
                <a:gd name="T14" fmla="*/ 0 w 144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4" h="90">
                  <a:moveTo>
                    <a:pt x="0" y="23"/>
                  </a:moveTo>
                  <a:lnTo>
                    <a:pt x="13" y="0"/>
                  </a:lnTo>
                  <a:lnTo>
                    <a:pt x="107" y="23"/>
                  </a:lnTo>
                  <a:lnTo>
                    <a:pt x="120" y="44"/>
                  </a:lnTo>
                  <a:lnTo>
                    <a:pt x="139" y="58"/>
                  </a:lnTo>
                  <a:lnTo>
                    <a:pt x="144" y="90"/>
                  </a:lnTo>
                  <a:lnTo>
                    <a:pt x="26" y="4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17" name="Freeform 377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6810623" y="4649788"/>
              <a:ext cx="211138" cy="71437"/>
            </a:xfrm>
            <a:custGeom>
              <a:avLst/>
              <a:gdLst>
                <a:gd name="T0" fmla="*/ 0 w 144"/>
                <a:gd name="T1" fmla="*/ 2147483647 h 90"/>
                <a:gd name="T2" fmla="*/ 2147483647 w 144"/>
                <a:gd name="T3" fmla="*/ 0 h 90"/>
                <a:gd name="T4" fmla="*/ 2147483647 w 144"/>
                <a:gd name="T5" fmla="*/ 2147483647 h 90"/>
                <a:gd name="T6" fmla="*/ 2147483647 w 144"/>
                <a:gd name="T7" fmla="*/ 2147483647 h 90"/>
                <a:gd name="T8" fmla="*/ 2147483647 w 144"/>
                <a:gd name="T9" fmla="*/ 2147483647 h 90"/>
                <a:gd name="T10" fmla="*/ 2147483647 w 144"/>
                <a:gd name="T11" fmla="*/ 2147483647 h 90"/>
                <a:gd name="T12" fmla="*/ 2147483647 w 144"/>
                <a:gd name="T13" fmla="*/ 2147483647 h 90"/>
                <a:gd name="T14" fmla="*/ 0 w 144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4" h="90">
                  <a:moveTo>
                    <a:pt x="0" y="23"/>
                  </a:moveTo>
                  <a:lnTo>
                    <a:pt x="13" y="0"/>
                  </a:lnTo>
                  <a:lnTo>
                    <a:pt x="107" y="23"/>
                  </a:lnTo>
                  <a:lnTo>
                    <a:pt x="120" y="44"/>
                  </a:lnTo>
                  <a:lnTo>
                    <a:pt x="139" y="58"/>
                  </a:lnTo>
                  <a:lnTo>
                    <a:pt x="144" y="90"/>
                  </a:lnTo>
                  <a:lnTo>
                    <a:pt x="26" y="44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18" name="Freeform 378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810623" y="4649788"/>
              <a:ext cx="211138" cy="71437"/>
            </a:xfrm>
            <a:custGeom>
              <a:avLst/>
              <a:gdLst>
                <a:gd name="T0" fmla="*/ 0 w 144"/>
                <a:gd name="T1" fmla="*/ 2147483647 h 90"/>
                <a:gd name="T2" fmla="*/ 2147483647 w 144"/>
                <a:gd name="T3" fmla="*/ 0 h 90"/>
                <a:gd name="T4" fmla="*/ 2147483647 w 144"/>
                <a:gd name="T5" fmla="*/ 2147483647 h 90"/>
                <a:gd name="T6" fmla="*/ 2147483647 w 144"/>
                <a:gd name="T7" fmla="*/ 2147483647 h 90"/>
                <a:gd name="T8" fmla="*/ 2147483647 w 144"/>
                <a:gd name="T9" fmla="*/ 2147483647 h 90"/>
                <a:gd name="T10" fmla="*/ 2147483647 w 144"/>
                <a:gd name="T11" fmla="*/ 2147483647 h 90"/>
                <a:gd name="T12" fmla="*/ 2147483647 w 144"/>
                <a:gd name="T13" fmla="*/ 2147483647 h 90"/>
                <a:gd name="T14" fmla="*/ 0 w 144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4" h="90">
                  <a:moveTo>
                    <a:pt x="0" y="23"/>
                  </a:moveTo>
                  <a:lnTo>
                    <a:pt x="13" y="0"/>
                  </a:lnTo>
                  <a:lnTo>
                    <a:pt x="107" y="23"/>
                  </a:lnTo>
                  <a:lnTo>
                    <a:pt x="120" y="44"/>
                  </a:lnTo>
                  <a:lnTo>
                    <a:pt x="139" y="58"/>
                  </a:lnTo>
                  <a:lnTo>
                    <a:pt x="144" y="90"/>
                  </a:lnTo>
                  <a:lnTo>
                    <a:pt x="26" y="4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19" name="Freeform 379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6810623" y="4649788"/>
              <a:ext cx="211138" cy="71437"/>
            </a:xfrm>
            <a:custGeom>
              <a:avLst/>
              <a:gdLst>
                <a:gd name="T0" fmla="*/ 0 w 144"/>
                <a:gd name="T1" fmla="*/ 2147483647 h 90"/>
                <a:gd name="T2" fmla="*/ 2147483647 w 144"/>
                <a:gd name="T3" fmla="*/ 0 h 90"/>
                <a:gd name="T4" fmla="*/ 2147483647 w 144"/>
                <a:gd name="T5" fmla="*/ 2147483647 h 90"/>
                <a:gd name="T6" fmla="*/ 2147483647 w 144"/>
                <a:gd name="T7" fmla="*/ 2147483647 h 90"/>
                <a:gd name="T8" fmla="*/ 2147483647 w 144"/>
                <a:gd name="T9" fmla="*/ 2147483647 h 90"/>
                <a:gd name="T10" fmla="*/ 2147483647 w 144"/>
                <a:gd name="T11" fmla="*/ 2147483647 h 90"/>
                <a:gd name="T12" fmla="*/ 2147483647 w 144"/>
                <a:gd name="T13" fmla="*/ 2147483647 h 90"/>
                <a:gd name="T14" fmla="*/ 0 w 144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4" h="90">
                  <a:moveTo>
                    <a:pt x="0" y="23"/>
                  </a:moveTo>
                  <a:lnTo>
                    <a:pt x="13" y="0"/>
                  </a:lnTo>
                  <a:lnTo>
                    <a:pt x="107" y="23"/>
                  </a:lnTo>
                  <a:lnTo>
                    <a:pt x="120" y="44"/>
                  </a:lnTo>
                  <a:lnTo>
                    <a:pt x="139" y="58"/>
                  </a:lnTo>
                  <a:lnTo>
                    <a:pt x="144" y="90"/>
                  </a:lnTo>
                  <a:lnTo>
                    <a:pt x="26" y="44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20" name="Freeform 380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894761" y="4387850"/>
              <a:ext cx="228600" cy="219075"/>
            </a:xfrm>
            <a:custGeom>
              <a:avLst/>
              <a:gdLst>
                <a:gd name="T0" fmla="*/ 0 w 156"/>
                <a:gd name="T1" fmla="*/ 2147483647 h 276"/>
                <a:gd name="T2" fmla="*/ 2147483647 w 156"/>
                <a:gd name="T3" fmla="*/ 2147483647 h 276"/>
                <a:gd name="T4" fmla="*/ 2147483647 w 156"/>
                <a:gd name="T5" fmla="*/ 2147483647 h 276"/>
                <a:gd name="T6" fmla="*/ 2147483647 w 156"/>
                <a:gd name="T7" fmla="*/ 2147483647 h 276"/>
                <a:gd name="T8" fmla="*/ 2147483647 w 156"/>
                <a:gd name="T9" fmla="*/ 2147483647 h 276"/>
                <a:gd name="T10" fmla="*/ 2147483647 w 156"/>
                <a:gd name="T11" fmla="*/ 0 h 276"/>
                <a:gd name="T12" fmla="*/ 2147483647 w 156"/>
                <a:gd name="T13" fmla="*/ 2147483647 h 276"/>
                <a:gd name="T14" fmla="*/ 2147483647 w 156"/>
                <a:gd name="T15" fmla="*/ 2147483647 h 276"/>
                <a:gd name="T16" fmla="*/ 2147483647 w 156"/>
                <a:gd name="T17" fmla="*/ 2147483647 h 276"/>
                <a:gd name="T18" fmla="*/ 2147483647 w 156"/>
                <a:gd name="T19" fmla="*/ 2147483647 h 276"/>
                <a:gd name="T20" fmla="*/ 2147483647 w 156"/>
                <a:gd name="T21" fmla="*/ 2147483647 h 276"/>
                <a:gd name="T22" fmla="*/ 2147483647 w 156"/>
                <a:gd name="T23" fmla="*/ 2147483647 h 276"/>
                <a:gd name="T24" fmla="*/ 2147483647 w 156"/>
                <a:gd name="T25" fmla="*/ 2147483647 h 276"/>
                <a:gd name="T26" fmla="*/ 2147483647 w 156"/>
                <a:gd name="T27" fmla="*/ 2147483647 h 276"/>
                <a:gd name="T28" fmla="*/ 2147483647 w 156"/>
                <a:gd name="T29" fmla="*/ 2147483647 h 276"/>
                <a:gd name="T30" fmla="*/ 2147483647 w 156"/>
                <a:gd name="T31" fmla="*/ 2147483647 h 276"/>
                <a:gd name="T32" fmla="*/ 2147483647 w 156"/>
                <a:gd name="T33" fmla="*/ 2147483647 h 276"/>
                <a:gd name="T34" fmla="*/ 0 w 156"/>
                <a:gd name="T35" fmla="*/ 2147483647 h 27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56" h="276">
                  <a:moveTo>
                    <a:pt x="0" y="123"/>
                  </a:moveTo>
                  <a:lnTo>
                    <a:pt x="12" y="88"/>
                  </a:lnTo>
                  <a:lnTo>
                    <a:pt x="26" y="109"/>
                  </a:lnTo>
                  <a:lnTo>
                    <a:pt x="68" y="109"/>
                  </a:lnTo>
                  <a:lnTo>
                    <a:pt x="87" y="88"/>
                  </a:lnTo>
                  <a:lnTo>
                    <a:pt x="107" y="0"/>
                  </a:lnTo>
                  <a:lnTo>
                    <a:pt x="131" y="9"/>
                  </a:lnTo>
                  <a:lnTo>
                    <a:pt x="131" y="30"/>
                  </a:lnTo>
                  <a:lnTo>
                    <a:pt x="156" y="109"/>
                  </a:lnTo>
                  <a:lnTo>
                    <a:pt x="137" y="109"/>
                  </a:lnTo>
                  <a:lnTo>
                    <a:pt x="113" y="199"/>
                  </a:lnTo>
                  <a:lnTo>
                    <a:pt x="113" y="255"/>
                  </a:lnTo>
                  <a:lnTo>
                    <a:pt x="94" y="276"/>
                  </a:lnTo>
                  <a:lnTo>
                    <a:pt x="62" y="232"/>
                  </a:lnTo>
                  <a:lnTo>
                    <a:pt x="44" y="255"/>
                  </a:lnTo>
                  <a:lnTo>
                    <a:pt x="44" y="222"/>
                  </a:lnTo>
                  <a:lnTo>
                    <a:pt x="18" y="23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21" name="Freeform 381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894761" y="4387850"/>
              <a:ext cx="228600" cy="219075"/>
            </a:xfrm>
            <a:custGeom>
              <a:avLst/>
              <a:gdLst>
                <a:gd name="T0" fmla="*/ 0 w 156"/>
                <a:gd name="T1" fmla="*/ 2147483647 h 276"/>
                <a:gd name="T2" fmla="*/ 2147483647 w 156"/>
                <a:gd name="T3" fmla="*/ 2147483647 h 276"/>
                <a:gd name="T4" fmla="*/ 2147483647 w 156"/>
                <a:gd name="T5" fmla="*/ 2147483647 h 276"/>
                <a:gd name="T6" fmla="*/ 2147483647 w 156"/>
                <a:gd name="T7" fmla="*/ 2147483647 h 276"/>
                <a:gd name="T8" fmla="*/ 2147483647 w 156"/>
                <a:gd name="T9" fmla="*/ 2147483647 h 276"/>
                <a:gd name="T10" fmla="*/ 2147483647 w 156"/>
                <a:gd name="T11" fmla="*/ 0 h 276"/>
                <a:gd name="T12" fmla="*/ 2147483647 w 156"/>
                <a:gd name="T13" fmla="*/ 2147483647 h 276"/>
                <a:gd name="T14" fmla="*/ 2147483647 w 156"/>
                <a:gd name="T15" fmla="*/ 2147483647 h 276"/>
                <a:gd name="T16" fmla="*/ 2147483647 w 156"/>
                <a:gd name="T17" fmla="*/ 2147483647 h 276"/>
                <a:gd name="T18" fmla="*/ 2147483647 w 156"/>
                <a:gd name="T19" fmla="*/ 2147483647 h 276"/>
                <a:gd name="T20" fmla="*/ 2147483647 w 156"/>
                <a:gd name="T21" fmla="*/ 2147483647 h 276"/>
                <a:gd name="T22" fmla="*/ 2147483647 w 156"/>
                <a:gd name="T23" fmla="*/ 2147483647 h 276"/>
                <a:gd name="T24" fmla="*/ 2147483647 w 156"/>
                <a:gd name="T25" fmla="*/ 2147483647 h 276"/>
                <a:gd name="T26" fmla="*/ 2147483647 w 156"/>
                <a:gd name="T27" fmla="*/ 2147483647 h 276"/>
                <a:gd name="T28" fmla="*/ 2147483647 w 156"/>
                <a:gd name="T29" fmla="*/ 2147483647 h 276"/>
                <a:gd name="T30" fmla="*/ 2147483647 w 156"/>
                <a:gd name="T31" fmla="*/ 2147483647 h 276"/>
                <a:gd name="T32" fmla="*/ 2147483647 w 156"/>
                <a:gd name="T33" fmla="*/ 2147483647 h 276"/>
                <a:gd name="T34" fmla="*/ 0 w 156"/>
                <a:gd name="T35" fmla="*/ 2147483647 h 27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56" h="276">
                  <a:moveTo>
                    <a:pt x="0" y="123"/>
                  </a:moveTo>
                  <a:lnTo>
                    <a:pt x="12" y="88"/>
                  </a:lnTo>
                  <a:lnTo>
                    <a:pt x="26" y="109"/>
                  </a:lnTo>
                  <a:lnTo>
                    <a:pt x="68" y="109"/>
                  </a:lnTo>
                  <a:lnTo>
                    <a:pt x="87" y="88"/>
                  </a:lnTo>
                  <a:lnTo>
                    <a:pt x="107" y="0"/>
                  </a:lnTo>
                  <a:lnTo>
                    <a:pt x="131" y="9"/>
                  </a:lnTo>
                  <a:lnTo>
                    <a:pt x="131" y="30"/>
                  </a:lnTo>
                  <a:lnTo>
                    <a:pt x="156" y="109"/>
                  </a:lnTo>
                  <a:lnTo>
                    <a:pt x="137" y="109"/>
                  </a:lnTo>
                  <a:lnTo>
                    <a:pt x="113" y="199"/>
                  </a:lnTo>
                  <a:lnTo>
                    <a:pt x="113" y="255"/>
                  </a:lnTo>
                  <a:lnTo>
                    <a:pt x="94" y="276"/>
                  </a:lnTo>
                  <a:lnTo>
                    <a:pt x="62" y="232"/>
                  </a:lnTo>
                  <a:lnTo>
                    <a:pt x="44" y="255"/>
                  </a:lnTo>
                  <a:lnTo>
                    <a:pt x="44" y="222"/>
                  </a:lnTo>
                  <a:lnTo>
                    <a:pt x="18" y="232"/>
                  </a:lnTo>
                  <a:lnTo>
                    <a:pt x="0" y="1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22" name="Freeform 382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6894761" y="4387850"/>
              <a:ext cx="228600" cy="219075"/>
            </a:xfrm>
            <a:custGeom>
              <a:avLst/>
              <a:gdLst>
                <a:gd name="T0" fmla="*/ 0 w 156"/>
                <a:gd name="T1" fmla="*/ 2147483647 h 276"/>
                <a:gd name="T2" fmla="*/ 2147483647 w 156"/>
                <a:gd name="T3" fmla="*/ 2147483647 h 276"/>
                <a:gd name="T4" fmla="*/ 2147483647 w 156"/>
                <a:gd name="T5" fmla="*/ 2147483647 h 276"/>
                <a:gd name="T6" fmla="*/ 2147483647 w 156"/>
                <a:gd name="T7" fmla="*/ 2147483647 h 276"/>
                <a:gd name="T8" fmla="*/ 2147483647 w 156"/>
                <a:gd name="T9" fmla="*/ 2147483647 h 276"/>
                <a:gd name="T10" fmla="*/ 2147483647 w 156"/>
                <a:gd name="T11" fmla="*/ 0 h 276"/>
                <a:gd name="T12" fmla="*/ 2147483647 w 156"/>
                <a:gd name="T13" fmla="*/ 2147483647 h 276"/>
                <a:gd name="T14" fmla="*/ 2147483647 w 156"/>
                <a:gd name="T15" fmla="*/ 2147483647 h 276"/>
                <a:gd name="T16" fmla="*/ 2147483647 w 156"/>
                <a:gd name="T17" fmla="*/ 2147483647 h 276"/>
                <a:gd name="T18" fmla="*/ 2147483647 w 156"/>
                <a:gd name="T19" fmla="*/ 2147483647 h 276"/>
                <a:gd name="T20" fmla="*/ 2147483647 w 156"/>
                <a:gd name="T21" fmla="*/ 2147483647 h 276"/>
                <a:gd name="T22" fmla="*/ 2147483647 w 156"/>
                <a:gd name="T23" fmla="*/ 2147483647 h 276"/>
                <a:gd name="T24" fmla="*/ 2147483647 w 156"/>
                <a:gd name="T25" fmla="*/ 2147483647 h 276"/>
                <a:gd name="T26" fmla="*/ 2147483647 w 156"/>
                <a:gd name="T27" fmla="*/ 2147483647 h 276"/>
                <a:gd name="T28" fmla="*/ 2147483647 w 156"/>
                <a:gd name="T29" fmla="*/ 2147483647 h 276"/>
                <a:gd name="T30" fmla="*/ 2147483647 w 156"/>
                <a:gd name="T31" fmla="*/ 2147483647 h 276"/>
                <a:gd name="T32" fmla="*/ 2147483647 w 156"/>
                <a:gd name="T33" fmla="*/ 2147483647 h 276"/>
                <a:gd name="T34" fmla="*/ 0 w 156"/>
                <a:gd name="T35" fmla="*/ 2147483647 h 27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56" h="276">
                  <a:moveTo>
                    <a:pt x="0" y="123"/>
                  </a:moveTo>
                  <a:lnTo>
                    <a:pt x="12" y="88"/>
                  </a:lnTo>
                  <a:lnTo>
                    <a:pt x="26" y="109"/>
                  </a:lnTo>
                  <a:lnTo>
                    <a:pt x="68" y="109"/>
                  </a:lnTo>
                  <a:lnTo>
                    <a:pt x="87" y="88"/>
                  </a:lnTo>
                  <a:lnTo>
                    <a:pt x="107" y="0"/>
                  </a:lnTo>
                  <a:lnTo>
                    <a:pt x="131" y="9"/>
                  </a:lnTo>
                  <a:lnTo>
                    <a:pt x="131" y="30"/>
                  </a:lnTo>
                  <a:lnTo>
                    <a:pt x="156" y="109"/>
                  </a:lnTo>
                  <a:lnTo>
                    <a:pt x="137" y="109"/>
                  </a:lnTo>
                  <a:lnTo>
                    <a:pt x="113" y="199"/>
                  </a:lnTo>
                  <a:lnTo>
                    <a:pt x="113" y="255"/>
                  </a:lnTo>
                  <a:lnTo>
                    <a:pt x="94" y="276"/>
                  </a:lnTo>
                  <a:lnTo>
                    <a:pt x="62" y="232"/>
                  </a:lnTo>
                  <a:lnTo>
                    <a:pt x="44" y="255"/>
                  </a:lnTo>
                  <a:lnTo>
                    <a:pt x="44" y="222"/>
                  </a:lnTo>
                  <a:lnTo>
                    <a:pt x="18" y="23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23" name="Freeform 383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6894761" y="4387850"/>
              <a:ext cx="228600" cy="219075"/>
            </a:xfrm>
            <a:custGeom>
              <a:avLst/>
              <a:gdLst>
                <a:gd name="T0" fmla="*/ 0 w 156"/>
                <a:gd name="T1" fmla="*/ 2147483647 h 276"/>
                <a:gd name="T2" fmla="*/ 2147483647 w 156"/>
                <a:gd name="T3" fmla="*/ 2147483647 h 276"/>
                <a:gd name="T4" fmla="*/ 2147483647 w 156"/>
                <a:gd name="T5" fmla="*/ 2147483647 h 276"/>
                <a:gd name="T6" fmla="*/ 2147483647 w 156"/>
                <a:gd name="T7" fmla="*/ 2147483647 h 276"/>
                <a:gd name="T8" fmla="*/ 2147483647 w 156"/>
                <a:gd name="T9" fmla="*/ 2147483647 h 276"/>
                <a:gd name="T10" fmla="*/ 2147483647 w 156"/>
                <a:gd name="T11" fmla="*/ 0 h 276"/>
                <a:gd name="T12" fmla="*/ 2147483647 w 156"/>
                <a:gd name="T13" fmla="*/ 2147483647 h 276"/>
                <a:gd name="T14" fmla="*/ 2147483647 w 156"/>
                <a:gd name="T15" fmla="*/ 2147483647 h 276"/>
                <a:gd name="T16" fmla="*/ 2147483647 w 156"/>
                <a:gd name="T17" fmla="*/ 2147483647 h 276"/>
                <a:gd name="T18" fmla="*/ 2147483647 w 156"/>
                <a:gd name="T19" fmla="*/ 2147483647 h 276"/>
                <a:gd name="T20" fmla="*/ 2147483647 w 156"/>
                <a:gd name="T21" fmla="*/ 2147483647 h 276"/>
                <a:gd name="T22" fmla="*/ 2147483647 w 156"/>
                <a:gd name="T23" fmla="*/ 2147483647 h 276"/>
                <a:gd name="T24" fmla="*/ 2147483647 w 156"/>
                <a:gd name="T25" fmla="*/ 2147483647 h 276"/>
                <a:gd name="T26" fmla="*/ 2147483647 w 156"/>
                <a:gd name="T27" fmla="*/ 2147483647 h 276"/>
                <a:gd name="T28" fmla="*/ 2147483647 w 156"/>
                <a:gd name="T29" fmla="*/ 2147483647 h 276"/>
                <a:gd name="T30" fmla="*/ 2147483647 w 156"/>
                <a:gd name="T31" fmla="*/ 2147483647 h 276"/>
                <a:gd name="T32" fmla="*/ 2147483647 w 156"/>
                <a:gd name="T33" fmla="*/ 2147483647 h 276"/>
                <a:gd name="T34" fmla="*/ 0 w 156"/>
                <a:gd name="T35" fmla="*/ 2147483647 h 27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56" h="276">
                  <a:moveTo>
                    <a:pt x="0" y="123"/>
                  </a:moveTo>
                  <a:lnTo>
                    <a:pt x="12" y="88"/>
                  </a:lnTo>
                  <a:lnTo>
                    <a:pt x="26" y="109"/>
                  </a:lnTo>
                  <a:lnTo>
                    <a:pt x="68" y="109"/>
                  </a:lnTo>
                  <a:lnTo>
                    <a:pt x="87" y="88"/>
                  </a:lnTo>
                  <a:lnTo>
                    <a:pt x="107" y="0"/>
                  </a:lnTo>
                  <a:lnTo>
                    <a:pt x="131" y="9"/>
                  </a:lnTo>
                  <a:lnTo>
                    <a:pt x="131" y="30"/>
                  </a:lnTo>
                  <a:lnTo>
                    <a:pt x="156" y="109"/>
                  </a:lnTo>
                  <a:lnTo>
                    <a:pt x="137" y="109"/>
                  </a:lnTo>
                  <a:lnTo>
                    <a:pt x="113" y="199"/>
                  </a:lnTo>
                  <a:lnTo>
                    <a:pt x="113" y="255"/>
                  </a:lnTo>
                  <a:lnTo>
                    <a:pt x="94" y="276"/>
                  </a:lnTo>
                  <a:lnTo>
                    <a:pt x="62" y="232"/>
                  </a:lnTo>
                  <a:lnTo>
                    <a:pt x="44" y="255"/>
                  </a:lnTo>
                  <a:lnTo>
                    <a:pt x="44" y="222"/>
                  </a:lnTo>
                  <a:lnTo>
                    <a:pt x="18" y="232"/>
                  </a:lnTo>
                  <a:lnTo>
                    <a:pt x="0" y="1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24" name="Freeform 384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7070973" y="4711700"/>
              <a:ext cx="52388" cy="28575"/>
            </a:xfrm>
            <a:custGeom>
              <a:avLst/>
              <a:gdLst>
                <a:gd name="T0" fmla="*/ 0 w 36"/>
                <a:gd name="T1" fmla="*/ 2147483647 h 34"/>
                <a:gd name="T2" fmla="*/ 2147483647 w 36"/>
                <a:gd name="T3" fmla="*/ 2147483647 h 34"/>
                <a:gd name="T4" fmla="*/ 2147483647 w 36"/>
                <a:gd name="T5" fmla="*/ 2147483647 h 34"/>
                <a:gd name="T6" fmla="*/ 2147483647 w 36"/>
                <a:gd name="T7" fmla="*/ 0 h 34"/>
                <a:gd name="T8" fmla="*/ 0 w 36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34">
                  <a:moveTo>
                    <a:pt x="0" y="13"/>
                  </a:moveTo>
                  <a:lnTo>
                    <a:pt x="6" y="34"/>
                  </a:lnTo>
                  <a:lnTo>
                    <a:pt x="36" y="13"/>
                  </a:lnTo>
                  <a:lnTo>
                    <a:pt x="12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25" name="Freeform 385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7070973" y="4711700"/>
              <a:ext cx="52388" cy="28575"/>
            </a:xfrm>
            <a:custGeom>
              <a:avLst/>
              <a:gdLst>
                <a:gd name="T0" fmla="*/ 0 w 36"/>
                <a:gd name="T1" fmla="*/ 2147483647 h 34"/>
                <a:gd name="T2" fmla="*/ 2147483647 w 36"/>
                <a:gd name="T3" fmla="*/ 2147483647 h 34"/>
                <a:gd name="T4" fmla="*/ 2147483647 w 36"/>
                <a:gd name="T5" fmla="*/ 2147483647 h 34"/>
                <a:gd name="T6" fmla="*/ 2147483647 w 36"/>
                <a:gd name="T7" fmla="*/ 0 h 34"/>
                <a:gd name="T8" fmla="*/ 0 w 36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34">
                  <a:moveTo>
                    <a:pt x="0" y="13"/>
                  </a:moveTo>
                  <a:lnTo>
                    <a:pt x="6" y="34"/>
                  </a:lnTo>
                  <a:lnTo>
                    <a:pt x="36" y="13"/>
                  </a:lnTo>
                  <a:lnTo>
                    <a:pt x="12" y="0"/>
                  </a:lnTo>
                  <a:lnTo>
                    <a:pt x="0" y="1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26" name="Freeform 386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7070973" y="4711700"/>
              <a:ext cx="52388" cy="28575"/>
            </a:xfrm>
            <a:custGeom>
              <a:avLst/>
              <a:gdLst>
                <a:gd name="T0" fmla="*/ 0 w 36"/>
                <a:gd name="T1" fmla="*/ 2147483647 h 34"/>
                <a:gd name="T2" fmla="*/ 2147483647 w 36"/>
                <a:gd name="T3" fmla="*/ 2147483647 h 34"/>
                <a:gd name="T4" fmla="*/ 2147483647 w 36"/>
                <a:gd name="T5" fmla="*/ 2147483647 h 34"/>
                <a:gd name="T6" fmla="*/ 2147483647 w 36"/>
                <a:gd name="T7" fmla="*/ 0 h 34"/>
                <a:gd name="T8" fmla="*/ 0 w 36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34">
                  <a:moveTo>
                    <a:pt x="0" y="13"/>
                  </a:moveTo>
                  <a:lnTo>
                    <a:pt x="6" y="34"/>
                  </a:lnTo>
                  <a:lnTo>
                    <a:pt x="36" y="13"/>
                  </a:lnTo>
                  <a:lnTo>
                    <a:pt x="12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27" name="Freeform 387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7070973" y="4711700"/>
              <a:ext cx="52388" cy="28575"/>
            </a:xfrm>
            <a:custGeom>
              <a:avLst/>
              <a:gdLst>
                <a:gd name="T0" fmla="*/ 0 w 36"/>
                <a:gd name="T1" fmla="*/ 2147483647 h 34"/>
                <a:gd name="T2" fmla="*/ 2147483647 w 36"/>
                <a:gd name="T3" fmla="*/ 2147483647 h 34"/>
                <a:gd name="T4" fmla="*/ 2147483647 w 36"/>
                <a:gd name="T5" fmla="*/ 2147483647 h 34"/>
                <a:gd name="T6" fmla="*/ 2147483647 w 36"/>
                <a:gd name="T7" fmla="*/ 0 h 34"/>
                <a:gd name="T8" fmla="*/ 0 w 36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34">
                  <a:moveTo>
                    <a:pt x="0" y="13"/>
                  </a:moveTo>
                  <a:lnTo>
                    <a:pt x="6" y="34"/>
                  </a:lnTo>
                  <a:lnTo>
                    <a:pt x="36" y="13"/>
                  </a:lnTo>
                  <a:lnTo>
                    <a:pt x="12" y="0"/>
                  </a:lnTo>
                  <a:lnTo>
                    <a:pt x="0" y="1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28" name="Freeform 388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7123361" y="4456113"/>
              <a:ext cx="139700" cy="185737"/>
            </a:xfrm>
            <a:custGeom>
              <a:avLst/>
              <a:gdLst>
                <a:gd name="T0" fmla="*/ 0 w 95"/>
                <a:gd name="T1" fmla="*/ 2147483647 h 234"/>
                <a:gd name="T2" fmla="*/ 2147483647 w 95"/>
                <a:gd name="T3" fmla="*/ 2147483647 h 234"/>
                <a:gd name="T4" fmla="*/ 2147483647 w 95"/>
                <a:gd name="T5" fmla="*/ 2147483647 h 234"/>
                <a:gd name="T6" fmla="*/ 2147483647 w 95"/>
                <a:gd name="T7" fmla="*/ 2147483647 h 234"/>
                <a:gd name="T8" fmla="*/ 2147483647 w 95"/>
                <a:gd name="T9" fmla="*/ 2147483647 h 234"/>
                <a:gd name="T10" fmla="*/ 2147483647 w 95"/>
                <a:gd name="T11" fmla="*/ 2147483647 h 234"/>
                <a:gd name="T12" fmla="*/ 2147483647 w 95"/>
                <a:gd name="T13" fmla="*/ 2147483647 h 234"/>
                <a:gd name="T14" fmla="*/ 2147483647 w 95"/>
                <a:gd name="T15" fmla="*/ 2147483647 h 234"/>
                <a:gd name="T16" fmla="*/ 2147483647 w 95"/>
                <a:gd name="T17" fmla="*/ 2147483647 h 234"/>
                <a:gd name="T18" fmla="*/ 2147483647 w 95"/>
                <a:gd name="T19" fmla="*/ 2147483647 h 234"/>
                <a:gd name="T20" fmla="*/ 2147483647 w 95"/>
                <a:gd name="T21" fmla="*/ 2147483647 h 234"/>
                <a:gd name="T22" fmla="*/ 2147483647 w 95"/>
                <a:gd name="T23" fmla="*/ 2147483647 h 234"/>
                <a:gd name="T24" fmla="*/ 2147483647 w 95"/>
                <a:gd name="T25" fmla="*/ 2147483647 h 234"/>
                <a:gd name="T26" fmla="*/ 2147483647 w 95"/>
                <a:gd name="T27" fmla="*/ 2147483647 h 234"/>
                <a:gd name="T28" fmla="*/ 2147483647 w 95"/>
                <a:gd name="T29" fmla="*/ 0 h 234"/>
                <a:gd name="T30" fmla="*/ 2147483647 w 95"/>
                <a:gd name="T31" fmla="*/ 2147483647 h 234"/>
                <a:gd name="T32" fmla="*/ 2147483647 w 95"/>
                <a:gd name="T33" fmla="*/ 2147483647 h 234"/>
                <a:gd name="T34" fmla="*/ 2147483647 w 95"/>
                <a:gd name="T35" fmla="*/ 2147483647 h 234"/>
                <a:gd name="T36" fmla="*/ 0 w 95"/>
                <a:gd name="T37" fmla="*/ 2147483647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5" h="234">
                  <a:moveTo>
                    <a:pt x="0" y="135"/>
                  </a:moveTo>
                  <a:lnTo>
                    <a:pt x="13" y="179"/>
                  </a:lnTo>
                  <a:lnTo>
                    <a:pt x="7" y="225"/>
                  </a:lnTo>
                  <a:lnTo>
                    <a:pt x="20" y="234"/>
                  </a:lnTo>
                  <a:lnTo>
                    <a:pt x="20" y="146"/>
                  </a:lnTo>
                  <a:lnTo>
                    <a:pt x="31" y="135"/>
                  </a:lnTo>
                  <a:lnTo>
                    <a:pt x="31" y="169"/>
                  </a:lnTo>
                  <a:lnTo>
                    <a:pt x="44" y="213"/>
                  </a:lnTo>
                  <a:lnTo>
                    <a:pt x="57" y="190"/>
                  </a:lnTo>
                  <a:lnTo>
                    <a:pt x="39" y="112"/>
                  </a:lnTo>
                  <a:lnTo>
                    <a:pt x="69" y="79"/>
                  </a:lnTo>
                  <a:lnTo>
                    <a:pt x="25" y="100"/>
                  </a:lnTo>
                  <a:lnTo>
                    <a:pt x="20" y="46"/>
                  </a:lnTo>
                  <a:lnTo>
                    <a:pt x="81" y="46"/>
                  </a:lnTo>
                  <a:lnTo>
                    <a:pt x="95" y="0"/>
                  </a:lnTo>
                  <a:lnTo>
                    <a:pt x="76" y="23"/>
                  </a:lnTo>
                  <a:lnTo>
                    <a:pt x="31" y="12"/>
                  </a:lnTo>
                  <a:lnTo>
                    <a:pt x="13" y="35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29" name="Freeform 389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7123361" y="4456113"/>
              <a:ext cx="139700" cy="185737"/>
            </a:xfrm>
            <a:custGeom>
              <a:avLst/>
              <a:gdLst>
                <a:gd name="T0" fmla="*/ 0 w 95"/>
                <a:gd name="T1" fmla="*/ 2147483647 h 234"/>
                <a:gd name="T2" fmla="*/ 2147483647 w 95"/>
                <a:gd name="T3" fmla="*/ 2147483647 h 234"/>
                <a:gd name="T4" fmla="*/ 2147483647 w 95"/>
                <a:gd name="T5" fmla="*/ 2147483647 h 234"/>
                <a:gd name="T6" fmla="*/ 2147483647 w 95"/>
                <a:gd name="T7" fmla="*/ 2147483647 h 234"/>
                <a:gd name="T8" fmla="*/ 2147483647 w 95"/>
                <a:gd name="T9" fmla="*/ 2147483647 h 234"/>
                <a:gd name="T10" fmla="*/ 2147483647 w 95"/>
                <a:gd name="T11" fmla="*/ 2147483647 h 234"/>
                <a:gd name="T12" fmla="*/ 2147483647 w 95"/>
                <a:gd name="T13" fmla="*/ 2147483647 h 234"/>
                <a:gd name="T14" fmla="*/ 2147483647 w 95"/>
                <a:gd name="T15" fmla="*/ 2147483647 h 234"/>
                <a:gd name="T16" fmla="*/ 2147483647 w 95"/>
                <a:gd name="T17" fmla="*/ 2147483647 h 234"/>
                <a:gd name="T18" fmla="*/ 2147483647 w 95"/>
                <a:gd name="T19" fmla="*/ 2147483647 h 234"/>
                <a:gd name="T20" fmla="*/ 2147483647 w 95"/>
                <a:gd name="T21" fmla="*/ 2147483647 h 234"/>
                <a:gd name="T22" fmla="*/ 2147483647 w 95"/>
                <a:gd name="T23" fmla="*/ 2147483647 h 234"/>
                <a:gd name="T24" fmla="*/ 2147483647 w 95"/>
                <a:gd name="T25" fmla="*/ 2147483647 h 234"/>
                <a:gd name="T26" fmla="*/ 2147483647 w 95"/>
                <a:gd name="T27" fmla="*/ 2147483647 h 234"/>
                <a:gd name="T28" fmla="*/ 2147483647 w 95"/>
                <a:gd name="T29" fmla="*/ 0 h 234"/>
                <a:gd name="T30" fmla="*/ 2147483647 w 95"/>
                <a:gd name="T31" fmla="*/ 2147483647 h 234"/>
                <a:gd name="T32" fmla="*/ 2147483647 w 95"/>
                <a:gd name="T33" fmla="*/ 2147483647 h 234"/>
                <a:gd name="T34" fmla="*/ 2147483647 w 95"/>
                <a:gd name="T35" fmla="*/ 2147483647 h 234"/>
                <a:gd name="T36" fmla="*/ 0 w 95"/>
                <a:gd name="T37" fmla="*/ 2147483647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5" h="234">
                  <a:moveTo>
                    <a:pt x="0" y="135"/>
                  </a:moveTo>
                  <a:lnTo>
                    <a:pt x="13" y="179"/>
                  </a:lnTo>
                  <a:lnTo>
                    <a:pt x="7" y="225"/>
                  </a:lnTo>
                  <a:lnTo>
                    <a:pt x="20" y="234"/>
                  </a:lnTo>
                  <a:lnTo>
                    <a:pt x="20" y="146"/>
                  </a:lnTo>
                  <a:lnTo>
                    <a:pt x="31" y="135"/>
                  </a:lnTo>
                  <a:lnTo>
                    <a:pt x="31" y="169"/>
                  </a:lnTo>
                  <a:lnTo>
                    <a:pt x="44" y="213"/>
                  </a:lnTo>
                  <a:lnTo>
                    <a:pt x="57" y="190"/>
                  </a:lnTo>
                  <a:lnTo>
                    <a:pt x="39" y="112"/>
                  </a:lnTo>
                  <a:lnTo>
                    <a:pt x="69" y="79"/>
                  </a:lnTo>
                  <a:lnTo>
                    <a:pt x="25" y="100"/>
                  </a:lnTo>
                  <a:lnTo>
                    <a:pt x="20" y="46"/>
                  </a:lnTo>
                  <a:lnTo>
                    <a:pt x="81" y="46"/>
                  </a:lnTo>
                  <a:lnTo>
                    <a:pt x="95" y="0"/>
                  </a:lnTo>
                  <a:lnTo>
                    <a:pt x="76" y="23"/>
                  </a:lnTo>
                  <a:lnTo>
                    <a:pt x="31" y="12"/>
                  </a:lnTo>
                  <a:lnTo>
                    <a:pt x="13" y="35"/>
                  </a:lnTo>
                  <a:lnTo>
                    <a:pt x="0" y="1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30" name="Freeform 390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7123361" y="4456113"/>
              <a:ext cx="139700" cy="185737"/>
            </a:xfrm>
            <a:custGeom>
              <a:avLst/>
              <a:gdLst>
                <a:gd name="T0" fmla="*/ 0 w 95"/>
                <a:gd name="T1" fmla="*/ 2147483647 h 234"/>
                <a:gd name="T2" fmla="*/ 2147483647 w 95"/>
                <a:gd name="T3" fmla="*/ 2147483647 h 234"/>
                <a:gd name="T4" fmla="*/ 2147483647 w 95"/>
                <a:gd name="T5" fmla="*/ 2147483647 h 234"/>
                <a:gd name="T6" fmla="*/ 2147483647 w 95"/>
                <a:gd name="T7" fmla="*/ 2147483647 h 234"/>
                <a:gd name="T8" fmla="*/ 2147483647 w 95"/>
                <a:gd name="T9" fmla="*/ 2147483647 h 234"/>
                <a:gd name="T10" fmla="*/ 2147483647 w 95"/>
                <a:gd name="T11" fmla="*/ 2147483647 h 234"/>
                <a:gd name="T12" fmla="*/ 2147483647 w 95"/>
                <a:gd name="T13" fmla="*/ 2147483647 h 234"/>
                <a:gd name="T14" fmla="*/ 2147483647 w 95"/>
                <a:gd name="T15" fmla="*/ 2147483647 h 234"/>
                <a:gd name="T16" fmla="*/ 2147483647 w 95"/>
                <a:gd name="T17" fmla="*/ 2147483647 h 234"/>
                <a:gd name="T18" fmla="*/ 2147483647 w 95"/>
                <a:gd name="T19" fmla="*/ 2147483647 h 234"/>
                <a:gd name="T20" fmla="*/ 2147483647 w 95"/>
                <a:gd name="T21" fmla="*/ 2147483647 h 234"/>
                <a:gd name="T22" fmla="*/ 2147483647 w 95"/>
                <a:gd name="T23" fmla="*/ 2147483647 h 234"/>
                <a:gd name="T24" fmla="*/ 2147483647 w 95"/>
                <a:gd name="T25" fmla="*/ 2147483647 h 234"/>
                <a:gd name="T26" fmla="*/ 2147483647 w 95"/>
                <a:gd name="T27" fmla="*/ 2147483647 h 234"/>
                <a:gd name="T28" fmla="*/ 2147483647 w 95"/>
                <a:gd name="T29" fmla="*/ 0 h 234"/>
                <a:gd name="T30" fmla="*/ 2147483647 w 95"/>
                <a:gd name="T31" fmla="*/ 2147483647 h 234"/>
                <a:gd name="T32" fmla="*/ 2147483647 w 95"/>
                <a:gd name="T33" fmla="*/ 2147483647 h 234"/>
                <a:gd name="T34" fmla="*/ 2147483647 w 95"/>
                <a:gd name="T35" fmla="*/ 2147483647 h 234"/>
                <a:gd name="T36" fmla="*/ 0 w 95"/>
                <a:gd name="T37" fmla="*/ 2147483647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5" h="234">
                  <a:moveTo>
                    <a:pt x="0" y="135"/>
                  </a:moveTo>
                  <a:lnTo>
                    <a:pt x="13" y="179"/>
                  </a:lnTo>
                  <a:lnTo>
                    <a:pt x="7" y="225"/>
                  </a:lnTo>
                  <a:lnTo>
                    <a:pt x="20" y="234"/>
                  </a:lnTo>
                  <a:lnTo>
                    <a:pt x="20" y="146"/>
                  </a:lnTo>
                  <a:lnTo>
                    <a:pt x="31" y="135"/>
                  </a:lnTo>
                  <a:lnTo>
                    <a:pt x="31" y="169"/>
                  </a:lnTo>
                  <a:lnTo>
                    <a:pt x="44" y="213"/>
                  </a:lnTo>
                  <a:lnTo>
                    <a:pt x="57" y="190"/>
                  </a:lnTo>
                  <a:lnTo>
                    <a:pt x="39" y="112"/>
                  </a:lnTo>
                  <a:lnTo>
                    <a:pt x="69" y="79"/>
                  </a:lnTo>
                  <a:lnTo>
                    <a:pt x="25" y="100"/>
                  </a:lnTo>
                  <a:lnTo>
                    <a:pt x="20" y="46"/>
                  </a:lnTo>
                  <a:lnTo>
                    <a:pt x="81" y="46"/>
                  </a:lnTo>
                  <a:lnTo>
                    <a:pt x="95" y="0"/>
                  </a:lnTo>
                  <a:lnTo>
                    <a:pt x="76" y="23"/>
                  </a:lnTo>
                  <a:lnTo>
                    <a:pt x="31" y="12"/>
                  </a:lnTo>
                  <a:lnTo>
                    <a:pt x="13" y="35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31" name="Freeform 391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7123361" y="4456113"/>
              <a:ext cx="139700" cy="185737"/>
            </a:xfrm>
            <a:custGeom>
              <a:avLst/>
              <a:gdLst>
                <a:gd name="T0" fmla="*/ 0 w 95"/>
                <a:gd name="T1" fmla="*/ 2147483647 h 234"/>
                <a:gd name="T2" fmla="*/ 2147483647 w 95"/>
                <a:gd name="T3" fmla="*/ 2147483647 h 234"/>
                <a:gd name="T4" fmla="*/ 2147483647 w 95"/>
                <a:gd name="T5" fmla="*/ 2147483647 h 234"/>
                <a:gd name="T6" fmla="*/ 2147483647 w 95"/>
                <a:gd name="T7" fmla="*/ 2147483647 h 234"/>
                <a:gd name="T8" fmla="*/ 2147483647 w 95"/>
                <a:gd name="T9" fmla="*/ 2147483647 h 234"/>
                <a:gd name="T10" fmla="*/ 2147483647 w 95"/>
                <a:gd name="T11" fmla="*/ 2147483647 h 234"/>
                <a:gd name="T12" fmla="*/ 2147483647 w 95"/>
                <a:gd name="T13" fmla="*/ 2147483647 h 234"/>
                <a:gd name="T14" fmla="*/ 2147483647 w 95"/>
                <a:gd name="T15" fmla="*/ 2147483647 h 234"/>
                <a:gd name="T16" fmla="*/ 2147483647 w 95"/>
                <a:gd name="T17" fmla="*/ 2147483647 h 234"/>
                <a:gd name="T18" fmla="*/ 2147483647 w 95"/>
                <a:gd name="T19" fmla="*/ 2147483647 h 234"/>
                <a:gd name="T20" fmla="*/ 2147483647 w 95"/>
                <a:gd name="T21" fmla="*/ 2147483647 h 234"/>
                <a:gd name="T22" fmla="*/ 2147483647 w 95"/>
                <a:gd name="T23" fmla="*/ 2147483647 h 234"/>
                <a:gd name="T24" fmla="*/ 2147483647 w 95"/>
                <a:gd name="T25" fmla="*/ 2147483647 h 234"/>
                <a:gd name="T26" fmla="*/ 2147483647 w 95"/>
                <a:gd name="T27" fmla="*/ 2147483647 h 234"/>
                <a:gd name="T28" fmla="*/ 2147483647 w 95"/>
                <a:gd name="T29" fmla="*/ 0 h 234"/>
                <a:gd name="T30" fmla="*/ 2147483647 w 95"/>
                <a:gd name="T31" fmla="*/ 2147483647 h 234"/>
                <a:gd name="T32" fmla="*/ 2147483647 w 95"/>
                <a:gd name="T33" fmla="*/ 2147483647 h 234"/>
                <a:gd name="T34" fmla="*/ 2147483647 w 95"/>
                <a:gd name="T35" fmla="*/ 2147483647 h 234"/>
                <a:gd name="T36" fmla="*/ 0 w 95"/>
                <a:gd name="T37" fmla="*/ 2147483647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5" h="234">
                  <a:moveTo>
                    <a:pt x="0" y="135"/>
                  </a:moveTo>
                  <a:lnTo>
                    <a:pt x="13" y="179"/>
                  </a:lnTo>
                  <a:lnTo>
                    <a:pt x="7" y="225"/>
                  </a:lnTo>
                  <a:lnTo>
                    <a:pt x="20" y="234"/>
                  </a:lnTo>
                  <a:lnTo>
                    <a:pt x="20" y="146"/>
                  </a:lnTo>
                  <a:lnTo>
                    <a:pt x="31" y="135"/>
                  </a:lnTo>
                  <a:lnTo>
                    <a:pt x="31" y="169"/>
                  </a:lnTo>
                  <a:lnTo>
                    <a:pt x="44" y="213"/>
                  </a:lnTo>
                  <a:lnTo>
                    <a:pt x="57" y="190"/>
                  </a:lnTo>
                  <a:lnTo>
                    <a:pt x="39" y="112"/>
                  </a:lnTo>
                  <a:lnTo>
                    <a:pt x="69" y="79"/>
                  </a:lnTo>
                  <a:lnTo>
                    <a:pt x="25" y="100"/>
                  </a:lnTo>
                  <a:lnTo>
                    <a:pt x="20" y="46"/>
                  </a:lnTo>
                  <a:lnTo>
                    <a:pt x="81" y="46"/>
                  </a:lnTo>
                  <a:lnTo>
                    <a:pt x="95" y="0"/>
                  </a:lnTo>
                  <a:lnTo>
                    <a:pt x="76" y="23"/>
                  </a:lnTo>
                  <a:lnTo>
                    <a:pt x="31" y="12"/>
                  </a:lnTo>
                  <a:lnTo>
                    <a:pt x="13" y="35"/>
                  </a:lnTo>
                  <a:lnTo>
                    <a:pt x="0" y="135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32" name="Freeform 392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7234486" y="4711700"/>
              <a:ext cx="73025" cy="55563"/>
            </a:xfrm>
            <a:custGeom>
              <a:avLst/>
              <a:gdLst>
                <a:gd name="T0" fmla="*/ 0 w 50"/>
                <a:gd name="T1" fmla="*/ 2147483647 h 69"/>
                <a:gd name="T2" fmla="*/ 0 w 50"/>
                <a:gd name="T3" fmla="*/ 2147483647 h 69"/>
                <a:gd name="T4" fmla="*/ 2147483647 w 50"/>
                <a:gd name="T5" fmla="*/ 0 h 69"/>
                <a:gd name="T6" fmla="*/ 2147483647 w 50"/>
                <a:gd name="T7" fmla="*/ 2147483647 h 69"/>
                <a:gd name="T8" fmla="*/ 0 w 50"/>
                <a:gd name="T9" fmla="*/ 2147483647 h 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69">
                  <a:moveTo>
                    <a:pt x="0" y="34"/>
                  </a:moveTo>
                  <a:lnTo>
                    <a:pt x="0" y="69"/>
                  </a:lnTo>
                  <a:lnTo>
                    <a:pt x="50" y="0"/>
                  </a:lnTo>
                  <a:lnTo>
                    <a:pt x="12" y="23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33" name="Freeform 393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7234486" y="4711700"/>
              <a:ext cx="73025" cy="55563"/>
            </a:xfrm>
            <a:custGeom>
              <a:avLst/>
              <a:gdLst>
                <a:gd name="T0" fmla="*/ 0 w 50"/>
                <a:gd name="T1" fmla="*/ 2147483647 h 69"/>
                <a:gd name="T2" fmla="*/ 0 w 50"/>
                <a:gd name="T3" fmla="*/ 2147483647 h 69"/>
                <a:gd name="T4" fmla="*/ 2147483647 w 50"/>
                <a:gd name="T5" fmla="*/ 0 h 69"/>
                <a:gd name="T6" fmla="*/ 2147483647 w 50"/>
                <a:gd name="T7" fmla="*/ 2147483647 h 69"/>
                <a:gd name="T8" fmla="*/ 0 w 50"/>
                <a:gd name="T9" fmla="*/ 2147483647 h 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69">
                  <a:moveTo>
                    <a:pt x="0" y="34"/>
                  </a:moveTo>
                  <a:lnTo>
                    <a:pt x="0" y="69"/>
                  </a:lnTo>
                  <a:lnTo>
                    <a:pt x="50" y="0"/>
                  </a:lnTo>
                  <a:lnTo>
                    <a:pt x="12" y="23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34" name="Freeform 394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7234486" y="4711700"/>
              <a:ext cx="73025" cy="55563"/>
            </a:xfrm>
            <a:custGeom>
              <a:avLst/>
              <a:gdLst>
                <a:gd name="T0" fmla="*/ 0 w 50"/>
                <a:gd name="T1" fmla="*/ 2147483647 h 69"/>
                <a:gd name="T2" fmla="*/ 0 w 50"/>
                <a:gd name="T3" fmla="*/ 2147483647 h 69"/>
                <a:gd name="T4" fmla="*/ 2147483647 w 50"/>
                <a:gd name="T5" fmla="*/ 0 h 69"/>
                <a:gd name="T6" fmla="*/ 2147483647 w 50"/>
                <a:gd name="T7" fmla="*/ 2147483647 h 69"/>
                <a:gd name="T8" fmla="*/ 0 w 50"/>
                <a:gd name="T9" fmla="*/ 2147483647 h 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69">
                  <a:moveTo>
                    <a:pt x="0" y="34"/>
                  </a:moveTo>
                  <a:lnTo>
                    <a:pt x="0" y="69"/>
                  </a:lnTo>
                  <a:lnTo>
                    <a:pt x="50" y="0"/>
                  </a:lnTo>
                  <a:lnTo>
                    <a:pt x="12" y="23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35" name="Freeform 395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7234486" y="4711700"/>
              <a:ext cx="73025" cy="55563"/>
            </a:xfrm>
            <a:custGeom>
              <a:avLst/>
              <a:gdLst>
                <a:gd name="T0" fmla="*/ 0 w 50"/>
                <a:gd name="T1" fmla="*/ 2147483647 h 69"/>
                <a:gd name="T2" fmla="*/ 0 w 50"/>
                <a:gd name="T3" fmla="*/ 2147483647 h 69"/>
                <a:gd name="T4" fmla="*/ 2147483647 w 50"/>
                <a:gd name="T5" fmla="*/ 0 h 69"/>
                <a:gd name="T6" fmla="*/ 2147483647 w 50"/>
                <a:gd name="T7" fmla="*/ 2147483647 h 69"/>
                <a:gd name="T8" fmla="*/ 0 w 50"/>
                <a:gd name="T9" fmla="*/ 2147483647 h 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69">
                  <a:moveTo>
                    <a:pt x="0" y="34"/>
                  </a:moveTo>
                  <a:lnTo>
                    <a:pt x="0" y="69"/>
                  </a:lnTo>
                  <a:lnTo>
                    <a:pt x="50" y="0"/>
                  </a:lnTo>
                  <a:lnTo>
                    <a:pt x="12" y="23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36" name="Freeform 396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317036" y="4440238"/>
              <a:ext cx="26987" cy="77787"/>
            </a:xfrm>
            <a:custGeom>
              <a:avLst/>
              <a:gdLst>
                <a:gd name="T0" fmla="*/ 0 w 19"/>
                <a:gd name="T1" fmla="*/ 2147483647 h 100"/>
                <a:gd name="T2" fmla="*/ 2147483647 w 19"/>
                <a:gd name="T3" fmla="*/ 2147483647 h 100"/>
                <a:gd name="T4" fmla="*/ 2147483647 w 19"/>
                <a:gd name="T5" fmla="*/ 2147483647 h 100"/>
                <a:gd name="T6" fmla="*/ 2147483647 w 19"/>
                <a:gd name="T7" fmla="*/ 2147483647 h 100"/>
                <a:gd name="T8" fmla="*/ 2147483647 w 19"/>
                <a:gd name="T9" fmla="*/ 2147483647 h 100"/>
                <a:gd name="T10" fmla="*/ 2147483647 w 19"/>
                <a:gd name="T11" fmla="*/ 2147483647 h 100"/>
                <a:gd name="T12" fmla="*/ 2147483647 w 19"/>
                <a:gd name="T13" fmla="*/ 2147483647 h 100"/>
                <a:gd name="T14" fmla="*/ 2147483647 w 19"/>
                <a:gd name="T15" fmla="*/ 0 h 100"/>
                <a:gd name="T16" fmla="*/ 0 w 19"/>
                <a:gd name="T17" fmla="*/ 2147483647 h 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100">
                  <a:moveTo>
                    <a:pt x="0" y="44"/>
                  </a:moveTo>
                  <a:lnTo>
                    <a:pt x="6" y="88"/>
                  </a:lnTo>
                  <a:lnTo>
                    <a:pt x="13" y="100"/>
                  </a:lnTo>
                  <a:lnTo>
                    <a:pt x="6" y="67"/>
                  </a:lnTo>
                  <a:lnTo>
                    <a:pt x="19" y="56"/>
                  </a:lnTo>
                  <a:lnTo>
                    <a:pt x="13" y="23"/>
                  </a:lnTo>
                  <a:lnTo>
                    <a:pt x="6" y="44"/>
                  </a:lnTo>
                  <a:lnTo>
                    <a:pt x="6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37" name="Freeform 397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317036" y="4440238"/>
              <a:ext cx="26987" cy="77787"/>
            </a:xfrm>
            <a:custGeom>
              <a:avLst/>
              <a:gdLst>
                <a:gd name="T0" fmla="*/ 0 w 19"/>
                <a:gd name="T1" fmla="*/ 2147483647 h 100"/>
                <a:gd name="T2" fmla="*/ 2147483647 w 19"/>
                <a:gd name="T3" fmla="*/ 2147483647 h 100"/>
                <a:gd name="T4" fmla="*/ 2147483647 w 19"/>
                <a:gd name="T5" fmla="*/ 2147483647 h 100"/>
                <a:gd name="T6" fmla="*/ 2147483647 w 19"/>
                <a:gd name="T7" fmla="*/ 2147483647 h 100"/>
                <a:gd name="T8" fmla="*/ 2147483647 w 19"/>
                <a:gd name="T9" fmla="*/ 2147483647 h 100"/>
                <a:gd name="T10" fmla="*/ 2147483647 w 19"/>
                <a:gd name="T11" fmla="*/ 2147483647 h 100"/>
                <a:gd name="T12" fmla="*/ 2147483647 w 19"/>
                <a:gd name="T13" fmla="*/ 2147483647 h 100"/>
                <a:gd name="T14" fmla="*/ 2147483647 w 19"/>
                <a:gd name="T15" fmla="*/ 0 h 100"/>
                <a:gd name="T16" fmla="*/ 0 w 19"/>
                <a:gd name="T17" fmla="*/ 2147483647 h 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100">
                  <a:moveTo>
                    <a:pt x="0" y="44"/>
                  </a:moveTo>
                  <a:lnTo>
                    <a:pt x="6" y="88"/>
                  </a:lnTo>
                  <a:lnTo>
                    <a:pt x="13" y="100"/>
                  </a:lnTo>
                  <a:lnTo>
                    <a:pt x="6" y="67"/>
                  </a:lnTo>
                  <a:lnTo>
                    <a:pt x="19" y="56"/>
                  </a:lnTo>
                  <a:lnTo>
                    <a:pt x="13" y="23"/>
                  </a:lnTo>
                  <a:lnTo>
                    <a:pt x="6" y="44"/>
                  </a:lnTo>
                  <a:lnTo>
                    <a:pt x="6" y="0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38" name="Freeform 398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317036" y="4440238"/>
              <a:ext cx="26987" cy="77787"/>
            </a:xfrm>
            <a:custGeom>
              <a:avLst/>
              <a:gdLst>
                <a:gd name="T0" fmla="*/ 0 w 19"/>
                <a:gd name="T1" fmla="*/ 2147483647 h 100"/>
                <a:gd name="T2" fmla="*/ 2147483647 w 19"/>
                <a:gd name="T3" fmla="*/ 2147483647 h 100"/>
                <a:gd name="T4" fmla="*/ 2147483647 w 19"/>
                <a:gd name="T5" fmla="*/ 2147483647 h 100"/>
                <a:gd name="T6" fmla="*/ 2147483647 w 19"/>
                <a:gd name="T7" fmla="*/ 2147483647 h 100"/>
                <a:gd name="T8" fmla="*/ 2147483647 w 19"/>
                <a:gd name="T9" fmla="*/ 2147483647 h 100"/>
                <a:gd name="T10" fmla="*/ 2147483647 w 19"/>
                <a:gd name="T11" fmla="*/ 2147483647 h 100"/>
                <a:gd name="T12" fmla="*/ 2147483647 w 19"/>
                <a:gd name="T13" fmla="*/ 2147483647 h 100"/>
                <a:gd name="T14" fmla="*/ 2147483647 w 19"/>
                <a:gd name="T15" fmla="*/ 0 h 100"/>
                <a:gd name="T16" fmla="*/ 0 w 19"/>
                <a:gd name="T17" fmla="*/ 2147483647 h 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100">
                  <a:moveTo>
                    <a:pt x="0" y="44"/>
                  </a:moveTo>
                  <a:lnTo>
                    <a:pt x="6" y="88"/>
                  </a:lnTo>
                  <a:lnTo>
                    <a:pt x="13" y="100"/>
                  </a:lnTo>
                  <a:lnTo>
                    <a:pt x="6" y="67"/>
                  </a:lnTo>
                  <a:lnTo>
                    <a:pt x="19" y="56"/>
                  </a:lnTo>
                  <a:lnTo>
                    <a:pt x="13" y="23"/>
                  </a:lnTo>
                  <a:lnTo>
                    <a:pt x="6" y="44"/>
                  </a:lnTo>
                  <a:lnTo>
                    <a:pt x="6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39" name="Freeform 399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317036" y="4440238"/>
              <a:ext cx="26987" cy="77787"/>
            </a:xfrm>
            <a:custGeom>
              <a:avLst/>
              <a:gdLst>
                <a:gd name="T0" fmla="*/ 0 w 19"/>
                <a:gd name="T1" fmla="*/ 2147483647 h 100"/>
                <a:gd name="T2" fmla="*/ 2147483647 w 19"/>
                <a:gd name="T3" fmla="*/ 2147483647 h 100"/>
                <a:gd name="T4" fmla="*/ 2147483647 w 19"/>
                <a:gd name="T5" fmla="*/ 2147483647 h 100"/>
                <a:gd name="T6" fmla="*/ 2147483647 w 19"/>
                <a:gd name="T7" fmla="*/ 2147483647 h 100"/>
                <a:gd name="T8" fmla="*/ 2147483647 w 19"/>
                <a:gd name="T9" fmla="*/ 2147483647 h 100"/>
                <a:gd name="T10" fmla="*/ 2147483647 w 19"/>
                <a:gd name="T11" fmla="*/ 2147483647 h 100"/>
                <a:gd name="T12" fmla="*/ 2147483647 w 19"/>
                <a:gd name="T13" fmla="*/ 2147483647 h 100"/>
                <a:gd name="T14" fmla="*/ 2147483647 w 19"/>
                <a:gd name="T15" fmla="*/ 0 h 100"/>
                <a:gd name="T16" fmla="*/ 0 w 19"/>
                <a:gd name="T17" fmla="*/ 2147483647 h 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100">
                  <a:moveTo>
                    <a:pt x="0" y="44"/>
                  </a:moveTo>
                  <a:lnTo>
                    <a:pt x="6" y="88"/>
                  </a:lnTo>
                  <a:lnTo>
                    <a:pt x="13" y="100"/>
                  </a:lnTo>
                  <a:lnTo>
                    <a:pt x="6" y="67"/>
                  </a:lnTo>
                  <a:lnTo>
                    <a:pt x="19" y="56"/>
                  </a:lnTo>
                  <a:lnTo>
                    <a:pt x="13" y="23"/>
                  </a:lnTo>
                  <a:lnTo>
                    <a:pt x="6" y="44"/>
                  </a:lnTo>
                  <a:lnTo>
                    <a:pt x="6" y="0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40" name="Freeform 400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7324973" y="4570413"/>
              <a:ext cx="65088" cy="26987"/>
            </a:xfrm>
            <a:custGeom>
              <a:avLst/>
              <a:gdLst>
                <a:gd name="T0" fmla="*/ 0 w 44"/>
                <a:gd name="T1" fmla="*/ 2147483647 h 35"/>
                <a:gd name="T2" fmla="*/ 2147483647 w 44"/>
                <a:gd name="T3" fmla="*/ 0 h 35"/>
                <a:gd name="T4" fmla="*/ 2147483647 w 44"/>
                <a:gd name="T5" fmla="*/ 2147483647 h 35"/>
                <a:gd name="T6" fmla="*/ 0 w 4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4" h="35">
                  <a:moveTo>
                    <a:pt x="0" y="12"/>
                  </a:moveTo>
                  <a:lnTo>
                    <a:pt x="26" y="0"/>
                  </a:lnTo>
                  <a:lnTo>
                    <a:pt x="44" y="3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41" name="Freeform 401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7324973" y="4570413"/>
              <a:ext cx="65088" cy="26987"/>
            </a:xfrm>
            <a:custGeom>
              <a:avLst/>
              <a:gdLst>
                <a:gd name="T0" fmla="*/ 0 w 44"/>
                <a:gd name="T1" fmla="*/ 2147483647 h 35"/>
                <a:gd name="T2" fmla="*/ 2147483647 w 44"/>
                <a:gd name="T3" fmla="*/ 0 h 35"/>
                <a:gd name="T4" fmla="*/ 2147483647 w 44"/>
                <a:gd name="T5" fmla="*/ 2147483647 h 35"/>
                <a:gd name="T6" fmla="*/ 0 w 4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4" h="35">
                  <a:moveTo>
                    <a:pt x="0" y="12"/>
                  </a:moveTo>
                  <a:lnTo>
                    <a:pt x="26" y="0"/>
                  </a:lnTo>
                  <a:lnTo>
                    <a:pt x="44" y="35"/>
                  </a:lnTo>
                  <a:lnTo>
                    <a:pt x="0" y="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42" name="Freeform 402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7324973" y="4570413"/>
              <a:ext cx="65088" cy="26987"/>
            </a:xfrm>
            <a:custGeom>
              <a:avLst/>
              <a:gdLst>
                <a:gd name="T0" fmla="*/ 0 w 44"/>
                <a:gd name="T1" fmla="*/ 2147483647 h 35"/>
                <a:gd name="T2" fmla="*/ 2147483647 w 44"/>
                <a:gd name="T3" fmla="*/ 0 h 35"/>
                <a:gd name="T4" fmla="*/ 2147483647 w 44"/>
                <a:gd name="T5" fmla="*/ 2147483647 h 35"/>
                <a:gd name="T6" fmla="*/ 0 w 4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4" h="35">
                  <a:moveTo>
                    <a:pt x="0" y="12"/>
                  </a:moveTo>
                  <a:lnTo>
                    <a:pt x="26" y="0"/>
                  </a:lnTo>
                  <a:lnTo>
                    <a:pt x="44" y="3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43" name="Freeform 403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7324973" y="4570413"/>
              <a:ext cx="65088" cy="26987"/>
            </a:xfrm>
            <a:custGeom>
              <a:avLst/>
              <a:gdLst>
                <a:gd name="T0" fmla="*/ 0 w 44"/>
                <a:gd name="T1" fmla="*/ 2147483647 h 35"/>
                <a:gd name="T2" fmla="*/ 2147483647 w 44"/>
                <a:gd name="T3" fmla="*/ 0 h 35"/>
                <a:gd name="T4" fmla="*/ 2147483647 w 44"/>
                <a:gd name="T5" fmla="*/ 2147483647 h 35"/>
                <a:gd name="T6" fmla="*/ 0 w 4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4" h="35">
                  <a:moveTo>
                    <a:pt x="0" y="12"/>
                  </a:moveTo>
                  <a:lnTo>
                    <a:pt x="26" y="0"/>
                  </a:lnTo>
                  <a:lnTo>
                    <a:pt x="44" y="35"/>
                  </a:lnTo>
                  <a:lnTo>
                    <a:pt x="0" y="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44" name="Freeform 404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7390061" y="4510088"/>
              <a:ext cx="238125" cy="222250"/>
            </a:xfrm>
            <a:custGeom>
              <a:avLst/>
              <a:gdLst>
                <a:gd name="T0" fmla="*/ 0 w 162"/>
                <a:gd name="T1" fmla="*/ 2147483647 h 281"/>
                <a:gd name="T2" fmla="*/ 2147483647 w 162"/>
                <a:gd name="T3" fmla="*/ 2147483647 h 281"/>
                <a:gd name="T4" fmla="*/ 2147483647 w 162"/>
                <a:gd name="T5" fmla="*/ 2147483647 h 281"/>
                <a:gd name="T6" fmla="*/ 2147483647 w 162"/>
                <a:gd name="T7" fmla="*/ 2147483647 h 281"/>
                <a:gd name="T8" fmla="*/ 2147483647 w 162"/>
                <a:gd name="T9" fmla="*/ 2147483647 h 281"/>
                <a:gd name="T10" fmla="*/ 2147483647 w 162"/>
                <a:gd name="T11" fmla="*/ 2147483647 h 281"/>
                <a:gd name="T12" fmla="*/ 2147483647 w 162"/>
                <a:gd name="T13" fmla="*/ 2147483647 h 281"/>
                <a:gd name="T14" fmla="*/ 2147483647 w 162"/>
                <a:gd name="T15" fmla="*/ 2147483647 h 281"/>
                <a:gd name="T16" fmla="*/ 2147483647 w 162"/>
                <a:gd name="T17" fmla="*/ 2147483647 h 281"/>
                <a:gd name="T18" fmla="*/ 2147483647 w 162"/>
                <a:gd name="T19" fmla="*/ 2147483647 h 281"/>
                <a:gd name="T20" fmla="*/ 2147483647 w 162"/>
                <a:gd name="T21" fmla="*/ 2147483647 h 281"/>
                <a:gd name="T22" fmla="*/ 2147483647 w 162"/>
                <a:gd name="T23" fmla="*/ 2147483647 h 281"/>
                <a:gd name="T24" fmla="*/ 2147483647 w 162"/>
                <a:gd name="T25" fmla="*/ 2147483647 h 281"/>
                <a:gd name="T26" fmla="*/ 2147483647 w 162"/>
                <a:gd name="T27" fmla="*/ 2147483647 h 281"/>
                <a:gd name="T28" fmla="*/ 2147483647 w 162"/>
                <a:gd name="T29" fmla="*/ 2147483647 h 281"/>
                <a:gd name="T30" fmla="*/ 2147483647 w 162"/>
                <a:gd name="T31" fmla="*/ 2147483647 h 281"/>
                <a:gd name="T32" fmla="*/ 2147483647 w 162"/>
                <a:gd name="T33" fmla="*/ 2147483647 h 281"/>
                <a:gd name="T34" fmla="*/ 2147483647 w 162"/>
                <a:gd name="T35" fmla="*/ 2147483647 h 281"/>
                <a:gd name="T36" fmla="*/ 2147483647 w 162"/>
                <a:gd name="T37" fmla="*/ 0 h 281"/>
                <a:gd name="T38" fmla="*/ 0 w 162"/>
                <a:gd name="T39" fmla="*/ 2147483647 h 28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2" h="281">
                  <a:moveTo>
                    <a:pt x="0" y="33"/>
                  </a:moveTo>
                  <a:lnTo>
                    <a:pt x="24" y="56"/>
                  </a:lnTo>
                  <a:lnTo>
                    <a:pt x="50" y="56"/>
                  </a:lnTo>
                  <a:lnTo>
                    <a:pt x="19" y="79"/>
                  </a:lnTo>
                  <a:lnTo>
                    <a:pt x="37" y="123"/>
                  </a:lnTo>
                  <a:lnTo>
                    <a:pt x="50" y="79"/>
                  </a:lnTo>
                  <a:lnTo>
                    <a:pt x="56" y="123"/>
                  </a:lnTo>
                  <a:lnTo>
                    <a:pt x="119" y="158"/>
                  </a:lnTo>
                  <a:lnTo>
                    <a:pt x="131" y="235"/>
                  </a:lnTo>
                  <a:lnTo>
                    <a:pt x="119" y="223"/>
                  </a:lnTo>
                  <a:lnTo>
                    <a:pt x="112" y="258"/>
                  </a:lnTo>
                  <a:lnTo>
                    <a:pt x="143" y="246"/>
                  </a:lnTo>
                  <a:lnTo>
                    <a:pt x="162" y="281"/>
                  </a:lnTo>
                  <a:lnTo>
                    <a:pt x="162" y="68"/>
                  </a:lnTo>
                  <a:lnTo>
                    <a:pt x="112" y="33"/>
                  </a:lnTo>
                  <a:lnTo>
                    <a:pt x="74" y="89"/>
                  </a:lnTo>
                  <a:lnTo>
                    <a:pt x="56" y="68"/>
                  </a:lnTo>
                  <a:lnTo>
                    <a:pt x="50" y="12"/>
                  </a:lnTo>
                  <a:lnTo>
                    <a:pt x="24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45" name="Freeform 405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7390061" y="4510088"/>
              <a:ext cx="238125" cy="222250"/>
            </a:xfrm>
            <a:custGeom>
              <a:avLst/>
              <a:gdLst>
                <a:gd name="T0" fmla="*/ 0 w 162"/>
                <a:gd name="T1" fmla="*/ 2147483647 h 281"/>
                <a:gd name="T2" fmla="*/ 2147483647 w 162"/>
                <a:gd name="T3" fmla="*/ 2147483647 h 281"/>
                <a:gd name="T4" fmla="*/ 2147483647 w 162"/>
                <a:gd name="T5" fmla="*/ 2147483647 h 281"/>
                <a:gd name="T6" fmla="*/ 2147483647 w 162"/>
                <a:gd name="T7" fmla="*/ 2147483647 h 281"/>
                <a:gd name="T8" fmla="*/ 2147483647 w 162"/>
                <a:gd name="T9" fmla="*/ 2147483647 h 281"/>
                <a:gd name="T10" fmla="*/ 2147483647 w 162"/>
                <a:gd name="T11" fmla="*/ 2147483647 h 281"/>
                <a:gd name="T12" fmla="*/ 2147483647 w 162"/>
                <a:gd name="T13" fmla="*/ 2147483647 h 281"/>
                <a:gd name="T14" fmla="*/ 2147483647 w 162"/>
                <a:gd name="T15" fmla="*/ 2147483647 h 281"/>
                <a:gd name="T16" fmla="*/ 2147483647 w 162"/>
                <a:gd name="T17" fmla="*/ 2147483647 h 281"/>
                <a:gd name="T18" fmla="*/ 2147483647 w 162"/>
                <a:gd name="T19" fmla="*/ 2147483647 h 281"/>
                <a:gd name="T20" fmla="*/ 2147483647 w 162"/>
                <a:gd name="T21" fmla="*/ 2147483647 h 281"/>
                <a:gd name="T22" fmla="*/ 2147483647 w 162"/>
                <a:gd name="T23" fmla="*/ 2147483647 h 281"/>
                <a:gd name="T24" fmla="*/ 2147483647 w 162"/>
                <a:gd name="T25" fmla="*/ 2147483647 h 281"/>
                <a:gd name="T26" fmla="*/ 2147483647 w 162"/>
                <a:gd name="T27" fmla="*/ 2147483647 h 281"/>
                <a:gd name="T28" fmla="*/ 2147483647 w 162"/>
                <a:gd name="T29" fmla="*/ 2147483647 h 281"/>
                <a:gd name="T30" fmla="*/ 2147483647 w 162"/>
                <a:gd name="T31" fmla="*/ 2147483647 h 281"/>
                <a:gd name="T32" fmla="*/ 2147483647 w 162"/>
                <a:gd name="T33" fmla="*/ 2147483647 h 281"/>
                <a:gd name="T34" fmla="*/ 2147483647 w 162"/>
                <a:gd name="T35" fmla="*/ 2147483647 h 281"/>
                <a:gd name="T36" fmla="*/ 2147483647 w 162"/>
                <a:gd name="T37" fmla="*/ 0 h 281"/>
                <a:gd name="T38" fmla="*/ 0 w 162"/>
                <a:gd name="T39" fmla="*/ 2147483647 h 28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2" h="281">
                  <a:moveTo>
                    <a:pt x="0" y="33"/>
                  </a:moveTo>
                  <a:lnTo>
                    <a:pt x="24" y="56"/>
                  </a:lnTo>
                  <a:lnTo>
                    <a:pt x="50" y="56"/>
                  </a:lnTo>
                  <a:lnTo>
                    <a:pt x="19" y="79"/>
                  </a:lnTo>
                  <a:lnTo>
                    <a:pt x="37" y="123"/>
                  </a:lnTo>
                  <a:lnTo>
                    <a:pt x="50" y="79"/>
                  </a:lnTo>
                  <a:lnTo>
                    <a:pt x="56" y="123"/>
                  </a:lnTo>
                  <a:lnTo>
                    <a:pt x="119" y="158"/>
                  </a:lnTo>
                  <a:lnTo>
                    <a:pt x="131" y="235"/>
                  </a:lnTo>
                  <a:lnTo>
                    <a:pt x="119" y="223"/>
                  </a:lnTo>
                  <a:lnTo>
                    <a:pt x="112" y="258"/>
                  </a:lnTo>
                  <a:lnTo>
                    <a:pt x="143" y="246"/>
                  </a:lnTo>
                  <a:lnTo>
                    <a:pt x="162" y="281"/>
                  </a:lnTo>
                  <a:lnTo>
                    <a:pt x="162" y="68"/>
                  </a:lnTo>
                  <a:lnTo>
                    <a:pt x="112" y="33"/>
                  </a:lnTo>
                  <a:lnTo>
                    <a:pt x="74" y="89"/>
                  </a:lnTo>
                  <a:lnTo>
                    <a:pt x="56" y="68"/>
                  </a:lnTo>
                  <a:lnTo>
                    <a:pt x="50" y="12"/>
                  </a:lnTo>
                  <a:lnTo>
                    <a:pt x="24" y="0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46" name="Freeform 406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7390061" y="4510088"/>
              <a:ext cx="238125" cy="222250"/>
            </a:xfrm>
            <a:custGeom>
              <a:avLst/>
              <a:gdLst>
                <a:gd name="T0" fmla="*/ 0 w 162"/>
                <a:gd name="T1" fmla="*/ 2147483647 h 281"/>
                <a:gd name="T2" fmla="*/ 2147483647 w 162"/>
                <a:gd name="T3" fmla="*/ 2147483647 h 281"/>
                <a:gd name="T4" fmla="*/ 2147483647 w 162"/>
                <a:gd name="T5" fmla="*/ 2147483647 h 281"/>
                <a:gd name="T6" fmla="*/ 2147483647 w 162"/>
                <a:gd name="T7" fmla="*/ 2147483647 h 281"/>
                <a:gd name="T8" fmla="*/ 2147483647 w 162"/>
                <a:gd name="T9" fmla="*/ 2147483647 h 281"/>
                <a:gd name="T10" fmla="*/ 2147483647 w 162"/>
                <a:gd name="T11" fmla="*/ 2147483647 h 281"/>
                <a:gd name="T12" fmla="*/ 2147483647 w 162"/>
                <a:gd name="T13" fmla="*/ 2147483647 h 281"/>
                <a:gd name="T14" fmla="*/ 2147483647 w 162"/>
                <a:gd name="T15" fmla="*/ 2147483647 h 281"/>
                <a:gd name="T16" fmla="*/ 2147483647 w 162"/>
                <a:gd name="T17" fmla="*/ 2147483647 h 281"/>
                <a:gd name="T18" fmla="*/ 2147483647 w 162"/>
                <a:gd name="T19" fmla="*/ 2147483647 h 281"/>
                <a:gd name="T20" fmla="*/ 2147483647 w 162"/>
                <a:gd name="T21" fmla="*/ 2147483647 h 281"/>
                <a:gd name="T22" fmla="*/ 2147483647 w 162"/>
                <a:gd name="T23" fmla="*/ 2147483647 h 281"/>
                <a:gd name="T24" fmla="*/ 2147483647 w 162"/>
                <a:gd name="T25" fmla="*/ 2147483647 h 281"/>
                <a:gd name="T26" fmla="*/ 2147483647 w 162"/>
                <a:gd name="T27" fmla="*/ 2147483647 h 281"/>
                <a:gd name="T28" fmla="*/ 2147483647 w 162"/>
                <a:gd name="T29" fmla="*/ 2147483647 h 281"/>
                <a:gd name="T30" fmla="*/ 2147483647 w 162"/>
                <a:gd name="T31" fmla="*/ 2147483647 h 281"/>
                <a:gd name="T32" fmla="*/ 2147483647 w 162"/>
                <a:gd name="T33" fmla="*/ 2147483647 h 281"/>
                <a:gd name="T34" fmla="*/ 2147483647 w 162"/>
                <a:gd name="T35" fmla="*/ 2147483647 h 281"/>
                <a:gd name="T36" fmla="*/ 2147483647 w 162"/>
                <a:gd name="T37" fmla="*/ 0 h 281"/>
                <a:gd name="T38" fmla="*/ 0 w 162"/>
                <a:gd name="T39" fmla="*/ 2147483647 h 28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2" h="281">
                  <a:moveTo>
                    <a:pt x="0" y="33"/>
                  </a:moveTo>
                  <a:lnTo>
                    <a:pt x="24" y="56"/>
                  </a:lnTo>
                  <a:lnTo>
                    <a:pt x="50" y="56"/>
                  </a:lnTo>
                  <a:lnTo>
                    <a:pt x="19" y="79"/>
                  </a:lnTo>
                  <a:lnTo>
                    <a:pt x="37" y="123"/>
                  </a:lnTo>
                  <a:lnTo>
                    <a:pt x="50" y="79"/>
                  </a:lnTo>
                  <a:lnTo>
                    <a:pt x="56" y="123"/>
                  </a:lnTo>
                  <a:lnTo>
                    <a:pt x="119" y="158"/>
                  </a:lnTo>
                  <a:lnTo>
                    <a:pt x="131" y="235"/>
                  </a:lnTo>
                  <a:lnTo>
                    <a:pt x="119" y="223"/>
                  </a:lnTo>
                  <a:lnTo>
                    <a:pt x="112" y="258"/>
                  </a:lnTo>
                  <a:lnTo>
                    <a:pt x="143" y="246"/>
                  </a:lnTo>
                  <a:lnTo>
                    <a:pt x="162" y="281"/>
                  </a:lnTo>
                  <a:lnTo>
                    <a:pt x="162" y="68"/>
                  </a:lnTo>
                  <a:lnTo>
                    <a:pt x="112" y="33"/>
                  </a:lnTo>
                  <a:lnTo>
                    <a:pt x="74" y="89"/>
                  </a:lnTo>
                  <a:lnTo>
                    <a:pt x="56" y="68"/>
                  </a:lnTo>
                  <a:lnTo>
                    <a:pt x="50" y="12"/>
                  </a:lnTo>
                  <a:lnTo>
                    <a:pt x="24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47" name="Freeform 407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7390061" y="4510088"/>
              <a:ext cx="238125" cy="222250"/>
            </a:xfrm>
            <a:custGeom>
              <a:avLst/>
              <a:gdLst>
                <a:gd name="T0" fmla="*/ 0 w 162"/>
                <a:gd name="T1" fmla="*/ 2147483647 h 281"/>
                <a:gd name="T2" fmla="*/ 2147483647 w 162"/>
                <a:gd name="T3" fmla="*/ 2147483647 h 281"/>
                <a:gd name="T4" fmla="*/ 2147483647 w 162"/>
                <a:gd name="T5" fmla="*/ 2147483647 h 281"/>
                <a:gd name="T6" fmla="*/ 2147483647 w 162"/>
                <a:gd name="T7" fmla="*/ 2147483647 h 281"/>
                <a:gd name="T8" fmla="*/ 2147483647 w 162"/>
                <a:gd name="T9" fmla="*/ 2147483647 h 281"/>
                <a:gd name="T10" fmla="*/ 2147483647 w 162"/>
                <a:gd name="T11" fmla="*/ 2147483647 h 281"/>
                <a:gd name="T12" fmla="*/ 2147483647 w 162"/>
                <a:gd name="T13" fmla="*/ 2147483647 h 281"/>
                <a:gd name="T14" fmla="*/ 2147483647 w 162"/>
                <a:gd name="T15" fmla="*/ 2147483647 h 281"/>
                <a:gd name="T16" fmla="*/ 2147483647 w 162"/>
                <a:gd name="T17" fmla="*/ 2147483647 h 281"/>
                <a:gd name="T18" fmla="*/ 2147483647 w 162"/>
                <a:gd name="T19" fmla="*/ 2147483647 h 281"/>
                <a:gd name="T20" fmla="*/ 2147483647 w 162"/>
                <a:gd name="T21" fmla="*/ 2147483647 h 281"/>
                <a:gd name="T22" fmla="*/ 2147483647 w 162"/>
                <a:gd name="T23" fmla="*/ 2147483647 h 281"/>
                <a:gd name="T24" fmla="*/ 2147483647 w 162"/>
                <a:gd name="T25" fmla="*/ 2147483647 h 281"/>
                <a:gd name="T26" fmla="*/ 2147483647 w 162"/>
                <a:gd name="T27" fmla="*/ 2147483647 h 281"/>
                <a:gd name="T28" fmla="*/ 2147483647 w 162"/>
                <a:gd name="T29" fmla="*/ 2147483647 h 281"/>
                <a:gd name="T30" fmla="*/ 2147483647 w 162"/>
                <a:gd name="T31" fmla="*/ 2147483647 h 281"/>
                <a:gd name="T32" fmla="*/ 2147483647 w 162"/>
                <a:gd name="T33" fmla="*/ 2147483647 h 281"/>
                <a:gd name="T34" fmla="*/ 2147483647 w 162"/>
                <a:gd name="T35" fmla="*/ 2147483647 h 281"/>
                <a:gd name="T36" fmla="*/ 2147483647 w 162"/>
                <a:gd name="T37" fmla="*/ 0 h 281"/>
                <a:gd name="T38" fmla="*/ 0 w 162"/>
                <a:gd name="T39" fmla="*/ 2147483647 h 28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2" h="281">
                  <a:moveTo>
                    <a:pt x="0" y="33"/>
                  </a:moveTo>
                  <a:lnTo>
                    <a:pt x="24" y="56"/>
                  </a:lnTo>
                  <a:lnTo>
                    <a:pt x="50" y="56"/>
                  </a:lnTo>
                  <a:lnTo>
                    <a:pt x="19" y="79"/>
                  </a:lnTo>
                  <a:lnTo>
                    <a:pt x="37" y="123"/>
                  </a:lnTo>
                  <a:lnTo>
                    <a:pt x="50" y="79"/>
                  </a:lnTo>
                  <a:lnTo>
                    <a:pt x="56" y="123"/>
                  </a:lnTo>
                  <a:lnTo>
                    <a:pt x="119" y="158"/>
                  </a:lnTo>
                  <a:lnTo>
                    <a:pt x="131" y="235"/>
                  </a:lnTo>
                  <a:lnTo>
                    <a:pt x="119" y="223"/>
                  </a:lnTo>
                  <a:lnTo>
                    <a:pt x="112" y="258"/>
                  </a:lnTo>
                  <a:lnTo>
                    <a:pt x="143" y="246"/>
                  </a:lnTo>
                  <a:lnTo>
                    <a:pt x="162" y="281"/>
                  </a:lnTo>
                  <a:lnTo>
                    <a:pt x="162" y="68"/>
                  </a:lnTo>
                  <a:lnTo>
                    <a:pt x="112" y="33"/>
                  </a:lnTo>
                  <a:lnTo>
                    <a:pt x="74" y="89"/>
                  </a:lnTo>
                  <a:lnTo>
                    <a:pt x="56" y="68"/>
                  </a:lnTo>
                  <a:lnTo>
                    <a:pt x="50" y="12"/>
                  </a:lnTo>
                  <a:lnTo>
                    <a:pt x="24" y="0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48" name="Freeform 408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7399586" y="4676775"/>
              <a:ext cx="25400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0 h 34"/>
                <a:gd name="T4" fmla="*/ 2147483647 w 18"/>
                <a:gd name="T5" fmla="*/ 2147483647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34"/>
                  </a:moveTo>
                  <a:lnTo>
                    <a:pt x="12" y="0"/>
                  </a:lnTo>
                  <a:lnTo>
                    <a:pt x="18" y="23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49" name="Freeform 409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399586" y="4676775"/>
              <a:ext cx="25400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0 h 34"/>
                <a:gd name="T4" fmla="*/ 2147483647 w 18"/>
                <a:gd name="T5" fmla="*/ 2147483647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34"/>
                  </a:moveTo>
                  <a:lnTo>
                    <a:pt x="12" y="0"/>
                  </a:lnTo>
                  <a:lnTo>
                    <a:pt x="18" y="23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50" name="Freeform 410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7399586" y="4676775"/>
              <a:ext cx="25400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0 h 34"/>
                <a:gd name="T4" fmla="*/ 2147483647 w 18"/>
                <a:gd name="T5" fmla="*/ 2147483647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34"/>
                  </a:moveTo>
                  <a:lnTo>
                    <a:pt x="12" y="0"/>
                  </a:lnTo>
                  <a:lnTo>
                    <a:pt x="18" y="23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51" name="Freeform 411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7399586" y="4676775"/>
              <a:ext cx="25400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0 h 34"/>
                <a:gd name="T4" fmla="*/ 2147483647 w 18"/>
                <a:gd name="T5" fmla="*/ 2147483647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34"/>
                  </a:moveTo>
                  <a:lnTo>
                    <a:pt x="12" y="0"/>
                  </a:lnTo>
                  <a:lnTo>
                    <a:pt x="18" y="23"/>
                  </a:lnTo>
                  <a:lnTo>
                    <a:pt x="0" y="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52" name="Freeform 412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5419973" y="3432175"/>
              <a:ext cx="430213" cy="414338"/>
            </a:xfrm>
            <a:custGeom>
              <a:avLst/>
              <a:gdLst>
                <a:gd name="T0" fmla="*/ 0 w 294"/>
                <a:gd name="T1" fmla="*/ 2147483647 h 522"/>
                <a:gd name="T2" fmla="*/ 2147483647 w 294"/>
                <a:gd name="T3" fmla="*/ 0 h 522"/>
                <a:gd name="T4" fmla="*/ 2147483647 w 294"/>
                <a:gd name="T5" fmla="*/ 2147483647 h 522"/>
                <a:gd name="T6" fmla="*/ 2147483647 w 294"/>
                <a:gd name="T7" fmla="*/ 2147483647 h 522"/>
                <a:gd name="T8" fmla="*/ 2147483647 w 294"/>
                <a:gd name="T9" fmla="*/ 2147483647 h 522"/>
                <a:gd name="T10" fmla="*/ 2147483647 w 294"/>
                <a:gd name="T11" fmla="*/ 2147483647 h 522"/>
                <a:gd name="T12" fmla="*/ 2147483647 w 294"/>
                <a:gd name="T13" fmla="*/ 2147483647 h 522"/>
                <a:gd name="T14" fmla="*/ 2147483647 w 294"/>
                <a:gd name="T15" fmla="*/ 2147483647 h 522"/>
                <a:gd name="T16" fmla="*/ 2147483647 w 294"/>
                <a:gd name="T17" fmla="*/ 2147483647 h 522"/>
                <a:gd name="T18" fmla="*/ 2147483647 w 294"/>
                <a:gd name="T19" fmla="*/ 2147483647 h 522"/>
                <a:gd name="T20" fmla="*/ 2147483647 w 294"/>
                <a:gd name="T21" fmla="*/ 2147483647 h 522"/>
                <a:gd name="T22" fmla="*/ 2147483647 w 294"/>
                <a:gd name="T23" fmla="*/ 2147483647 h 522"/>
                <a:gd name="T24" fmla="*/ 2147483647 w 294"/>
                <a:gd name="T25" fmla="*/ 2147483647 h 522"/>
                <a:gd name="T26" fmla="*/ 2147483647 w 294"/>
                <a:gd name="T27" fmla="*/ 2147483647 h 522"/>
                <a:gd name="T28" fmla="*/ 2147483647 w 294"/>
                <a:gd name="T29" fmla="*/ 2147483647 h 522"/>
                <a:gd name="T30" fmla="*/ 2147483647 w 294"/>
                <a:gd name="T31" fmla="*/ 2147483647 h 522"/>
                <a:gd name="T32" fmla="*/ 2147483647 w 294"/>
                <a:gd name="T33" fmla="*/ 2147483647 h 522"/>
                <a:gd name="T34" fmla="*/ 2147483647 w 294"/>
                <a:gd name="T35" fmla="*/ 2147483647 h 522"/>
                <a:gd name="T36" fmla="*/ 2147483647 w 294"/>
                <a:gd name="T37" fmla="*/ 2147483647 h 522"/>
                <a:gd name="T38" fmla="*/ 2147483647 w 294"/>
                <a:gd name="T39" fmla="*/ 2147483647 h 522"/>
                <a:gd name="T40" fmla="*/ 2147483647 w 294"/>
                <a:gd name="T41" fmla="*/ 2147483647 h 522"/>
                <a:gd name="T42" fmla="*/ 2147483647 w 294"/>
                <a:gd name="T43" fmla="*/ 2147483647 h 522"/>
                <a:gd name="T44" fmla="*/ 2147483647 w 294"/>
                <a:gd name="T45" fmla="*/ 2147483647 h 522"/>
                <a:gd name="T46" fmla="*/ 2147483647 w 294"/>
                <a:gd name="T47" fmla="*/ 2147483647 h 522"/>
                <a:gd name="T48" fmla="*/ 2147483647 w 294"/>
                <a:gd name="T49" fmla="*/ 2147483647 h 522"/>
                <a:gd name="T50" fmla="*/ 2147483647 w 294"/>
                <a:gd name="T51" fmla="*/ 2147483647 h 522"/>
                <a:gd name="T52" fmla="*/ 2147483647 w 294"/>
                <a:gd name="T53" fmla="*/ 2147483647 h 522"/>
                <a:gd name="T54" fmla="*/ 2147483647 w 294"/>
                <a:gd name="T55" fmla="*/ 2147483647 h 522"/>
                <a:gd name="T56" fmla="*/ 2147483647 w 294"/>
                <a:gd name="T57" fmla="*/ 2147483647 h 522"/>
                <a:gd name="T58" fmla="*/ 2147483647 w 294"/>
                <a:gd name="T59" fmla="*/ 2147483647 h 522"/>
                <a:gd name="T60" fmla="*/ 2147483647 w 294"/>
                <a:gd name="T61" fmla="*/ 2147483647 h 522"/>
                <a:gd name="T62" fmla="*/ 0 w 294"/>
                <a:gd name="T63" fmla="*/ 2147483647 h 5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4" h="522">
                  <a:moveTo>
                    <a:pt x="0" y="23"/>
                  </a:moveTo>
                  <a:lnTo>
                    <a:pt x="7" y="0"/>
                  </a:lnTo>
                  <a:lnTo>
                    <a:pt x="31" y="46"/>
                  </a:lnTo>
                  <a:lnTo>
                    <a:pt x="57" y="11"/>
                  </a:lnTo>
                  <a:lnTo>
                    <a:pt x="57" y="46"/>
                  </a:lnTo>
                  <a:lnTo>
                    <a:pt x="76" y="55"/>
                  </a:lnTo>
                  <a:lnTo>
                    <a:pt x="76" y="90"/>
                  </a:lnTo>
                  <a:lnTo>
                    <a:pt x="119" y="122"/>
                  </a:lnTo>
                  <a:lnTo>
                    <a:pt x="156" y="111"/>
                  </a:lnTo>
                  <a:lnTo>
                    <a:pt x="150" y="90"/>
                  </a:lnTo>
                  <a:lnTo>
                    <a:pt x="201" y="55"/>
                  </a:lnTo>
                  <a:lnTo>
                    <a:pt x="262" y="122"/>
                  </a:lnTo>
                  <a:lnTo>
                    <a:pt x="262" y="155"/>
                  </a:lnTo>
                  <a:lnTo>
                    <a:pt x="251" y="213"/>
                  </a:lnTo>
                  <a:lnTo>
                    <a:pt x="256" y="288"/>
                  </a:lnTo>
                  <a:lnTo>
                    <a:pt x="270" y="322"/>
                  </a:lnTo>
                  <a:lnTo>
                    <a:pt x="256" y="366"/>
                  </a:lnTo>
                  <a:lnTo>
                    <a:pt x="294" y="455"/>
                  </a:lnTo>
                  <a:lnTo>
                    <a:pt x="270" y="522"/>
                  </a:lnTo>
                  <a:lnTo>
                    <a:pt x="201" y="499"/>
                  </a:lnTo>
                  <a:lnTo>
                    <a:pt x="187" y="455"/>
                  </a:lnTo>
                  <a:lnTo>
                    <a:pt x="145" y="468"/>
                  </a:lnTo>
                  <a:lnTo>
                    <a:pt x="113" y="434"/>
                  </a:lnTo>
                  <a:lnTo>
                    <a:pt x="87" y="355"/>
                  </a:lnTo>
                  <a:lnTo>
                    <a:pt x="69" y="345"/>
                  </a:lnTo>
                  <a:lnTo>
                    <a:pt x="69" y="355"/>
                  </a:lnTo>
                  <a:lnTo>
                    <a:pt x="45" y="266"/>
                  </a:lnTo>
                  <a:lnTo>
                    <a:pt x="19" y="222"/>
                  </a:lnTo>
                  <a:lnTo>
                    <a:pt x="31" y="155"/>
                  </a:lnTo>
                  <a:lnTo>
                    <a:pt x="19" y="144"/>
                  </a:lnTo>
                  <a:lnTo>
                    <a:pt x="7" y="99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53" name="Freeform 413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5419973" y="3432175"/>
              <a:ext cx="430213" cy="414338"/>
            </a:xfrm>
            <a:custGeom>
              <a:avLst/>
              <a:gdLst>
                <a:gd name="T0" fmla="*/ 0 w 294"/>
                <a:gd name="T1" fmla="*/ 2147483647 h 522"/>
                <a:gd name="T2" fmla="*/ 2147483647 w 294"/>
                <a:gd name="T3" fmla="*/ 0 h 522"/>
                <a:gd name="T4" fmla="*/ 2147483647 w 294"/>
                <a:gd name="T5" fmla="*/ 2147483647 h 522"/>
                <a:gd name="T6" fmla="*/ 2147483647 w 294"/>
                <a:gd name="T7" fmla="*/ 2147483647 h 522"/>
                <a:gd name="T8" fmla="*/ 2147483647 w 294"/>
                <a:gd name="T9" fmla="*/ 2147483647 h 522"/>
                <a:gd name="T10" fmla="*/ 2147483647 w 294"/>
                <a:gd name="T11" fmla="*/ 2147483647 h 522"/>
                <a:gd name="T12" fmla="*/ 2147483647 w 294"/>
                <a:gd name="T13" fmla="*/ 2147483647 h 522"/>
                <a:gd name="T14" fmla="*/ 2147483647 w 294"/>
                <a:gd name="T15" fmla="*/ 2147483647 h 522"/>
                <a:gd name="T16" fmla="*/ 2147483647 w 294"/>
                <a:gd name="T17" fmla="*/ 2147483647 h 522"/>
                <a:gd name="T18" fmla="*/ 2147483647 w 294"/>
                <a:gd name="T19" fmla="*/ 2147483647 h 522"/>
                <a:gd name="T20" fmla="*/ 2147483647 w 294"/>
                <a:gd name="T21" fmla="*/ 2147483647 h 522"/>
                <a:gd name="T22" fmla="*/ 2147483647 w 294"/>
                <a:gd name="T23" fmla="*/ 2147483647 h 522"/>
                <a:gd name="T24" fmla="*/ 2147483647 w 294"/>
                <a:gd name="T25" fmla="*/ 2147483647 h 522"/>
                <a:gd name="T26" fmla="*/ 2147483647 w 294"/>
                <a:gd name="T27" fmla="*/ 2147483647 h 522"/>
                <a:gd name="T28" fmla="*/ 2147483647 w 294"/>
                <a:gd name="T29" fmla="*/ 2147483647 h 522"/>
                <a:gd name="T30" fmla="*/ 2147483647 w 294"/>
                <a:gd name="T31" fmla="*/ 2147483647 h 522"/>
                <a:gd name="T32" fmla="*/ 2147483647 w 294"/>
                <a:gd name="T33" fmla="*/ 2147483647 h 522"/>
                <a:gd name="T34" fmla="*/ 2147483647 w 294"/>
                <a:gd name="T35" fmla="*/ 2147483647 h 522"/>
                <a:gd name="T36" fmla="*/ 2147483647 w 294"/>
                <a:gd name="T37" fmla="*/ 2147483647 h 522"/>
                <a:gd name="T38" fmla="*/ 2147483647 w 294"/>
                <a:gd name="T39" fmla="*/ 2147483647 h 522"/>
                <a:gd name="T40" fmla="*/ 2147483647 w 294"/>
                <a:gd name="T41" fmla="*/ 2147483647 h 522"/>
                <a:gd name="T42" fmla="*/ 2147483647 w 294"/>
                <a:gd name="T43" fmla="*/ 2147483647 h 522"/>
                <a:gd name="T44" fmla="*/ 2147483647 w 294"/>
                <a:gd name="T45" fmla="*/ 2147483647 h 522"/>
                <a:gd name="T46" fmla="*/ 2147483647 w 294"/>
                <a:gd name="T47" fmla="*/ 2147483647 h 522"/>
                <a:gd name="T48" fmla="*/ 2147483647 w 294"/>
                <a:gd name="T49" fmla="*/ 2147483647 h 522"/>
                <a:gd name="T50" fmla="*/ 2147483647 w 294"/>
                <a:gd name="T51" fmla="*/ 2147483647 h 522"/>
                <a:gd name="T52" fmla="*/ 2147483647 w 294"/>
                <a:gd name="T53" fmla="*/ 2147483647 h 522"/>
                <a:gd name="T54" fmla="*/ 2147483647 w 294"/>
                <a:gd name="T55" fmla="*/ 2147483647 h 522"/>
                <a:gd name="T56" fmla="*/ 2147483647 w 294"/>
                <a:gd name="T57" fmla="*/ 2147483647 h 522"/>
                <a:gd name="T58" fmla="*/ 2147483647 w 294"/>
                <a:gd name="T59" fmla="*/ 2147483647 h 522"/>
                <a:gd name="T60" fmla="*/ 2147483647 w 294"/>
                <a:gd name="T61" fmla="*/ 2147483647 h 522"/>
                <a:gd name="T62" fmla="*/ 0 w 294"/>
                <a:gd name="T63" fmla="*/ 2147483647 h 5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4" h="522">
                  <a:moveTo>
                    <a:pt x="0" y="23"/>
                  </a:moveTo>
                  <a:lnTo>
                    <a:pt x="7" y="0"/>
                  </a:lnTo>
                  <a:lnTo>
                    <a:pt x="31" y="46"/>
                  </a:lnTo>
                  <a:lnTo>
                    <a:pt x="57" y="11"/>
                  </a:lnTo>
                  <a:lnTo>
                    <a:pt x="57" y="46"/>
                  </a:lnTo>
                  <a:lnTo>
                    <a:pt x="76" y="55"/>
                  </a:lnTo>
                  <a:lnTo>
                    <a:pt x="76" y="90"/>
                  </a:lnTo>
                  <a:lnTo>
                    <a:pt x="119" y="122"/>
                  </a:lnTo>
                  <a:lnTo>
                    <a:pt x="156" y="111"/>
                  </a:lnTo>
                  <a:lnTo>
                    <a:pt x="150" y="90"/>
                  </a:lnTo>
                  <a:lnTo>
                    <a:pt x="201" y="55"/>
                  </a:lnTo>
                  <a:lnTo>
                    <a:pt x="262" y="122"/>
                  </a:lnTo>
                  <a:lnTo>
                    <a:pt x="262" y="155"/>
                  </a:lnTo>
                  <a:lnTo>
                    <a:pt x="251" y="213"/>
                  </a:lnTo>
                  <a:lnTo>
                    <a:pt x="256" y="288"/>
                  </a:lnTo>
                  <a:lnTo>
                    <a:pt x="270" y="322"/>
                  </a:lnTo>
                  <a:lnTo>
                    <a:pt x="256" y="366"/>
                  </a:lnTo>
                  <a:lnTo>
                    <a:pt x="294" y="455"/>
                  </a:lnTo>
                  <a:lnTo>
                    <a:pt x="270" y="522"/>
                  </a:lnTo>
                  <a:lnTo>
                    <a:pt x="201" y="499"/>
                  </a:lnTo>
                  <a:lnTo>
                    <a:pt x="187" y="455"/>
                  </a:lnTo>
                  <a:lnTo>
                    <a:pt x="145" y="468"/>
                  </a:lnTo>
                  <a:lnTo>
                    <a:pt x="113" y="434"/>
                  </a:lnTo>
                  <a:lnTo>
                    <a:pt x="87" y="355"/>
                  </a:lnTo>
                  <a:lnTo>
                    <a:pt x="69" y="345"/>
                  </a:lnTo>
                  <a:lnTo>
                    <a:pt x="69" y="355"/>
                  </a:lnTo>
                  <a:lnTo>
                    <a:pt x="45" y="266"/>
                  </a:lnTo>
                  <a:lnTo>
                    <a:pt x="19" y="222"/>
                  </a:lnTo>
                  <a:lnTo>
                    <a:pt x="31" y="155"/>
                  </a:lnTo>
                  <a:lnTo>
                    <a:pt x="19" y="144"/>
                  </a:lnTo>
                  <a:lnTo>
                    <a:pt x="7" y="99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54" name="Freeform 414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5419973" y="3432175"/>
              <a:ext cx="430213" cy="414338"/>
            </a:xfrm>
            <a:custGeom>
              <a:avLst/>
              <a:gdLst>
                <a:gd name="T0" fmla="*/ 0 w 294"/>
                <a:gd name="T1" fmla="*/ 2147483647 h 522"/>
                <a:gd name="T2" fmla="*/ 2147483647 w 294"/>
                <a:gd name="T3" fmla="*/ 0 h 522"/>
                <a:gd name="T4" fmla="*/ 2147483647 w 294"/>
                <a:gd name="T5" fmla="*/ 2147483647 h 522"/>
                <a:gd name="T6" fmla="*/ 2147483647 w 294"/>
                <a:gd name="T7" fmla="*/ 2147483647 h 522"/>
                <a:gd name="T8" fmla="*/ 2147483647 w 294"/>
                <a:gd name="T9" fmla="*/ 2147483647 h 522"/>
                <a:gd name="T10" fmla="*/ 2147483647 w 294"/>
                <a:gd name="T11" fmla="*/ 2147483647 h 522"/>
                <a:gd name="T12" fmla="*/ 2147483647 w 294"/>
                <a:gd name="T13" fmla="*/ 2147483647 h 522"/>
                <a:gd name="T14" fmla="*/ 2147483647 w 294"/>
                <a:gd name="T15" fmla="*/ 2147483647 h 522"/>
                <a:gd name="T16" fmla="*/ 2147483647 w 294"/>
                <a:gd name="T17" fmla="*/ 2147483647 h 522"/>
                <a:gd name="T18" fmla="*/ 2147483647 w 294"/>
                <a:gd name="T19" fmla="*/ 2147483647 h 522"/>
                <a:gd name="T20" fmla="*/ 2147483647 w 294"/>
                <a:gd name="T21" fmla="*/ 2147483647 h 522"/>
                <a:gd name="T22" fmla="*/ 2147483647 w 294"/>
                <a:gd name="T23" fmla="*/ 2147483647 h 522"/>
                <a:gd name="T24" fmla="*/ 2147483647 w 294"/>
                <a:gd name="T25" fmla="*/ 2147483647 h 522"/>
                <a:gd name="T26" fmla="*/ 2147483647 w 294"/>
                <a:gd name="T27" fmla="*/ 2147483647 h 522"/>
                <a:gd name="T28" fmla="*/ 2147483647 w 294"/>
                <a:gd name="T29" fmla="*/ 2147483647 h 522"/>
                <a:gd name="T30" fmla="*/ 2147483647 w 294"/>
                <a:gd name="T31" fmla="*/ 2147483647 h 522"/>
                <a:gd name="T32" fmla="*/ 2147483647 w 294"/>
                <a:gd name="T33" fmla="*/ 2147483647 h 522"/>
                <a:gd name="T34" fmla="*/ 2147483647 w 294"/>
                <a:gd name="T35" fmla="*/ 2147483647 h 522"/>
                <a:gd name="T36" fmla="*/ 2147483647 w 294"/>
                <a:gd name="T37" fmla="*/ 2147483647 h 522"/>
                <a:gd name="T38" fmla="*/ 2147483647 w 294"/>
                <a:gd name="T39" fmla="*/ 2147483647 h 522"/>
                <a:gd name="T40" fmla="*/ 2147483647 w 294"/>
                <a:gd name="T41" fmla="*/ 2147483647 h 522"/>
                <a:gd name="T42" fmla="*/ 2147483647 w 294"/>
                <a:gd name="T43" fmla="*/ 2147483647 h 522"/>
                <a:gd name="T44" fmla="*/ 2147483647 w 294"/>
                <a:gd name="T45" fmla="*/ 2147483647 h 522"/>
                <a:gd name="T46" fmla="*/ 2147483647 w 294"/>
                <a:gd name="T47" fmla="*/ 2147483647 h 522"/>
                <a:gd name="T48" fmla="*/ 2147483647 w 294"/>
                <a:gd name="T49" fmla="*/ 2147483647 h 522"/>
                <a:gd name="T50" fmla="*/ 2147483647 w 294"/>
                <a:gd name="T51" fmla="*/ 2147483647 h 522"/>
                <a:gd name="T52" fmla="*/ 2147483647 w 294"/>
                <a:gd name="T53" fmla="*/ 2147483647 h 522"/>
                <a:gd name="T54" fmla="*/ 2147483647 w 294"/>
                <a:gd name="T55" fmla="*/ 2147483647 h 522"/>
                <a:gd name="T56" fmla="*/ 2147483647 w 294"/>
                <a:gd name="T57" fmla="*/ 2147483647 h 522"/>
                <a:gd name="T58" fmla="*/ 2147483647 w 294"/>
                <a:gd name="T59" fmla="*/ 2147483647 h 522"/>
                <a:gd name="T60" fmla="*/ 2147483647 w 294"/>
                <a:gd name="T61" fmla="*/ 2147483647 h 522"/>
                <a:gd name="T62" fmla="*/ 0 w 294"/>
                <a:gd name="T63" fmla="*/ 2147483647 h 5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4" h="522">
                  <a:moveTo>
                    <a:pt x="0" y="23"/>
                  </a:moveTo>
                  <a:lnTo>
                    <a:pt x="7" y="0"/>
                  </a:lnTo>
                  <a:lnTo>
                    <a:pt x="31" y="46"/>
                  </a:lnTo>
                  <a:lnTo>
                    <a:pt x="57" y="11"/>
                  </a:lnTo>
                  <a:lnTo>
                    <a:pt x="57" y="46"/>
                  </a:lnTo>
                  <a:lnTo>
                    <a:pt x="76" y="55"/>
                  </a:lnTo>
                  <a:lnTo>
                    <a:pt x="76" y="90"/>
                  </a:lnTo>
                  <a:lnTo>
                    <a:pt x="119" y="122"/>
                  </a:lnTo>
                  <a:lnTo>
                    <a:pt x="156" y="111"/>
                  </a:lnTo>
                  <a:lnTo>
                    <a:pt x="150" y="90"/>
                  </a:lnTo>
                  <a:lnTo>
                    <a:pt x="201" y="55"/>
                  </a:lnTo>
                  <a:lnTo>
                    <a:pt x="262" y="122"/>
                  </a:lnTo>
                  <a:lnTo>
                    <a:pt x="262" y="155"/>
                  </a:lnTo>
                  <a:lnTo>
                    <a:pt x="251" y="213"/>
                  </a:lnTo>
                  <a:lnTo>
                    <a:pt x="256" y="288"/>
                  </a:lnTo>
                  <a:lnTo>
                    <a:pt x="270" y="322"/>
                  </a:lnTo>
                  <a:lnTo>
                    <a:pt x="256" y="366"/>
                  </a:lnTo>
                  <a:lnTo>
                    <a:pt x="294" y="455"/>
                  </a:lnTo>
                  <a:lnTo>
                    <a:pt x="270" y="522"/>
                  </a:lnTo>
                  <a:lnTo>
                    <a:pt x="201" y="499"/>
                  </a:lnTo>
                  <a:lnTo>
                    <a:pt x="187" y="455"/>
                  </a:lnTo>
                  <a:lnTo>
                    <a:pt x="145" y="468"/>
                  </a:lnTo>
                  <a:lnTo>
                    <a:pt x="113" y="434"/>
                  </a:lnTo>
                  <a:lnTo>
                    <a:pt x="87" y="355"/>
                  </a:lnTo>
                  <a:lnTo>
                    <a:pt x="69" y="345"/>
                  </a:lnTo>
                  <a:lnTo>
                    <a:pt x="69" y="355"/>
                  </a:lnTo>
                  <a:lnTo>
                    <a:pt x="45" y="266"/>
                  </a:lnTo>
                  <a:lnTo>
                    <a:pt x="19" y="222"/>
                  </a:lnTo>
                  <a:lnTo>
                    <a:pt x="31" y="155"/>
                  </a:lnTo>
                  <a:lnTo>
                    <a:pt x="19" y="144"/>
                  </a:lnTo>
                  <a:lnTo>
                    <a:pt x="7" y="99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55" name="Freeform 415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5419973" y="3432175"/>
              <a:ext cx="430213" cy="414338"/>
            </a:xfrm>
            <a:custGeom>
              <a:avLst/>
              <a:gdLst>
                <a:gd name="T0" fmla="*/ 0 w 294"/>
                <a:gd name="T1" fmla="*/ 2147483647 h 522"/>
                <a:gd name="T2" fmla="*/ 2147483647 w 294"/>
                <a:gd name="T3" fmla="*/ 0 h 522"/>
                <a:gd name="T4" fmla="*/ 2147483647 w 294"/>
                <a:gd name="T5" fmla="*/ 2147483647 h 522"/>
                <a:gd name="T6" fmla="*/ 2147483647 w 294"/>
                <a:gd name="T7" fmla="*/ 2147483647 h 522"/>
                <a:gd name="T8" fmla="*/ 2147483647 w 294"/>
                <a:gd name="T9" fmla="*/ 2147483647 h 522"/>
                <a:gd name="T10" fmla="*/ 2147483647 w 294"/>
                <a:gd name="T11" fmla="*/ 2147483647 h 522"/>
                <a:gd name="T12" fmla="*/ 2147483647 w 294"/>
                <a:gd name="T13" fmla="*/ 2147483647 h 522"/>
                <a:gd name="T14" fmla="*/ 2147483647 w 294"/>
                <a:gd name="T15" fmla="*/ 2147483647 h 522"/>
                <a:gd name="T16" fmla="*/ 2147483647 w 294"/>
                <a:gd name="T17" fmla="*/ 2147483647 h 522"/>
                <a:gd name="T18" fmla="*/ 2147483647 w 294"/>
                <a:gd name="T19" fmla="*/ 2147483647 h 522"/>
                <a:gd name="T20" fmla="*/ 2147483647 w 294"/>
                <a:gd name="T21" fmla="*/ 2147483647 h 522"/>
                <a:gd name="T22" fmla="*/ 2147483647 w 294"/>
                <a:gd name="T23" fmla="*/ 2147483647 h 522"/>
                <a:gd name="T24" fmla="*/ 2147483647 w 294"/>
                <a:gd name="T25" fmla="*/ 2147483647 h 522"/>
                <a:gd name="T26" fmla="*/ 2147483647 w 294"/>
                <a:gd name="T27" fmla="*/ 2147483647 h 522"/>
                <a:gd name="T28" fmla="*/ 2147483647 w 294"/>
                <a:gd name="T29" fmla="*/ 2147483647 h 522"/>
                <a:gd name="T30" fmla="*/ 2147483647 w 294"/>
                <a:gd name="T31" fmla="*/ 2147483647 h 522"/>
                <a:gd name="T32" fmla="*/ 2147483647 w 294"/>
                <a:gd name="T33" fmla="*/ 2147483647 h 522"/>
                <a:gd name="T34" fmla="*/ 2147483647 w 294"/>
                <a:gd name="T35" fmla="*/ 2147483647 h 522"/>
                <a:gd name="T36" fmla="*/ 2147483647 w 294"/>
                <a:gd name="T37" fmla="*/ 2147483647 h 522"/>
                <a:gd name="T38" fmla="*/ 2147483647 w 294"/>
                <a:gd name="T39" fmla="*/ 2147483647 h 522"/>
                <a:gd name="T40" fmla="*/ 2147483647 w 294"/>
                <a:gd name="T41" fmla="*/ 2147483647 h 522"/>
                <a:gd name="T42" fmla="*/ 2147483647 w 294"/>
                <a:gd name="T43" fmla="*/ 2147483647 h 522"/>
                <a:gd name="T44" fmla="*/ 2147483647 w 294"/>
                <a:gd name="T45" fmla="*/ 2147483647 h 522"/>
                <a:gd name="T46" fmla="*/ 2147483647 w 294"/>
                <a:gd name="T47" fmla="*/ 2147483647 h 522"/>
                <a:gd name="T48" fmla="*/ 2147483647 w 294"/>
                <a:gd name="T49" fmla="*/ 2147483647 h 522"/>
                <a:gd name="T50" fmla="*/ 2147483647 w 294"/>
                <a:gd name="T51" fmla="*/ 2147483647 h 522"/>
                <a:gd name="T52" fmla="*/ 2147483647 w 294"/>
                <a:gd name="T53" fmla="*/ 2147483647 h 522"/>
                <a:gd name="T54" fmla="*/ 2147483647 w 294"/>
                <a:gd name="T55" fmla="*/ 2147483647 h 522"/>
                <a:gd name="T56" fmla="*/ 2147483647 w 294"/>
                <a:gd name="T57" fmla="*/ 2147483647 h 522"/>
                <a:gd name="T58" fmla="*/ 2147483647 w 294"/>
                <a:gd name="T59" fmla="*/ 2147483647 h 522"/>
                <a:gd name="T60" fmla="*/ 2147483647 w 294"/>
                <a:gd name="T61" fmla="*/ 2147483647 h 522"/>
                <a:gd name="T62" fmla="*/ 0 w 294"/>
                <a:gd name="T63" fmla="*/ 2147483647 h 5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4" h="522">
                  <a:moveTo>
                    <a:pt x="0" y="23"/>
                  </a:moveTo>
                  <a:lnTo>
                    <a:pt x="7" y="0"/>
                  </a:lnTo>
                  <a:lnTo>
                    <a:pt x="31" y="46"/>
                  </a:lnTo>
                  <a:lnTo>
                    <a:pt x="57" y="11"/>
                  </a:lnTo>
                  <a:lnTo>
                    <a:pt x="57" y="46"/>
                  </a:lnTo>
                  <a:lnTo>
                    <a:pt x="76" y="55"/>
                  </a:lnTo>
                  <a:lnTo>
                    <a:pt x="76" y="90"/>
                  </a:lnTo>
                  <a:lnTo>
                    <a:pt x="119" y="122"/>
                  </a:lnTo>
                  <a:lnTo>
                    <a:pt x="156" y="111"/>
                  </a:lnTo>
                  <a:lnTo>
                    <a:pt x="150" y="90"/>
                  </a:lnTo>
                  <a:lnTo>
                    <a:pt x="201" y="55"/>
                  </a:lnTo>
                  <a:lnTo>
                    <a:pt x="262" y="122"/>
                  </a:lnTo>
                  <a:lnTo>
                    <a:pt x="262" y="155"/>
                  </a:lnTo>
                  <a:lnTo>
                    <a:pt x="251" y="213"/>
                  </a:lnTo>
                  <a:lnTo>
                    <a:pt x="256" y="288"/>
                  </a:lnTo>
                  <a:lnTo>
                    <a:pt x="270" y="322"/>
                  </a:lnTo>
                  <a:lnTo>
                    <a:pt x="256" y="366"/>
                  </a:lnTo>
                  <a:lnTo>
                    <a:pt x="294" y="455"/>
                  </a:lnTo>
                  <a:lnTo>
                    <a:pt x="270" y="522"/>
                  </a:lnTo>
                  <a:lnTo>
                    <a:pt x="201" y="499"/>
                  </a:lnTo>
                  <a:lnTo>
                    <a:pt x="187" y="455"/>
                  </a:lnTo>
                  <a:lnTo>
                    <a:pt x="145" y="468"/>
                  </a:lnTo>
                  <a:lnTo>
                    <a:pt x="113" y="434"/>
                  </a:lnTo>
                  <a:lnTo>
                    <a:pt x="87" y="355"/>
                  </a:lnTo>
                  <a:lnTo>
                    <a:pt x="69" y="345"/>
                  </a:lnTo>
                  <a:lnTo>
                    <a:pt x="69" y="355"/>
                  </a:lnTo>
                  <a:lnTo>
                    <a:pt x="45" y="266"/>
                  </a:lnTo>
                  <a:lnTo>
                    <a:pt x="19" y="222"/>
                  </a:lnTo>
                  <a:lnTo>
                    <a:pt x="31" y="155"/>
                  </a:lnTo>
                  <a:lnTo>
                    <a:pt x="19" y="144"/>
                  </a:lnTo>
                  <a:lnTo>
                    <a:pt x="7" y="99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56" name="Freeform 416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5289798" y="3513138"/>
              <a:ext cx="230188" cy="228600"/>
            </a:xfrm>
            <a:custGeom>
              <a:avLst/>
              <a:gdLst>
                <a:gd name="T0" fmla="*/ 0 w 157"/>
                <a:gd name="T1" fmla="*/ 2147483647 h 288"/>
                <a:gd name="T2" fmla="*/ 2147483647 w 157"/>
                <a:gd name="T3" fmla="*/ 2147483647 h 288"/>
                <a:gd name="T4" fmla="*/ 2147483647 w 157"/>
                <a:gd name="T5" fmla="*/ 2147483647 h 288"/>
                <a:gd name="T6" fmla="*/ 2147483647 w 157"/>
                <a:gd name="T7" fmla="*/ 2147483647 h 288"/>
                <a:gd name="T8" fmla="*/ 2147483647 w 157"/>
                <a:gd name="T9" fmla="*/ 2147483647 h 288"/>
                <a:gd name="T10" fmla="*/ 2147483647 w 157"/>
                <a:gd name="T11" fmla="*/ 2147483647 h 288"/>
                <a:gd name="T12" fmla="*/ 2147483647 w 157"/>
                <a:gd name="T13" fmla="*/ 2147483647 h 288"/>
                <a:gd name="T14" fmla="*/ 2147483647 w 157"/>
                <a:gd name="T15" fmla="*/ 2147483647 h 288"/>
                <a:gd name="T16" fmla="*/ 2147483647 w 157"/>
                <a:gd name="T17" fmla="*/ 2147483647 h 288"/>
                <a:gd name="T18" fmla="*/ 2147483647 w 157"/>
                <a:gd name="T19" fmla="*/ 2147483647 h 288"/>
                <a:gd name="T20" fmla="*/ 2147483647 w 157"/>
                <a:gd name="T21" fmla="*/ 2147483647 h 288"/>
                <a:gd name="T22" fmla="*/ 2147483647 w 157"/>
                <a:gd name="T23" fmla="*/ 2147483647 h 288"/>
                <a:gd name="T24" fmla="*/ 2147483647 w 157"/>
                <a:gd name="T25" fmla="*/ 0 h 288"/>
                <a:gd name="T26" fmla="*/ 2147483647 w 157"/>
                <a:gd name="T27" fmla="*/ 0 h 288"/>
                <a:gd name="T28" fmla="*/ 2147483647 w 157"/>
                <a:gd name="T29" fmla="*/ 2147483647 h 288"/>
                <a:gd name="T30" fmla="*/ 2147483647 w 157"/>
                <a:gd name="T31" fmla="*/ 2147483647 h 288"/>
                <a:gd name="T32" fmla="*/ 0 w 157"/>
                <a:gd name="T33" fmla="*/ 2147483647 h 2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7" h="288">
                  <a:moveTo>
                    <a:pt x="0" y="142"/>
                  </a:moveTo>
                  <a:lnTo>
                    <a:pt x="7" y="187"/>
                  </a:lnTo>
                  <a:lnTo>
                    <a:pt x="75" y="244"/>
                  </a:lnTo>
                  <a:lnTo>
                    <a:pt x="75" y="265"/>
                  </a:lnTo>
                  <a:lnTo>
                    <a:pt x="94" y="288"/>
                  </a:lnTo>
                  <a:lnTo>
                    <a:pt x="125" y="288"/>
                  </a:lnTo>
                  <a:lnTo>
                    <a:pt x="150" y="254"/>
                  </a:lnTo>
                  <a:lnTo>
                    <a:pt x="157" y="254"/>
                  </a:lnTo>
                  <a:lnTo>
                    <a:pt x="132" y="177"/>
                  </a:lnTo>
                  <a:lnTo>
                    <a:pt x="107" y="121"/>
                  </a:lnTo>
                  <a:lnTo>
                    <a:pt x="119" y="54"/>
                  </a:lnTo>
                  <a:lnTo>
                    <a:pt x="107" y="44"/>
                  </a:lnTo>
                  <a:lnTo>
                    <a:pt x="94" y="0"/>
                  </a:lnTo>
                  <a:lnTo>
                    <a:pt x="63" y="0"/>
                  </a:lnTo>
                  <a:lnTo>
                    <a:pt x="44" y="33"/>
                  </a:lnTo>
                  <a:lnTo>
                    <a:pt x="38" y="98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57" name="Freeform 417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5289798" y="3513138"/>
              <a:ext cx="230188" cy="228600"/>
            </a:xfrm>
            <a:custGeom>
              <a:avLst/>
              <a:gdLst>
                <a:gd name="T0" fmla="*/ 0 w 157"/>
                <a:gd name="T1" fmla="*/ 2147483647 h 288"/>
                <a:gd name="T2" fmla="*/ 2147483647 w 157"/>
                <a:gd name="T3" fmla="*/ 2147483647 h 288"/>
                <a:gd name="T4" fmla="*/ 2147483647 w 157"/>
                <a:gd name="T5" fmla="*/ 2147483647 h 288"/>
                <a:gd name="T6" fmla="*/ 2147483647 w 157"/>
                <a:gd name="T7" fmla="*/ 2147483647 h 288"/>
                <a:gd name="T8" fmla="*/ 2147483647 w 157"/>
                <a:gd name="T9" fmla="*/ 2147483647 h 288"/>
                <a:gd name="T10" fmla="*/ 2147483647 w 157"/>
                <a:gd name="T11" fmla="*/ 2147483647 h 288"/>
                <a:gd name="T12" fmla="*/ 2147483647 w 157"/>
                <a:gd name="T13" fmla="*/ 2147483647 h 288"/>
                <a:gd name="T14" fmla="*/ 2147483647 w 157"/>
                <a:gd name="T15" fmla="*/ 2147483647 h 288"/>
                <a:gd name="T16" fmla="*/ 2147483647 w 157"/>
                <a:gd name="T17" fmla="*/ 2147483647 h 288"/>
                <a:gd name="T18" fmla="*/ 2147483647 w 157"/>
                <a:gd name="T19" fmla="*/ 2147483647 h 288"/>
                <a:gd name="T20" fmla="*/ 2147483647 w 157"/>
                <a:gd name="T21" fmla="*/ 2147483647 h 288"/>
                <a:gd name="T22" fmla="*/ 2147483647 w 157"/>
                <a:gd name="T23" fmla="*/ 2147483647 h 288"/>
                <a:gd name="T24" fmla="*/ 2147483647 w 157"/>
                <a:gd name="T25" fmla="*/ 0 h 288"/>
                <a:gd name="T26" fmla="*/ 2147483647 w 157"/>
                <a:gd name="T27" fmla="*/ 0 h 288"/>
                <a:gd name="T28" fmla="*/ 2147483647 w 157"/>
                <a:gd name="T29" fmla="*/ 2147483647 h 288"/>
                <a:gd name="T30" fmla="*/ 2147483647 w 157"/>
                <a:gd name="T31" fmla="*/ 2147483647 h 288"/>
                <a:gd name="T32" fmla="*/ 0 w 157"/>
                <a:gd name="T33" fmla="*/ 2147483647 h 2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7" h="288">
                  <a:moveTo>
                    <a:pt x="0" y="142"/>
                  </a:moveTo>
                  <a:lnTo>
                    <a:pt x="7" y="187"/>
                  </a:lnTo>
                  <a:lnTo>
                    <a:pt x="75" y="244"/>
                  </a:lnTo>
                  <a:lnTo>
                    <a:pt x="75" y="265"/>
                  </a:lnTo>
                  <a:lnTo>
                    <a:pt x="94" y="288"/>
                  </a:lnTo>
                  <a:lnTo>
                    <a:pt x="125" y="288"/>
                  </a:lnTo>
                  <a:lnTo>
                    <a:pt x="150" y="254"/>
                  </a:lnTo>
                  <a:lnTo>
                    <a:pt x="157" y="254"/>
                  </a:lnTo>
                  <a:lnTo>
                    <a:pt x="132" y="177"/>
                  </a:lnTo>
                  <a:lnTo>
                    <a:pt x="107" y="121"/>
                  </a:lnTo>
                  <a:lnTo>
                    <a:pt x="119" y="54"/>
                  </a:lnTo>
                  <a:lnTo>
                    <a:pt x="107" y="44"/>
                  </a:lnTo>
                  <a:lnTo>
                    <a:pt x="94" y="0"/>
                  </a:lnTo>
                  <a:lnTo>
                    <a:pt x="63" y="0"/>
                  </a:lnTo>
                  <a:lnTo>
                    <a:pt x="44" y="33"/>
                  </a:lnTo>
                  <a:lnTo>
                    <a:pt x="38" y="98"/>
                  </a:lnTo>
                  <a:lnTo>
                    <a:pt x="0" y="14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58" name="Freeform 418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5289798" y="3513138"/>
              <a:ext cx="230188" cy="228600"/>
            </a:xfrm>
            <a:custGeom>
              <a:avLst/>
              <a:gdLst>
                <a:gd name="T0" fmla="*/ 0 w 157"/>
                <a:gd name="T1" fmla="*/ 2147483647 h 288"/>
                <a:gd name="T2" fmla="*/ 2147483647 w 157"/>
                <a:gd name="T3" fmla="*/ 2147483647 h 288"/>
                <a:gd name="T4" fmla="*/ 2147483647 w 157"/>
                <a:gd name="T5" fmla="*/ 2147483647 h 288"/>
                <a:gd name="T6" fmla="*/ 2147483647 w 157"/>
                <a:gd name="T7" fmla="*/ 2147483647 h 288"/>
                <a:gd name="T8" fmla="*/ 2147483647 w 157"/>
                <a:gd name="T9" fmla="*/ 2147483647 h 288"/>
                <a:gd name="T10" fmla="*/ 2147483647 w 157"/>
                <a:gd name="T11" fmla="*/ 2147483647 h 288"/>
                <a:gd name="T12" fmla="*/ 2147483647 w 157"/>
                <a:gd name="T13" fmla="*/ 2147483647 h 288"/>
                <a:gd name="T14" fmla="*/ 2147483647 w 157"/>
                <a:gd name="T15" fmla="*/ 2147483647 h 288"/>
                <a:gd name="T16" fmla="*/ 2147483647 w 157"/>
                <a:gd name="T17" fmla="*/ 2147483647 h 288"/>
                <a:gd name="T18" fmla="*/ 2147483647 w 157"/>
                <a:gd name="T19" fmla="*/ 2147483647 h 288"/>
                <a:gd name="T20" fmla="*/ 2147483647 w 157"/>
                <a:gd name="T21" fmla="*/ 2147483647 h 288"/>
                <a:gd name="T22" fmla="*/ 2147483647 w 157"/>
                <a:gd name="T23" fmla="*/ 2147483647 h 288"/>
                <a:gd name="T24" fmla="*/ 2147483647 w 157"/>
                <a:gd name="T25" fmla="*/ 0 h 288"/>
                <a:gd name="T26" fmla="*/ 2147483647 w 157"/>
                <a:gd name="T27" fmla="*/ 0 h 288"/>
                <a:gd name="T28" fmla="*/ 2147483647 w 157"/>
                <a:gd name="T29" fmla="*/ 2147483647 h 288"/>
                <a:gd name="T30" fmla="*/ 2147483647 w 157"/>
                <a:gd name="T31" fmla="*/ 2147483647 h 288"/>
                <a:gd name="T32" fmla="*/ 0 w 157"/>
                <a:gd name="T33" fmla="*/ 2147483647 h 2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7" h="288">
                  <a:moveTo>
                    <a:pt x="0" y="142"/>
                  </a:moveTo>
                  <a:lnTo>
                    <a:pt x="7" y="187"/>
                  </a:lnTo>
                  <a:lnTo>
                    <a:pt x="75" y="244"/>
                  </a:lnTo>
                  <a:lnTo>
                    <a:pt x="75" y="265"/>
                  </a:lnTo>
                  <a:lnTo>
                    <a:pt x="94" y="288"/>
                  </a:lnTo>
                  <a:lnTo>
                    <a:pt x="125" y="288"/>
                  </a:lnTo>
                  <a:lnTo>
                    <a:pt x="150" y="254"/>
                  </a:lnTo>
                  <a:lnTo>
                    <a:pt x="157" y="254"/>
                  </a:lnTo>
                  <a:lnTo>
                    <a:pt x="132" y="177"/>
                  </a:lnTo>
                  <a:lnTo>
                    <a:pt x="107" y="121"/>
                  </a:lnTo>
                  <a:lnTo>
                    <a:pt x="119" y="54"/>
                  </a:lnTo>
                  <a:lnTo>
                    <a:pt x="107" y="44"/>
                  </a:lnTo>
                  <a:lnTo>
                    <a:pt x="94" y="0"/>
                  </a:lnTo>
                  <a:lnTo>
                    <a:pt x="63" y="0"/>
                  </a:lnTo>
                  <a:lnTo>
                    <a:pt x="44" y="33"/>
                  </a:lnTo>
                  <a:lnTo>
                    <a:pt x="38" y="98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59" name="Freeform 419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5289798" y="3513138"/>
              <a:ext cx="230188" cy="228600"/>
            </a:xfrm>
            <a:custGeom>
              <a:avLst/>
              <a:gdLst>
                <a:gd name="T0" fmla="*/ 0 w 157"/>
                <a:gd name="T1" fmla="*/ 2147483647 h 288"/>
                <a:gd name="T2" fmla="*/ 2147483647 w 157"/>
                <a:gd name="T3" fmla="*/ 2147483647 h 288"/>
                <a:gd name="T4" fmla="*/ 2147483647 w 157"/>
                <a:gd name="T5" fmla="*/ 2147483647 h 288"/>
                <a:gd name="T6" fmla="*/ 2147483647 w 157"/>
                <a:gd name="T7" fmla="*/ 2147483647 h 288"/>
                <a:gd name="T8" fmla="*/ 2147483647 w 157"/>
                <a:gd name="T9" fmla="*/ 2147483647 h 288"/>
                <a:gd name="T10" fmla="*/ 2147483647 w 157"/>
                <a:gd name="T11" fmla="*/ 2147483647 h 288"/>
                <a:gd name="T12" fmla="*/ 2147483647 w 157"/>
                <a:gd name="T13" fmla="*/ 2147483647 h 288"/>
                <a:gd name="T14" fmla="*/ 2147483647 w 157"/>
                <a:gd name="T15" fmla="*/ 2147483647 h 288"/>
                <a:gd name="T16" fmla="*/ 2147483647 w 157"/>
                <a:gd name="T17" fmla="*/ 2147483647 h 288"/>
                <a:gd name="T18" fmla="*/ 2147483647 w 157"/>
                <a:gd name="T19" fmla="*/ 2147483647 h 288"/>
                <a:gd name="T20" fmla="*/ 2147483647 w 157"/>
                <a:gd name="T21" fmla="*/ 2147483647 h 288"/>
                <a:gd name="T22" fmla="*/ 2147483647 w 157"/>
                <a:gd name="T23" fmla="*/ 2147483647 h 288"/>
                <a:gd name="T24" fmla="*/ 2147483647 w 157"/>
                <a:gd name="T25" fmla="*/ 0 h 288"/>
                <a:gd name="T26" fmla="*/ 2147483647 w 157"/>
                <a:gd name="T27" fmla="*/ 0 h 288"/>
                <a:gd name="T28" fmla="*/ 2147483647 w 157"/>
                <a:gd name="T29" fmla="*/ 2147483647 h 288"/>
                <a:gd name="T30" fmla="*/ 2147483647 w 157"/>
                <a:gd name="T31" fmla="*/ 2147483647 h 288"/>
                <a:gd name="T32" fmla="*/ 0 w 157"/>
                <a:gd name="T33" fmla="*/ 2147483647 h 2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7" h="288">
                  <a:moveTo>
                    <a:pt x="0" y="142"/>
                  </a:moveTo>
                  <a:lnTo>
                    <a:pt x="7" y="187"/>
                  </a:lnTo>
                  <a:lnTo>
                    <a:pt x="75" y="244"/>
                  </a:lnTo>
                  <a:lnTo>
                    <a:pt x="75" y="265"/>
                  </a:lnTo>
                  <a:lnTo>
                    <a:pt x="94" y="288"/>
                  </a:lnTo>
                  <a:lnTo>
                    <a:pt x="125" y="288"/>
                  </a:lnTo>
                  <a:lnTo>
                    <a:pt x="150" y="254"/>
                  </a:lnTo>
                  <a:lnTo>
                    <a:pt x="157" y="254"/>
                  </a:lnTo>
                  <a:lnTo>
                    <a:pt x="132" y="177"/>
                  </a:lnTo>
                  <a:lnTo>
                    <a:pt x="107" y="121"/>
                  </a:lnTo>
                  <a:lnTo>
                    <a:pt x="119" y="54"/>
                  </a:lnTo>
                  <a:lnTo>
                    <a:pt x="107" y="44"/>
                  </a:lnTo>
                  <a:lnTo>
                    <a:pt x="94" y="0"/>
                  </a:lnTo>
                  <a:lnTo>
                    <a:pt x="63" y="0"/>
                  </a:lnTo>
                  <a:lnTo>
                    <a:pt x="44" y="33"/>
                  </a:lnTo>
                  <a:lnTo>
                    <a:pt x="38" y="98"/>
                  </a:lnTo>
                  <a:lnTo>
                    <a:pt x="0" y="14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60" name="Freeform 420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4565898" y="3211513"/>
              <a:ext cx="257175" cy="280987"/>
            </a:xfrm>
            <a:custGeom>
              <a:avLst/>
              <a:gdLst>
                <a:gd name="T0" fmla="*/ 0 w 175"/>
                <a:gd name="T1" fmla="*/ 2147483647 h 355"/>
                <a:gd name="T2" fmla="*/ 0 w 175"/>
                <a:gd name="T3" fmla="*/ 2147483647 h 355"/>
                <a:gd name="T4" fmla="*/ 2147483647 w 175"/>
                <a:gd name="T5" fmla="*/ 2147483647 h 355"/>
                <a:gd name="T6" fmla="*/ 2147483647 w 175"/>
                <a:gd name="T7" fmla="*/ 2147483647 h 355"/>
                <a:gd name="T8" fmla="*/ 2147483647 w 175"/>
                <a:gd name="T9" fmla="*/ 2147483647 h 355"/>
                <a:gd name="T10" fmla="*/ 2147483647 w 175"/>
                <a:gd name="T11" fmla="*/ 0 h 355"/>
                <a:gd name="T12" fmla="*/ 2147483647 w 175"/>
                <a:gd name="T13" fmla="*/ 2147483647 h 355"/>
                <a:gd name="T14" fmla="*/ 2147483647 w 175"/>
                <a:gd name="T15" fmla="*/ 2147483647 h 355"/>
                <a:gd name="T16" fmla="*/ 2147483647 w 175"/>
                <a:gd name="T17" fmla="*/ 2147483647 h 355"/>
                <a:gd name="T18" fmla="*/ 2147483647 w 175"/>
                <a:gd name="T19" fmla="*/ 2147483647 h 355"/>
                <a:gd name="T20" fmla="*/ 2147483647 w 175"/>
                <a:gd name="T21" fmla="*/ 2147483647 h 355"/>
                <a:gd name="T22" fmla="*/ 2147483647 w 175"/>
                <a:gd name="T23" fmla="*/ 2147483647 h 355"/>
                <a:gd name="T24" fmla="*/ 2147483647 w 175"/>
                <a:gd name="T25" fmla="*/ 2147483647 h 355"/>
                <a:gd name="T26" fmla="*/ 2147483647 w 175"/>
                <a:gd name="T27" fmla="*/ 2147483647 h 355"/>
                <a:gd name="T28" fmla="*/ 2147483647 w 175"/>
                <a:gd name="T29" fmla="*/ 2147483647 h 355"/>
                <a:gd name="T30" fmla="*/ 2147483647 w 175"/>
                <a:gd name="T31" fmla="*/ 2147483647 h 355"/>
                <a:gd name="T32" fmla="*/ 2147483647 w 175"/>
                <a:gd name="T33" fmla="*/ 2147483647 h 355"/>
                <a:gd name="T34" fmla="*/ 2147483647 w 175"/>
                <a:gd name="T35" fmla="*/ 2147483647 h 355"/>
                <a:gd name="T36" fmla="*/ 2147483647 w 175"/>
                <a:gd name="T37" fmla="*/ 2147483647 h 355"/>
                <a:gd name="T38" fmla="*/ 2147483647 w 175"/>
                <a:gd name="T39" fmla="*/ 2147483647 h 355"/>
                <a:gd name="T40" fmla="*/ 2147483647 w 175"/>
                <a:gd name="T41" fmla="*/ 2147483647 h 355"/>
                <a:gd name="T42" fmla="*/ 2147483647 w 175"/>
                <a:gd name="T43" fmla="*/ 2147483647 h 355"/>
                <a:gd name="T44" fmla="*/ 0 w 175"/>
                <a:gd name="T45" fmla="*/ 2147483647 h 35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75" h="355">
                  <a:moveTo>
                    <a:pt x="0" y="88"/>
                  </a:moveTo>
                  <a:lnTo>
                    <a:pt x="0" y="54"/>
                  </a:lnTo>
                  <a:lnTo>
                    <a:pt x="25" y="33"/>
                  </a:lnTo>
                  <a:lnTo>
                    <a:pt x="30" y="44"/>
                  </a:lnTo>
                  <a:lnTo>
                    <a:pt x="56" y="10"/>
                  </a:lnTo>
                  <a:lnTo>
                    <a:pt x="81" y="0"/>
                  </a:lnTo>
                  <a:lnTo>
                    <a:pt x="107" y="33"/>
                  </a:lnTo>
                  <a:lnTo>
                    <a:pt x="107" y="67"/>
                  </a:lnTo>
                  <a:lnTo>
                    <a:pt x="81" y="67"/>
                  </a:lnTo>
                  <a:lnTo>
                    <a:pt x="88" y="123"/>
                  </a:lnTo>
                  <a:lnTo>
                    <a:pt x="119" y="200"/>
                  </a:lnTo>
                  <a:lnTo>
                    <a:pt x="144" y="200"/>
                  </a:lnTo>
                  <a:lnTo>
                    <a:pt x="144" y="223"/>
                  </a:lnTo>
                  <a:lnTo>
                    <a:pt x="175" y="267"/>
                  </a:lnTo>
                  <a:lnTo>
                    <a:pt x="149" y="267"/>
                  </a:lnTo>
                  <a:lnTo>
                    <a:pt x="157" y="311"/>
                  </a:lnTo>
                  <a:lnTo>
                    <a:pt x="144" y="355"/>
                  </a:lnTo>
                  <a:lnTo>
                    <a:pt x="138" y="279"/>
                  </a:lnTo>
                  <a:lnTo>
                    <a:pt x="69" y="190"/>
                  </a:lnTo>
                  <a:lnTo>
                    <a:pt x="50" y="123"/>
                  </a:lnTo>
                  <a:lnTo>
                    <a:pt x="30" y="111"/>
                  </a:lnTo>
                  <a:lnTo>
                    <a:pt x="6" y="13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61" name="Group 421"/>
            <p:cNvGrpSpPr>
              <a:grpSpLocks/>
            </p:cNvGrpSpPr>
            <p:nvPr>
              <p:custDataLst>
                <p:tags r:id="rId355"/>
              </p:custDataLst>
            </p:nvPr>
          </p:nvGrpSpPr>
          <p:grpSpPr bwMode="auto">
            <a:xfrm>
              <a:off x="4565898" y="3211513"/>
              <a:ext cx="257175" cy="280987"/>
              <a:chOff x="3051" y="1841"/>
              <a:chExt cx="175" cy="1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71" name="Freeform 422"/>
              <p:cNvSpPr>
                <a:spLocks/>
              </p:cNvSpPr>
              <p:nvPr/>
            </p:nvSpPr>
            <p:spPr bwMode="auto">
              <a:xfrm>
                <a:off x="3051" y="1841"/>
                <a:ext cx="175" cy="177"/>
              </a:xfrm>
              <a:custGeom>
                <a:avLst/>
                <a:gdLst>
                  <a:gd name="T0" fmla="*/ 0 w 175"/>
                  <a:gd name="T1" fmla="*/ 0 h 355"/>
                  <a:gd name="T2" fmla="*/ 0 w 175"/>
                  <a:gd name="T3" fmla="*/ 0 h 355"/>
                  <a:gd name="T4" fmla="*/ 25 w 175"/>
                  <a:gd name="T5" fmla="*/ 0 h 355"/>
                  <a:gd name="T6" fmla="*/ 30 w 175"/>
                  <a:gd name="T7" fmla="*/ 0 h 355"/>
                  <a:gd name="T8" fmla="*/ 56 w 175"/>
                  <a:gd name="T9" fmla="*/ 0 h 355"/>
                  <a:gd name="T10" fmla="*/ 81 w 175"/>
                  <a:gd name="T11" fmla="*/ 0 h 355"/>
                  <a:gd name="T12" fmla="*/ 107 w 175"/>
                  <a:gd name="T13" fmla="*/ 0 h 355"/>
                  <a:gd name="T14" fmla="*/ 107 w 175"/>
                  <a:gd name="T15" fmla="*/ 0 h 355"/>
                  <a:gd name="T16" fmla="*/ 81 w 175"/>
                  <a:gd name="T17" fmla="*/ 0 h 355"/>
                  <a:gd name="T18" fmla="*/ 88 w 175"/>
                  <a:gd name="T19" fmla="*/ 0 h 355"/>
                  <a:gd name="T20" fmla="*/ 119 w 175"/>
                  <a:gd name="T21" fmla="*/ 0 h 355"/>
                  <a:gd name="T22" fmla="*/ 144 w 175"/>
                  <a:gd name="T23" fmla="*/ 0 h 355"/>
                  <a:gd name="T24" fmla="*/ 144 w 175"/>
                  <a:gd name="T25" fmla="*/ 0 h 355"/>
                  <a:gd name="T26" fmla="*/ 175 w 175"/>
                  <a:gd name="T27" fmla="*/ 0 h 355"/>
                  <a:gd name="T28" fmla="*/ 149 w 175"/>
                  <a:gd name="T29" fmla="*/ 0 h 355"/>
                  <a:gd name="T30" fmla="*/ 157 w 175"/>
                  <a:gd name="T31" fmla="*/ 0 h 355"/>
                  <a:gd name="T32" fmla="*/ 144 w 175"/>
                  <a:gd name="T33" fmla="*/ 0 h 355"/>
                  <a:gd name="T34" fmla="*/ 138 w 175"/>
                  <a:gd name="T35" fmla="*/ 0 h 355"/>
                  <a:gd name="T36" fmla="*/ 69 w 175"/>
                  <a:gd name="T37" fmla="*/ 0 h 355"/>
                  <a:gd name="T38" fmla="*/ 50 w 175"/>
                  <a:gd name="T39" fmla="*/ 0 h 355"/>
                  <a:gd name="T40" fmla="*/ 30 w 175"/>
                  <a:gd name="T41" fmla="*/ 0 h 355"/>
                  <a:gd name="T42" fmla="*/ 6 w 175"/>
                  <a:gd name="T43" fmla="*/ 0 h 355"/>
                  <a:gd name="T44" fmla="*/ 0 w 175"/>
                  <a:gd name="T45" fmla="*/ 0 h 35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75" h="355">
                    <a:moveTo>
                      <a:pt x="0" y="88"/>
                    </a:moveTo>
                    <a:lnTo>
                      <a:pt x="0" y="54"/>
                    </a:lnTo>
                    <a:lnTo>
                      <a:pt x="25" y="33"/>
                    </a:lnTo>
                    <a:lnTo>
                      <a:pt x="30" y="44"/>
                    </a:lnTo>
                    <a:lnTo>
                      <a:pt x="56" y="10"/>
                    </a:lnTo>
                    <a:lnTo>
                      <a:pt x="81" y="0"/>
                    </a:lnTo>
                    <a:lnTo>
                      <a:pt x="107" y="33"/>
                    </a:lnTo>
                    <a:lnTo>
                      <a:pt x="107" y="67"/>
                    </a:lnTo>
                    <a:lnTo>
                      <a:pt x="81" y="67"/>
                    </a:lnTo>
                    <a:lnTo>
                      <a:pt x="88" y="123"/>
                    </a:lnTo>
                    <a:lnTo>
                      <a:pt x="119" y="200"/>
                    </a:lnTo>
                    <a:lnTo>
                      <a:pt x="144" y="200"/>
                    </a:lnTo>
                    <a:lnTo>
                      <a:pt x="144" y="223"/>
                    </a:lnTo>
                    <a:lnTo>
                      <a:pt x="175" y="267"/>
                    </a:lnTo>
                    <a:lnTo>
                      <a:pt x="149" y="267"/>
                    </a:lnTo>
                    <a:lnTo>
                      <a:pt x="157" y="311"/>
                    </a:lnTo>
                    <a:lnTo>
                      <a:pt x="144" y="355"/>
                    </a:lnTo>
                    <a:lnTo>
                      <a:pt x="138" y="279"/>
                    </a:lnTo>
                    <a:lnTo>
                      <a:pt x="69" y="190"/>
                    </a:lnTo>
                    <a:lnTo>
                      <a:pt x="50" y="123"/>
                    </a:lnTo>
                    <a:lnTo>
                      <a:pt x="30" y="111"/>
                    </a:lnTo>
                    <a:lnTo>
                      <a:pt x="6" y="133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72" name="Freeform 423"/>
              <p:cNvSpPr>
                <a:spLocks/>
              </p:cNvSpPr>
              <p:nvPr/>
            </p:nvSpPr>
            <p:spPr bwMode="auto">
              <a:xfrm>
                <a:off x="3051" y="1841"/>
                <a:ext cx="175" cy="177"/>
              </a:xfrm>
              <a:custGeom>
                <a:avLst/>
                <a:gdLst>
                  <a:gd name="T0" fmla="*/ 0 w 175"/>
                  <a:gd name="T1" fmla="*/ 0 h 355"/>
                  <a:gd name="T2" fmla="*/ 0 w 175"/>
                  <a:gd name="T3" fmla="*/ 0 h 355"/>
                  <a:gd name="T4" fmla="*/ 25 w 175"/>
                  <a:gd name="T5" fmla="*/ 0 h 355"/>
                  <a:gd name="T6" fmla="*/ 30 w 175"/>
                  <a:gd name="T7" fmla="*/ 0 h 355"/>
                  <a:gd name="T8" fmla="*/ 56 w 175"/>
                  <a:gd name="T9" fmla="*/ 0 h 355"/>
                  <a:gd name="T10" fmla="*/ 81 w 175"/>
                  <a:gd name="T11" fmla="*/ 0 h 355"/>
                  <a:gd name="T12" fmla="*/ 107 w 175"/>
                  <a:gd name="T13" fmla="*/ 0 h 355"/>
                  <a:gd name="T14" fmla="*/ 107 w 175"/>
                  <a:gd name="T15" fmla="*/ 0 h 355"/>
                  <a:gd name="T16" fmla="*/ 81 w 175"/>
                  <a:gd name="T17" fmla="*/ 0 h 355"/>
                  <a:gd name="T18" fmla="*/ 88 w 175"/>
                  <a:gd name="T19" fmla="*/ 0 h 355"/>
                  <a:gd name="T20" fmla="*/ 119 w 175"/>
                  <a:gd name="T21" fmla="*/ 0 h 355"/>
                  <a:gd name="T22" fmla="*/ 144 w 175"/>
                  <a:gd name="T23" fmla="*/ 0 h 355"/>
                  <a:gd name="T24" fmla="*/ 144 w 175"/>
                  <a:gd name="T25" fmla="*/ 0 h 355"/>
                  <a:gd name="T26" fmla="*/ 175 w 175"/>
                  <a:gd name="T27" fmla="*/ 0 h 355"/>
                  <a:gd name="T28" fmla="*/ 149 w 175"/>
                  <a:gd name="T29" fmla="*/ 0 h 355"/>
                  <a:gd name="T30" fmla="*/ 157 w 175"/>
                  <a:gd name="T31" fmla="*/ 0 h 355"/>
                  <a:gd name="T32" fmla="*/ 144 w 175"/>
                  <a:gd name="T33" fmla="*/ 0 h 355"/>
                  <a:gd name="T34" fmla="*/ 138 w 175"/>
                  <a:gd name="T35" fmla="*/ 0 h 355"/>
                  <a:gd name="T36" fmla="*/ 69 w 175"/>
                  <a:gd name="T37" fmla="*/ 0 h 355"/>
                  <a:gd name="T38" fmla="*/ 50 w 175"/>
                  <a:gd name="T39" fmla="*/ 0 h 355"/>
                  <a:gd name="T40" fmla="*/ 30 w 175"/>
                  <a:gd name="T41" fmla="*/ 0 h 355"/>
                  <a:gd name="T42" fmla="*/ 6 w 175"/>
                  <a:gd name="T43" fmla="*/ 0 h 355"/>
                  <a:gd name="T44" fmla="*/ 0 w 175"/>
                  <a:gd name="T45" fmla="*/ 0 h 35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75" h="355">
                    <a:moveTo>
                      <a:pt x="0" y="88"/>
                    </a:moveTo>
                    <a:lnTo>
                      <a:pt x="0" y="54"/>
                    </a:lnTo>
                    <a:lnTo>
                      <a:pt x="25" y="33"/>
                    </a:lnTo>
                    <a:lnTo>
                      <a:pt x="30" y="44"/>
                    </a:lnTo>
                    <a:lnTo>
                      <a:pt x="56" y="10"/>
                    </a:lnTo>
                    <a:lnTo>
                      <a:pt x="81" y="0"/>
                    </a:lnTo>
                    <a:lnTo>
                      <a:pt x="107" y="33"/>
                    </a:lnTo>
                    <a:lnTo>
                      <a:pt x="107" y="67"/>
                    </a:lnTo>
                    <a:lnTo>
                      <a:pt x="81" y="67"/>
                    </a:lnTo>
                    <a:lnTo>
                      <a:pt x="88" y="123"/>
                    </a:lnTo>
                    <a:lnTo>
                      <a:pt x="119" y="200"/>
                    </a:lnTo>
                    <a:lnTo>
                      <a:pt x="144" y="200"/>
                    </a:lnTo>
                    <a:lnTo>
                      <a:pt x="144" y="223"/>
                    </a:lnTo>
                    <a:lnTo>
                      <a:pt x="175" y="267"/>
                    </a:lnTo>
                    <a:lnTo>
                      <a:pt x="149" y="267"/>
                    </a:lnTo>
                    <a:lnTo>
                      <a:pt x="157" y="311"/>
                    </a:lnTo>
                    <a:lnTo>
                      <a:pt x="144" y="355"/>
                    </a:lnTo>
                    <a:lnTo>
                      <a:pt x="138" y="279"/>
                    </a:lnTo>
                    <a:lnTo>
                      <a:pt x="69" y="190"/>
                    </a:lnTo>
                    <a:lnTo>
                      <a:pt x="50" y="123"/>
                    </a:lnTo>
                    <a:lnTo>
                      <a:pt x="30" y="111"/>
                    </a:lnTo>
                    <a:lnTo>
                      <a:pt x="6" y="133"/>
                    </a:lnTo>
                    <a:lnTo>
                      <a:pt x="0" y="88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62" name="Freeform 424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4565898" y="3211513"/>
              <a:ext cx="257175" cy="280987"/>
            </a:xfrm>
            <a:custGeom>
              <a:avLst/>
              <a:gdLst>
                <a:gd name="T0" fmla="*/ 0 w 175"/>
                <a:gd name="T1" fmla="*/ 2147483647 h 355"/>
                <a:gd name="T2" fmla="*/ 0 w 175"/>
                <a:gd name="T3" fmla="*/ 2147483647 h 355"/>
                <a:gd name="T4" fmla="*/ 2147483647 w 175"/>
                <a:gd name="T5" fmla="*/ 2147483647 h 355"/>
                <a:gd name="T6" fmla="*/ 2147483647 w 175"/>
                <a:gd name="T7" fmla="*/ 2147483647 h 355"/>
                <a:gd name="T8" fmla="*/ 2147483647 w 175"/>
                <a:gd name="T9" fmla="*/ 2147483647 h 355"/>
                <a:gd name="T10" fmla="*/ 2147483647 w 175"/>
                <a:gd name="T11" fmla="*/ 0 h 355"/>
                <a:gd name="T12" fmla="*/ 2147483647 w 175"/>
                <a:gd name="T13" fmla="*/ 2147483647 h 355"/>
                <a:gd name="T14" fmla="*/ 2147483647 w 175"/>
                <a:gd name="T15" fmla="*/ 2147483647 h 355"/>
                <a:gd name="T16" fmla="*/ 2147483647 w 175"/>
                <a:gd name="T17" fmla="*/ 2147483647 h 355"/>
                <a:gd name="T18" fmla="*/ 2147483647 w 175"/>
                <a:gd name="T19" fmla="*/ 2147483647 h 355"/>
                <a:gd name="T20" fmla="*/ 2147483647 w 175"/>
                <a:gd name="T21" fmla="*/ 2147483647 h 355"/>
                <a:gd name="T22" fmla="*/ 2147483647 w 175"/>
                <a:gd name="T23" fmla="*/ 2147483647 h 355"/>
                <a:gd name="T24" fmla="*/ 2147483647 w 175"/>
                <a:gd name="T25" fmla="*/ 2147483647 h 355"/>
                <a:gd name="T26" fmla="*/ 2147483647 w 175"/>
                <a:gd name="T27" fmla="*/ 2147483647 h 355"/>
                <a:gd name="T28" fmla="*/ 2147483647 w 175"/>
                <a:gd name="T29" fmla="*/ 2147483647 h 355"/>
                <a:gd name="T30" fmla="*/ 2147483647 w 175"/>
                <a:gd name="T31" fmla="*/ 2147483647 h 355"/>
                <a:gd name="T32" fmla="*/ 2147483647 w 175"/>
                <a:gd name="T33" fmla="*/ 2147483647 h 355"/>
                <a:gd name="T34" fmla="*/ 2147483647 w 175"/>
                <a:gd name="T35" fmla="*/ 2147483647 h 355"/>
                <a:gd name="T36" fmla="*/ 2147483647 w 175"/>
                <a:gd name="T37" fmla="*/ 2147483647 h 355"/>
                <a:gd name="T38" fmla="*/ 2147483647 w 175"/>
                <a:gd name="T39" fmla="*/ 2147483647 h 355"/>
                <a:gd name="T40" fmla="*/ 2147483647 w 175"/>
                <a:gd name="T41" fmla="*/ 2147483647 h 355"/>
                <a:gd name="T42" fmla="*/ 2147483647 w 175"/>
                <a:gd name="T43" fmla="*/ 2147483647 h 355"/>
                <a:gd name="T44" fmla="*/ 0 w 175"/>
                <a:gd name="T45" fmla="*/ 2147483647 h 35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75" h="355">
                  <a:moveTo>
                    <a:pt x="0" y="88"/>
                  </a:moveTo>
                  <a:lnTo>
                    <a:pt x="0" y="54"/>
                  </a:lnTo>
                  <a:lnTo>
                    <a:pt x="25" y="33"/>
                  </a:lnTo>
                  <a:lnTo>
                    <a:pt x="30" y="44"/>
                  </a:lnTo>
                  <a:lnTo>
                    <a:pt x="56" y="10"/>
                  </a:lnTo>
                  <a:lnTo>
                    <a:pt x="81" y="0"/>
                  </a:lnTo>
                  <a:lnTo>
                    <a:pt x="107" y="33"/>
                  </a:lnTo>
                  <a:lnTo>
                    <a:pt x="107" y="67"/>
                  </a:lnTo>
                  <a:lnTo>
                    <a:pt x="81" y="67"/>
                  </a:lnTo>
                  <a:lnTo>
                    <a:pt x="88" y="123"/>
                  </a:lnTo>
                  <a:lnTo>
                    <a:pt x="119" y="200"/>
                  </a:lnTo>
                  <a:lnTo>
                    <a:pt x="144" y="200"/>
                  </a:lnTo>
                  <a:lnTo>
                    <a:pt x="144" y="223"/>
                  </a:lnTo>
                  <a:lnTo>
                    <a:pt x="175" y="267"/>
                  </a:lnTo>
                  <a:lnTo>
                    <a:pt x="149" y="267"/>
                  </a:lnTo>
                  <a:lnTo>
                    <a:pt x="157" y="311"/>
                  </a:lnTo>
                  <a:lnTo>
                    <a:pt x="144" y="355"/>
                  </a:lnTo>
                  <a:lnTo>
                    <a:pt x="138" y="279"/>
                  </a:lnTo>
                  <a:lnTo>
                    <a:pt x="69" y="190"/>
                  </a:lnTo>
                  <a:lnTo>
                    <a:pt x="50" y="123"/>
                  </a:lnTo>
                  <a:lnTo>
                    <a:pt x="30" y="111"/>
                  </a:lnTo>
                  <a:lnTo>
                    <a:pt x="6" y="13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63" name="Group 425"/>
            <p:cNvGrpSpPr>
              <a:grpSpLocks/>
            </p:cNvGrpSpPr>
            <p:nvPr>
              <p:custDataLst>
                <p:tags r:id="rId357"/>
              </p:custDataLst>
            </p:nvPr>
          </p:nvGrpSpPr>
          <p:grpSpPr bwMode="auto">
            <a:xfrm>
              <a:off x="4565898" y="3211513"/>
              <a:ext cx="257175" cy="280987"/>
              <a:chOff x="3051" y="1841"/>
              <a:chExt cx="175" cy="177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069" name="Freeform 426"/>
              <p:cNvSpPr>
                <a:spLocks/>
              </p:cNvSpPr>
              <p:nvPr/>
            </p:nvSpPr>
            <p:spPr bwMode="auto">
              <a:xfrm>
                <a:off x="3051" y="1841"/>
                <a:ext cx="175" cy="177"/>
              </a:xfrm>
              <a:custGeom>
                <a:avLst/>
                <a:gdLst>
                  <a:gd name="T0" fmla="*/ 0 w 175"/>
                  <a:gd name="T1" fmla="*/ 0 h 355"/>
                  <a:gd name="T2" fmla="*/ 0 w 175"/>
                  <a:gd name="T3" fmla="*/ 0 h 355"/>
                  <a:gd name="T4" fmla="*/ 25 w 175"/>
                  <a:gd name="T5" fmla="*/ 0 h 355"/>
                  <a:gd name="T6" fmla="*/ 30 w 175"/>
                  <a:gd name="T7" fmla="*/ 0 h 355"/>
                  <a:gd name="T8" fmla="*/ 56 w 175"/>
                  <a:gd name="T9" fmla="*/ 0 h 355"/>
                  <a:gd name="T10" fmla="*/ 81 w 175"/>
                  <a:gd name="T11" fmla="*/ 0 h 355"/>
                  <a:gd name="T12" fmla="*/ 107 w 175"/>
                  <a:gd name="T13" fmla="*/ 0 h 355"/>
                  <a:gd name="T14" fmla="*/ 107 w 175"/>
                  <a:gd name="T15" fmla="*/ 0 h 355"/>
                  <a:gd name="T16" fmla="*/ 81 w 175"/>
                  <a:gd name="T17" fmla="*/ 0 h 355"/>
                  <a:gd name="T18" fmla="*/ 88 w 175"/>
                  <a:gd name="T19" fmla="*/ 0 h 355"/>
                  <a:gd name="T20" fmla="*/ 119 w 175"/>
                  <a:gd name="T21" fmla="*/ 0 h 355"/>
                  <a:gd name="T22" fmla="*/ 144 w 175"/>
                  <a:gd name="T23" fmla="*/ 0 h 355"/>
                  <a:gd name="T24" fmla="*/ 144 w 175"/>
                  <a:gd name="T25" fmla="*/ 0 h 355"/>
                  <a:gd name="T26" fmla="*/ 175 w 175"/>
                  <a:gd name="T27" fmla="*/ 0 h 355"/>
                  <a:gd name="T28" fmla="*/ 149 w 175"/>
                  <a:gd name="T29" fmla="*/ 0 h 355"/>
                  <a:gd name="T30" fmla="*/ 157 w 175"/>
                  <a:gd name="T31" fmla="*/ 0 h 355"/>
                  <a:gd name="T32" fmla="*/ 144 w 175"/>
                  <a:gd name="T33" fmla="*/ 0 h 355"/>
                  <a:gd name="T34" fmla="*/ 138 w 175"/>
                  <a:gd name="T35" fmla="*/ 0 h 355"/>
                  <a:gd name="T36" fmla="*/ 69 w 175"/>
                  <a:gd name="T37" fmla="*/ 0 h 355"/>
                  <a:gd name="T38" fmla="*/ 50 w 175"/>
                  <a:gd name="T39" fmla="*/ 0 h 355"/>
                  <a:gd name="T40" fmla="*/ 30 w 175"/>
                  <a:gd name="T41" fmla="*/ 0 h 355"/>
                  <a:gd name="T42" fmla="*/ 6 w 175"/>
                  <a:gd name="T43" fmla="*/ 0 h 355"/>
                  <a:gd name="T44" fmla="*/ 0 w 175"/>
                  <a:gd name="T45" fmla="*/ 0 h 35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75" h="355">
                    <a:moveTo>
                      <a:pt x="0" y="88"/>
                    </a:moveTo>
                    <a:lnTo>
                      <a:pt x="0" y="54"/>
                    </a:lnTo>
                    <a:lnTo>
                      <a:pt x="25" y="33"/>
                    </a:lnTo>
                    <a:lnTo>
                      <a:pt x="30" y="44"/>
                    </a:lnTo>
                    <a:lnTo>
                      <a:pt x="56" y="10"/>
                    </a:lnTo>
                    <a:lnTo>
                      <a:pt x="81" y="0"/>
                    </a:lnTo>
                    <a:lnTo>
                      <a:pt x="107" y="33"/>
                    </a:lnTo>
                    <a:lnTo>
                      <a:pt x="107" y="67"/>
                    </a:lnTo>
                    <a:lnTo>
                      <a:pt x="81" y="67"/>
                    </a:lnTo>
                    <a:lnTo>
                      <a:pt x="88" y="123"/>
                    </a:lnTo>
                    <a:lnTo>
                      <a:pt x="119" y="200"/>
                    </a:lnTo>
                    <a:lnTo>
                      <a:pt x="144" y="200"/>
                    </a:lnTo>
                    <a:lnTo>
                      <a:pt x="144" y="223"/>
                    </a:lnTo>
                    <a:lnTo>
                      <a:pt x="175" y="267"/>
                    </a:lnTo>
                    <a:lnTo>
                      <a:pt x="149" y="267"/>
                    </a:lnTo>
                    <a:lnTo>
                      <a:pt x="157" y="311"/>
                    </a:lnTo>
                    <a:lnTo>
                      <a:pt x="144" y="355"/>
                    </a:lnTo>
                    <a:lnTo>
                      <a:pt x="138" y="279"/>
                    </a:lnTo>
                    <a:lnTo>
                      <a:pt x="69" y="190"/>
                    </a:lnTo>
                    <a:lnTo>
                      <a:pt x="50" y="123"/>
                    </a:lnTo>
                    <a:lnTo>
                      <a:pt x="30" y="111"/>
                    </a:lnTo>
                    <a:lnTo>
                      <a:pt x="6" y="133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70" name="Freeform 427"/>
              <p:cNvSpPr>
                <a:spLocks/>
              </p:cNvSpPr>
              <p:nvPr/>
            </p:nvSpPr>
            <p:spPr bwMode="auto">
              <a:xfrm>
                <a:off x="3051" y="1841"/>
                <a:ext cx="175" cy="177"/>
              </a:xfrm>
              <a:custGeom>
                <a:avLst/>
                <a:gdLst>
                  <a:gd name="T0" fmla="*/ 0 w 175"/>
                  <a:gd name="T1" fmla="*/ 0 h 355"/>
                  <a:gd name="T2" fmla="*/ 0 w 175"/>
                  <a:gd name="T3" fmla="*/ 0 h 355"/>
                  <a:gd name="T4" fmla="*/ 25 w 175"/>
                  <a:gd name="T5" fmla="*/ 0 h 355"/>
                  <a:gd name="T6" fmla="*/ 30 w 175"/>
                  <a:gd name="T7" fmla="*/ 0 h 355"/>
                  <a:gd name="T8" fmla="*/ 56 w 175"/>
                  <a:gd name="T9" fmla="*/ 0 h 355"/>
                  <a:gd name="T10" fmla="*/ 81 w 175"/>
                  <a:gd name="T11" fmla="*/ 0 h 355"/>
                  <a:gd name="T12" fmla="*/ 107 w 175"/>
                  <a:gd name="T13" fmla="*/ 0 h 355"/>
                  <a:gd name="T14" fmla="*/ 107 w 175"/>
                  <a:gd name="T15" fmla="*/ 0 h 355"/>
                  <a:gd name="T16" fmla="*/ 81 w 175"/>
                  <a:gd name="T17" fmla="*/ 0 h 355"/>
                  <a:gd name="T18" fmla="*/ 88 w 175"/>
                  <a:gd name="T19" fmla="*/ 0 h 355"/>
                  <a:gd name="T20" fmla="*/ 119 w 175"/>
                  <a:gd name="T21" fmla="*/ 0 h 355"/>
                  <a:gd name="T22" fmla="*/ 144 w 175"/>
                  <a:gd name="T23" fmla="*/ 0 h 355"/>
                  <a:gd name="T24" fmla="*/ 144 w 175"/>
                  <a:gd name="T25" fmla="*/ 0 h 355"/>
                  <a:gd name="T26" fmla="*/ 175 w 175"/>
                  <a:gd name="T27" fmla="*/ 0 h 355"/>
                  <a:gd name="T28" fmla="*/ 149 w 175"/>
                  <a:gd name="T29" fmla="*/ 0 h 355"/>
                  <a:gd name="T30" fmla="*/ 157 w 175"/>
                  <a:gd name="T31" fmla="*/ 0 h 355"/>
                  <a:gd name="T32" fmla="*/ 144 w 175"/>
                  <a:gd name="T33" fmla="*/ 0 h 355"/>
                  <a:gd name="T34" fmla="*/ 138 w 175"/>
                  <a:gd name="T35" fmla="*/ 0 h 355"/>
                  <a:gd name="T36" fmla="*/ 69 w 175"/>
                  <a:gd name="T37" fmla="*/ 0 h 355"/>
                  <a:gd name="T38" fmla="*/ 50 w 175"/>
                  <a:gd name="T39" fmla="*/ 0 h 355"/>
                  <a:gd name="T40" fmla="*/ 30 w 175"/>
                  <a:gd name="T41" fmla="*/ 0 h 355"/>
                  <a:gd name="T42" fmla="*/ 6 w 175"/>
                  <a:gd name="T43" fmla="*/ 0 h 355"/>
                  <a:gd name="T44" fmla="*/ 0 w 175"/>
                  <a:gd name="T45" fmla="*/ 0 h 35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75" h="355">
                    <a:moveTo>
                      <a:pt x="0" y="88"/>
                    </a:moveTo>
                    <a:lnTo>
                      <a:pt x="0" y="54"/>
                    </a:lnTo>
                    <a:lnTo>
                      <a:pt x="25" y="33"/>
                    </a:lnTo>
                    <a:lnTo>
                      <a:pt x="30" y="44"/>
                    </a:lnTo>
                    <a:lnTo>
                      <a:pt x="56" y="10"/>
                    </a:lnTo>
                    <a:lnTo>
                      <a:pt x="81" y="0"/>
                    </a:lnTo>
                    <a:lnTo>
                      <a:pt x="107" y="33"/>
                    </a:lnTo>
                    <a:lnTo>
                      <a:pt x="107" y="67"/>
                    </a:lnTo>
                    <a:lnTo>
                      <a:pt x="81" y="67"/>
                    </a:lnTo>
                    <a:lnTo>
                      <a:pt x="88" y="123"/>
                    </a:lnTo>
                    <a:lnTo>
                      <a:pt x="119" y="200"/>
                    </a:lnTo>
                    <a:lnTo>
                      <a:pt x="144" y="200"/>
                    </a:lnTo>
                    <a:lnTo>
                      <a:pt x="144" y="223"/>
                    </a:lnTo>
                    <a:lnTo>
                      <a:pt x="175" y="267"/>
                    </a:lnTo>
                    <a:lnTo>
                      <a:pt x="149" y="267"/>
                    </a:lnTo>
                    <a:lnTo>
                      <a:pt x="157" y="311"/>
                    </a:lnTo>
                    <a:lnTo>
                      <a:pt x="144" y="355"/>
                    </a:lnTo>
                    <a:lnTo>
                      <a:pt x="138" y="279"/>
                    </a:lnTo>
                    <a:lnTo>
                      <a:pt x="69" y="190"/>
                    </a:lnTo>
                    <a:lnTo>
                      <a:pt x="50" y="123"/>
                    </a:lnTo>
                    <a:lnTo>
                      <a:pt x="30" y="111"/>
                    </a:lnTo>
                    <a:lnTo>
                      <a:pt x="6" y="133"/>
                    </a:lnTo>
                    <a:lnTo>
                      <a:pt x="0" y="88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64" name="Freeform 428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4594473" y="3386138"/>
              <a:ext cx="36513" cy="71437"/>
            </a:xfrm>
            <a:custGeom>
              <a:avLst/>
              <a:gdLst>
                <a:gd name="T0" fmla="*/ 0 w 25"/>
                <a:gd name="T1" fmla="*/ 2147483647 h 90"/>
                <a:gd name="T2" fmla="*/ 2147483647 w 25"/>
                <a:gd name="T3" fmla="*/ 2147483647 h 90"/>
                <a:gd name="T4" fmla="*/ 2147483647 w 25"/>
                <a:gd name="T5" fmla="*/ 2147483647 h 90"/>
                <a:gd name="T6" fmla="*/ 2147483647 w 25"/>
                <a:gd name="T7" fmla="*/ 2147483647 h 90"/>
                <a:gd name="T8" fmla="*/ 2147483647 w 25"/>
                <a:gd name="T9" fmla="*/ 0 h 90"/>
                <a:gd name="T10" fmla="*/ 0 w 25"/>
                <a:gd name="T11" fmla="*/ 2147483647 h 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90">
                  <a:moveTo>
                    <a:pt x="0" y="23"/>
                  </a:moveTo>
                  <a:lnTo>
                    <a:pt x="6" y="90"/>
                  </a:lnTo>
                  <a:lnTo>
                    <a:pt x="11" y="90"/>
                  </a:lnTo>
                  <a:lnTo>
                    <a:pt x="25" y="46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65" name="Freeform 429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4594473" y="3386138"/>
              <a:ext cx="36513" cy="71437"/>
            </a:xfrm>
            <a:custGeom>
              <a:avLst/>
              <a:gdLst>
                <a:gd name="T0" fmla="*/ 0 w 25"/>
                <a:gd name="T1" fmla="*/ 2147483647 h 90"/>
                <a:gd name="T2" fmla="*/ 2147483647 w 25"/>
                <a:gd name="T3" fmla="*/ 2147483647 h 90"/>
                <a:gd name="T4" fmla="*/ 2147483647 w 25"/>
                <a:gd name="T5" fmla="*/ 2147483647 h 90"/>
                <a:gd name="T6" fmla="*/ 2147483647 w 25"/>
                <a:gd name="T7" fmla="*/ 2147483647 h 90"/>
                <a:gd name="T8" fmla="*/ 2147483647 w 25"/>
                <a:gd name="T9" fmla="*/ 0 h 90"/>
                <a:gd name="T10" fmla="*/ 0 w 25"/>
                <a:gd name="T11" fmla="*/ 2147483647 h 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90">
                  <a:moveTo>
                    <a:pt x="0" y="23"/>
                  </a:moveTo>
                  <a:lnTo>
                    <a:pt x="6" y="90"/>
                  </a:lnTo>
                  <a:lnTo>
                    <a:pt x="11" y="90"/>
                  </a:lnTo>
                  <a:lnTo>
                    <a:pt x="25" y="46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66" name="Freeform 430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4594473" y="3386138"/>
              <a:ext cx="36513" cy="71437"/>
            </a:xfrm>
            <a:custGeom>
              <a:avLst/>
              <a:gdLst>
                <a:gd name="T0" fmla="*/ 0 w 25"/>
                <a:gd name="T1" fmla="*/ 2147483647 h 90"/>
                <a:gd name="T2" fmla="*/ 2147483647 w 25"/>
                <a:gd name="T3" fmla="*/ 2147483647 h 90"/>
                <a:gd name="T4" fmla="*/ 2147483647 w 25"/>
                <a:gd name="T5" fmla="*/ 2147483647 h 90"/>
                <a:gd name="T6" fmla="*/ 2147483647 w 25"/>
                <a:gd name="T7" fmla="*/ 2147483647 h 90"/>
                <a:gd name="T8" fmla="*/ 2147483647 w 25"/>
                <a:gd name="T9" fmla="*/ 0 h 90"/>
                <a:gd name="T10" fmla="*/ 0 w 25"/>
                <a:gd name="T11" fmla="*/ 2147483647 h 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90">
                  <a:moveTo>
                    <a:pt x="0" y="23"/>
                  </a:moveTo>
                  <a:lnTo>
                    <a:pt x="6" y="90"/>
                  </a:lnTo>
                  <a:lnTo>
                    <a:pt x="11" y="90"/>
                  </a:lnTo>
                  <a:lnTo>
                    <a:pt x="25" y="46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67" name="Freeform 431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4594473" y="3386138"/>
              <a:ext cx="36513" cy="71437"/>
            </a:xfrm>
            <a:custGeom>
              <a:avLst/>
              <a:gdLst>
                <a:gd name="T0" fmla="*/ 0 w 25"/>
                <a:gd name="T1" fmla="*/ 2147483647 h 90"/>
                <a:gd name="T2" fmla="*/ 2147483647 w 25"/>
                <a:gd name="T3" fmla="*/ 2147483647 h 90"/>
                <a:gd name="T4" fmla="*/ 2147483647 w 25"/>
                <a:gd name="T5" fmla="*/ 2147483647 h 90"/>
                <a:gd name="T6" fmla="*/ 2147483647 w 25"/>
                <a:gd name="T7" fmla="*/ 2147483647 h 90"/>
                <a:gd name="T8" fmla="*/ 2147483647 w 25"/>
                <a:gd name="T9" fmla="*/ 0 h 90"/>
                <a:gd name="T10" fmla="*/ 0 w 25"/>
                <a:gd name="T11" fmla="*/ 2147483647 h 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90">
                  <a:moveTo>
                    <a:pt x="0" y="23"/>
                  </a:moveTo>
                  <a:lnTo>
                    <a:pt x="6" y="90"/>
                  </a:lnTo>
                  <a:lnTo>
                    <a:pt x="11" y="90"/>
                  </a:lnTo>
                  <a:lnTo>
                    <a:pt x="25" y="46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68" name="Freeform 432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4696073" y="3484563"/>
              <a:ext cx="73025" cy="44450"/>
            </a:xfrm>
            <a:custGeom>
              <a:avLst/>
              <a:gdLst>
                <a:gd name="T0" fmla="*/ 0 w 50"/>
                <a:gd name="T1" fmla="*/ 2147483647 h 55"/>
                <a:gd name="T2" fmla="*/ 2147483647 w 50"/>
                <a:gd name="T3" fmla="*/ 2147483647 h 55"/>
                <a:gd name="T4" fmla="*/ 2147483647 w 50"/>
                <a:gd name="T5" fmla="*/ 0 h 55"/>
                <a:gd name="T6" fmla="*/ 0 w 50"/>
                <a:gd name="T7" fmla="*/ 2147483647 h 5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55">
                  <a:moveTo>
                    <a:pt x="0" y="9"/>
                  </a:moveTo>
                  <a:lnTo>
                    <a:pt x="37" y="55"/>
                  </a:lnTo>
                  <a:lnTo>
                    <a:pt x="5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69" name="Group 433"/>
            <p:cNvGrpSpPr>
              <a:grpSpLocks/>
            </p:cNvGrpSpPr>
            <p:nvPr>
              <p:custDataLst>
                <p:tags r:id="rId363"/>
              </p:custDataLst>
            </p:nvPr>
          </p:nvGrpSpPr>
          <p:grpSpPr bwMode="auto">
            <a:xfrm>
              <a:off x="4696073" y="3484563"/>
              <a:ext cx="73025" cy="44450"/>
              <a:chOff x="3139" y="2013"/>
              <a:chExt cx="50" cy="28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67" name="Freeform 434"/>
              <p:cNvSpPr>
                <a:spLocks/>
              </p:cNvSpPr>
              <p:nvPr/>
            </p:nvSpPr>
            <p:spPr bwMode="auto">
              <a:xfrm>
                <a:off x="3139" y="2013"/>
                <a:ext cx="50" cy="28"/>
              </a:xfrm>
              <a:custGeom>
                <a:avLst/>
                <a:gdLst>
                  <a:gd name="T0" fmla="*/ 0 w 50"/>
                  <a:gd name="T1" fmla="*/ 1 h 55"/>
                  <a:gd name="T2" fmla="*/ 37 w 50"/>
                  <a:gd name="T3" fmla="*/ 1 h 55"/>
                  <a:gd name="T4" fmla="*/ 50 w 50"/>
                  <a:gd name="T5" fmla="*/ 0 h 55"/>
                  <a:gd name="T6" fmla="*/ 0 w 50"/>
                  <a:gd name="T7" fmla="*/ 1 h 5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0" h="55">
                    <a:moveTo>
                      <a:pt x="0" y="9"/>
                    </a:moveTo>
                    <a:lnTo>
                      <a:pt x="37" y="55"/>
                    </a:lnTo>
                    <a:lnTo>
                      <a:pt x="5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68" name="Freeform 435"/>
              <p:cNvSpPr>
                <a:spLocks/>
              </p:cNvSpPr>
              <p:nvPr/>
            </p:nvSpPr>
            <p:spPr bwMode="auto">
              <a:xfrm>
                <a:off x="3139" y="2013"/>
                <a:ext cx="50" cy="28"/>
              </a:xfrm>
              <a:custGeom>
                <a:avLst/>
                <a:gdLst>
                  <a:gd name="T0" fmla="*/ 0 w 50"/>
                  <a:gd name="T1" fmla="*/ 1 h 55"/>
                  <a:gd name="T2" fmla="*/ 37 w 50"/>
                  <a:gd name="T3" fmla="*/ 1 h 55"/>
                  <a:gd name="T4" fmla="*/ 50 w 50"/>
                  <a:gd name="T5" fmla="*/ 0 h 55"/>
                  <a:gd name="T6" fmla="*/ 0 w 50"/>
                  <a:gd name="T7" fmla="*/ 1 h 5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0" h="55">
                    <a:moveTo>
                      <a:pt x="0" y="9"/>
                    </a:moveTo>
                    <a:lnTo>
                      <a:pt x="37" y="55"/>
                    </a:lnTo>
                    <a:lnTo>
                      <a:pt x="50" y="0"/>
                    </a:lnTo>
                    <a:lnTo>
                      <a:pt x="0" y="9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70" name="Freeform 436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4696073" y="3484563"/>
              <a:ext cx="73025" cy="44450"/>
            </a:xfrm>
            <a:custGeom>
              <a:avLst/>
              <a:gdLst>
                <a:gd name="T0" fmla="*/ 0 w 50"/>
                <a:gd name="T1" fmla="*/ 2147483647 h 55"/>
                <a:gd name="T2" fmla="*/ 2147483647 w 50"/>
                <a:gd name="T3" fmla="*/ 2147483647 h 55"/>
                <a:gd name="T4" fmla="*/ 2147483647 w 50"/>
                <a:gd name="T5" fmla="*/ 0 h 55"/>
                <a:gd name="T6" fmla="*/ 0 w 50"/>
                <a:gd name="T7" fmla="*/ 2147483647 h 5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55">
                  <a:moveTo>
                    <a:pt x="0" y="9"/>
                  </a:moveTo>
                  <a:lnTo>
                    <a:pt x="37" y="55"/>
                  </a:lnTo>
                  <a:lnTo>
                    <a:pt x="5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71" name="Group 437"/>
            <p:cNvGrpSpPr>
              <a:grpSpLocks/>
            </p:cNvGrpSpPr>
            <p:nvPr>
              <p:custDataLst>
                <p:tags r:id="rId365"/>
              </p:custDataLst>
            </p:nvPr>
          </p:nvGrpSpPr>
          <p:grpSpPr bwMode="auto">
            <a:xfrm>
              <a:off x="4696073" y="3484563"/>
              <a:ext cx="73025" cy="44450"/>
              <a:chOff x="3139" y="2013"/>
              <a:chExt cx="50" cy="28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65" name="Freeform 438"/>
              <p:cNvSpPr>
                <a:spLocks/>
              </p:cNvSpPr>
              <p:nvPr/>
            </p:nvSpPr>
            <p:spPr bwMode="auto">
              <a:xfrm>
                <a:off x="3139" y="2013"/>
                <a:ext cx="50" cy="28"/>
              </a:xfrm>
              <a:custGeom>
                <a:avLst/>
                <a:gdLst>
                  <a:gd name="T0" fmla="*/ 0 w 50"/>
                  <a:gd name="T1" fmla="*/ 1 h 55"/>
                  <a:gd name="T2" fmla="*/ 37 w 50"/>
                  <a:gd name="T3" fmla="*/ 1 h 55"/>
                  <a:gd name="T4" fmla="*/ 50 w 50"/>
                  <a:gd name="T5" fmla="*/ 0 h 55"/>
                  <a:gd name="T6" fmla="*/ 0 w 50"/>
                  <a:gd name="T7" fmla="*/ 1 h 5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0" h="55">
                    <a:moveTo>
                      <a:pt x="0" y="9"/>
                    </a:moveTo>
                    <a:lnTo>
                      <a:pt x="37" y="55"/>
                    </a:lnTo>
                    <a:lnTo>
                      <a:pt x="5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66" name="Freeform 439"/>
              <p:cNvSpPr>
                <a:spLocks/>
              </p:cNvSpPr>
              <p:nvPr/>
            </p:nvSpPr>
            <p:spPr bwMode="auto">
              <a:xfrm>
                <a:off x="3139" y="2013"/>
                <a:ext cx="50" cy="28"/>
              </a:xfrm>
              <a:custGeom>
                <a:avLst/>
                <a:gdLst>
                  <a:gd name="T0" fmla="*/ 0 w 50"/>
                  <a:gd name="T1" fmla="*/ 1 h 55"/>
                  <a:gd name="T2" fmla="*/ 37 w 50"/>
                  <a:gd name="T3" fmla="*/ 1 h 55"/>
                  <a:gd name="T4" fmla="*/ 50 w 50"/>
                  <a:gd name="T5" fmla="*/ 0 h 55"/>
                  <a:gd name="T6" fmla="*/ 0 w 50"/>
                  <a:gd name="T7" fmla="*/ 1 h 5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0" h="55">
                    <a:moveTo>
                      <a:pt x="0" y="9"/>
                    </a:moveTo>
                    <a:lnTo>
                      <a:pt x="37" y="55"/>
                    </a:lnTo>
                    <a:lnTo>
                      <a:pt x="50" y="0"/>
                    </a:lnTo>
                    <a:lnTo>
                      <a:pt x="0" y="9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72" name="Freeform 44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7363073" y="3608388"/>
              <a:ext cx="55563" cy="69850"/>
            </a:xfrm>
            <a:custGeom>
              <a:avLst/>
              <a:gdLst>
                <a:gd name="T0" fmla="*/ 0 w 37"/>
                <a:gd name="T1" fmla="*/ 2147483647 h 89"/>
                <a:gd name="T2" fmla="*/ 2147483647 w 37"/>
                <a:gd name="T3" fmla="*/ 2147483647 h 89"/>
                <a:gd name="T4" fmla="*/ 2147483647 w 37"/>
                <a:gd name="T5" fmla="*/ 2147483647 h 89"/>
                <a:gd name="T6" fmla="*/ 2147483647 w 37"/>
                <a:gd name="T7" fmla="*/ 2147483647 h 89"/>
                <a:gd name="T8" fmla="*/ 2147483647 w 37"/>
                <a:gd name="T9" fmla="*/ 2147483647 h 89"/>
                <a:gd name="T10" fmla="*/ 2147483647 w 37"/>
                <a:gd name="T11" fmla="*/ 2147483647 h 89"/>
                <a:gd name="T12" fmla="*/ 2147483647 w 37"/>
                <a:gd name="T13" fmla="*/ 2147483647 h 89"/>
                <a:gd name="T14" fmla="*/ 2147483647 w 37"/>
                <a:gd name="T15" fmla="*/ 2147483647 h 89"/>
                <a:gd name="T16" fmla="*/ 2147483647 w 37"/>
                <a:gd name="T17" fmla="*/ 0 h 89"/>
                <a:gd name="T18" fmla="*/ 0 w 37"/>
                <a:gd name="T19" fmla="*/ 2147483647 h 8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7" h="89">
                  <a:moveTo>
                    <a:pt x="0" y="21"/>
                  </a:moveTo>
                  <a:lnTo>
                    <a:pt x="6" y="44"/>
                  </a:lnTo>
                  <a:lnTo>
                    <a:pt x="12" y="21"/>
                  </a:lnTo>
                  <a:lnTo>
                    <a:pt x="18" y="44"/>
                  </a:lnTo>
                  <a:lnTo>
                    <a:pt x="12" y="89"/>
                  </a:lnTo>
                  <a:lnTo>
                    <a:pt x="31" y="89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8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73" name="Group 441"/>
            <p:cNvGrpSpPr>
              <a:grpSpLocks/>
            </p:cNvGrpSpPr>
            <p:nvPr>
              <p:custDataLst>
                <p:tags r:id="rId367"/>
              </p:custDataLst>
            </p:nvPr>
          </p:nvGrpSpPr>
          <p:grpSpPr bwMode="auto">
            <a:xfrm>
              <a:off x="7363073" y="3608388"/>
              <a:ext cx="55563" cy="69850"/>
              <a:chOff x="4960" y="2091"/>
              <a:chExt cx="37" cy="44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63" name="Freeform 442"/>
              <p:cNvSpPr>
                <a:spLocks/>
              </p:cNvSpPr>
              <p:nvPr/>
            </p:nvSpPr>
            <p:spPr bwMode="auto">
              <a:xfrm>
                <a:off x="4960" y="2091"/>
                <a:ext cx="37" cy="44"/>
              </a:xfrm>
              <a:custGeom>
                <a:avLst/>
                <a:gdLst>
                  <a:gd name="T0" fmla="*/ 0 w 37"/>
                  <a:gd name="T1" fmla="*/ 0 h 89"/>
                  <a:gd name="T2" fmla="*/ 6 w 37"/>
                  <a:gd name="T3" fmla="*/ 0 h 89"/>
                  <a:gd name="T4" fmla="*/ 12 w 37"/>
                  <a:gd name="T5" fmla="*/ 0 h 89"/>
                  <a:gd name="T6" fmla="*/ 18 w 37"/>
                  <a:gd name="T7" fmla="*/ 0 h 89"/>
                  <a:gd name="T8" fmla="*/ 12 w 37"/>
                  <a:gd name="T9" fmla="*/ 0 h 89"/>
                  <a:gd name="T10" fmla="*/ 31 w 37"/>
                  <a:gd name="T11" fmla="*/ 0 h 89"/>
                  <a:gd name="T12" fmla="*/ 37 w 37"/>
                  <a:gd name="T13" fmla="*/ 0 h 89"/>
                  <a:gd name="T14" fmla="*/ 31 w 37"/>
                  <a:gd name="T15" fmla="*/ 0 h 89"/>
                  <a:gd name="T16" fmla="*/ 18 w 37"/>
                  <a:gd name="T17" fmla="*/ 0 h 89"/>
                  <a:gd name="T18" fmla="*/ 0 w 37"/>
                  <a:gd name="T19" fmla="*/ 0 h 8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89">
                    <a:moveTo>
                      <a:pt x="0" y="21"/>
                    </a:moveTo>
                    <a:lnTo>
                      <a:pt x="6" y="44"/>
                    </a:lnTo>
                    <a:lnTo>
                      <a:pt x="12" y="21"/>
                    </a:lnTo>
                    <a:lnTo>
                      <a:pt x="18" y="44"/>
                    </a:lnTo>
                    <a:lnTo>
                      <a:pt x="12" y="89"/>
                    </a:lnTo>
                    <a:lnTo>
                      <a:pt x="31" y="89"/>
                    </a:lnTo>
                    <a:lnTo>
                      <a:pt x="37" y="35"/>
                    </a:lnTo>
                    <a:lnTo>
                      <a:pt x="31" y="12"/>
                    </a:lnTo>
                    <a:lnTo>
                      <a:pt x="18" y="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64" name="Freeform 443"/>
              <p:cNvSpPr>
                <a:spLocks/>
              </p:cNvSpPr>
              <p:nvPr/>
            </p:nvSpPr>
            <p:spPr bwMode="auto">
              <a:xfrm>
                <a:off x="4960" y="2091"/>
                <a:ext cx="37" cy="44"/>
              </a:xfrm>
              <a:custGeom>
                <a:avLst/>
                <a:gdLst>
                  <a:gd name="T0" fmla="*/ 0 w 37"/>
                  <a:gd name="T1" fmla="*/ 0 h 89"/>
                  <a:gd name="T2" fmla="*/ 6 w 37"/>
                  <a:gd name="T3" fmla="*/ 0 h 89"/>
                  <a:gd name="T4" fmla="*/ 12 w 37"/>
                  <a:gd name="T5" fmla="*/ 0 h 89"/>
                  <a:gd name="T6" fmla="*/ 18 w 37"/>
                  <a:gd name="T7" fmla="*/ 0 h 89"/>
                  <a:gd name="T8" fmla="*/ 12 w 37"/>
                  <a:gd name="T9" fmla="*/ 0 h 89"/>
                  <a:gd name="T10" fmla="*/ 31 w 37"/>
                  <a:gd name="T11" fmla="*/ 0 h 89"/>
                  <a:gd name="T12" fmla="*/ 37 w 37"/>
                  <a:gd name="T13" fmla="*/ 0 h 89"/>
                  <a:gd name="T14" fmla="*/ 31 w 37"/>
                  <a:gd name="T15" fmla="*/ 0 h 89"/>
                  <a:gd name="T16" fmla="*/ 18 w 37"/>
                  <a:gd name="T17" fmla="*/ 0 h 89"/>
                  <a:gd name="T18" fmla="*/ 0 w 37"/>
                  <a:gd name="T19" fmla="*/ 0 h 8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89">
                    <a:moveTo>
                      <a:pt x="0" y="21"/>
                    </a:moveTo>
                    <a:lnTo>
                      <a:pt x="6" y="44"/>
                    </a:lnTo>
                    <a:lnTo>
                      <a:pt x="12" y="21"/>
                    </a:lnTo>
                    <a:lnTo>
                      <a:pt x="18" y="44"/>
                    </a:lnTo>
                    <a:lnTo>
                      <a:pt x="12" y="89"/>
                    </a:lnTo>
                    <a:lnTo>
                      <a:pt x="31" y="89"/>
                    </a:lnTo>
                    <a:lnTo>
                      <a:pt x="37" y="35"/>
                    </a:lnTo>
                    <a:lnTo>
                      <a:pt x="31" y="12"/>
                    </a:lnTo>
                    <a:lnTo>
                      <a:pt x="18" y="0"/>
                    </a:lnTo>
                    <a:lnTo>
                      <a:pt x="0" y="21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74" name="Freeform 444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7363073" y="3608388"/>
              <a:ext cx="55563" cy="69850"/>
            </a:xfrm>
            <a:custGeom>
              <a:avLst/>
              <a:gdLst>
                <a:gd name="T0" fmla="*/ 0 w 37"/>
                <a:gd name="T1" fmla="*/ 2147483647 h 89"/>
                <a:gd name="T2" fmla="*/ 2147483647 w 37"/>
                <a:gd name="T3" fmla="*/ 2147483647 h 89"/>
                <a:gd name="T4" fmla="*/ 2147483647 w 37"/>
                <a:gd name="T5" fmla="*/ 2147483647 h 89"/>
                <a:gd name="T6" fmla="*/ 2147483647 w 37"/>
                <a:gd name="T7" fmla="*/ 2147483647 h 89"/>
                <a:gd name="T8" fmla="*/ 2147483647 w 37"/>
                <a:gd name="T9" fmla="*/ 2147483647 h 89"/>
                <a:gd name="T10" fmla="*/ 2147483647 w 37"/>
                <a:gd name="T11" fmla="*/ 2147483647 h 89"/>
                <a:gd name="T12" fmla="*/ 2147483647 w 37"/>
                <a:gd name="T13" fmla="*/ 2147483647 h 89"/>
                <a:gd name="T14" fmla="*/ 2147483647 w 37"/>
                <a:gd name="T15" fmla="*/ 2147483647 h 89"/>
                <a:gd name="T16" fmla="*/ 2147483647 w 37"/>
                <a:gd name="T17" fmla="*/ 0 h 89"/>
                <a:gd name="T18" fmla="*/ 0 w 37"/>
                <a:gd name="T19" fmla="*/ 2147483647 h 8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7" h="89">
                  <a:moveTo>
                    <a:pt x="0" y="21"/>
                  </a:moveTo>
                  <a:lnTo>
                    <a:pt x="6" y="44"/>
                  </a:lnTo>
                  <a:lnTo>
                    <a:pt x="12" y="21"/>
                  </a:lnTo>
                  <a:lnTo>
                    <a:pt x="18" y="44"/>
                  </a:lnTo>
                  <a:lnTo>
                    <a:pt x="12" y="89"/>
                  </a:lnTo>
                  <a:lnTo>
                    <a:pt x="31" y="89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8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75" name="Group 445"/>
            <p:cNvGrpSpPr>
              <a:grpSpLocks/>
            </p:cNvGrpSpPr>
            <p:nvPr>
              <p:custDataLst>
                <p:tags r:id="rId369"/>
              </p:custDataLst>
            </p:nvPr>
          </p:nvGrpSpPr>
          <p:grpSpPr bwMode="auto">
            <a:xfrm>
              <a:off x="7363073" y="3608388"/>
              <a:ext cx="55563" cy="69850"/>
              <a:chOff x="4960" y="2091"/>
              <a:chExt cx="37" cy="44"/>
            </a:xfrm>
            <a:solidFill>
              <a:srgbClr val="FFC000"/>
            </a:solidFill>
          </p:grpSpPr>
          <p:sp>
            <p:nvSpPr>
              <p:cNvPr id="1061" name="Freeform 446"/>
              <p:cNvSpPr>
                <a:spLocks/>
              </p:cNvSpPr>
              <p:nvPr/>
            </p:nvSpPr>
            <p:spPr bwMode="auto">
              <a:xfrm>
                <a:off x="4960" y="2091"/>
                <a:ext cx="37" cy="44"/>
              </a:xfrm>
              <a:custGeom>
                <a:avLst/>
                <a:gdLst>
                  <a:gd name="T0" fmla="*/ 0 w 37"/>
                  <a:gd name="T1" fmla="*/ 0 h 89"/>
                  <a:gd name="T2" fmla="*/ 6 w 37"/>
                  <a:gd name="T3" fmla="*/ 0 h 89"/>
                  <a:gd name="T4" fmla="*/ 12 w 37"/>
                  <a:gd name="T5" fmla="*/ 0 h 89"/>
                  <a:gd name="T6" fmla="*/ 18 w 37"/>
                  <a:gd name="T7" fmla="*/ 0 h 89"/>
                  <a:gd name="T8" fmla="*/ 12 w 37"/>
                  <a:gd name="T9" fmla="*/ 0 h 89"/>
                  <a:gd name="T10" fmla="*/ 31 w 37"/>
                  <a:gd name="T11" fmla="*/ 0 h 89"/>
                  <a:gd name="T12" fmla="*/ 37 w 37"/>
                  <a:gd name="T13" fmla="*/ 0 h 89"/>
                  <a:gd name="T14" fmla="*/ 31 w 37"/>
                  <a:gd name="T15" fmla="*/ 0 h 89"/>
                  <a:gd name="T16" fmla="*/ 18 w 37"/>
                  <a:gd name="T17" fmla="*/ 0 h 89"/>
                  <a:gd name="T18" fmla="*/ 0 w 37"/>
                  <a:gd name="T19" fmla="*/ 0 h 8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89">
                    <a:moveTo>
                      <a:pt x="0" y="21"/>
                    </a:moveTo>
                    <a:lnTo>
                      <a:pt x="6" y="44"/>
                    </a:lnTo>
                    <a:lnTo>
                      <a:pt x="12" y="21"/>
                    </a:lnTo>
                    <a:lnTo>
                      <a:pt x="18" y="44"/>
                    </a:lnTo>
                    <a:lnTo>
                      <a:pt x="12" y="89"/>
                    </a:lnTo>
                    <a:lnTo>
                      <a:pt x="31" y="89"/>
                    </a:lnTo>
                    <a:lnTo>
                      <a:pt x="37" y="35"/>
                    </a:lnTo>
                    <a:lnTo>
                      <a:pt x="31" y="12"/>
                    </a:lnTo>
                    <a:lnTo>
                      <a:pt x="18" y="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62" name="Freeform 447"/>
              <p:cNvSpPr>
                <a:spLocks/>
              </p:cNvSpPr>
              <p:nvPr/>
            </p:nvSpPr>
            <p:spPr bwMode="auto">
              <a:xfrm>
                <a:off x="4960" y="2091"/>
                <a:ext cx="37" cy="44"/>
              </a:xfrm>
              <a:custGeom>
                <a:avLst/>
                <a:gdLst>
                  <a:gd name="T0" fmla="*/ 0 w 37"/>
                  <a:gd name="T1" fmla="*/ 0 h 89"/>
                  <a:gd name="T2" fmla="*/ 6 w 37"/>
                  <a:gd name="T3" fmla="*/ 0 h 89"/>
                  <a:gd name="T4" fmla="*/ 12 w 37"/>
                  <a:gd name="T5" fmla="*/ 0 h 89"/>
                  <a:gd name="T6" fmla="*/ 18 w 37"/>
                  <a:gd name="T7" fmla="*/ 0 h 89"/>
                  <a:gd name="T8" fmla="*/ 12 w 37"/>
                  <a:gd name="T9" fmla="*/ 0 h 89"/>
                  <a:gd name="T10" fmla="*/ 31 w 37"/>
                  <a:gd name="T11" fmla="*/ 0 h 89"/>
                  <a:gd name="T12" fmla="*/ 37 w 37"/>
                  <a:gd name="T13" fmla="*/ 0 h 89"/>
                  <a:gd name="T14" fmla="*/ 31 w 37"/>
                  <a:gd name="T15" fmla="*/ 0 h 89"/>
                  <a:gd name="T16" fmla="*/ 18 w 37"/>
                  <a:gd name="T17" fmla="*/ 0 h 89"/>
                  <a:gd name="T18" fmla="*/ 0 w 37"/>
                  <a:gd name="T19" fmla="*/ 0 h 8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89">
                    <a:moveTo>
                      <a:pt x="0" y="21"/>
                    </a:moveTo>
                    <a:lnTo>
                      <a:pt x="6" y="44"/>
                    </a:lnTo>
                    <a:lnTo>
                      <a:pt x="12" y="21"/>
                    </a:lnTo>
                    <a:lnTo>
                      <a:pt x="18" y="44"/>
                    </a:lnTo>
                    <a:lnTo>
                      <a:pt x="12" y="89"/>
                    </a:lnTo>
                    <a:lnTo>
                      <a:pt x="31" y="89"/>
                    </a:lnTo>
                    <a:lnTo>
                      <a:pt x="37" y="35"/>
                    </a:lnTo>
                    <a:lnTo>
                      <a:pt x="31" y="12"/>
                    </a:lnTo>
                    <a:lnTo>
                      <a:pt x="18" y="0"/>
                    </a:lnTo>
                    <a:lnTo>
                      <a:pt x="0" y="21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76" name="Freeform 448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7390061" y="3386138"/>
              <a:ext cx="257175" cy="230187"/>
            </a:xfrm>
            <a:custGeom>
              <a:avLst/>
              <a:gdLst>
                <a:gd name="T0" fmla="*/ 0 w 175"/>
                <a:gd name="T1" fmla="*/ 2147483647 h 290"/>
                <a:gd name="T2" fmla="*/ 2147483647 w 175"/>
                <a:gd name="T3" fmla="*/ 2147483647 h 290"/>
                <a:gd name="T4" fmla="*/ 2147483647 w 175"/>
                <a:gd name="T5" fmla="*/ 2147483647 h 290"/>
                <a:gd name="T6" fmla="*/ 2147483647 w 175"/>
                <a:gd name="T7" fmla="*/ 2147483647 h 290"/>
                <a:gd name="T8" fmla="*/ 2147483647 w 175"/>
                <a:gd name="T9" fmla="*/ 2147483647 h 290"/>
                <a:gd name="T10" fmla="*/ 2147483647 w 175"/>
                <a:gd name="T11" fmla="*/ 2147483647 h 290"/>
                <a:gd name="T12" fmla="*/ 2147483647 w 175"/>
                <a:gd name="T13" fmla="*/ 2147483647 h 290"/>
                <a:gd name="T14" fmla="*/ 2147483647 w 175"/>
                <a:gd name="T15" fmla="*/ 2147483647 h 290"/>
                <a:gd name="T16" fmla="*/ 2147483647 w 175"/>
                <a:gd name="T17" fmla="*/ 2147483647 h 290"/>
                <a:gd name="T18" fmla="*/ 2147483647 w 175"/>
                <a:gd name="T19" fmla="*/ 2147483647 h 290"/>
                <a:gd name="T20" fmla="*/ 2147483647 w 175"/>
                <a:gd name="T21" fmla="*/ 0 h 290"/>
                <a:gd name="T22" fmla="*/ 2147483647 w 175"/>
                <a:gd name="T23" fmla="*/ 0 h 290"/>
                <a:gd name="T24" fmla="*/ 2147483647 w 175"/>
                <a:gd name="T25" fmla="*/ 2147483647 h 290"/>
                <a:gd name="T26" fmla="*/ 2147483647 w 175"/>
                <a:gd name="T27" fmla="*/ 2147483647 h 290"/>
                <a:gd name="T28" fmla="*/ 2147483647 w 175"/>
                <a:gd name="T29" fmla="*/ 2147483647 h 290"/>
                <a:gd name="T30" fmla="*/ 2147483647 w 175"/>
                <a:gd name="T31" fmla="*/ 2147483647 h 290"/>
                <a:gd name="T32" fmla="*/ 2147483647 w 175"/>
                <a:gd name="T33" fmla="*/ 2147483647 h 290"/>
                <a:gd name="T34" fmla="*/ 2147483647 w 175"/>
                <a:gd name="T35" fmla="*/ 2147483647 h 290"/>
                <a:gd name="T36" fmla="*/ 2147483647 w 175"/>
                <a:gd name="T37" fmla="*/ 2147483647 h 290"/>
                <a:gd name="T38" fmla="*/ 2147483647 w 175"/>
                <a:gd name="T39" fmla="*/ 2147483647 h 290"/>
                <a:gd name="T40" fmla="*/ 2147483647 w 175"/>
                <a:gd name="T41" fmla="*/ 2147483647 h 290"/>
                <a:gd name="T42" fmla="*/ 2147483647 w 175"/>
                <a:gd name="T43" fmla="*/ 2147483647 h 290"/>
                <a:gd name="T44" fmla="*/ 2147483647 w 175"/>
                <a:gd name="T45" fmla="*/ 2147483647 h 290"/>
                <a:gd name="T46" fmla="*/ 0 w 175"/>
                <a:gd name="T47" fmla="*/ 2147483647 h 29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5" h="290">
                  <a:moveTo>
                    <a:pt x="0" y="280"/>
                  </a:moveTo>
                  <a:lnTo>
                    <a:pt x="32" y="225"/>
                  </a:lnTo>
                  <a:lnTo>
                    <a:pt x="82" y="225"/>
                  </a:lnTo>
                  <a:lnTo>
                    <a:pt x="93" y="157"/>
                  </a:lnTo>
                  <a:lnTo>
                    <a:pt x="106" y="146"/>
                  </a:lnTo>
                  <a:lnTo>
                    <a:pt x="106" y="180"/>
                  </a:lnTo>
                  <a:lnTo>
                    <a:pt x="124" y="146"/>
                  </a:lnTo>
                  <a:lnTo>
                    <a:pt x="143" y="102"/>
                  </a:lnTo>
                  <a:lnTo>
                    <a:pt x="150" y="13"/>
                  </a:lnTo>
                  <a:lnTo>
                    <a:pt x="162" y="23"/>
                  </a:lnTo>
                  <a:lnTo>
                    <a:pt x="157" y="0"/>
                  </a:lnTo>
                  <a:lnTo>
                    <a:pt x="169" y="0"/>
                  </a:lnTo>
                  <a:lnTo>
                    <a:pt x="175" y="79"/>
                  </a:lnTo>
                  <a:lnTo>
                    <a:pt x="162" y="123"/>
                  </a:lnTo>
                  <a:lnTo>
                    <a:pt x="162" y="167"/>
                  </a:lnTo>
                  <a:lnTo>
                    <a:pt x="150" y="236"/>
                  </a:lnTo>
                  <a:lnTo>
                    <a:pt x="143" y="246"/>
                  </a:lnTo>
                  <a:lnTo>
                    <a:pt x="143" y="225"/>
                  </a:lnTo>
                  <a:lnTo>
                    <a:pt x="119" y="257"/>
                  </a:lnTo>
                  <a:lnTo>
                    <a:pt x="93" y="236"/>
                  </a:lnTo>
                  <a:lnTo>
                    <a:pt x="100" y="269"/>
                  </a:lnTo>
                  <a:lnTo>
                    <a:pt x="82" y="290"/>
                  </a:lnTo>
                  <a:lnTo>
                    <a:pt x="74" y="257"/>
                  </a:lnTo>
                  <a:lnTo>
                    <a:pt x="0" y="280"/>
                  </a:ln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77" name="Group 449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7390061" y="3386138"/>
              <a:ext cx="257175" cy="230187"/>
              <a:chOff x="4978" y="1951"/>
              <a:chExt cx="175" cy="14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59" name="Freeform 450"/>
              <p:cNvSpPr>
                <a:spLocks/>
              </p:cNvSpPr>
              <p:nvPr/>
            </p:nvSpPr>
            <p:spPr bwMode="auto">
              <a:xfrm>
                <a:off x="4978" y="1951"/>
                <a:ext cx="175" cy="145"/>
              </a:xfrm>
              <a:custGeom>
                <a:avLst/>
                <a:gdLst>
                  <a:gd name="T0" fmla="*/ 0 w 175"/>
                  <a:gd name="T1" fmla="*/ 1 h 290"/>
                  <a:gd name="T2" fmla="*/ 32 w 175"/>
                  <a:gd name="T3" fmla="*/ 1 h 290"/>
                  <a:gd name="T4" fmla="*/ 82 w 175"/>
                  <a:gd name="T5" fmla="*/ 1 h 290"/>
                  <a:gd name="T6" fmla="*/ 93 w 175"/>
                  <a:gd name="T7" fmla="*/ 1 h 290"/>
                  <a:gd name="T8" fmla="*/ 106 w 175"/>
                  <a:gd name="T9" fmla="*/ 1 h 290"/>
                  <a:gd name="T10" fmla="*/ 106 w 175"/>
                  <a:gd name="T11" fmla="*/ 1 h 290"/>
                  <a:gd name="T12" fmla="*/ 124 w 175"/>
                  <a:gd name="T13" fmla="*/ 1 h 290"/>
                  <a:gd name="T14" fmla="*/ 143 w 175"/>
                  <a:gd name="T15" fmla="*/ 1 h 290"/>
                  <a:gd name="T16" fmla="*/ 150 w 175"/>
                  <a:gd name="T17" fmla="*/ 1 h 290"/>
                  <a:gd name="T18" fmla="*/ 162 w 175"/>
                  <a:gd name="T19" fmla="*/ 1 h 290"/>
                  <a:gd name="T20" fmla="*/ 157 w 175"/>
                  <a:gd name="T21" fmla="*/ 0 h 290"/>
                  <a:gd name="T22" fmla="*/ 169 w 175"/>
                  <a:gd name="T23" fmla="*/ 0 h 290"/>
                  <a:gd name="T24" fmla="*/ 175 w 175"/>
                  <a:gd name="T25" fmla="*/ 1 h 290"/>
                  <a:gd name="T26" fmla="*/ 162 w 175"/>
                  <a:gd name="T27" fmla="*/ 1 h 290"/>
                  <a:gd name="T28" fmla="*/ 162 w 175"/>
                  <a:gd name="T29" fmla="*/ 1 h 290"/>
                  <a:gd name="T30" fmla="*/ 150 w 175"/>
                  <a:gd name="T31" fmla="*/ 1 h 290"/>
                  <a:gd name="T32" fmla="*/ 143 w 175"/>
                  <a:gd name="T33" fmla="*/ 1 h 290"/>
                  <a:gd name="T34" fmla="*/ 143 w 175"/>
                  <a:gd name="T35" fmla="*/ 1 h 290"/>
                  <a:gd name="T36" fmla="*/ 119 w 175"/>
                  <a:gd name="T37" fmla="*/ 1 h 290"/>
                  <a:gd name="T38" fmla="*/ 93 w 175"/>
                  <a:gd name="T39" fmla="*/ 1 h 290"/>
                  <a:gd name="T40" fmla="*/ 100 w 175"/>
                  <a:gd name="T41" fmla="*/ 1 h 290"/>
                  <a:gd name="T42" fmla="*/ 82 w 175"/>
                  <a:gd name="T43" fmla="*/ 1 h 290"/>
                  <a:gd name="T44" fmla="*/ 74 w 175"/>
                  <a:gd name="T45" fmla="*/ 1 h 290"/>
                  <a:gd name="T46" fmla="*/ 0 w 175"/>
                  <a:gd name="T47" fmla="*/ 1 h 29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5" h="290">
                    <a:moveTo>
                      <a:pt x="0" y="280"/>
                    </a:moveTo>
                    <a:lnTo>
                      <a:pt x="32" y="225"/>
                    </a:lnTo>
                    <a:lnTo>
                      <a:pt x="82" y="225"/>
                    </a:lnTo>
                    <a:lnTo>
                      <a:pt x="93" y="157"/>
                    </a:lnTo>
                    <a:lnTo>
                      <a:pt x="106" y="146"/>
                    </a:lnTo>
                    <a:lnTo>
                      <a:pt x="106" y="180"/>
                    </a:lnTo>
                    <a:lnTo>
                      <a:pt x="124" y="146"/>
                    </a:lnTo>
                    <a:lnTo>
                      <a:pt x="143" y="102"/>
                    </a:lnTo>
                    <a:lnTo>
                      <a:pt x="150" y="13"/>
                    </a:lnTo>
                    <a:lnTo>
                      <a:pt x="162" y="23"/>
                    </a:lnTo>
                    <a:lnTo>
                      <a:pt x="157" y="0"/>
                    </a:lnTo>
                    <a:lnTo>
                      <a:pt x="169" y="0"/>
                    </a:lnTo>
                    <a:lnTo>
                      <a:pt x="175" y="79"/>
                    </a:lnTo>
                    <a:lnTo>
                      <a:pt x="162" y="123"/>
                    </a:lnTo>
                    <a:lnTo>
                      <a:pt x="162" y="167"/>
                    </a:lnTo>
                    <a:lnTo>
                      <a:pt x="150" y="236"/>
                    </a:lnTo>
                    <a:lnTo>
                      <a:pt x="143" y="246"/>
                    </a:lnTo>
                    <a:lnTo>
                      <a:pt x="143" y="225"/>
                    </a:lnTo>
                    <a:lnTo>
                      <a:pt x="119" y="257"/>
                    </a:lnTo>
                    <a:lnTo>
                      <a:pt x="93" y="236"/>
                    </a:lnTo>
                    <a:lnTo>
                      <a:pt x="100" y="269"/>
                    </a:lnTo>
                    <a:lnTo>
                      <a:pt x="82" y="290"/>
                    </a:lnTo>
                    <a:lnTo>
                      <a:pt x="74" y="257"/>
                    </a:lnTo>
                    <a:lnTo>
                      <a:pt x="0" y="280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60" name="Freeform 451"/>
              <p:cNvSpPr>
                <a:spLocks/>
              </p:cNvSpPr>
              <p:nvPr/>
            </p:nvSpPr>
            <p:spPr bwMode="auto">
              <a:xfrm>
                <a:off x="4978" y="1951"/>
                <a:ext cx="175" cy="145"/>
              </a:xfrm>
              <a:custGeom>
                <a:avLst/>
                <a:gdLst>
                  <a:gd name="T0" fmla="*/ 0 w 175"/>
                  <a:gd name="T1" fmla="*/ 1 h 290"/>
                  <a:gd name="T2" fmla="*/ 32 w 175"/>
                  <a:gd name="T3" fmla="*/ 1 h 290"/>
                  <a:gd name="T4" fmla="*/ 82 w 175"/>
                  <a:gd name="T5" fmla="*/ 1 h 290"/>
                  <a:gd name="T6" fmla="*/ 93 w 175"/>
                  <a:gd name="T7" fmla="*/ 1 h 290"/>
                  <a:gd name="T8" fmla="*/ 106 w 175"/>
                  <a:gd name="T9" fmla="*/ 1 h 290"/>
                  <a:gd name="T10" fmla="*/ 106 w 175"/>
                  <a:gd name="T11" fmla="*/ 1 h 290"/>
                  <a:gd name="T12" fmla="*/ 124 w 175"/>
                  <a:gd name="T13" fmla="*/ 1 h 290"/>
                  <a:gd name="T14" fmla="*/ 143 w 175"/>
                  <a:gd name="T15" fmla="*/ 1 h 290"/>
                  <a:gd name="T16" fmla="*/ 150 w 175"/>
                  <a:gd name="T17" fmla="*/ 1 h 290"/>
                  <a:gd name="T18" fmla="*/ 162 w 175"/>
                  <a:gd name="T19" fmla="*/ 1 h 290"/>
                  <a:gd name="T20" fmla="*/ 157 w 175"/>
                  <a:gd name="T21" fmla="*/ 0 h 290"/>
                  <a:gd name="T22" fmla="*/ 169 w 175"/>
                  <a:gd name="T23" fmla="*/ 0 h 290"/>
                  <a:gd name="T24" fmla="*/ 175 w 175"/>
                  <a:gd name="T25" fmla="*/ 1 h 290"/>
                  <a:gd name="T26" fmla="*/ 162 w 175"/>
                  <a:gd name="T27" fmla="*/ 1 h 290"/>
                  <a:gd name="T28" fmla="*/ 162 w 175"/>
                  <a:gd name="T29" fmla="*/ 1 h 290"/>
                  <a:gd name="T30" fmla="*/ 150 w 175"/>
                  <a:gd name="T31" fmla="*/ 1 h 290"/>
                  <a:gd name="T32" fmla="*/ 143 w 175"/>
                  <a:gd name="T33" fmla="*/ 1 h 290"/>
                  <a:gd name="T34" fmla="*/ 143 w 175"/>
                  <a:gd name="T35" fmla="*/ 1 h 290"/>
                  <a:gd name="T36" fmla="*/ 119 w 175"/>
                  <a:gd name="T37" fmla="*/ 1 h 290"/>
                  <a:gd name="T38" fmla="*/ 93 w 175"/>
                  <a:gd name="T39" fmla="*/ 1 h 290"/>
                  <a:gd name="T40" fmla="*/ 100 w 175"/>
                  <a:gd name="T41" fmla="*/ 1 h 290"/>
                  <a:gd name="T42" fmla="*/ 82 w 175"/>
                  <a:gd name="T43" fmla="*/ 1 h 290"/>
                  <a:gd name="T44" fmla="*/ 74 w 175"/>
                  <a:gd name="T45" fmla="*/ 1 h 290"/>
                  <a:gd name="T46" fmla="*/ 0 w 175"/>
                  <a:gd name="T47" fmla="*/ 1 h 29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5" h="290">
                    <a:moveTo>
                      <a:pt x="0" y="280"/>
                    </a:moveTo>
                    <a:lnTo>
                      <a:pt x="32" y="225"/>
                    </a:lnTo>
                    <a:lnTo>
                      <a:pt x="82" y="225"/>
                    </a:lnTo>
                    <a:lnTo>
                      <a:pt x="93" y="157"/>
                    </a:lnTo>
                    <a:lnTo>
                      <a:pt x="106" y="146"/>
                    </a:lnTo>
                    <a:lnTo>
                      <a:pt x="106" y="180"/>
                    </a:lnTo>
                    <a:lnTo>
                      <a:pt x="124" y="146"/>
                    </a:lnTo>
                    <a:lnTo>
                      <a:pt x="143" y="102"/>
                    </a:lnTo>
                    <a:lnTo>
                      <a:pt x="150" y="13"/>
                    </a:lnTo>
                    <a:lnTo>
                      <a:pt x="162" y="23"/>
                    </a:lnTo>
                    <a:lnTo>
                      <a:pt x="157" y="0"/>
                    </a:lnTo>
                    <a:lnTo>
                      <a:pt x="169" y="0"/>
                    </a:lnTo>
                    <a:lnTo>
                      <a:pt x="175" y="79"/>
                    </a:lnTo>
                    <a:lnTo>
                      <a:pt x="162" y="123"/>
                    </a:lnTo>
                    <a:lnTo>
                      <a:pt x="162" y="167"/>
                    </a:lnTo>
                    <a:lnTo>
                      <a:pt x="150" y="236"/>
                    </a:lnTo>
                    <a:lnTo>
                      <a:pt x="143" y="246"/>
                    </a:lnTo>
                    <a:lnTo>
                      <a:pt x="143" y="225"/>
                    </a:lnTo>
                    <a:lnTo>
                      <a:pt x="119" y="257"/>
                    </a:lnTo>
                    <a:lnTo>
                      <a:pt x="93" y="236"/>
                    </a:lnTo>
                    <a:lnTo>
                      <a:pt x="100" y="269"/>
                    </a:lnTo>
                    <a:lnTo>
                      <a:pt x="82" y="290"/>
                    </a:lnTo>
                    <a:lnTo>
                      <a:pt x="74" y="257"/>
                    </a:lnTo>
                    <a:lnTo>
                      <a:pt x="0" y="280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78" name="Freeform 452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7390061" y="3386138"/>
              <a:ext cx="257175" cy="230187"/>
            </a:xfrm>
            <a:custGeom>
              <a:avLst/>
              <a:gdLst>
                <a:gd name="T0" fmla="*/ 0 w 175"/>
                <a:gd name="T1" fmla="*/ 2147483647 h 290"/>
                <a:gd name="T2" fmla="*/ 2147483647 w 175"/>
                <a:gd name="T3" fmla="*/ 2147483647 h 290"/>
                <a:gd name="T4" fmla="*/ 2147483647 w 175"/>
                <a:gd name="T5" fmla="*/ 2147483647 h 290"/>
                <a:gd name="T6" fmla="*/ 2147483647 w 175"/>
                <a:gd name="T7" fmla="*/ 2147483647 h 290"/>
                <a:gd name="T8" fmla="*/ 2147483647 w 175"/>
                <a:gd name="T9" fmla="*/ 2147483647 h 290"/>
                <a:gd name="T10" fmla="*/ 2147483647 w 175"/>
                <a:gd name="T11" fmla="*/ 2147483647 h 290"/>
                <a:gd name="T12" fmla="*/ 2147483647 w 175"/>
                <a:gd name="T13" fmla="*/ 2147483647 h 290"/>
                <a:gd name="T14" fmla="*/ 2147483647 w 175"/>
                <a:gd name="T15" fmla="*/ 2147483647 h 290"/>
                <a:gd name="T16" fmla="*/ 2147483647 w 175"/>
                <a:gd name="T17" fmla="*/ 2147483647 h 290"/>
                <a:gd name="T18" fmla="*/ 2147483647 w 175"/>
                <a:gd name="T19" fmla="*/ 2147483647 h 290"/>
                <a:gd name="T20" fmla="*/ 2147483647 w 175"/>
                <a:gd name="T21" fmla="*/ 0 h 290"/>
                <a:gd name="T22" fmla="*/ 2147483647 w 175"/>
                <a:gd name="T23" fmla="*/ 0 h 290"/>
                <a:gd name="T24" fmla="*/ 2147483647 w 175"/>
                <a:gd name="T25" fmla="*/ 2147483647 h 290"/>
                <a:gd name="T26" fmla="*/ 2147483647 w 175"/>
                <a:gd name="T27" fmla="*/ 2147483647 h 290"/>
                <a:gd name="T28" fmla="*/ 2147483647 w 175"/>
                <a:gd name="T29" fmla="*/ 2147483647 h 290"/>
                <a:gd name="T30" fmla="*/ 2147483647 w 175"/>
                <a:gd name="T31" fmla="*/ 2147483647 h 290"/>
                <a:gd name="T32" fmla="*/ 2147483647 w 175"/>
                <a:gd name="T33" fmla="*/ 2147483647 h 290"/>
                <a:gd name="T34" fmla="*/ 2147483647 w 175"/>
                <a:gd name="T35" fmla="*/ 2147483647 h 290"/>
                <a:gd name="T36" fmla="*/ 2147483647 w 175"/>
                <a:gd name="T37" fmla="*/ 2147483647 h 290"/>
                <a:gd name="T38" fmla="*/ 2147483647 w 175"/>
                <a:gd name="T39" fmla="*/ 2147483647 h 290"/>
                <a:gd name="T40" fmla="*/ 2147483647 w 175"/>
                <a:gd name="T41" fmla="*/ 2147483647 h 290"/>
                <a:gd name="T42" fmla="*/ 2147483647 w 175"/>
                <a:gd name="T43" fmla="*/ 2147483647 h 290"/>
                <a:gd name="T44" fmla="*/ 2147483647 w 175"/>
                <a:gd name="T45" fmla="*/ 2147483647 h 290"/>
                <a:gd name="T46" fmla="*/ 0 w 175"/>
                <a:gd name="T47" fmla="*/ 2147483647 h 29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5" h="290">
                  <a:moveTo>
                    <a:pt x="0" y="280"/>
                  </a:moveTo>
                  <a:lnTo>
                    <a:pt x="32" y="225"/>
                  </a:lnTo>
                  <a:lnTo>
                    <a:pt x="82" y="225"/>
                  </a:lnTo>
                  <a:lnTo>
                    <a:pt x="93" y="157"/>
                  </a:lnTo>
                  <a:lnTo>
                    <a:pt x="106" y="146"/>
                  </a:lnTo>
                  <a:lnTo>
                    <a:pt x="106" y="180"/>
                  </a:lnTo>
                  <a:lnTo>
                    <a:pt x="124" y="146"/>
                  </a:lnTo>
                  <a:lnTo>
                    <a:pt x="143" y="102"/>
                  </a:lnTo>
                  <a:lnTo>
                    <a:pt x="150" y="13"/>
                  </a:lnTo>
                  <a:lnTo>
                    <a:pt x="162" y="23"/>
                  </a:lnTo>
                  <a:lnTo>
                    <a:pt x="157" y="0"/>
                  </a:lnTo>
                  <a:lnTo>
                    <a:pt x="169" y="0"/>
                  </a:lnTo>
                  <a:lnTo>
                    <a:pt x="175" y="79"/>
                  </a:lnTo>
                  <a:lnTo>
                    <a:pt x="162" y="123"/>
                  </a:lnTo>
                  <a:lnTo>
                    <a:pt x="162" y="167"/>
                  </a:lnTo>
                  <a:lnTo>
                    <a:pt x="150" y="236"/>
                  </a:lnTo>
                  <a:lnTo>
                    <a:pt x="143" y="246"/>
                  </a:lnTo>
                  <a:lnTo>
                    <a:pt x="143" y="225"/>
                  </a:lnTo>
                  <a:lnTo>
                    <a:pt x="119" y="257"/>
                  </a:lnTo>
                  <a:lnTo>
                    <a:pt x="93" y="236"/>
                  </a:lnTo>
                  <a:lnTo>
                    <a:pt x="100" y="269"/>
                  </a:lnTo>
                  <a:lnTo>
                    <a:pt x="82" y="290"/>
                  </a:lnTo>
                  <a:lnTo>
                    <a:pt x="74" y="257"/>
                  </a:lnTo>
                  <a:lnTo>
                    <a:pt x="0" y="28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79" name="Group 453"/>
            <p:cNvGrpSpPr>
              <a:grpSpLocks/>
            </p:cNvGrpSpPr>
            <p:nvPr>
              <p:custDataLst>
                <p:tags r:id="rId373"/>
              </p:custDataLst>
            </p:nvPr>
          </p:nvGrpSpPr>
          <p:grpSpPr bwMode="auto">
            <a:xfrm>
              <a:off x="7390061" y="3386138"/>
              <a:ext cx="257175" cy="230187"/>
              <a:chOff x="4978" y="1951"/>
              <a:chExt cx="175" cy="145"/>
            </a:xfrm>
            <a:solidFill>
              <a:srgbClr val="FFC000"/>
            </a:solidFill>
          </p:grpSpPr>
          <p:sp>
            <p:nvSpPr>
              <p:cNvPr id="1057" name="Freeform 454"/>
              <p:cNvSpPr>
                <a:spLocks/>
              </p:cNvSpPr>
              <p:nvPr/>
            </p:nvSpPr>
            <p:spPr bwMode="auto">
              <a:xfrm>
                <a:off x="4978" y="1951"/>
                <a:ext cx="175" cy="145"/>
              </a:xfrm>
              <a:custGeom>
                <a:avLst/>
                <a:gdLst>
                  <a:gd name="T0" fmla="*/ 0 w 175"/>
                  <a:gd name="T1" fmla="*/ 1 h 290"/>
                  <a:gd name="T2" fmla="*/ 32 w 175"/>
                  <a:gd name="T3" fmla="*/ 1 h 290"/>
                  <a:gd name="T4" fmla="*/ 82 w 175"/>
                  <a:gd name="T5" fmla="*/ 1 h 290"/>
                  <a:gd name="T6" fmla="*/ 93 w 175"/>
                  <a:gd name="T7" fmla="*/ 1 h 290"/>
                  <a:gd name="T8" fmla="*/ 106 w 175"/>
                  <a:gd name="T9" fmla="*/ 1 h 290"/>
                  <a:gd name="T10" fmla="*/ 106 w 175"/>
                  <a:gd name="T11" fmla="*/ 1 h 290"/>
                  <a:gd name="T12" fmla="*/ 124 w 175"/>
                  <a:gd name="T13" fmla="*/ 1 h 290"/>
                  <a:gd name="T14" fmla="*/ 143 w 175"/>
                  <a:gd name="T15" fmla="*/ 1 h 290"/>
                  <a:gd name="T16" fmla="*/ 150 w 175"/>
                  <a:gd name="T17" fmla="*/ 1 h 290"/>
                  <a:gd name="T18" fmla="*/ 162 w 175"/>
                  <a:gd name="T19" fmla="*/ 1 h 290"/>
                  <a:gd name="T20" fmla="*/ 157 w 175"/>
                  <a:gd name="T21" fmla="*/ 0 h 290"/>
                  <a:gd name="T22" fmla="*/ 169 w 175"/>
                  <a:gd name="T23" fmla="*/ 0 h 290"/>
                  <a:gd name="T24" fmla="*/ 175 w 175"/>
                  <a:gd name="T25" fmla="*/ 1 h 290"/>
                  <a:gd name="T26" fmla="*/ 162 w 175"/>
                  <a:gd name="T27" fmla="*/ 1 h 290"/>
                  <a:gd name="T28" fmla="*/ 162 w 175"/>
                  <a:gd name="T29" fmla="*/ 1 h 290"/>
                  <a:gd name="T30" fmla="*/ 150 w 175"/>
                  <a:gd name="T31" fmla="*/ 1 h 290"/>
                  <a:gd name="T32" fmla="*/ 143 w 175"/>
                  <a:gd name="T33" fmla="*/ 1 h 290"/>
                  <a:gd name="T34" fmla="*/ 143 w 175"/>
                  <a:gd name="T35" fmla="*/ 1 h 290"/>
                  <a:gd name="T36" fmla="*/ 119 w 175"/>
                  <a:gd name="T37" fmla="*/ 1 h 290"/>
                  <a:gd name="T38" fmla="*/ 93 w 175"/>
                  <a:gd name="T39" fmla="*/ 1 h 290"/>
                  <a:gd name="T40" fmla="*/ 100 w 175"/>
                  <a:gd name="T41" fmla="*/ 1 h 290"/>
                  <a:gd name="T42" fmla="*/ 82 w 175"/>
                  <a:gd name="T43" fmla="*/ 1 h 290"/>
                  <a:gd name="T44" fmla="*/ 74 w 175"/>
                  <a:gd name="T45" fmla="*/ 1 h 290"/>
                  <a:gd name="T46" fmla="*/ 0 w 175"/>
                  <a:gd name="T47" fmla="*/ 1 h 29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5" h="290">
                    <a:moveTo>
                      <a:pt x="0" y="280"/>
                    </a:moveTo>
                    <a:lnTo>
                      <a:pt x="32" y="225"/>
                    </a:lnTo>
                    <a:lnTo>
                      <a:pt x="82" y="225"/>
                    </a:lnTo>
                    <a:lnTo>
                      <a:pt x="93" y="157"/>
                    </a:lnTo>
                    <a:lnTo>
                      <a:pt x="106" y="146"/>
                    </a:lnTo>
                    <a:lnTo>
                      <a:pt x="106" y="180"/>
                    </a:lnTo>
                    <a:lnTo>
                      <a:pt x="124" y="146"/>
                    </a:lnTo>
                    <a:lnTo>
                      <a:pt x="143" y="102"/>
                    </a:lnTo>
                    <a:lnTo>
                      <a:pt x="150" y="13"/>
                    </a:lnTo>
                    <a:lnTo>
                      <a:pt x="162" y="23"/>
                    </a:lnTo>
                    <a:lnTo>
                      <a:pt x="157" y="0"/>
                    </a:lnTo>
                    <a:lnTo>
                      <a:pt x="169" y="0"/>
                    </a:lnTo>
                    <a:lnTo>
                      <a:pt x="175" y="79"/>
                    </a:lnTo>
                    <a:lnTo>
                      <a:pt x="162" y="123"/>
                    </a:lnTo>
                    <a:lnTo>
                      <a:pt x="162" y="167"/>
                    </a:lnTo>
                    <a:lnTo>
                      <a:pt x="150" y="236"/>
                    </a:lnTo>
                    <a:lnTo>
                      <a:pt x="143" y="246"/>
                    </a:lnTo>
                    <a:lnTo>
                      <a:pt x="143" y="225"/>
                    </a:lnTo>
                    <a:lnTo>
                      <a:pt x="119" y="257"/>
                    </a:lnTo>
                    <a:lnTo>
                      <a:pt x="93" y="236"/>
                    </a:lnTo>
                    <a:lnTo>
                      <a:pt x="100" y="269"/>
                    </a:lnTo>
                    <a:lnTo>
                      <a:pt x="82" y="290"/>
                    </a:lnTo>
                    <a:lnTo>
                      <a:pt x="74" y="257"/>
                    </a:lnTo>
                    <a:lnTo>
                      <a:pt x="0" y="280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58" name="Freeform 455"/>
              <p:cNvSpPr>
                <a:spLocks/>
              </p:cNvSpPr>
              <p:nvPr/>
            </p:nvSpPr>
            <p:spPr bwMode="auto">
              <a:xfrm>
                <a:off x="4978" y="1951"/>
                <a:ext cx="175" cy="145"/>
              </a:xfrm>
              <a:custGeom>
                <a:avLst/>
                <a:gdLst>
                  <a:gd name="T0" fmla="*/ 0 w 175"/>
                  <a:gd name="T1" fmla="*/ 1 h 290"/>
                  <a:gd name="T2" fmla="*/ 32 w 175"/>
                  <a:gd name="T3" fmla="*/ 1 h 290"/>
                  <a:gd name="T4" fmla="*/ 82 w 175"/>
                  <a:gd name="T5" fmla="*/ 1 h 290"/>
                  <a:gd name="T6" fmla="*/ 93 w 175"/>
                  <a:gd name="T7" fmla="*/ 1 h 290"/>
                  <a:gd name="T8" fmla="*/ 106 w 175"/>
                  <a:gd name="T9" fmla="*/ 1 h 290"/>
                  <a:gd name="T10" fmla="*/ 106 w 175"/>
                  <a:gd name="T11" fmla="*/ 1 h 290"/>
                  <a:gd name="T12" fmla="*/ 124 w 175"/>
                  <a:gd name="T13" fmla="*/ 1 h 290"/>
                  <a:gd name="T14" fmla="*/ 143 w 175"/>
                  <a:gd name="T15" fmla="*/ 1 h 290"/>
                  <a:gd name="T16" fmla="*/ 150 w 175"/>
                  <a:gd name="T17" fmla="*/ 1 h 290"/>
                  <a:gd name="T18" fmla="*/ 162 w 175"/>
                  <a:gd name="T19" fmla="*/ 1 h 290"/>
                  <a:gd name="T20" fmla="*/ 157 w 175"/>
                  <a:gd name="T21" fmla="*/ 0 h 290"/>
                  <a:gd name="T22" fmla="*/ 169 w 175"/>
                  <a:gd name="T23" fmla="*/ 0 h 290"/>
                  <a:gd name="T24" fmla="*/ 175 w 175"/>
                  <a:gd name="T25" fmla="*/ 1 h 290"/>
                  <a:gd name="T26" fmla="*/ 162 w 175"/>
                  <a:gd name="T27" fmla="*/ 1 h 290"/>
                  <a:gd name="T28" fmla="*/ 162 w 175"/>
                  <a:gd name="T29" fmla="*/ 1 h 290"/>
                  <a:gd name="T30" fmla="*/ 150 w 175"/>
                  <a:gd name="T31" fmla="*/ 1 h 290"/>
                  <a:gd name="T32" fmla="*/ 143 w 175"/>
                  <a:gd name="T33" fmla="*/ 1 h 290"/>
                  <a:gd name="T34" fmla="*/ 143 w 175"/>
                  <a:gd name="T35" fmla="*/ 1 h 290"/>
                  <a:gd name="T36" fmla="*/ 119 w 175"/>
                  <a:gd name="T37" fmla="*/ 1 h 290"/>
                  <a:gd name="T38" fmla="*/ 93 w 175"/>
                  <a:gd name="T39" fmla="*/ 1 h 290"/>
                  <a:gd name="T40" fmla="*/ 100 w 175"/>
                  <a:gd name="T41" fmla="*/ 1 h 290"/>
                  <a:gd name="T42" fmla="*/ 82 w 175"/>
                  <a:gd name="T43" fmla="*/ 1 h 290"/>
                  <a:gd name="T44" fmla="*/ 74 w 175"/>
                  <a:gd name="T45" fmla="*/ 1 h 290"/>
                  <a:gd name="T46" fmla="*/ 0 w 175"/>
                  <a:gd name="T47" fmla="*/ 1 h 29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5" h="290">
                    <a:moveTo>
                      <a:pt x="0" y="280"/>
                    </a:moveTo>
                    <a:lnTo>
                      <a:pt x="32" y="225"/>
                    </a:lnTo>
                    <a:lnTo>
                      <a:pt x="82" y="225"/>
                    </a:lnTo>
                    <a:lnTo>
                      <a:pt x="93" y="157"/>
                    </a:lnTo>
                    <a:lnTo>
                      <a:pt x="106" y="146"/>
                    </a:lnTo>
                    <a:lnTo>
                      <a:pt x="106" y="180"/>
                    </a:lnTo>
                    <a:lnTo>
                      <a:pt x="124" y="146"/>
                    </a:lnTo>
                    <a:lnTo>
                      <a:pt x="143" y="102"/>
                    </a:lnTo>
                    <a:lnTo>
                      <a:pt x="150" y="13"/>
                    </a:lnTo>
                    <a:lnTo>
                      <a:pt x="162" y="23"/>
                    </a:lnTo>
                    <a:lnTo>
                      <a:pt x="157" y="0"/>
                    </a:lnTo>
                    <a:lnTo>
                      <a:pt x="169" y="0"/>
                    </a:lnTo>
                    <a:lnTo>
                      <a:pt x="175" y="79"/>
                    </a:lnTo>
                    <a:lnTo>
                      <a:pt x="162" y="123"/>
                    </a:lnTo>
                    <a:lnTo>
                      <a:pt x="162" y="167"/>
                    </a:lnTo>
                    <a:lnTo>
                      <a:pt x="150" y="236"/>
                    </a:lnTo>
                    <a:lnTo>
                      <a:pt x="143" y="246"/>
                    </a:lnTo>
                    <a:lnTo>
                      <a:pt x="143" y="225"/>
                    </a:lnTo>
                    <a:lnTo>
                      <a:pt x="119" y="257"/>
                    </a:lnTo>
                    <a:lnTo>
                      <a:pt x="93" y="236"/>
                    </a:lnTo>
                    <a:lnTo>
                      <a:pt x="100" y="269"/>
                    </a:lnTo>
                    <a:lnTo>
                      <a:pt x="82" y="290"/>
                    </a:lnTo>
                    <a:lnTo>
                      <a:pt x="74" y="257"/>
                    </a:lnTo>
                    <a:lnTo>
                      <a:pt x="0" y="280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80" name="Freeform 456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7426573" y="3600450"/>
              <a:ext cx="46038" cy="42863"/>
            </a:xfrm>
            <a:custGeom>
              <a:avLst/>
              <a:gdLst>
                <a:gd name="T0" fmla="*/ 0 w 31"/>
                <a:gd name="T1" fmla="*/ 2147483647 h 53"/>
                <a:gd name="T2" fmla="*/ 2147483647 w 31"/>
                <a:gd name="T3" fmla="*/ 2147483647 h 53"/>
                <a:gd name="T4" fmla="*/ 2147483647 w 31"/>
                <a:gd name="T5" fmla="*/ 2147483647 h 53"/>
                <a:gd name="T6" fmla="*/ 2147483647 w 31"/>
                <a:gd name="T7" fmla="*/ 0 h 53"/>
                <a:gd name="T8" fmla="*/ 0 w 31"/>
                <a:gd name="T9" fmla="*/ 2147483647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53">
                  <a:moveTo>
                    <a:pt x="0" y="21"/>
                  </a:moveTo>
                  <a:lnTo>
                    <a:pt x="13" y="53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81" name="Group 457"/>
            <p:cNvGrpSpPr>
              <a:grpSpLocks/>
            </p:cNvGrpSpPr>
            <p:nvPr>
              <p:custDataLst>
                <p:tags r:id="rId375"/>
              </p:custDataLst>
            </p:nvPr>
          </p:nvGrpSpPr>
          <p:grpSpPr bwMode="auto">
            <a:xfrm>
              <a:off x="7426573" y="3600450"/>
              <a:ext cx="46038" cy="42863"/>
              <a:chOff x="5003" y="2086"/>
              <a:chExt cx="31" cy="2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55" name="Freeform 458"/>
              <p:cNvSpPr>
                <a:spLocks/>
              </p:cNvSpPr>
              <p:nvPr/>
            </p:nvSpPr>
            <p:spPr bwMode="auto">
              <a:xfrm>
                <a:off x="5003" y="2086"/>
                <a:ext cx="31" cy="27"/>
              </a:xfrm>
              <a:custGeom>
                <a:avLst/>
                <a:gdLst>
                  <a:gd name="T0" fmla="*/ 0 w 31"/>
                  <a:gd name="T1" fmla="*/ 1 h 53"/>
                  <a:gd name="T2" fmla="*/ 13 w 31"/>
                  <a:gd name="T3" fmla="*/ 1 h 53"/>
                  <a:gd name="T4" fmla="*/ 31 w 31"/>
                  <a:gd name="T5" fmla="*/ 1 h 53"/>
                  <a:gd name="T6" fmla="*/ 31 w 31"/>
                  <a:gd name="T7" fmla="*/ 0 h 53"/>
                  <a:gd name="T8" fmla="*/ 0 w 31"/>
                  <a:gd name="T9" fmla="*/ 1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" h="53">
                    <a:moveTo>
                      <a:pt x="0" y="21"/>
                    </a:moveTo>
                    <a:lnTo>
                      <a:pt x="13" y="53"/>
                    </a:lnTo>
                    <a:lnTo>
                      <a:pt x="31" y="30"/>
                    </a:lnTo>
                    <a:lnTo>
                      <a:pt x="31" y="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56" name="Freeform 459"/>
              <p:cNvSpPr>
                <a:spLocks/>
              </p:cNvSpPr>
              <p:nvPr/>
            </p:nvSpPr>
            <p:spPr bwMode="auto">
              <a:xfrm>
                <a:off x="5003" y="2086"/>
                <a:ext cx="31" cy="27"/>
              </a:xfrm>
              <a:custGeom>
                <a:avLst/>
                <a:gdLst>
                  <a:gd name="T0" fmla="*/ 0 w 31"/>
                  <a:gd name="T1" fmla="*/ 1 h 53"/>
                  <a:gd name="T2" fmla="*/ 13 w 31"/>
                  <a:gd name="T3" fmla="*/ 1 h 53"/>
                  <a:gd name="T4" fmla="*/ 31 w 31"/>
                  <a:gd name="T5" fmla="*/ 1 h 53"/>
                  <a:gd name="T6" fmla="*/ 31 w 31"/>
                  <a:gd name="T7" fmla="*/ 0 h 53"/>
                  <a:gd name="T8" fmla="*/ 0 w 31"/>
                  <a:gd name="T9" fmla="*/ 1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" h="53">
                    <a:moveTo>
                      <a:pt x="0" y="21"/>
                    </a:moveTo>
                    <a:lnTo>
                      <a:pt x="13" y="53"/>
                    </a:lnTo>
                    <a:lnTo>
                      <a:pt x="31" y="30"/>
                    </a:lnTo>
                    <a:lnTo>
                      <a:pt x="31" y="0"/>
                    </a:lnTo>
                    <a:lnTo>
                      <a:pt x="0" y="21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82" name="Freeform 460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7426573" y="3600450"/>
              <a:ext cx="46038" cy="42863"/>
            </a:xfrm>
            <a:custGeom>
              <a:avLst/>
              <a:gdLst>
                <a:gd name="T0" fmla="*/ 0 w 31"/>
                <a:gd name="T1" fmla="*/ 2147483647 h 53"/>
                <a:gd name="T2" fmla="*/ 2147483647 w 31"/>
                <a:gd name="T3" fmla="*/ 2147483647 h 53"/>
                <a:gd name="T4" fmla="*/ 2147483647 w 31"/>
                <a:gd name="T5" fmla="*/ 2147483647 h 53"/>
                <a:gd name="T6" fmla="*/ 2147483647 w 31"/>
                <a:gd name="T7" fmla="*/ 0 h 53"/>
                <a:gd name="T8" fmla="*/ 0 w 31"/>
                <a:gd name="T9" fmla="*/ 2147483647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53">
                  <a:moveTo>
                    <a:pt x="0" y="21"/>
                  </a:moveTo>
                  <a:lnTo>
                    <a:pt x="13" y="53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83" name="Group 461"/>
            <p:cNvGrpSpPr>
              <a:grpSpLocks/>
            </p:cNvGrpSpPr>
            <p:nvPr>
              <p:custDataLst>
                <p:tags r:id="rId377"/>
              </p:custDataLst>
            </p:nvPr>
          </p:nvGrpSpPr>
          <p:grpSpPr bwMode="auto">
            <a:xfrm>
              <a:off x="7426573" y="3600450"/>
              <a:ext cx="46038" cy="42863"/>
              <a:chOff x="5003" y="2086"/>
              <a:chExt cx="31" cy="27"/>
            </a:xfrm>
            <a:solidFill>
              <a:srgbClr val="FFC000"/>
            </a:solidFill>
          </p:grpSpPr>
          <p:sp>
            <p:nvSpPr>
              <p:cNvPr id="1053" name="Freeform 462"/>
              <p:cNvSpPr>
                <a:spLocks/>
              </p:cNvSpPr>
              <p:nvPr/>
            </p:nvSpPr>
            <p:spPr bwMode="auto">
              <a:xfrm>
                <a:off x="5003" y="2086"/>
                <a:ext cx="31" cy="27"/>
              </a:xfrm>
              <a:custGeom>
                <a:avLst/>
                <a:gdLst>
                  <a:gd name="T0" fmla="*/ 0 w 31"/>
                  <a:gd name="T1" fmla="*/ 1 h 53"/>
                  <a:gd name="T2" fmla="*/ 13 w 31"/>
                  <a:gd name="T3" fmla="*/ 1 h 53"/>
                  <a:gd name="T4" fmla="*/ 31 w 31"/>
                  <a:gd name="T5" fmla="*/ 1 h 53"/>
                  <a:gd name="T6" fmla="*/ 31 w 31"/>
                  <a:gd name="T7" fmla="*/ 0 h 53"/>
                  <a:gd name="T8" fmla="*/ 0 w 31"/>
                  <a:gd name="T9" fmla="*/ 1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" h="53">
                    <a:moveTo>
                      <a:pt x="0" y="21"/>
                    </a:moveTo>
                    <a:lnTo>
                      <a:pt x="13" y="53"/>
                    </a:lnTo>
                    <a:lnTo>
                      <a:pt x="31" y="30"/>
                    </a:lnTo>
                    <a:lnTo>
                      <a:pt x="31" y="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54" name="Freeform 463"/>
              <p:cNvSpPr>
                <a:spLocks/>
              </p:cNvSpPr>
              <p:nvPr/>
            </p:nvSpPr>
            <p:spPr bwMode="auto">
              <a:xfrm>
                <a:off x="5003" y="2086"/>
                <a:ext cx="31" cy="27"/>
              </a:xfrm>
              <a:custGeom>
                <a:avLst/>
                <a:gdLst>
                  <a:gd name="T0" fmla="*/ 0 w 31"/>
                  <a:gd name="T1" fmla="*/ 1 h 53"/>
                  <a:gd name="T2" fmla="*/ 13 w 31"/>
                  <a:gd name="T3" fmla="*/ 1 h 53"/>
                  <a:gd name="T4" fmla="*/ 31 w 31"/>
                  <a:gd name="T5" fmla="*/ 1 h 53"/>
                  <a:gd name="T6" fmla="*/ 31 w 31"/>
                  <a:gd name="T7" fmla="*/ 0 h 53"/>
                  <a:gd name="T8" fmla="*/ 0 w 31"/>
                  <a:gd name="T9" fmla="*/ 1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" h="53">
                    <a:moveTo>
                      <a:pt x="0" y="21"/>
                    </a:moveTo>
                    <a:lnTo>
                      <a:pt x="13" y="53"/>
                    </a:lnTo>
                    <a:lnTo>
                      <a:pt x="31" y="30"/>
                    </a:lnTo>
                    <a:lnTo>
                      <a:pt x="31" y="0"/>
                    </a:lnTo>
                    <a:lnTo>
                      <a:pt x="0" y="21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84" name="Freeform 464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7599611" y="3263900"/>
              <a:ext cx="130175" cy="122238"/>
            </a:xfrm>
            <a:custGeom>
              <a:avLst/>
              <a:gdLst>
                <a:gd name="T0" fmla="*/ 0 w 89"/>
                <a:gd name="T1" fmla="*/ 2147483647 h 154"/>
                <a:gd name="T2" fmla="*/ 2147483647 w 89"/>
                <a:gd name="T3" fmla="*/ 2147483647 h 154"/>
                <a:gd name="T4" fmla="*/ 2147483647 w 89"/>
                <a:gd name="T5" fmla="*/ 2147483647 h 154"/>
                <a:gd name="T6" fmla="*/ 2147483647 w 89"/>
                <a:gd name="T7" fmla="*/ 2147483647 h 154"/>
                <a:gd name="T8" fmla="*/ 2147483647 w 89"/>
                <a:gd name="T9" fmla="*/ 2147483647 h 154"/>
                <a:gd name="T10" fmla="*/ 2147483647 w 89"/>
                <a:gd name="T11" fmla="*/ 2147483647 h 154"/>
                <a:gd name="T12" fmla="*/ 2147483647 w 89"/>
                <a:gd name="T13" fmla="*/ 2147483647 h 154"/>
                <a:gd name="T14" fmla="*/ 2147483647 w 89"/>
                <a:gd name="T15" fmla="*/ 2147483647 h 154"/>
                <a:gd name="T16" fmla="*/ 2147483647 w 89"/>
                <a:gd name="T17" fmla="*/ 2147483647 h 154"/>
                <a:gd name="T18" fmla="*/ 2147483647 w 89"/>
                <a:gd name="T19" fmla="*/ 2147483647 h 154"/>
                <a:gd name="T20" fmla="*/ 2147483647 w 89"/>
                <a:gd name="T21" fmla="*/ 0 h 154"/>
                <a:gd name="T22" fmla="*/ 2147483647 w 89"/>
                <a:gd name="T23" fmla="*/ 2147483647 h 154"/>
                <a:gd name="T24" fmla="*/ 2147483647 w 89"/>
                <a:gd name="T25" fmla="*/ 2147483647 h 154"/>
                <a:gd name="T26" fmla="*/ 0 w 89"/>
                <a:gd name="T27" fmla="*/ 2147483647 h 1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9" h="154">
                  <a:moveTo>
                    <a:pt x="0" y="110"/>
                  </a:moveTo>
                  <a:lnTo>
                    <a:pt x="7" y="154"/>
                  </a:lnTo>
                  <a:lnTo>
                    <a:pt x="19" y="144"/>
                  </a:lnTo>
                  <a:lnTo>
                    <a:pt x="7" y="110"/>
                  </a:lnTo>
                  <a:lnTo>
                    <a:pt x="51" y="133"/>
                  </a:lnTo>
                  <a:lnTo>
                    <a:pt x="64" y="100"/>
                  </a:lnTo>
                  <a:lnTo>
                    <a:pt x="89" y="89"/>
                  </a:lnTo>
                  <a:lnTo>
                    <a:pt x="83" y="66"/>
                  </a:lnTo>
                  <a:lnTo>
                    <a:pt x="83" y="44"/>
                  </a:lnTo>
                  <a:lnTo>
                    <a:pt x="64" y="44"/>
                  </a:lnTo>
                  <a:lnTo>
                    <a:pt x="32" y="0"/>
                  </a:lnTo>
                  <a:lnTo>
                    <a:pt x="19" y="89"/>
                  </a:lnTo>
                  <a:lnTo>
                    <a:pt x="7" y="89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85" name="Group 465"/>
            <p:cNvGrpSpPr>
              <a:grpSpLocks/>
            </p:cNvGrpSpPr>
            <p:nvPr>
              <p:custDataLst>
                <p:tags r:id="rId379"/>
              </p:custDataLst>
            </p:nvPr>
          </p:nvGrpSpPr>
          <p:grpSpPr bwMode="auto">
            <a:xfrm>
              <a:off x="7599611" y="3263900"/>
              <a:ext cx="130175" cy="122238"/>
              <a:chOff x="5121" y="1874"/>
              <a:chExt cx="89" cy="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51" name="Freeform 466"/>
              <p:cNvSpPr>
                <a:spLocks/>
              </p:cNvSpPr>
              <p:nvPr/>
            </p:nvSpPr>
            <p:spPr bwMode="auto">
              <a:xfrm>
                <a:off x="5121" y="1874"/>
                <a:ext cx="89" cy="77"/>
              </a:xfrm>
              <a:custGeom>
                <a:avLst/>
                <a:gdLst>
                  <a:gd name="T0" fmla="*/ 0 w 89"/>
                  <a:gd name="T1" fmla="*/ 1 h 154"/>
                  <a:gd name="T2" fmla="*/ 7 w 89"/>
                  <a:gd name="T3" fmla="*/ 1 h 154"/>
                  <a:gd name="T4" fmla="*/ 19 w 89"/>
                  <a:gd name="T5" fmla="*/ 1 h 154"/>
                  <a:gd name="T6" fmla="*/ 7 w 89"/>
                  <a:gd name="T7" fmla="*/ 1 h 154"/>
                  <a:gd name="T8" fmla="*/ 51 w 89"/>
                  <a:gd name="T9" fmla="*/ 1 h 154"/>
                  <a:gd name="T10" fmla="*/ 64 w 89"/>
                  <a:gd name="T11" fmla="*/ 1 h 154"/>
                  <a:gd name="T12" fmla="*/ 89 w 89"/>
                  <a:gd name="T13" fmla="*/ 1 h 154"/>
                  <a:gd name="T14" fmla="*/ 83 w 89"/>
                  <a:gd name="T15" fmla="*/ 1 h 154"/>
                  <a:gd name="T16" fmla="*/ 83 w 89"/>
                  <a:gd name="T17" fmla="*/ 1 h 154"/>
                  <a:gd name="T18" fmla="*/ 64 w 89"/>
                  <a:gd name="T19" fmla="*/ 1 h 154"/>
                  <a:gd name="T20" fmla="*/ 32 w 89"/>
                  <a:gd name="T21" fmla="*/ 0 h 154"/>
                  <a:gd name="T22" fmla="*/ 19 w 89"/>
                  <a:gd name="T23" fmla="*/ 1 h 154"/>
                  <a:gd name="T24" fmla="*/ 7 w 89"/>
                  <a:gd name="T25" fmla="*/ 1 h 154"/>
                  <a:gd name="T26" fmla="*/ 0 w 89"/>
                  <a:gd name="T27" fmla="*/ 1 h 1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89" h="154">
                    <a:moveTo>
                      <a:pt x="0" y="110"/>
                    </a:moveTo>
                    <a:lnTo>
                      <a:pt x="7" y="154"/>
                    </a:lnTo>
                    <a:lnTo>
                      <a:pt x="19" y="144"/>
                    </a:lnTo>
                    <a:lnTo>
                      <a:pt x="7" y="110"/>
                    </a:lnTo>
                    <a:lnTo>
                      <a:pt x="51" y="133"/>
                    </a:lnTo>
                    <a:lnTo>
                      <a:pt x="64" y="100"/>
                    </a:lnTo>
                    <a:lnTo>
                      <a:pt x="89" y="89"/>
                    </a:lnTo>
                    <a:lnTo>
                      <a:pt x="83" y="66"/>
                    </a:lnTo>
                    <a:lnTo>
                      <a:pt x="83" y="44"/>
                    </a:lnTo>
                    <a:lnTo>
                      <a:pt x="64" y="44"/>
                    </a:lnTo>
                    <a:lnTo>
                      <a:pt x="32" y="0"/>
                    </a:lnTo>
                    <a:lnTo>
                      <a:pt x="19" y="89"/>
                    </a:lnTo>
                    <a:lnTo>
                      <a:pt x="7" y="89"/>
                    </a:lnTo>
                    <a:lnTo>
                      <a:pt x="0" y="110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52" name="Freeform 467"/>
              <p:cNvSpPr>
                <a:spLocks/>
              </p:cNvSpPr>
              <p:nvPr/>
            </p:nvSpPr>
            <p:spPr bwMode="auto">
              <a:xfrm>
                <a:off x="5121" y="1874"/>
                <a:ext cx="89" cy="77"/>
              </a:xfrm>
              <a:custGeom>
                <a:avLst/>
                <a:gdLst>
                  <a:gd name="T0" fmla="*/ 0 w 89"/>
                  <a:gd name="T1" fmla="*/ 1 h 154"/>
                  <a:gd name="T2" fmla="*/ 7 w 89"/>
                  <a:gd name="T3" fmla="*/ 1 h 154"/>
                  <a:gd name="T4" fmla="*/ 19 w 89"/>
                  <a:gd name="T5" fmla="*/ 1 h 154"/>
                  <a:gd name="T6" fmla="*/ 7 w 89"/>
                  <a:gd name="T7" fmla="*/ 1 h 154"/>
                  <a:gd name="T8" fmla="*/ 51 w 89"/>
                  <a:gd name="T9" fmla="*/ 1 h 154"/>
                  <a:gd name="T10" fmla="*/ 64 w 89"/>
                  <a:gd name="T11" fmla="*/ 1 h 154"/>
                  <a:gd name="T12" fmla="*/ 89 w 89"/>
                  <a:gd name="T13" fmla="*/ 1 h 154"/>
                  <a:gd name="T14" fmla="*/ 83 w 89"/>
                  <a:gd name="T15" fmla="*/ 1 h 154"/>
                  <a:gd name="T16" fmla="*/ 83 w 89"/>
                  <a:gd name="T17" fmla="*/ 1 h 154"/>
                  <a:gd name="T18" fmla="*/ 64 w 89"/>
                  <a:gd name="T19" fmla="*/ 1 h 154"/>
                  <a:gd name="T20" fmla="*/ 32 w 89"/>
                  <a:gd name="T21" fmla="*/ 0 h 154"/>
                  <a:gd name="T22" fmla="*/ 19 w 89"/>
                  <a:gd name="T23" fmla="*/ 1 h 154"/>
                  <a:gd name="T24" fmla="*/ 7 w 89"/>
                  <a:gd name="T25" fmla="*/ 1 h 154"/>
                  <a:gd name="T26" fmla="*/ 0 w 89"/>
                  <a:gd name="T27" fmla="*/ 1 h 1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89" h="154">
                    <a:moveTo>
                      <a:pt x="0" y="110"/>
                    </a:moveTo>
                    <a:lnTo>
                      <a:pt x="7" y="154"/>
                    </a:lnTo>
                    <a:lnTo>
                      <a:pt x="19" y="144"/>
                    </a:lnTo>
                    <a:lnTo>
                      <a:pt x="7" y="110"/>
                    </a:lnTo>
                    <a:lnTo>
                      <a:pt x="51" y="133"/>
                    </a:lnTo>
                    <a:lnTo>
                      <a:pt x="64" y="100"/>
                    </a:lnTo>
                    <a:lnTo>
                      <a:pt x="89" y="89"/>
                    </a:lnTo>
                    <a:lnTo>
                      <a:pt x="83" y="66"/>
                    </a:lnTo>
                    <a:lnTo>
                      <a:pt x="83" y="44"/>
                    </a:lnTo>
                    <a:lnTo>
                      <a:pt x="64" y="44"/>
                    </a:lnTo>
                    <a:lnTo>
                      <a:pt x="32" y="0"/>
                    </a:lnTo>
                    <a:lnTo>
                      <a:pt x="19" y="89"/>
                    </a:lnTo>
                    <a:lnTo>
                      <a:pt x="7" y="89"/>
                    </a:lnTo>
                    <a:lnTo>
                      <a:pt x="0" y="110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86" name="Freeform 468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7599611" y="3263900"/>
              <a:ext cx="130175" cy="122238"/>
            </a:xfrm>
            <a:custGeom>
              <a:avLst/>
              <a:gdLst>
                <a:gd name="T0" fmla="*/ 0 w 89"/>
                <a:gd name="T1" fmla="*/ 2147483647 h 154"/>
                <a:gd name="T2" fmla="*/ 2147483647 w 89"/>
                <a:gd name="T3" fmla="*/ 2147483647 h 154"/>
                <a:gd name="T4" fmla="*/ 2147483647 w 89"/>
                <a:gd name="T5" fmla="*/ 2147483647 h 154"/>
                <a:gd name="T6" fmla="*/ 2147483647 w 89"/>
                <a:gd name="T7" fmla="*/ 2147483647 h 154"/>
                <a:gd name="T8" fmla="*/ 2147483647 w 89"/>
                <a:gd name="T9" fmla="*/ 2147483647 h 154"/>
                <a:gd name="T10" fmla="*/ 2147483647 w 89"/>
                <a:gd name="T11" fmla="*/ 2147483647 h 154"/>
                <a:gd name="T12" fmla="*/ 2147483647 w 89"/>
                <a:gd name="T13" fmla="*/ 2147483647 h 154"/>
                <a:gd name="T14" fmla="*/ 2147483647 w 89"/>
                <a:gd name="T15" fmla="*/ 2147483647 h 154"/>
                <a:gd name="T16" fmla="*/ 2147483647 w 89"/>
                <a:gd name="T17" fmla="*/ 2147483647 h 154"/>
                <a:gd name="T18" fmla="*/ 2147483647 w 89"/>
                <a:gd name="T19" fmla="*/ 2147483647 h 154"/>
                <a:gd name="T20" fmla="*/ 2147483647 w 89"/>
                <a:gd name="T21" fmla="*/ 0 h 154"/>
                <a:gd name="T22" fmla="*/ 2147483647 w 89"/>
                <a:gd name="T23" fmla="*/ 2147483647 h 154"/>
                <a:gd name="T24" fmla="*/ 2147483647 w 89"/>
                <a:gd name="T25" fmla="*/ 2147483647 h 154"/>
                <a:gd name="T26" fmla="*/ 0 w 89"/>
                <a:gd name="T27" fmla="*/ 2147483647 h 1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9" h="154">
                  <a:moveTo>
                    <a:pt x="0" y="110"/>
                  </a:moveTo>
                  <a:lnTo>
                    <a:pt x="7" y="154"/>
                  </a:lnTo>
                  <a:lnTo>
                    <a:pt x="19" y="144"/>
                  </a:lnTo>
                  <a:lnTo>
                    <a:pt x="7" y="110"/>
                  </a:lnTo>
                  <a:lnTo>
                    <a:pt x="51" y="133"/>
                  </a:lnTo>
                  <a:lnTo>
                    <a:pt x="64" y="100"/>
                  </a:lnTo>
                  <a:lnTo>
                    <a:pt x="89" y="89"/>
                  </a:lnTo>
                  <a:lnTo>
                    <a:pt x="83" y="66"/>
                  </a:lnTo>
                  <a:lnTo>
                    <a:pt x="83" y="44"/>
                  </a:lnTo>
                  <a:lnTo>
                    <a:pt x="64" y="44"/>
                  </a:lnTo>
                  <a:lnTo>
                    <a:pt x="32" y="0"/>
                  </a:lnTo>
                  <a:lnTo>
                    <a:pt x="19" y="89"/>
                  </a:lnTo>
                  <a:lnTo>
                    <a:pt x="7" y="89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387" name="Group 469"/>
            <p:cNvGrpSpPr>
              <a:grpSpLocks/>
            </p:cNvGrpSpPr>
            <p:nvPr>
              <p:custDataLst>
                <p:tags r:id="rId381"/>
              </p:custDataLst>
            </p:nvPr>
          </p:nvGrpSpPr>
          <p:grpSpPr bwMode="auto">
            <a:xfrm>
              <a:off x="7599611" y="3263900"/>
              <a:ext cx="130175" cy="122238"/>
              <a:chOff x="5121" y="1874"/>
              <a:chExt cx="89" cy="7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49" name="Freeform 470"/>
              <p:cNvSpPr>
                <a:spLocks/>
              </p:cNvSpPr>
              <p:nvPr/>
            </p:nvSpPr>
            <p:spPr bwMode="auto">
              <a:xfrm>
                <a:off x="5121" y="1874"/>
                <a:ext cx="89" cy="77"/>
              </a:xfrm>
              <a:custGeom>
                <a:avLst/>
                <a:gdLst>
                  <a:gd name="T0" fmla="*/ 0 w 89"/>
                  <a:gd name="T1" fmla="*/ 1 h 154"/>
                  <a:gd name="T2" fmla="*/ 7 w 89"/>
                  <a:gd name="T3" fmla="*/ 1 h 154"/>
                  <a:gd name="T4" fmla="*/ 19 w 89"/>
                  <a:gd name="T5" fmla="*/ 1 h 154"/>
                  <a:gd name="T6" fmla="*/ 7 w 89"/>
                  <a:gd name="T7" fmla="*/ 1 h 154"/>
                  <a:gd name="T8" fmla="*/ 51 w 89"/>
                  <a:gd name="T9" fmla="*/ 1 h 154"/>
                  <a:gd name="T10" fmla="*/ 64 w 89"/>
                  <a:gd name="T11" fmla="*/ 1 h 154"/>
                  <a:gd name="T12" fmla="*/ 89 w 89"/>
                  <a:gd name="T13" fmla="*/ 1 h 154"/>
                  <a:gd name="T14" fmla="*/ 83 w 89"/>
                  <a:gd name="T15" fmla="*/ 1 h 154"/>
                  <a:gd name="T16" fmla="*/ 83 w 89"/>
                  <a:gd name="T17" fmla="*/ 1 h 154"/>
                  <a:gd name="T18" fmla="*/ 64 w 89"/>
                  <a:gd name="T19" fmla="*/ 1 h 154"/>
                  <a:gd name="T20" fmla="*/ 32 w 89"/>
                  <a:gd name="T21" fmla="*/ 0 h 154"/>
                  <a:gd name="T22" fmla="*/ 19 w 89"/>
                  <a:gd name="T23" fmla="*/ 1 h 154"/>
                  <a:gd name="T24" fmla="*/ 7 w 89"/>
                  <a:gd name="T25" fmla="*/ 1 h 154"/>
                  <a:gd name="T26" fmla="*/ 0 w 89"/>
                  <a:gd name="T27" fmla="*/ 1 h 1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89" h="154">
                    <a:moveTo>
                      <a:pt x="0" y="110"/>
                    </a:moveTo>
                    <a:lnTo>
                      <a:pt x="7" y="154"/>
                    </a:lnTo>
                    <a:lnTo>
                      <a:pt x="19" y="144"/>
                    </a:lnTo>
                    <a:lnTo>
                      <a:pt x="7" y="110"/>
                    </a:lnTo>
                    <a:lnTo>
                      <a:pt x="51" y="133"/>
                    </a:lnTo>
                    <a:lnTo>
                      <a:pt x="64" y="100"/>
                    </a:lnTo>
                    <a:lnTo>
                      <a:pt x="89" y="89"/>
                    </a:lnTo>
                    <a:lnTo>
                      <a:pt x="83" y="66"/>
                    </a:lnTo>
                    <a:lnTo>
                      <a:pt x="83" y="44"/>
                    </a:lnTo>
                    <a:lnTo>
                      <a:pt x="64" y="44"/>
                    </a:lnTo>
                    <a:lnTo>
                      <a:pt x="32" y="0"/>
                    </a:lnTo>
                    <a:lnTo>
                      <a:pt x="19" y="89"/>
                    </a:lnTo>
                    <a:lnTo>
                      <a:pt x="7" y="89"/>
                    </a:lnTo>
                    <a:lnTo>
                      <a:pt x="0" y="110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50" name="Freeform 471"/>
              <p:cNvSpPr>
                <a:spLocks/>
              </p:cNvSpPr>
              <p:nvPr/>
            </p:nvSpPr>
            <p:spPr bwMode="auto">
              <a:xfrm>
                <a:off x="5121" y="1874"/>
                <a:ext cx="89" cy="77"/>
              </a:xfrm>
              <a:custGeom>
                <a:avLst/>
                <a:gdLst>
                  <a:gd name="T0" fmla="*/ 0 w 89"/>
                  <a:gd name="T1" fmla="*/ 1 h 154"/>
                  <a:gd name="T2" fmla="*/ 7 w 89"/>
                  <a:gd name="T3" fmla="*/ 1 h 154"/>
                  <a:gd name="T4" fmla="*/ 19 w 89"/>
                  <a:gd name="T5" fmla="*/ 1 h 154"/>
                  <a:gd name="T6" fmla="*/ 7 w 89"/>
                  <a:gd name="T7" fmla="*/ 1 h 154"/>
                  <a:gd name="T8" fmla="*/ 51 w 89"/>
                  <a:gd name="T9" fmla="*/ 1 h 154"/>
                  <a:gd name="T10" fmla="*/ 64 w 89"/>
                  <a:gd name="T11" fmla="*/ 1 h 154"/>
                  <a:gd name="T12" fmla="*/ 89 w 89"/>
                  <a:gd name="T13" fmla="*/ 1 h 154"/>
                  <a:gd name="T14" fmla="*/ 83 w 89"/>
                  <a:gd name="T15" fmla="*/ 1 h 154"/>
                  <a:gd name="T16" fmla="*/ 83 w 89"/>
                  <a:gd name="T17" fmla="*/ 1 h 154"/>
                  <a:gd name="T18" fmla="*/ 64 w 89"/>
                  <a:gd name="T19" fmla="*/ 1 h 154"/>
                  <a:gd name="T20" fmla="*/ 32 w 89"/>
                  <a:gd name="T21" fmla="*/ 0 h 154"/>
                  <a:gd name="T22" fmla="*/ 19 w 89"/>
                  <a:gd name="T23" fmla="*/ 1 h 154"/>
                  <a:gd name="T24" fmla="*/ 7 w 89"/>
                  <a:gd name="T25" fmla="*/ 1 h 154"/>
                  <a:gd name="T26" fmla="*/ 0 w 89"/>
                  <a:gd name="T27" fmla="*/ 1 h 1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89" h="154">
                    <a:moveTo>
                      <a:pt x="0" y="110"/>
                    </a:moveTo>
                    <a:lnTo>
                      <a:pt x="7" y="154"/>
                    </a:lnTo>
                    <a:lnTo>
                      <a:pt x="19" y="144"/>
                    </a:lnTo>
                    <a:lnTo>
                      <a:pt x="7" y="110"/>
                    </a:lnTo>
                    <a:lnTo>
                      <a:pt x="51" y="133"/>
                    </a:lnTo>
                    <a:lnTo>
                      <a:pt x="64" y="100"/>
                    </a:lnTo>
                    <a:lnTo>
                      <a:pt x="89" y="89"/>
                    </a:lnTo>
                    <a:lnTo>
                      <a:pt x="83" y="66"/>
                    </a:lnTo>
                    <a:lnTo>
                      <a:pt x="83" y="44"/>
                    </a:lnTo>
                    <a:lnTo>
                      <a:pt x="64" y="44"/>
                    </a:lnTo>
                    <a:lnTo>
                      <a:pt x="32" y="0"/>
                    </a:lnTo>
                    <a:lnTo>
                      <a:pt x="19" y="89"/>
                    </a:lnTo>
                    <a:lnTo>
                      <a:pt x="7" y="89"/>
                    </a:lnTo>
                    <a:lnTo>
                      <a:pt x="0" y="110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388" name="Freeform 472"/>
            <p:cNvSpPr>
              <a:spLocks/>
            </p:cNvSpPr>
            <p:nvPr>
              <p:custDataLst>
                <p:tags r:id="rId382"/>
              </p:custDataLst>
            </p:nvPr>
          </p:nvSpPr>
          <p:spPr bwMode="auto">
            <a:xfrm>
              <a:off x="7242423" y="3343275"/>
              <a:ext cx="147638" cy="158750"/>
            </a:xfrm>
            <a:custGeom>
              <a:avLst/>
              <a:gdLst>
                <a:gd name="T0" fmla="*/ 0 w 101"/>
                <a:gd name="T1" fmla="*/ 2147483647 h 200"/>
                <a:gd name="T2" fmla="*/ 2147483647 w 101"/>
                <a:gd name="T3" fmla="*/ 2147483647 h 200"/>
                <a:gd name="T4" fmla="*/ 2147483647 w 101"/>
                <a:gd name="T5" fmla="*/ 2147483647 h 200"/>
                <a:gd name="T6" fmla="*/ 2147483647 w 101"/>
                <a:gd name="T7" fmla="*/ 2147483647 h 200"/>
                <a:gd name="T8" fmla="*/ 2147483647 w 101"/>
                <a:gd name="T9" fmla="*/ 2147483647 h 200"/>
                <a:gd name="T10" fmla="*/ 2147483647 w 101"/>
                <a:gd name="T11" fmla="*/ 2147483647 h 200"/>
                <a:gd name="T12" fmla="*/ 2147483647 w 101"/>
                <a:gd name="T13" fmla="*/ 2147483647 h 200"/>
                <a:gd name="T14" fmla="*/ 2147483647 w 101"/>
                <a:gd name="T15" fmla="*/ 2147483647 h 200"/>
                <a:gd name="T16" fmla="*/ 2147483647 w 101"/>
                <a:gd name="T17" fmla="*/ 2147483647 h 200"/>
                <a:gd name="T18" fmla="*/ 2147483647 w 101"/>
                <a:gd name="T19" fmla="*/ 0 h 200"/>
                <a:gd name="T20" fmla="*/ 2147483647 w 101"/>
                <a:gd name="T21" fmla="*/ 2147483647 h 200"/>
                <a:gd name="T22" fmla="*/ 2147483647 w 101"/>
                <a:gd name="T23" fmla="*/ 2147483647 h 200"/>
                <a:gd name="T24" fmla="*/ 2147483647 w 101"/>
                <a:gd name="T25" fmla="*/ 2147483647 h 200"/>
                <a:gd name="T26" fmla="*/ 0 w 101"/>
                <a:gd name="T27" fmla="*/ 2147483647 h 2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1" h="200">
                  <a:moveTo>
                    <a:pt x="0" y="112"/>
                  </a:moveTo>
                  <a:lnTo>
                    <a:pt x="19" y="133"/>
                  </a:lnTo>
                  <a:lnTo>
                    <a:pt x="7" y="188"/>
                  </a:lnTo>
                  <a:lnTo>
                    <a:pt x="38" y="200"/>
                  </a:lnTo>
                  <a:lnTo>
                    <a:pt x="64" y="167"/>
                  </a:lnTo>
                  <a:lnTo>
                    <a:pt x="50" y="123"/>
                  </a:lnTo>
                  <a:lnTo>
                    <a:pt x="83" y="79"/>
                  </a:lnTo>
                  <a:lnTo>
                    <a:pt x="101" y="23"/>
                  </a:lnTo>
                  <a:lnTo>
                    <a:pt x="101" y="12"/>
                  </a:lnTo>
                  <a:lnTo>
                    <a:pt x="95" y="0"/>
                  </a:lnTo>
                  <a:lnTo>
                    <a:pt x="64" y="35"/>
                  </a:lnTo>
                  <a:lnTo>
                    <a:pt x="64" y="56"/>
                  </a:lnTo>
                  <a:lnTo>
                    <a:pt x="45" y="56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89" name="Freeform 473"/>
            <p:cNvSpPr>
              <a:spLocks/>
            </p:cNvSpPr>
            <p:nvPr>
              <p:custDataLst>
                <p:tags r:id="rId383"/>
              </p:custDataLst>
            </p:nvPr>
          </p:nvSpPr>
          <p:spPr bwMode="auto">
            <a:xfrm>
              <a:off x="7242423" y="3343275"/>
              <a:ext cx="147638" cy="158750"/>
            </a:xfrm>
            <a:custGeom>
              <a:avLst/>
              <a:gdLst>
                <a:gd name="T0" fmla="*/ 0 w 101"/>
                <a:gd name="T1" fmla="*/ 2147483647 h 200"/>
                <a:gd name="T2" fmla="*/ 2147483647 w 101"/>
                <a:gd name="T3" fmla="*/ 2147483647 h 200"/>
                <a:gd name="T4" fmla="*/ 2147483647 w 101"/>
                <a:gd name="T5" fmla="*/ 2147483647 h 200"/>
                <a:gd name="T6" fmla="*/ 2147483647 w 101"/>
                <a:gd name="T7" fmla="*/ 2147483647 h 200"/>
                <a:gd name="T8" fmla="*/ 2147483647 w 101"/>
                <a:gd name="T9" fmla="*/ 2147483647 h 200"/>
                <a:gd name="T10" fmla="*/ 2147483647 w 101"/>
                <a:gd name="T11" fmla="*/ 2147483647 h 200"/>
                <a:gd name="T12" fmla="*/ 2147483647 w 101"/>
                <a:gd name="T13" fmla="*/ 2147483647 h 200"/>
                <a:gd name="T14" fmla="*/ 2147483647 w 101"/>
                <a:gd name="T15" fmla="*/ 2147483647 h 200"/>
                <a:gd name="T16" fmla="*/ 2147483647 w 101"/>
                <a:gd name="T17" fmla="*/ 2147483647 h 200"/>
                <a:gd name="T18" fmla="*/ 2147483647 w 101"/>
                <a:gd name="T19" fmla="*/ 0 h 200"/>
                <a:gd name="T20" fmla="*/ 2147483647 w 101"/>
                <a:gd name="T21" fmla="*/ 2147483647 h 200"/>
                <a:gd name="T22" fmla="*/ 2147483647 w 101"/>
                <a:gd name="T23" fmla="*/ 2147483647 h 200"/>
                <a:gd name="T24" fmla="*/ 2147483647 w 101"/>
                <a:gd name="T25" fmla="*/ 2147483647 h 200"/>
                <a:gd name="T26" fmla="*/ 0 w 101"/>
                <a:gd name="T27" fmla="*/ 2147483647 h 2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1" h="200">
                  <a:moveTo>
                    <a:pt x="0" y="112"/>
                  </a:moveTo>
                  <a:lnTo>
                    <a:pt x="19" y="133"/>
                  </a:lnTo>
                  <a:lnTo>
                    <a:pt x="7" y="188"/>
                  </a:lnTo>
                  <a:lnTo>
                    <a:pt x="38" y="200"/>
                  </a:lnTo>
                  <a:lnTo>
                    <a:pt x="64" y="167"/>
                  </a:lnTo>
                  <a:lnTo>
                    <a:pt x="50" y="123"/>
                  </a:lnTo>
                  <a:lnTo>
                    <a:pt x="83" y="79"/>
                  </a:lnTo>
                  <a:lnTo>
                    <a:pt x="101" y="23"/>
                  </a:lnTo>
                  <a:lnTo>
                    <a:pt x="101" y="12"/>
                  </a:lnTo>
                  <a:lnTo>
                    <a:pt x="95" y="0"/>
                  </a:lnTo>
                  <a:lnTo>
                    <a:pt x="64" y="35"/>
                  </a:lnTo>
                  <a:lnTo>
                    <a:pt x="64" y="56"/>
                  </a:lnTo>
                  <a:lnTo>
                    <a:pt x="45" y="56"/>
                  </a:lnTo>
                  <a:lnTo>
                    <a:pt x="0" y="1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90" name="Freeform 474"/>
            <p:cNvSpPr>
              <a:spLocks/>
            </p:cNvSpPr>
            <p:nvPr>
              <p:custDataLst>
                <p:tags r:id="rId384"/>
              </p:custDataLst>
            </p:nvPr>
          </p:nvSpPr>
          <p:spPr bwMode="auto">
            <a:xfrm>
              <a:off x="7242423" y="3343275"/>
              <a:ext cx="147638" cy="158750"/>
            </a:xfrm>
            <a:custGeom>
              <a:avLst/>
              <a:gdLst>
                <a:gd name="T0" fmla="*/ 0 w 101"/>
                <a:gd name="T1" fmla="*/ 2147483647 h 200"/>
                <a:gd name="T2" fmla="*/ 2147483647 w 101"/>
                <a:gd name="T3" fmla="*/ 2147483647 h 200"/>
                <a:gd name="T4" fmla="*/ 2147483647 w 101"/>
                <a:gd name="T5" fmla="*/ 2147483647 h 200"/>
                <a:gd name="T6" fmla="*/ 2147483647 w 101"/>
                <a:gd name="T7" fmla="*/ 2147483647 h 200"/>
                <a:gd name="T8" fmla="*/ 2147483647 w 101"/>
                <a:gd name="T9" fmla="*/ 2147483647 h 200"/>
                <a:gd name="T10" fmla="*/ 2147483647 w 101"/>
                <a:gd name="T11" fmla="*/ 2147483647 h 200"/>
                <a:gd name="T12" fmla="*/ 2147483647 w 101"/>
                <a:gd name="T13" fmla="*/ 2147483647 h 200"/>
                <a:gd name="T14" fmla="*/ 2147483647 w 101"/>
                <a:gd name="T15" fmla="*/ 2147483647 h 200"/>
                <a:gd name="T16" fmla="*/ 2147483647 w 101"/>
                <a:gd name="T17" fmla="*/ 2147483647 h 200"/>
                <a:gd name="T18" fmla="*/ 2147483647 w 101"/>
                <a:gd name="T19" fmla="*/ 0 h 200"/>
                <a:gd name="T20" fmla="*/ 2147483647 w 101"/>
                <a:gd name="T21" fmla="*/ 2147483647 h 200"/>
                <a:gd name="T22" fmla="*/ 2147483647 w 101"/>
                <a:gd name="T23" fmla="*/ 2147483647 h 200"/>
                <a:gd name="T24" fmla="*/ 2147483647 w 101"/>
                <a:gd name="T25" fmla="*/ 2147483647 h 200"/>
                <a:gd name="T26" fmla="*/ 0 w 101"/>
                <a:gd name="T27" fmla="*/ 2147483647 h 2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1" h="200">
                  <a:moveTo>
                    <a:pt x="0" y="112"/>
                  </a:moveTo>
                  <a:lnTo>
                    <a:pt x="19" y="133"/>
                  </a:lnTo>
                  <a:lnTo>
                    <a:pt x="7" y="188"/>
                  </a:lnTo>
                  <a:lnTo>
                    <a:pt x="38" y="200"/>
                  </a:lnTo>
                  <a:lnTo>
                    <a:pt x="64" y="167"/>
                  </a:lnTo>
                  <a:lnTo>
                    <a:pt x="50" y="123"/>
                  </a:lnTo>
                  <a:lnTo>
                    <a:pt x="83" y="79"/>
                  </a:lnTo>
                  <a:lnTo>
                    <a:pt x="101" y="23"/>
                  </a:lnTo>
                  <a:lnTo>
                    <a:pt x="101" y="12"/>
                  </a:lnTo>
                  <a:lnTo>
                    <a:pt x="95" y="0"/>
                  </a:lnTo>
                  <a:lnTo>
                    <a:pt x="64" y="35"/>
                  </a:lnTo>
                  <a:lnTo>
                    <a:pt x="64" y="56"/>
                  </a:lnTo>
                  <a:lnTo>
                    <a:pt x="45" y="56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91" name="Freeform 475"/>
            <p:cNvSpPr>
              <a:spLocks/>
            </p:cNvSpPr>
            <p:nvPr>
              <p:custDataLst>
                <p:tags r:id="rId385"/>
              </p:custDataLst>
            </p:nvPr>
          </p:nvSpPr>
          <p:spPr bwMode="auto">
            <a:xfrm>
              <a:off x="7242423" y="3343275"/>
              <a:ext cx="147638" cy="158750"/>
            </a:xfrm>
            <a:custGeom>
              <a:avLst/>
              <a:gdLst>
                <a:gd name="T0" fmla="*/ 0 w 101"/>
                <a:gd name="T1" fmla="*/ 2147483647 h 200"/>
                <a:gd name="T2" fmla="*/ 2147483647 w 101"/>
                <a:gd name="T3" fmla="*/ 2147483647 h 200"/>
                <a:gd name="T4" fmla="*/ 2147483647 w 101"/>
                <a:gd name="T5" fmla="*/ 2147483647 h 200"/>
                <a:gd name="T6" fmla="*/ 2147483647 w 101"/>
                <a:gd name="T7" fmla="*/ 2147483647 h 200"/>
                <a:gd name="T8" fmla="*/ 2147483647 w 101"/>
                <a:gd name="T9" fmla="*/ 2147483647 h 200"/>
                <a:gd name="T10" fmla="*/ 2147483647 w 101"/>
                <a:gd name="T11" fmla="*/ 2147483647 h 200"/>
                <a:gd name="T12" fmla="*/ 2147483647 w 101"/>
                <a:gd name="T13" fmla="*/ 2147483647 h 200"/>
                <a:gd name="T14" fmla="*/ 2147483647 w 101"/>
                <a:gd name="T15" fmla="*/ 2147483647 h 200"/>
                <a:gd name="T16" fmla="*/ 2147483647 w 101"/>
                <a:gd name="T17" fmla="*/ 2147483647 h 200"/>
                <a:gd name="T18" fmla="*/ 2147483647 w 101"/>
                <a:gd name="T19" fmla="*/ 0 h 200"/>
                <a:gd name="T20" fmla="*/ 2147483647 w 101"/>
                <a:gd name="T21" fmla="*/ 2147483647 h 200"/>
                <a:gd name="T22" fmla="*/ 2147483647 w 101"/>
                <a:gd name="T23" fmla="*/ 2147483647 h 200"/>
                <a:gd name="T24" fmla="*/ 2147483647 w 101"/>
                <a:gd name="T25" fmla="*/ 2147483647 h 200"/>
                <a:gd name="T26" fmla="*/ 0 w 101"/>
                <a:gd name="T27" fmla="*/ 2147483647 h 2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1" h="200">
                  <a:moveTo>
                    <a:pt x="0" y="112"/>
                  </a:moveTo>
                  <a:lnTo>
                    <a:pt x="19" y="133"/>
                  </a:lnTo>
                  <a:lnTo>
                    <a:pt x="7" y="188"/>
                  </a:lnTo>
                  <a:lnTo>
                    <a:pt x="38" y="200"/>
                  </a:lnTo>
                  <a:lnTo>
                    <a:pt x="64" y="167"/>
                  </a:lnTo>
                  <a:lnTo>
                    <a:pt x="50" y="123"/>
                  </a:lnTo>
                  <a:lnTo>
                    <a:pt x="83" y="79"/>
                  </a:lnTo>
                  <a:lnTo>
                    <a:pt x="101" y="23"/>
                  </a:lnTo>
                  <a:lnTo>
                    <a:pt x="101" y="12"/>
                  </a:lnTo>
                  <a:lnTo>
                    <a:pt x="95" y="0"/>
                  </a:lnTo>
                  <a:lnTo>
                    <a:pt x="64" y="35"/>
                  </a:lnTo>
                  <a:lnTo>
                    <a:pt x="64" y="56"/>
                  </a:lnTo>
                  <a:lnTo>
                    <a:pt x="45" y="56"/>
                  </a:lnTo>
                  <a:lnTo>
                    <a:pt x="0" y="112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92" name="Freeform 476"/>
            <p:cNvSpPr>
              <a:spLocks/>
            </p:cNvSpPr>
            <p:nvPr>
              <p:custDataLst>
                <p:tags r:id="rId386"/>
              </p:custDataLst>
            </p:nvPr>
          </p:nvSpPr>
          <p:spPr bwMode="auto">
            <a:xfrm>
              <a:off x="7288461" y="3476625"/>
              <a:ext cx="74612" cy="114300"/>
            </a:xfrm>
            <a:custGeom>
              <a:avLst/>
              <a:gdLst>
                <a:gd name="T0" fmla="*/ 0 w 50"/>
                <a:gd name="T1" fmla="*/ 2147483647 h 144"/>
                <a:gd name="T2" fmla="*/ 2147483647 w 50"/>
                <a:gd name="T3" fmla="*/ 2147483647 h 144"/>
                <a:gd name="T4" fmla="*/ 2147483647 w 50"/>
                <a:gd name="T5" fmla="*/ 0 h 144"/>
                <a:gd name="T6" fmla="*/ 2147483647 w 50"/>
                <a:gd name="T7" fmla="*/ 2147483647 h 144"/>
                <a:gd name="T8" fmla="*/ 2147483647 w 50"/>
                <a:gd name="T9" fmla="*/ 2147483647 h 144"/>
                <a:gd name="T10" fmla="*/ 0 w 50"/>
                <a:gd name="T11" fmla="*/ 2147483647 h 1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44">
                  <a:moveTo>
                    <a:pt x="0" y="144"/>
                  </a:moveTo>
                  <a:lnTo>
                    <a:pt x="6" y="33"/>
                  </a:lnTo>
                  <a:lnTo>
                    <a:pt x="31" y="0"/>
                  </a:lnTo>
                  <a:lnTo>
                    <a:pt x="50" y="89"/>
                  </a:lnTo>
                  <a:lnTo>
                    <a:pt x="31" y="133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93" name="Freeform 477"/>
            <p:cNvSpPr>
              <a:spLocks/>
            </p:cNvSpPr>
            <p:nvPr>
              <p:custDataLst>
                <p:tags r:id="rId387"/>
              </p:custDataLst>
            </p:nvPr>
          </p:nvSpPr>
          <p:spPr bwMode="auto">
            <a:xfrm>
              <a:off x="7288461" y="3476625"/>
              <a:ext cx="74612" cy="114300"/>
            </a:xfrm>
            <a:custGeom>
              <a:avLst/>
              <a:gdLst>
                <a:gd name="T0" fmla="*/ 0 w 50"/>
                <a:gd name="T1" fmla="*/ 2147483647 h 144"/>
                <a:gd name="T2" fmla="*/ 2147483647 w 50"/>
                <a:gd name="T3" fmla="*/ 2147483647 h 144"/>
                <a:gd name="T4" fmla="*/ 2147483647 w 50"/>
                <a:gd name="T5" fmla="*/ 0 h 144"/>
                <a:gd name="T6" fmla="*/ 2147483647 w 50"/>
                <a:gd name="T7" fmla="*/ 2147483647 h 144"/>
                <a:gd name="T8" fmla="*/ 2147483647 w 50"/>
                <a:gd name="T9" fmla="*/ 2147483647 h 144"/>
                <a:gd name="T10" fmla="*/ 0 w 50"/>
                <a:gd name="T11" fmla="*/ 2147483647 h 1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44">
                  <a:moveTo>
                    <a:pt x="0" y="144"/>
                  </a:moveTo>
                  <a:lnTo>
                    <a:pt x="6" y="33"/>
                  </a:lnTo>
                  <a:lnTo>
                    <a:pt x="31" y="0"/>
                  </a:lnTo>
                  <a:lnTo>
                    <a:pt x="50" y="89"/>
                  </a:lnTo>
                  <a:lnTo>
                    <a:pt x="31" y="133"/>
                  </a:lnTo>
                  <a:lnTo>
                    <a:pt x="0" y="1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94" name="Freeform 478"/>
            <p:cNvSpPr>
              <a:spLocks/>
            </p:cNvSpPr>
            <p:nvPr>
              <p:custDataLst>
                <p:tags r:id="rId388"/>
              </p:custDataLst>
            </p:nvPr>
          </p:nvSpPr>
          <p:spPr bwMode="auto">
            <a:xfrm>
              <a:off x="7288461" y="3476625"/>
              <a:ext cx="74612" cy="114300"/>
            </a:xfrm>
            <a:custGeom>
              <a:avLst/>
              <a:gdLst>
                <a:gd name="T0" fmla="*/ 0 w 50"/>
                <a:gd name="T1" fmla="*/ 2147483647 h 144"/>
                <a:gd name="T2" fmla="*/ 2147483647 w 50"/>
                <a:gd name="T3" fmla="*/ 2147483647 h 144"/>
                <a:gd name="T4" fmla="*/ 2147483647 w 50"/>
                <a:gd name="T5" fmla="*/ 0 h 144"/>
                <a:gd name="T6" fmla="*/ 2147483647 w 50"/>
                <a:gd name="T7" fmla="*/ 2147483647 h 144"/>
                <a:gd name="T8" fmla="*/ 2147483647 w 50"/>
                <a:gd name="T9" fmla="*/ 2147483647 h 144"/>
                <a:gd name="T10" fmla="*/ 0 w 50"/>
                <a:gd name="T11" fmla="*/ 2147483647 h 1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44">
                  <a:moveTo>
                    <a:pt x="0" y="144"/>
                  </a:moveTo>
                  <a:lnTo>
                    <a:pt x="6" y="33"/>
                  </a:lnTo>
                  <a:lnTo>
                    <a:pt x="31" y="0"/>
                  </a:lnTo>
                  <a:lnTo>
                    <a:pt x="50" y="89"/>
                  </a:lnTo>
                  <a:lnTo>
                    <a:pt x="31" y="133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95" name="Freeform 479"/>
            <p:cNvSpPr>
              <a:spLocks/>
            </p:cNvSpPr>
            <p:nvPr>
              <p:custDataLst>
                <p:tags r:id="rId389"/>
              </p:custDataLst>
            </p:nvPr>
          </p:nvSpPr>
          <p:spPr bwMode="auto">
            <a:xfrm>
              <a:off x="7288461" y="3476625"/>
              <a:ext cx="74612" cy="114300"/>
            </a:xfrm>
            <a:custGeom>
              <a:avLst/>
              <a:gdLst>
                <a:gd name="T0" fmla="*/ 0 w 50"/>
                <a:gd name="T1" fmla="*/ 2147483647 h 144"/>
                <a:gd name="T2" fmla="*/ 2147483647 w 50"/>
                <a:gd name="T3" fmla="*/ 2147483647 h 144"/>
                <a:gd name="T4" fmla="*/ 2147483647 w 50"/>
                <a:gd name="T5" fmla="*/ 0 h 144"/>
                <a:gd name="T6" fmla="*/ 2147483647 w 50"/>
                <a:gd name="T7" fmla="*/ 2147483647 h 144"/>
                <a:gd name="T8" fmla="*/ 2147483647 w 50"/>
                <a:gd name="T9" fmla="*/ 2147483647 h 144"/>
                <a:gd name="T10" fmla="*/ 0 w 50"/>
                <a:gd name="T11" fmla="*/ 2147483647 h 1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44">
                  <a:moveTo>
                    <a:pt x="0" y="144"/>
                  </a:moveTo>
                  <a:lnTo>
                    <a:pt x="6" y="33"/>
                  </a:lnTo>
                  <a:lnTo>
                    <a:pt x="31" y="0"/>
                  </a:lnTo>
                  <a:lnTo>
                    <a:pt x="50" y="89"/>
                  </a:lnTo>
                  <a:lnTo>
                    <a:pt x="31" y="133"/>
                  </a:lnTo>
                  <a:lnTo>
                    <a:pt x="0" y="144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96" name="Freeform 480"/>
            <p:cNvSpPr>
              <a:spLocks/>
            </p:cNvSpPr>
            <p:nvPr>
              <p:custDataLst>
                <p:tags r:id="rId390"/>
              </p:custDataLst>
            </p:nvPr>
          </p:nvSpPr>
          <p:spPr bwMode="auto">
            <a:xfrm>
              <a:off x="6693148" y="3917950"/>
              <a:ext cx="165100" cy="212725"/>
            </a:xfrm>
            <a:custGeom>
              <a:avLst/>
              <a:gdLst>
                <a:gd name="T0" fmla="*/ 0 w 113"/>
                <a:gd name="T1" fmla="*/ 2147483647 h 267"/>
                <a:gd name="T2" fmla="*/ 2147483647 w 113"/>
                <a:gd name="T3" fmla="*/ 2147483647 h 267"/>
                <a:gd name="T4" fmla="*/ 2147483647 w 113"/>
                <a:gd name="T5" fmla="*/ 2147483647 h 267"/>
                <a:gd name="T6" fmla="*/ 2147483647 w 113"/>
                <a:gd name="T7" fmla="*/ 2147483647 h 267"/>
                <a:gd name="T8" fmla="*/ 2147483647 w 113"/>
                <a:gd name="T9" fmla="*/ 2147483647 h 267"/>
                <a:gd name="T10" fmla="*/ 2147483647 w 113"/>
                <a:gd name="T11" fmla="*/ 2147483647 h 267"/>
                <a:gd name="T12" fmla="*/ 2147483647 w 113"/>
                <a:gd name="T13" fmla="*/ 2147483647 h 267"/>
                <a:gd name="T14" fmla="*/ 2147483647 w 113"/>
                <a:gd name="T15" fmla="*/ 2147483647 h 267"/>
                <a:gd name="T16" fmla="*/ 2147483647 w 113"/>
                <a:gd name="T17" fmla="*/ 2147483647 h 267"/>
                <a:gd name="T18" fmla="*/ 2147483647 w 113"/>
                <a:gd name="T19" fmla="*/ 2147483647 h 267"/>
                <a:gd name="T20" fmla="*/ 2147483647 w 113"/>
                <a:gd name="T21" fmla="*/ 2147483647 h 267"/>
                <a:gd name="T22" fmla="*/ 2147483647 w 113"/>
                <a:gd name="T23" fmla="*/ 2147483647 h 267"/>
                <a:gd name="T24" fmla="*/ 2147483647 w 113"/>
                <a:gd name="T25" fmla="*/ 0 h 267"/>
                <a:gd name="T26" fmla="*/ 2147483647 w 113"/>
                <a:gd name="T27" fmla="*/ 2147483647 h 267"/>
                <a:gd name="T28" fmla="*/ 2147483647 w 113"/>
                <a:gd name="T29" fmla="*/ 2147483647 h 267"/>
                <a:gd name="T30" fmla="*/ 2147483647 w 113"/>
                <a:gd name="T31" fmla="*/ 2147483647 h 267"/>
                <a:gd name="T32" fmla="*/ 0 w 113"/>
                <a:gd name="T33" fmla="*/ 2147483647 h 2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3" h="267">
                  <a:moveTo>
                    <a:pt x="0" y="65"/>
                  </a:moveTo>
                  <a:lnTo>
                    <a:pt x="20" y="100"/>
                  </a:lnTo>
                  <a:lnTo>
                    <a:pt x="13" y="167"/>
                  </a:lnTo>
                  <a:lnTo>
                    <a:pt x="50" y="144"/>
                  </a:lnTo>
                  <a:lnTo>
                    <a:pt x="69" y="167"/>
                  </a:lnTo>
                  <a:lnTo>
                    <a:pt x="81" y="233"/>
                  </a:lnTo>
                  <a:lnTo>
                    <a:pt x="75" y="267"/>
                  </a:lnTo>
                  <a:lnTo>
                    <a:pt x="113" y="267"/>
                  </a:lnTo>
                  <a:lnTo>
                    <a:pt x="94" y="179"/>
                  </a:lnTo>
                  <a:lnTo>
                    <a:pt x="57" y="112"/>
                  </a:lnTo>
                  <a:lnTo>
                    <a:pt x="69" y="79"/>
                  </a:lnTo>
                  <a:lnTo>
                    <a:pt x="44" y="56"/>
                  </a:lnTo>
                  <a:lnTo>
                    <a:pt x="31" y="0"/>
                  </a:lnTo>
                  <a:lnTo>
                    <a:pt x="20" y="12"/>
                  </a:lnTo>
                  <a:lnTo>
                    <a:pt x="25" y="44"/>
                  </a:lnTo>
                  <a:lnTo>
                    <a:pt x="20" y="3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97" name="Freeform 481"/>
            <p:cNvSpPr>
              <a:spLocks/>
            </p:cNvSpPr>
            <p:nvPr>
              <p:custDataLst>
                <p:tags r:id="rId391"/>
              </p:custDataLst>
            </p:nvPr>
          </p:nvSpPr>
          <p:spPr bwMode="auto">
            <a:xfrm>
              <a:off x="6693148" y="3917950"/>
              <a:ext cx="165100" cy="212725"/>
            </a:xfrm>
            <a:custGeom>
              <a:avLst/>
              <a:gdLst>
                <a:gd name="T0" fmla="*/ 0 w 113"/>
                <a:gd name="T1" fmla="*/ 2147483647 h 267"/>
                <a:gd name="T2" fmla="*/ 2147483647 w 113"/>
                <a:gd name="T3" fmla="*/ 2147483647 h 267"/>
                <a:gd name="T4" fmla="*/ 2147483647 w 113"/>
                <a:gd name="T5" fmla="*/ 2147483647 h 267"/>
                <a:gd name="T6" fmla="*/ 2147483647 w 113"/>
                <a:gd name="T7" fmla="*/ 2147483647 h 267"/>
                <a:gd name="T8" fmla="*/ 2147483647 w 113"/>
                <a:gd name="T9" fmla="*/ 2147483647 h 267"/>
                <a:gd name="T10" fmla="*/ 2147483647 w 113"/>
                <a:gd name="T11" fmla="*/ 2147483647 h 267"/>
                <a:gd name="T12" fmla="*/ 2147483647 w 113"/>
                <a:gd name="T13" fmla="*/ 2147483647 h 267"/>
                <a:gd name="T14" fmla="*/ 2147483647 w 113"/>
                <a:gd name="T15" fmla="*/ 2147483647 h 267"/>
                <a:gd name="T16" fmla="*/ 2147483647 w 113"/>
                <a:gd name="T17" fmla="*/ 2147483647 h 267"/>
                <a:gd name="T18" fmla="*/ 2147483647 w 113"/>
                <a:gd name="T19" fmla="*/ 2147483647 h 267"/>
                <a:gd name="T20" fmla="*/ 2147483647 w 113"/>
                <a:gd name="T21" fmla="*/ 2147483647 h 267"/>
                <a:gd name="T22" fmla="*/ 2147483647 w 113"/>
                <a:gd name="T23" fmla="*/ 2147483647 h 267"/>
                <a:gd name="T24" fmla="*/ 2147483647 w 113"/>
                <a:gd name="T25" fmla="*/ 0 h 267"/>
                <a:gd name="T26" fmla="*/ 2147483647 w 113"/>
                <a:gd name="T27" fmla="*/ 2147483647 h 267"/>
                <a:gd name="T28" fmla="*/ 2147483647 w 113"/>
                <a:gd name="T29" fmla="*/ 2147483647 h 267"/>
                <a:gd name="T30" fmla="*/ 2147483647 w 113"/>
                <a:gd name="T31" fmla="*/ 2147483647 h 267"/>
                <a:gd name="T32" fmla="*/ 0 w 113"/>
                <a:gd name="T33" fmla="*/ 2147483647 h 2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3" h="267">
                  <a:moveTo>
                    <a:pt x="0" y="65"/>
                  </a:moveTo>
                  <a:lnTo>
                    <a:pt x="20" y="100"/>
                  </a:lnTo>
                  <a:lnTo>
                    <a:pt x="13" y="167"/>
                  </a:lnTo>
                  <a:lnTo>
                    <a:pt x="50" y="144"/>
                  </a:lnTo>
                  <a:lnTo>
                    <a:pt x="69" y="167"/>
                  </a:lnTo>
                  <a:lnTo>
                    <a:pt x="81" y="233"/>
                  </a:lnTo>
                  <a:lnTo>
                    <a:pt x="75" y="267"/>
                  </a:lnTo>
                  <a:lnTo>
                    <a:pt x="113" y="267"/>
                  </a:lnTo>
                  <a:lnTo>
                    <a:pt x="94" y="179"/>
                  </a:lnTo>
                  <a:lnTo>
                    <a:pt x="57" y="112"/>
                  </a:lnTo>
                  <a:lnTo>
                    <a:pt x="69" y="79"/>
                  </a:lnTo>
                  <a:lnTo>
                    <a:pt x="44" y="56"/>
                  </a:lnTo>
                  <a:lnTo>
                    <a:pt x="31" y="0"/>
                  </a:lnTo>
                  <a:lnTo>
                    <a:pt x="20" y="12"/>
                  </a:lnTo>
                  <a:lnTo>
                    <a:pt x="25" y="44"/>
                  </a:lnTo>
                  <a:lnTo>
                    <a:pt x="20" y="35"/>
                  </a:lnTo>
                  <a:lnTo>
                    <a:pt x="0" y="6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98" name="Freeform 482"/>
            <p:cNvSpPr>
              <a:spLocks/>
            </p:cNvSpPr>
            <p:nvPr>
              <p:custDataLst>
                <p:tags r:id="rId392"/>
              </p:custDataLst>
            </p:nvPr>
          </p:nvSpPr>
          <p:spPr bwMode="auto">
            <a:xfrm>
              <a:off x="6693148" y="3917950"/>
              <a:ext cx="165100" cy="212725"/>
            </a:xfrm>
            <a:custGeom>
              <a:avLst/>
              <a:gdLst>
                <a:gd name="T0" fmla="*/ 0 w 113"/>
                <a:gd name="T1" fmla="*/ 2147483647 h 267"/>
                <a:gd name="T2" fmla="*/ 2147483647 w 113"/>
                <a:gd name="T3" fmla="*/ 2147483647 h 267"/>
                <a:gd name="T4" fmla="*/ 2147483647 w 113"/>
                <a:gd name="T5" fmla="*/ 2147483647 h 267"/>
                <a:gd name="T6" fmla="*/ 2147483647 w 113"/>
                <a:gd name="T7" fmla="*/ 2147483647 h 267"/>
                <a:gd name="T8" fmla="*/ 2147483647 w 113"/>
                <a:gd name="T9" fmla="*/ 2147483647 h 267"/>
                <a:gd name="T10" fmla="*/ 2147483647 w 113"/>
                <a:gd name="T11" fmla="*/ 2147483647 h 267"/>
                <a:gd name="T12" fmla="*/ 2147483647 w 113"/>
                <a:gd name="T13" fmla="*/ 2147483647 h 267"/>
                <a:gd name="T14" fmla="*/ 2147483647 w 113"/>
                <a:gd name="T15" fmla="*/ 2147483647 h 267"/>
                <a:gd name="T16" fmla="*/ 2147483647 w 113"/>
                <a:gd name="T17" fmla="*/ 2147483647 h 267"/>
                <a:gd name="T18" fmla="*/ 2147483647 w 113"/>
                <a:gd name="T19" fmla="*/ 2147483647 h 267"/>
                <a:gd name="T20" fmla="*/ 2147483647 w 113"/>
                <a:gd name="T21" fmla="*/ 2147483647 h 267"/>
                <a:gd name="T22" fmla="*/ 2147483647 w 113"/>
                <a:gd name="T23" fmla="*/ 2147483647 h 267"/>
                <a:gd name="T24" fmla="*/ 2147483647 w 113"/>
                <a:gd name="T25" fmla="*/ 0 h 267"/>
                <a:gd name="T26" fmla="*/ 2147483647 w 113"/>
                <a:gd name="T27" fmla="*/ 2147483647 h 267"/>
                <a:gd name="T28" fmla="*/ 2147483647 w 113"/>
                <a:gd name="T29" fmla="*/ 2147483647 h 267"/>
                <a:gd name="T30" fmla="*/ 2147483647 w 113"/>
                <a:gd name="T31" fmla="*/ 2147483647 h 267"/>
                <a:gd name="T32" fmla="*/ 0 w 113"/>
                <a:gd name="T33" fmla="*/ 2147483647 h 2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3" h="267">
                  <a:moveTo>
                    <a:pt x="0" y="65"/>
                  </a:moveTo>
                  <a:lnTo>
                    <a:pt x="20" y="100"/>
                  </a:lnTo>
                  <a:lnTo>
                    <a:pt x="13" y="167"/>
                  </a:lnTo>
                  <a:lnTo>
                    <a:pt x="50" y="144"/>
                  </a:lnTo>
                  <a:lnTo>
                    <a:pt x="69" y="167"/>
                  </a:lnTo>
                  <a:lnTo>
                    <a:pt x="81" y="233"/>
                  </a:lnTo>
                  <a:lnTo>
                    <a:pt x="75" y="267"/>
                  </a:lnTo>
                  <a:lnTo>
                    <a:pt x="113" y="267"/>
                  </a:lnTo>
                  <a:lnTo>
                    <a:pt x="94" y="179"/>
                  </a:lnTo>
                  <a:lnTo>
                    <a:pt x="57" y="112"/>
                  </a:lnTo>
                  <a:lnTo>
                    <a:pt x="69" y="79"/>
                  </a:lnTo>
                  <a:lnTo>
                    <a:pt x="44" y="56"/>
                  </a:lnTo>
                  <a:lnTo>
                    <a:pt x="31" y="0"/>
                  </a:lnTo>
                  <a:lnTo>
                    <a:pt x="20" y="12"/>
                  </a:lnTo>
                  <a:lnTo>
                    <a:pt x="25" y="44"/>
                  </a:lnTo>
                  <a:lnTo>
                    <a:pt x="20" y="3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399" name="Freeform 483"/>
            <p:cNvSpPr>
              <a:spLocks/>
            </p:cNvSpPr>
            <p:nvPr>
              <p:custDataLst>
                <p:tags r:id="rId393"/>
              </p:custDataLst>
            </p:nvPr>
          </p:nvSpPr>
          <p:spPr bwMode="auto">
            <a:xfrm>
              <a:off x="6693148" y="3917950"/>
              <a:ext cx="165100" cy="212725"/>
            </a:xfrm>
            <a:custGeom>
              <a:avLst/>
              <a:gdLst>
                <a:gd name="T0" fmla="*/ 0 w 113"/>
                <a:gd name="T1" fmla="*/ 2147483647 h 267"/>
                <a:gd name="T2" fmla="*/ 2147483647 w 113"/>
                <a:gd name="T3" fmla="*/ 2147483647 h 267"/>
                <a:gd name="T4" fmla="*/ 2147483647 w 113"/>
                <a:gd name="T5" fmla="*/ 2147483647 h 267"/>
                <a:gd name="T6" fmla="*/ 2147483647 w 113"/>
                <a:gd name="T7" fmla="*/ 2147483647 h 267"/>
                <a:gd name="T8" fmla="*/ 2147483647 w 113"/>
                <a:gd name="T9" fmla="*/ 2147483647 h 267"/>
                <a:gd name="T10" fmla="*/ 2147483647 w 113"/>
                <a:gd name="T11" fmla="*/ 2147483647 h 267"/>
                <a:gd name="T12" fmla="*/ 2147483647 w 113"/>
                <a:gd name="T13" fmla="*/ 2147483647 h 267"/>
                <a:gd name="T14" fmla="*/ 2147483647 w 113"/>
                <a:gd name="T15" fmla="*/ 2147483647 h 267"/>
                <a:gd name="T16" fmla="*/ 2147483647 w 113"/>
                <a:gd name="T17" fmla="*/ 2147483647 h 267"/>
                <a:gd name="T18" fmla="*/ 2147483647 w 113"/>
                <a:gd name="T19" fmla="*/ 2147483647 h 267"/>
                <a:gd name="T20" fmla="*/ 2147483647 w 113"/>
                <a:gd name="T21" fmla="*/ 2147483647 h 267"/>
                <a:gd name="T22" fmla="*/ 2147483647 w 113"/>
                <a:gd name="T23" fmla="*/ 2147483647 h 267"/>
                <a:gd name="T24" fmla="*/ 2147483647 w 113"/>
                <a:gd name="T25" fmla="*/ 0 h 267"/>
                <a:gd name="T26" fmla="*/ 2147483647 w 113"/>
                <a:gd name="T27" fmla="*/ 2147483647 h 267"/>
                <a:gd name="T28" fmla="*/ 2147483647 w 113"/>
                <a:gd name="T29" fmla="*/ 2147483647 h 267"/>
                <a:gd name="T30" fmla="*/ 2147483647 w 113"/>
                <a:gd name="T31" fmla="*/ 2147483647 h 267"/>
                <a:gd name="T32" fmla="*/ 0 w 113"/>
                <a:gd name="T33" fmla="*/ 2147483647 h 2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3" h="267">
                  <a:moveTo>
                    <a:pt x="0" y="65"/>
                  </a:moveTo>
                  <a:lnTo>
                    <a:pt x="20" y="100"/>
                  </a:lnTo>
                  <a:lnTo>
                    <a:pt x="13" y="167"/>
                  </a:lnTo>
                  <a:lnTo>
                    <a:pt x="50" y="144"/>
                  </a:lnTo>
                  <a:lnTo>
                    <a:pt x="69" y="167"/>
                  </a:lnTo>
                  <a:lnTo>
                    <a:pt x="81" y="233"/>
                  </a:lnTo>
                  <a:lnTo>
                    <a:pt x="75" y="267"/>
                  </a:lnTo>
                  <a:lnTo>
                    <a:pt x="113" y="267"/>
                  </a:lnTo>
                  <a:lnTo>
                    <a:pt x="94" y="179"/>
                  </a:lnTo>
                  <a:lnTo>
                    <a:pt x="57" y="112"/>
                  </a:lnTo>
                  <a:lnTo>
                    <a:pt x="69" y="79"/>
                  </a:lnTo>
                  <a:lnTo>
                    <a:pt x="44" y="56"/>
                  </a:lnTo>
                  <a:lnTo>
                    <a:pt x="31" y="0"/>
                  </a:lnTo>
                  <a:lnTo>
                    <a:pt x="20" y="12"/>
                  </a:lnTo>
                  <a:lnTo>
                    <a:pt x="25" y="44"/>
                  </a:lnTo>
                  <a:lnTo>
                    <a:pt x="20" y="35"/>
                  </a:lnTo>
                  <a:lnTo>
                    <a:pt x="0" y="6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00" name="Freeform 484"/>
            <p:cNvSpPr>
              <a:spLocks/>
            </p:cNvSpPr>
            <p:nvPr>
              <p:custDataLst>
                <p:tags r:id="rId394"/>
              </p:custDataLst>
            </p:nvPr>
          </p:nvSpPr>
          <p:spPr bwMode="auto">
            <a:xfrm>
              <a:off x="4538911" y="3113088"/>
              <a:ext cx="26987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13" y="0"/>
                  </a:lnTo>
                  <a:lnTo>
                    <a:pt x="19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01" name="Freeform 485"/>
            <p:cNvSpPr>
              <a:spLocks/>
            </p:cNvSpPr>
            <p:nvPr>
              <p:custDataLst>
                <p:tags r:id="rId395"/>
              </p:custDataLst>
            </p:nvPr>
          </p:nvSpPr>
          <p:spPr bwMode="auto">
            <a:xfrm>
              <a:off x="4538911" y="3113088"/>
              <a:ext cx="26987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13" y="0"/>
                  </a:lnTo>
                  <a:lnTo>
                    <a:pt x="19" y="35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02" name="Freeform 486"/>
            <p:cNvSpPr>
              <a:spLocks/>
            </p:cNvSpPr>
            <p:nvPr>
              <p:custDataLst>
                <p:tags r:id="rId396"/>
              </p:custDataLst>
            </p:nvPr>
          </p:nvSpPr>
          <p:spPr bwMode="auto">
            <a:xfrm>
              <a:off x="4538911" y="3113088"/>
              <a:ext cx="26987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13" y="0"/>
                  </a:lnTo>
                  <a:lnTo>
                    <a:pt x="19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03" name="Freeform 487"/>
            <p:cNvSpPr>
              <a:spLocks/>
            </p:cNvSpPr>
            <p:nvPr>
              <p:custDataLst>
                <p:tags r:id="rId397"/>
              </p:custDataLst>
            </p:nvPr>
          </p:nvSpPr>
          <p:spPr bwMode="auto">
            <a:xfrm>
              <a:off x="4538911" y="3113088"/>
              <a:ext cx="26987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13" y="0"/>
                  </a:lnTo>
                  <a:lnTo>
                    <a:pt x="19" y="35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04" name="Freeform 488"/>
            <p:cNvSpPr>
              <a:spLocks/>
            </p:cNvSpPr>
            <p:nvPr>
              <p:custDataLst>
                <p:tags r:id="rId398"/>
              </p:custDataLst>
            </p:nvPr>
          </p:nvSpPr>
          <p:spPr bwMode="auto">
            <a:xfrm>
              <a:off x="6693148" y="4332288"/>
              <a:ext cx="92075" cy="123825"/>
            </a:xfrm>
            <a:custGeom>
              <a:avLst/>
              <a:gdLst>
                <a:gd name="T0" fmla="*/ 0 w 63"/>
                <a:gd name="T1" fmla="*/ 0 h 155"/>
                <a:gd name="T2" fmla="*/ 2147483647 w 63"/>
                <a:gd name="T3" fmla="*/ 0 h 155"/>
                <a:gd name="T4" fmla="*/ 2147483647 w 63"/>
                <a:gd name="T5" fmla="*/ 2147483647 h 155"/>
                <a:gd name="T6" fmla="*/ 2147483647 w 63"/>
                <a:gd name="T7" fmla="*/ 2147483647 h 155"/>
                <a:gd name="T8" fmla="*/ 2147483647 w 63"/>
                <a:gd name="T9" fmla="*/ 2147483647 h 155"/>
                <a:gd name="T10" fmla="*/ 2147483647 w 63"/>
                <a:gd name="T11" fmla="*/ 2147483647 h 155"/>
                <a:gd name="T12" fmla="*/ 2147483647 w 63"/>
                <a:gd name="T13" fmla="*/ 2147483647 h 155"/>
                <a:gd name="T14" fmla="*/ 2147483647 w 63"/>
                <a:gd name="T15" fmla="*/ 2147483647 h 155"/>
                <a:gd name="T16" fmla="*/ 0 w 63"/>
                <a:gd name="T17" fmla="*/ 0 h 1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55">
                  <a:moveTo>
                    <a:pt x="0" y="0"/>
                  </a:moveTo>
                  <a:lnTo>
                    <a:pt x="13" y="0"/>
                  </a:lnTo>
                  <a:lnTo>
                    <a:pt x="20" y="34"/>
                  </a:lnTo>
                  <a:lnTo>
                    <a:pt x="31" y="11"/>
                  </a:lnTo>
                  <a:lnTo>
                    <a:pt x="50" y="44"/>
                  </a:lnTo>
                  <a:lnTo>
                    <a:pt x="63" y="155"/>
                  </a:lnTo>
                  <a:lnTo>
                    <a:pt x="57" y="155"/>
                  </a:lnTo>
                  <a:lnTo>
                    <a:pt x="20" y="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05" name="Freeform 489"/>
            <p:cNvSpPr>
              <a:spLocks/>
            </p:cNvSpPr>
            <p:nvPr>
              <p:custDataLst>
                <p:tags r:id="rId399"/>
              </p:custDataLst>
            </p:nvPr>
          </p:nvSpPr>
          <p:spPr bwMode="auto">
            <a:xfrm>
              <a:off x="6693148" y="4332288"/>
              <a:ext cx="92075" cy="123825"/>
            </a:xfrm>
            <a:custGeom>
              <a:avLst/>
              <a:gdLst>
                <a:gd name="T0" fmla="*/ 0 w 63"/>
                <a:gd name="T1" fmla="*/ 0 h 155"/>
                <a:gd name="T2" fmla="*/ 2147483647 w 63"/>
                <a:gd name="T3" fmla="*/ 0 h 155"/>
                <a:gd name="T4" fmla="*/ 2147483647 w 63"/>
                <a:gd name="T5" fmla="*/ 2147483647 h 155"/>
                <a:gd name="T6" fmla="*/ 2147483647 w 63"/>
                <a:gd name="T7" fmla="*/ 2147483647 h 155"/>
                <a:gd name="T8" fmla="*/ 2147483647 w 63"/>
                <a:gd name="T9" fmla="*/ 2147483647 h 155"/>
                <a:gd name="T10" fmla="*/ 2147483647 w 63"/>
                <a:gd name="T11" fmla="*/ 2147483647 h 155"/>
                <a:gd name="T12" fmla="*/ 2147483647 w 63"/>
                <a:gd name="T13" fmla="*/ 2147483647 h 155"/>
                <a:gd name="T14" fmla="*/ 2147483647 w 63"/>
                <a:gd name="T15" fmla="*/ 2147483647 h 155"/>
                <a:gd name="T16" fmla="*/ 0 w 63"/>
                <a:gd name="T17" fmla="*/ 0 h 1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55">
                  <a:moveTo>
                    <a:pt x="0" y="0"/>
                  </a:moveTo>
                  <a:lnTo>
                    <a:pt x="13" y="0"/>
                  </a:lnTo>
                  <a:lnTo>
                    <a:pt x="20" y="34"/>
                  </a:lnTo>
                  <a:lnTo>
                    <a:pt x="31" y="11"/>
                  </a:lnTo>
                  <a:lnTo>
                    <a:pt x="50" y="44"/>
                  </a:lnTo>
                  <a:lnTo>
                    <a:pt x="63" y="155"/>
                  </a:lnTo>
                  <a:lnTo>
                    <a:pt x="57" y="155"/>
                  </a:lnTo>
                  <a:lnTo>
                    <a:pt x="20" y="111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06" name="Freeform 490"/>
            <p:cNvSpPr>
              <a:spLocks/>
            </p:cNvSpPr>
            <p:nvPr>
              <p:custDataLst>
                <p:tags r:id="rId400"/>
              </p:custDataLst>
            </p:nvPr>
          </p:nvSpPr>
          <p:spPr bwMode="auto">
            <a:xfrm>
              <a:off x="6693148" y="4332288"/>
              <a:ext cx="92075" cy="123825"/>
            </a:xfrm>
            <a:custGeom>
              <a:avLst/>
              <a:gdLst>
                <a:gd name="T0" fmla="*/ 0 w 63"/>
                <a:gd name="T1" fmla="*/ 0 h 155"/>
                <a:gd name="T2" fmla="*/ 2147483647 w 63"/>
                <a:gd name="T3" fmla="*/ 0 h 155"/>
                <a:gd name="T4" fmla="*/ 2147483647 w 63"/>
                <a:gd name="T5" fmla="*/ 2147483647 h 155"/>
                <a:gd name="T6" fmla="*/ 2147483647 w 63"/>
                <a:gd name="T7" fmla="*/ 2147483647 h 155"/>
                <a:gd name="T8" fmla="*/ 2147483647 w 63"/>
                <a:gd name="T9" fmla="*/ 2147483647 h 155"/>
                <a:gd name="T10" fmla="*/ 2147483647 w 63"/>
                <a:gd name="T11" fmla="*/ 2147483647 h 155"/>
                <a:gd name="T12" fmla="*/ 2147483647 w 63"/>
                <a:gd name="T13" fmla="*/ 2147483647 h 155"/>
                <a:gd name="T14" fmla="*/ 2147483647 w 63"/>
                <a:gd name="T15" fmla="*/ 2147483647 h 155"/>
                <a:gd name="T16" fmla="*/ 0 w 63"/>
                <a:gd name="T17" fmla="*/ 0 h 1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55">
                  <a:moveTo>
                    <a:pt x="0" y="0"/>
                  </a:moveTo>
                  <a:lnTo>
                    <a:pt x="13" y="0"/>
                  </a:lnTo>
                  <a:lnTo>
                    <a:pt x="20" y="34"/>
                  </a:lnTo>
                  <a:lnTo>
                    <a:pt x="31" y="11"/>
                  </a:lnTo>
                  <a:lnTo>
                    <a:pt x="50" y="44"/>
                  </a:lnTo>
                  <a:lnTo>
                    <a:pt x="63" y="155"/>
                  </a:lnTo>
                  <a:lnTo>
                    <a:pt x="57" y="155"/>
                  </a:lnTo>
                  <a:lnTo>
                    <a:pt x="20" y="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07" name="Freeform 491"/>
            <p:cNvSpPr>
              <a:spLocks/>
            </p:cNvSpPr>
            <p:nvPr>
              <p:custDataLst>
                <p:tags r:id="rId401"/>
              </p:custDataLst>
            </p:nvPr>
          </p:nvSpPr>
          <p:spPr bwMode="auto">
            <a:xfrm>
              <a:off x="6693148" y="4332288"/>
              <a:ext cx="92075" cy="123825"/>
            </a:xfrm>
            <a:custGeom>
              <a:avLst/>
              <a:gdLst>
                <a:gd name="T0" fmla="*/ 0 w 63"/>
                <a:gd name="T1" fmla="*/ 0 h 155"/>
                <a:gd name="T2" fmla="*/ 2147483647 w 63"/>
                <a:gd name="T3" fmla="*/ 0 h 155"/>
                <a:gd name="T4" fmla="*/ 2147483647 w 63"/>
                <a:gd name="T5" fmla="*/ 2147483647 h 155"/>
                <a:gd name="T6" fmla="*/ 2147483647 w 63"/>
                <a:gd name="T7" fmla="*/ 2147483647 h 155"/>
                <a:gd name="T8" fmla="*/ 2147483647 w 63"/>
                <a:gd name="T9" fmla="*/ 2147483647 h 155"/>
                <a:gd name="T10" fmla="*/ 2147483647 w 63"/>
                <a:gd name="T11" fmla="*/ 2147483647 h 155"/>
                <a:gd name="T12" fmla="*/ 2147483647 w 63"/>
                <a:gd name="T13" fmla="*/ 2147483647 h 155"/>
                <a:gd name="T14" fmla="*/ 2147483647 w 63"/>
                <a:gd name="T15" fmla="*/ 2147483647 h 155"/>
                <a:gd name="T16" fmla="*/ 0 w 63"/>
                <a:gd name="T17" fmla="*/ 0 h 1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55">
                  <a:moveTo>
                    <a:pt x="0" y="0"/>
                  </a:moveTo>
                  <a:lnTo>
                    <a:pt x="13" y="0"/>
                  </a:lnTo>
                  <a:lnTo>
                    <a:pt x="20" y="34"/>
                  </a:lnTo>
                  <a:lnTo>
                    <a:pt x="31" y="11"/>
                  </a:lnTo>
                  <a:lnTo>
                    <a:pt x="50" y="44"/>
                  </a:lnTo>
                  <a:lnTo>
                    <a:pt x="63" y="155"/>
                  </a:lnTo>
                  <a:lnTo>
                    <a:pt x="57" y="155"/>
                  </a:lnTo>
                  <a:lnTo>
                    <a:pt x="20" y="111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08" name="Freeform 492"/>
            <p:cNvSpPr>
              <a:spLocks/>
            </p:cNvSpPr>
            <p:nvPr>
              <p:custDataLst>
                <p:tags r:id="rId402"/>
              </p:custDataLst>
            </p:nvPr>
          </p:nvSpPr>
          <p:spPr bwMode="auto">
            <a:xfrm>
              <a:off x="6912223" y="4324350"/>
              <a:ext cx="211138" cy="150813"/>
            </a:xfrm>
            <a:custGeom>
              <a:avLst/>
              <a:gdLst>
                <a:gd name="T0" fmla="*/ 0 w 144"/>
                <a:gd name="T1" fmla="*/ 2147483647 h 188"/>
                <a:gd name="T2" fmla="*/ 2147483647 w 144"/>
                <a:gd name="T3" fmla="*/ 2147483647 h 188"/>
                <a:gd name="T4" fmla="*/ 2147483647 w 144"/>
                <a:gd name="T5" fmla="*/ 2147483647 h 188"/>
                <a:gd name="T6" fmla="*/ 2147483647 w 144"/>
                <a:gd name="T7" fmla="*/ 2147483647 h 188"/>
                <a:gd name="T8" fmla="*/ 2147483647 w 144"/>
                <a:gd name="T9" fmla="*/ 2147483647 h 188"/>
                <a:gd name="T10" fmla="*/ 2147483647 w 144"/>
                <a:gd name="T11" fmla="*/ 2147483647 h 188"/>
                <a:gd name="T12" fmla="*/ 2147483647 w 144"/>
                <a:gd name="T13" fmla="*/ 2147483647 h 188"/>
                <a:gd name="T14" fmla="*/ 2147483647 w 144"/>
                <a:gd name="T15" fmla="*/ 2147483647 h 188"/>
                <a:gd name="T16" fmla="*/ 2147483647 w 144"/>
                <a:gd name="T17" fmla="*/ 0 h 188"/>
                <a:gd name="T18" fmla="*/ 2147483647 w 144"/>
                <a:gd name="T19" fmla="*/ 2147483647 h 188"/>
                <a:gd name="T20" fmla="*/ 2147483647 w 144"/>
                <a:gd name="T21" fmla="*/ 2147483647 h 188"/>
                <a:gd name="T22" fmla="*/ 2147483647 w 144"/>
                <a:gd name="T23" fmla="*/ 2147483647 h 188"/>
                <a:gd name="T24" fmla="*/ 2147483647 w 144"/>
                <a:gd name="T25" fmla="*/ 2147483647 h 188"/>
                <a:gd name="T26" fmla="*/ 2147483647 w 144"/>
                <a:gd name="T27" fmla="*/ 2147483647 h 188"/>
                <a:gd name="T28" fmla="*/ 2147483647 w 144"/>
                <a:gd name="T29" fmla="*/ 2147483647 h 188"/>
                <a:gd name="T30" fmla="*/ 0 w 144"/>
                <a:gd name="T31" fmla="*/ 2147483647 h 18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44" h="188">
                  <a:moveTo>
                    <a:pt x="0" y="167"/>
                  </a:moveTo>
                  <a:lnTo>
                    <a:pt x="14" y="188"/>
                  </a:lnTo>
                  <a:lnTo>
                    <a:pt x="56" y="177"/>
                  </a:lnTo>
                  <a:lnTo>
                    <a:pt x="75" y="167"/>
                  </a:lnTo>
                  <a:lnTo>
                    <a:pt x="95" y="88"/>
                  </a:lnTo>
                  <a:lnTo>
                    <a:pt x="119" y="88"/>
                  </a:lnTo>
                  <a:lnTo>
                    <a:pt x="144" y="56"/>
                  </a:lnTo>
                  <a:lnTo>
                    <a:pt x="119" y="33"/>
                  </a:lnTo>
                  <a:lnTo>
                    <a:pt x="114" y="0"/>
                  </a:lnTo>
                  <a:lnTo>
                    <a:pt x="82" y="56"/>
                  </a:lnTo>
                  <a:lnTo>
                    <a:pt x="75" y="88"/>
                  </a:lnTo>
                  <a:lnTo>
                    <a:pt x="64" y="79"/>
                  </a:lnTo>
                  <a:lnTo>
                    <a:pt x="51" y="123"/>
                  </a:lnTo>
                  <a:lnTo>
                    <a:pt x="26" y="123"/>
                  </a:lnTo>
                  <a:lnTo>
                    <a:pt x="19" y="167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09" name="Freeform 493"/>
            <p:cNvSpPr>
              <a:spLocks/>
            </p:cNvSpPr>
            <p:nvPr>
              <p:custDataLst>
                <p:tags r:id="rId403"/>
              </p:custDataLst>
            </p:nvPr>
          </p:nvSpPr>
          <p:spPr bwMode="auto">
            <a:xfrm>
              <a:off x="6912223" y="4324350"/>
              <a:ext cx="211138" cy="150813"/>
            </a:xfrm>
            <a:custGeom>
              <a:avLst/>
              <a:gdLst>
                <a:gd name="T0" fmla="*/ 0 w 144"/>
                <a:gd name="T1" fmla="*/ 2147483647 h 188"/>
                <a:gd name="T2" fmla="*/ 2147483647 w 144"/>
                <a:gd name="T3" fmla="*/ 2147483647 h 188"/>
                <a:gd name="T4" fmla="*/ 2147483647 w 144"/>
                <a:gd name="T5" fmla="*/ 2147483647 h 188"/>
                <a:gd name="T6" fmla="*/ 2147483647 w 144"/>
                <a:gd name="T7" fmla="*/ 2147483647 h 188"/>
                <a:gd name="T8" fmla="*/ 2147483647 w 144"/>
                <a:gd name="T9" fmla="*/ 2147483647 h 188"/>
                <a:gd name="T10" fmla="*/ 2147483647 w 144"/>
                <a:gd name="T11" fmla="*/ 2147483647 h 188"/>
                <a:gd name="T12" fmla="*/ 2147483647 w 144"/>
                <a:gd name="T13" fmla="*/ 2147483647 h 188"/>
                <a:gd name="T14" fmla="*/ 2147483647 w 144"/>
                <a:gd name="T15" fmla="*/ 2147483647 h 188"/>
                <a:gd name="T16" fmla="*/ 2147483647 w 144"/>
                <a:gd name="T17" fmla="*/ 0 h 188"/>
                <a:gd name="T18" fmla="*/ 2147483647 w 144"/>
                <a:gd name="T19" fmla="*/ 2147483647 h 188"/>
                <a:gd name="T20" fmla="*/ 2147483647 w 144"/>
                <a:gd name="T21" fmla="*/ 2147483647 h 188"/>
                <a:gd name="T22" fmla="*/ 2147483647 w 144"/>
                <a:gd name="T23" fmla="*/ 2147483647 h 188"/>
                <a:gd name="T24" fmla="*/ 2147483647 w 144"/>
                <a:gd name="T25" fmla="*/ 2147483647 h 188"/>
                <a:gd name="T26" fmla="*/ 2147483647 w 144"/>
                <a:gd name="T27" fmla="*/ 2147483647 h 188"/>
                <a:gd name="T28" fmla="*/ 2147483647 w 144"/>
                <a:gd name="T29" fmla="*/ 2147483647 h 188"/>
                <a:gd name="T30" fmla="*/ 0 w 144"/>
                <a:gd name="T31" fmla="*/ 2147483647 h 18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44" h="188">
                  <a:moveTo>
                    <a:pt x="0" y="167"/>
                  </a:moveTo>
                  <a:lnTo>
                    <a:pt x="14" y="188"/>
                  </a:lnTo>
                  <a:lnTo>
                    <a:pt x="56" y="177"/>
                  </a:lnTo>
                  <a:lnTo>
                    <a:pt x="75" y="167"/>
                  </a:lnTo>
                  <a:lnTo>
                    <a:pt x="95" y="88"/>
                  </a:lnTo>
                  <a:lnTo>
                    <a:pt x="119" y="88"/>
                  </a:lnTo>
                  <a:lnTo>
                    <a:pt x="144" y="56"/>
                  </a:lnTo>
                  <a:lnTo>
                    <a:pt x="119" y="33"/>
                  </a:lnTo>
                  <a:lnTo>
                    <a:pt x="114" y="0"/>
                  </a:lnTo>
                  <a:lnTo>
                    <a:pt x="82" y="56"/>
                  </a:lnTo>
                  <a:lnTo>
                    <a:pt x="75" y="88"/>
                  </a:lnTo>
                  <a:lnTo>
                    <a:pt x="64" y="79"/>
                  </a:lnTo>
                  <a:lnTo>
                    <a:pt x="51" y="123"/>
                  </a:lnTo>
                  <a:lnTo>
                    <a:pt x="26" y="123"/>
                  </a:lnTo>
                  <a:lnTo>
                    <a:pt x="19" y="167"/>
                  </a:lnTo>
                  <a:lnTo>
                    <a:pt x="0" y="16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10" name="Freeform 494"/>
            <p:cNvSpPr>
              <a:spLocks/>
            </p:cNvSpPr>
            <p:nvPr>
              <p:custDataLst>
                <p:tags r:id="rId404"/>
              </p:custDataLst>
            </p:nvPr>
          </p:nvSpPr>
          <p:spPr bwMode="auto">
            <a:xfrm>
              <a:off x="6912223" y="4324350"/>
              <a:ext cx="211138" cy="150813"/>
            </a:xfrm>
            <a:custGeom>
              <a:avLst/>
              <a:gdLst>
                <a:gd name="T0" fmla="*/ 0 w 144"/>
                <a:gd name="T1" fmla="*/ 2147483647 h 188"/>
                <a:gd name="T2" fmla="*/ 2147483647 w 144"/>
                <a:gd name="T3" fmla="*/ 2147483647 h 188"/>
                <a:gd name="T4" fmla="*/ 2147483647 w 144"/>
                <a:gd name="T5" fmla="*/ 2147483647 h 188"/>
                <a:gd name="T6" fmla="*/ 2147483647 w 144"/>
                <a:gd name="T7" fmla="*/ 2147483647 h 188"/>
                <a:gd name="T8" fmla="*/ 2147483647 w 144"/>
                <a:gd name="T9" fmla="*/ 2147483647 h 188"/>
                <a:gd name="T10" fmla="*/ 2147483647 w 144"/>
                <a:gd name="T11" fmla="*/ 2147483647 h 188"/>
                <a:gd name="T12" fmla="*/ 2147483647 w 144"/>
                <a:gd name="T13" fmla="*/ 2147483647 h 188"/>
                <a:gd name="T14" fmla="*/ 2147483647 w 144"/>
                <a:gd name="T15" fmla="*/ 2147483647 h 188"/>
                <a:gd name="T16" fmla="*/ 2147483647 w 144"/>
                <a:gd name="T17" fmla="*/ 0 h 188"/>
                <a:gd name="T18" fmla="*/ 2147483647 w 144"/>
                <a:gd name="T19" fmla="*/ 2147483647 h 188"/>
                <a:gd name="T20" fmla="*/ 2147483647 w 144"/>
                <a:gd name="T21" fmla="*/ 2147483647 h 188"/>
                <a:gd name="T22" fmla="*/ 2147483647 w 144"/>
                <a:gd name="T23" fmla="*/ 2147483647 h 188"/>
                <a:gd name="T24" fmla="*/ 2147483647 w 144"/>
                <a:gd name="T25" fmla="*/ 2147483647 h 188"/>
                <a:gd name="T26" fmla="*/ 2147483647 w 144"/>
                <a:gd name="T27" fmla="*/ 2147483647 h 188"/>
                <a:gd name="T28" fmla="*/ 2147483647 w 144"/>
                <a:gd name="T29" fmla="*/ 2147483647 h 188"/>
                <a:gd name="T30" fmla="*/ 0 w 144"/>
                <a:gd name="T31" fmla="*/ 2147483647 h 18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44" h="188">
                  <a:moveTo>
                    <a:pt x="0" y="167"/>
                  </a:moveTo>
                  <a:lnTo>
                    <a:pt x="14" y="188"/>
                  </a:lnTo>
                  <a:lnTo>
                    <a:pt x="56" y="177"/>
                  </a:lnTo>
                  <a:lnTo>
                    <a:pt x="75" y="167"/>
                  </a:lnTo>
                  <a:lnTo>
                    <a:pt x="95" y="88"/>
                  </a:lnTo>
                  <a:lnTo>
                    <a:pt x="119" y="88"/>
                  </a:lnTo>
                  <a:lnTo>
                    <a:pt x="144" y="56"/>
                  </a:lnTo>
                  <a:lnTo>
                    <a:pt x="119" y="33"/>
                  </a:lnTo>
                  <a:lnTo>
                    <a:pt x="114" y="0"/>
                  </a:lnTo>
                  <a:lnTo>
                    <a:pt x="82" y="56"/>
                  </a:lnTo>
                  <a:lnTo>
                    <a:pt x="75" y="88"/>
                  </a:lnTo>
                  <a:lnTo>
                    <a:pt x="64" y="79"/>
                  </a:lnTo>
                  <a:lnTo>
                    <a:pt x="51" y="123"/>
                  </a:lnTo>
                  <a:lnTo>
                    <a:pt x="26" y="123"/>
                  </a:lnTo>
                  <a:lnTo>
                    <a:pt x="19" y="167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11" name="Freeform 495"/>
            <p:cNvSpPr>
              <a:spLocks/>
            </p:cNvSpPr>
            <p:nvPr>
              <p:custDataLst>
                <p:tags r:id="rId405"/>
              </p:custDataLst>
            </p:nvPr>
          </p:nvSpPr>
          <p:spPr bwMode="auto">
            <a:xfrm>
              <a:off x="6912223" y="4324350"/>
              <a:ext cx="211138" cy="150813"/>
            </a:xfrm>
            <a:custGeom>
              <a:avLst/>
              <a:gdLst>
                <a:gd name="T0" fmla="*/ 0 w 144"/>
                <a:gd name="T1" fmla="*/ 2147483647 h 188"/>
                <a:gd name="T2" fmla="*/ 2147483647 w 144"/>
                <a:gd name="T3" fmla="*/ 2147483647 h 188"/>
                <a:gd name="T4" fmla="*/ 2147483647 w 144"/>
                <a:gd name="T5" fmla="*/ 2147483647 h 188"/>
                <a:gd name="T6" fmla="*/ 2147483647 w 144"/>
                <a:gd name="T7" fmla="*/ 2147483647 h 188"/>
                <a:gd name="T8" fmla="*/ 2147483647 w 144"/>
                <a:gd name="T9" fmla="*/ 2147483647 h 188"/>
                <a:gd name="T10" fmla="*/ 2147483647 w 144"/>
                <a:gd name="T11" fmla="*/ 2147483647 h 188"/>
                <a:gd name="T12" fmla="*/ 2147483647 w 144"/>
                <a:gd name="T13" fmla="*/ 2147483647 h 188"/>
                <a:gd name="T14" fmla="*/ 2147483647 w 144"/>
                <a:gd name="T15" fmla="*/ 2147483647 h 188"/>
                <a:gd name="T16" fmla="*/ 2147483647 w 144"/>
                <a:gd name="T17" fmla="*/ 0 h 188"/>
                <a:gd name="T18" fmla="*/ 2147483647 w 144"/>
                <a:gd name="T19" fmla="*/ 2147483647 h 188"/>
                <a:gd name="T20" fmla="*/ 2147483647 w 144"/>
                <a:gd name="T21" fmla="*/ 2147483647 h 188"/>
                <a:gd name="T22" fmla="*/ 2147483647 w 144"/>
                <a:gd name="T23" fmla="*/ 2147483647 h 188"/>
                <a:gd name="T24" fmla="*/ 2147483647 w 144"/>
                <a:gd name="T25" fmla="*/ 2147483647 h 188"/>
                <a:gd name="T26" fmla="*/ 2147483647 w 144"/>
                <a:gd name="T27" fmla="*/ 2147483647 h 188"/>
                <a:gd name="T28" fmla="*/ 2147483647 w 144"/>
                <a:gd name="T29" fmla="*/ 2147483647 h 188"/>
                <a:gd name="T30" fmla="*/ 0 w 144"/>
                <a:gd name="T31" fmla="*/ 2147483647 h 18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44" h="188">
                  <a:moveTo>
                    <a:pt x="0" y="167"/>
                  </a:moveTo>
                  <a:lnTo>
                    <a:pt x="14" y="188"/>
                  </a:lnTo>
                  <a:lnTo>
                    <a:pt x="56" y="177"/>
                  </a:lnTo>
                  <a:lnTo>
                    <a:pt x="75" y="167"/>
                  </a:lnTo>
                  <a:lnTo>
                    <a:pt x="95" y="88"/>
                  </a:lnTo>
                  <a:lnTo>
                    <a:pt x="119" y="88"/>
                  </a:lnTo>
                  <a:lnTo>
                    <a:pt x="144" y="56"/>
                  </a:lnTo>
                  <a:lnTo>
                    <a:pt x="119" y="33"/>
                  </a:lnTo>
                  <a:lnTo>
                    <a:pt x="114" y="0"/>
                  </a:lnTo>
                  <a:lnTo>
                    <a:pt x="82" y="56"/>
                  </a:lnTo>
                  <a:lnTo>
                    <a:pt x="75" y="88"/>
                  </a:lnTo>
                  <a:lnTo>
                    <a:pt x="64" y="79"/>
                  </a:lnTo>
                  <a:lnTo>
                    <a:pt x="51" y="123"/>
                  </a:lnTo>
                  <a:lnTo>
                    <a:pt x="26" y="123"/>
                  </a:lnTo>
                  <a:lnTo>
                    <a:pt x="19" y="167"/>
                  </a:lnTo>
                  <a:lnTo>
                    <a:pt x="0" y="16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12" name="Freeform 496"/>
            <p:cNvSpPr>
              <a:spLocks/>
            </p:cNvSpPr>
            <p:nvPr>
              <p:custDataLst>
                <p:tags r:id="rId406"/>
              </p:custDataLst>
            </p:nvPr>
          </p:nvSpPr>
          <p:spPr bwMode="auto">
            <a:xfrm>
              <a:off x="1549648" y="3643313"/>
              <a:ext cx="696913" cy="487362"/>
            </a:xfrm>
            <a:custGeom>
              <a:avLst/>
              <a:gdLst>
                <a:gd name="T0" fmla="*/ 0 w 476"/>
                <a:gd name="T1" fmla="*/ 2147483647 h 613"/>
                <a:gd name="T2" fmla="*/ 2147483647 w 476"/>
                <a:gd name="T3" fmla="*/ 2147483647 h 613"/>
                <a:gd name="T4" fmla="*/ 2147483647 w 476"/>
                <a:gd name="T5" fmla="*/ 2147483647 h 613"/>
                <a:gd name="T6" fmla="*/ 2147483647 w 476"/>
                <a:gd name="T7" fmla="*/ 2147483647 h 613"/>
                <a:gd name="T8" fmla="*/ 2147483647 w 476"/>
                <a:gd name="T9" fmla="*/ 2147483647 h 613"/>
                <a:gd name="T10" fmla="*/ 2147483647 w 476"/>
                <a:gd name="T11" fmla="*/ 2147483647 h 613"/>
                <a:gd name="T12" fmla="*/ 2147483647 w 476"/>
                <a:gd name="T13" fmla="*/ 2147483647 h 613"/>
                <a:gd name="T14" fmla="*/ 2147483647 w 476"/>
                <a:gd name="T15" fmla="*/ 2147483647 h 613"/>
                <a:gd name="T16" fmla="*/ 2147483647 w 476"/>
                <a:gd name="T17" fmla="*/ 2147483647 h 613"/>
                <a:gd name="T18" fmla="*/ 2147483647 w 476"/>
                <a:gd name="T19" fmla="*/ 2147483647 h 613"/>
                <a:gd name="T20" fmla="*/ 2147483647 w 476"/>
                <a:gd name="T21" fmla="*/ 2147483647 h 613"/>
                <a:gd name="T22" fmla="*/ 2147483647 w 476"/>
                <a:gd name="T23" fmla="*/ 2147483647 h 613"/>
                <a:gd name="T24" fmla="*/ 2147483647 w 476"/>
                <a:gd name="T25" fmla="*/ 2147483647 h 613"/>
                <a:gd name="T26" fmla="*/ 2147483647 w 476"/>
                <a:gd name="T27" fmla="*/ 2147483647 h 613"/>
                <a:gd name="T28" fmla="*/ 2147483647 w 476"/>
                <a:gd name="T29" fmla="*/ 2147483647 h 613"/>
                <a:gd name="T30" fmla="*/ 2147483647 w 476"/>
                <a:gd name="T31" fmla="*/ 2147483647 h 613"/>
                <a:gd name="T32" fmla="*/ 2147483647 w 476"/>
                <a:gd name="T33" fmla="*/ 2147483647 h 613"/>
                <a:gd name="T34" fmla="*/ 2147483647 w 476"/>
                <a:gd name="T35" fmla="*/ 2147483647 h 613"/>
                <a:gd name="T36" fmla="*/ 2147483647 w 476"/>
                <a:gd name="T37" fmla="*/ 2147483647 h 613"/>
                <a:gd name="T38" fmla="*/ 2147483647 w 476"/>
                <a:gd name="T39" fmla="*/ 2147483647 h 613"/>
                <a:gd name="T40" fmla="*/ 2147483647 w 476"/>
                <a:gd name="T41" fmla="*/ 2147483647 h 613"/>
                <a:gd name="T42" fmla="*/ 2147483647 w 476"/>
                <a:gd name="T43" fmla="*/ 2147483647 h 613"/>
                <a:gd name="T44" fmla="*/ 2147483647 w 476"/>
                <a:gd name="T45" fmla="*/ 2147483647 h 613"/>
                <a:gd name="T46" fmla="*/ 2147483647 w 476"/>
                <a:gd name="T47" fmla="*/ 2147483647 h 613"/>
                <a:gd name="T48" fmla="*/ 2147483647 w 476"/>
                <a:gd name="T49" fmla="*/ 2147483647 h 613"/>
                <a:gd name="T50" fmla="*/ 2147483647 w 476"/>
                <a:gd name="T51" fmla="*/ 2147483647 h 613"/>
                <a:gd name="T52" fmla="*/ 2147483647 w 476"/>
                <a:gd name="T53" fmla="*/ 2147483647 h 613"/>
                <a:gd name="T54" fmla="*/ 2147483647 w 476"/>
                <a:gd name="T55" fmla="*/ 2147483647 h 613"/>
                <a:gd name="T56" fmla="*/ 2147483647 w 476"/>
                <a:gd name="T57" fmla="*/ 2147483647 h 613"/>
                <a:gd name="T58" fmla="*/ 2147483647 w 476"/>
                <a:gd name="T59" fmla="*/ 2147483647 h 613"/>
                <a:gd name="T60" fmla="*/ 2147483647 w 476"/>
                <a:gd name="T61" fmla="*/ 2147483647 h 613"/>
                <a:gd name="T62" fmla="*/ 2147483647 w 476"/>
                <a:gd name="T63" fmla="*/ 2147483647 h 613"/>
                <a:gd name="T64" fmla="*/ 2147483647 w 476"/>
                <a:gd name="T65" fmla="*/ 2147483647 h 613"/>
                <a:gd name="T66" fmla="*/ 2147483647 w 476"/>
                <a:gd name="T67" fmla="*/ 2147483647 h 613"/>
                <a:gd name="T68" fmla="*/ 2147483647 w 476"/>
                <a:gd name="T69" fmla="*/ 2147483647 h 613"/>
                <a:gd name="T70" fmla="*/ 2147483647 w 476"/>
                <a:gd name="T71" fmla="*/ 2147483647 h 613"/>
                <a:gd name="T72" fmla="*/ 2147483647 w 476"/>
                <a:gd name="T73" fmla="*/ 2147483647 h 613"/>
                <a:gd name="T74" fmla="*/ 2147483647 w 476"/>
                <a:gd name="T75" fmla="*/ 2147483647 h 613"/>
                <a:gd name="T76" fmla="*/ 2147483647 w 476"/>
                <a:gd name="T77" fmla="*/ 2147483647 h 613"/>
                <a:gd name="T78" fmla="*/ 2147483647 w 476"/>
                <a:gd name="T79" fmla="*/ 2147483647 h 613"/>
                <a:gd name="T80" fmla="*/ 2147483647 w 476"/>
                <a:gd name="T81" fmla="*/ 2147483647 h 613"/>
                <a:gd name="T82" fmla="*/ 2147483647 w 476"/>
                <a:gd name="T83" fmla="*/ 2147483647 h 613"/>
                <a:gd name="T84" fmla="*/ 2147483647 w 476"/>
                <a:gd name="T85" fmla="*/ 2147483647 h 613"/>
                <a:gd name="T86" fmla="*/ 2147483647 w 476"/>
                <a:gd name="T87" fmla="*/ 2147483647 h 613"/>
                <a:gd name="T88" fmla="*/ 2147483647 w 476"/>
                <a:gd name="T89" fmla="*/ 0 h 613"/>
                <a:gd name="T90" fmla="*/ 0 w 476"/>
                <a:gd name="T91" fmla="*/ 2147483647 h 6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76" h="613">
                  <a:moveTo>
                    <a:pt x="0" y="12"/>
                  </a:moveTo>
                  <a:lnTo>
                    <a:pt x="26" y="100"/>
                  </a:lnTo>
                  <a:lnTo>
                    <a:pt x="50" y="145"/>
                  </a:lnTo>
                  <a:lnTo>
                    <a:pt x="50" y="168"/>
                  </a:lnTo>
                  <a:lnTo>
                    <a:pt x="37" y="179"/>
                  </a:lnTo>
                  <a:lnTo>
                    <a:pt x="69" y="202"/>
                  </a:lnTo>
                  <a:lnTo>
                    <a:pt x="82" y="246"/>
                  </a:lnTo>
                  <a:lnTo>
                    <a:pt x="82" y="279"/>
                  </a:lnTo>
                  <a:lnTo>
                    <a:pt x="113" y="335"/>
                  </a:lnTo>
                  <a:lnTo>
                    <a:pt x="125" y="312"/>
                  </a:lnTo>
                  <a:lnTo>
                    <a:pt x="45" y="89"/>
                  </a:lnTo>
                  <a:lnTo>
                    <a:pt x="37" y="22"/>
                  </a:lnTo>
                  <a:lnTo>
                    <a:pt x="56" y="45"/>
                  </a:lnTo>
                  <a:lnTo>
                    <a:pt x="87" y="145"/>
                  </a:lnTo>
                  <a:lnTo>
                    <a:pt x="125" y="223"/>
                  </a:lnTo>
                  <a:lnTo>
                    <a:pt x="125" y="246"/>
                  </a:lnTo>
                  <a:lnTo>
                    <a:pt x="182" y="356"/>
                  </a:lnTo>
                  <a:lnTo>
                    <a:pt x="188" y="390"/>
                  </a:lnTo>
                  <a:lnTo>
                    <a:pt x="182" y="425"/>
                  </a:lnTo>
                  <a:lnTo>
                    <a:pt x="194" y="458"/>
                  </a:lnTo>
                  <a:lnTo>
                    <a:pt x="307" y="569"/>
                  </a:lnTo>
                  <a:lnTo>
                    <a:pt x="357" y="557"/>
                  </a:lnTo>
                  <a:lnTo>
                    <a:pt x="388" y="613"/>
                  </a:lnTo>
                  <a:lnTo>
                    <a:pt x="401" y="557"/>
                  </a:lnTo>
                  <a:lnTo>
                    <a:pt x="419" y="557"/>
                  </a:lnTo>
                  <a:lnTo>
                    <a:pt x="401" y="513"/>
                  </a:lnTo>
                  <a:lnTo>
                    <a:pt x="438" y="502"/>
                  </a:lnTo>
                  <a:lnTo>
                    <a:pt x="451" y="479"/>
                  </a:lnTo>
                  <a:lnTo>
                    <a:pt x="457" y="469"/>
                  </a:lnTo>
                  <a:lnTo>
                    <a:pt x="457" y="490"/>
                  </a:lnTo>
                  <a:lnTo>
                    <a:pt x="476" y="390"/>
                  </a:lnTo>
                  <a:lnTo>
                    <a:pt x="451" y="379"/>
                  </a:lnTo>
                  <a:lnTo>
                    <a:pt x="419" y="390"/>
                  </a:lnTo>
                  <a:lnTo>
                    <a:pt x="401" y="479"/>
                  </a:lnTo>
                  <a:lnTo>
                    <a:pt x="357" y="490"/>
                  </a:lnTo>
                  <a:lnTo>
                    <a:pt x="338" y="469"/>
                  </a:lnTo>
                  <a:lnTo>
                    <a:pt x="307" y="356"/>
                  </a:lnTo>
                  <a:lnTo>
                    <a:pt x="307" y="279"/>
                  </a:lnTo>
                  <a:lnTo>
                    <a:pt x="313" y="233"/>
                  </a:lnTo>
                  <a:lnTo>
                    <a:pt x="288" y="212"/>
                  </a:lnTo>
                  <a:lnTo>
                    <a:pt x="244" y="100"/>
                  </a:lnTo>
                  <a:lnTo>
                    <a:pt x="212" y="123"/>
                  </a:lnTo>
                  <a:lnTo>
                    <a:pt x="170" y="35"/>
                  </a:lnTo>
                  <a:lnTo>
                    <a:pt x="101" y="56"/>
                  </a:lnTo>
                  <a:lnTo>
                    <a:pt x="37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13" name="Group 497"/>
            <p:cNvGrpSpPr>
              <a:grpSpLocks/>
            </p:cNvGrpSpPr>
            <p:nvPr>
              <p:custDataLst>
                <p:tags r:id="rId407"/>
              </p:custDataLst>
            </p:nvPr>
          </p:nvGrpSpPr>
          <p:grpSpPr bwMode="auto">
            <a:xfrm>
              <a:off x="1549648" y="3643313"/>
              <a:ext cx="696913" cy="487362"/>
              <a:chOff x="1118" y="2113"/>
              <a:chExt cx="476" cy="30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47" name="Freeform 498"/>
              <p:cNvSpPr>
                <a:spLocks/>
              </p:cNvSpPr>
              <p:nvPr/>
            </p:nvSpPr>
            <p:spPr bwMode="auto">
              <a:xfrm>
                <a:off x="1118" y="2113"/>
                <a:ext cx="476" cy="307"/>
              </a:xfrm>
              <a:custGeom>
                <a:avLst/>
                <a:gdLst>
                  <a:gd name="T0" fmla="*/ 0 w 476"/>
                  <a:gd name="T1" fmla="*/ 1 h 613"/>
                  <a:gd name="T2" fmla="*/ 26 w 476"/>
                  <a:gd name="T3" fmla="*/ 1 h 613"/>
                  <a:gd name="T4" fmla="*/ 50 w 476"/>
                  <a:gd name="T5" fmla="*/ 1 h 613"/>
                  <a:gd name="T6" fmla="*/ 50 w 476"/>
                  <a:gd name="T7" fmla="*/ 1 h 613"/>
                  <a:gd name="T8" fmla="*/ 37 w 476"/>
                  <a:gd name="T9" fmla="*/ 1 h 613"/>
                  <a:gd name="T10" fmla="*/ 69 w 476"/>
                  <a:gd name="T11" fmla="*/ 1 h 613"/>
                  <a:gd name="T12" fmla="*/ 82 w 476"/>
                  <a:gd name="T13" fmla="*/ 1 h 613"/>
                  <a:gd name="T14" fmla="*/ 82 w 476"/>
                  <a:gd name="T15" fmla="*/ 1 h 613"/>
                  <a:gd name="T16" fmla="*/ 113 w 476"/>
                  <a:gd name="T17" fmla="*/ 1 h 613"/>
                  <a:gd name="T18" fmla="*/ 125 w 476"/>
                  <a:gd name="T19" fmla="*/ 1 h 613"/>
                  <a:gd name="T20" fmla="*/ 45 w 476"/>
                  <a:gd name="T21" fmla="*/ 1 h 613"/>
                  <a:gd name="T22" fmla="*/ 37 w 476"/>
                  <a:gd name="T23" fmla="*/ 1 h 613"/>
                  <a:gd name="T24" fmla="*/ 56 w 476"/>
                  <a:gd name="T25" fmla="*/ 1 h 613"/>
                  <a:gd name="T26" fmla="*/ 87 w 476"/>
                  <a:gd name="T27" fmla="*/ 1 h 613"/>
                  <a:gd name="T28" fmla="*/ 125 w 476"/>
                  <a:gd name="T29" fmla="*/ 1 h 613"/>
                  <a:gd name="T30" fmla="*/ 125 w 476"/>
                  <a:gd name="T31" fmla="*/ 1 h 613"/>
                  <a:gd name="T32" fmla="*/ 182 w 476"/>
                  <a:gd name="T33" fmla="*/ 1 h 613"/>
                  <a:gd name="T34" fmla="*/ 188 w 476"/>
                  <a:gd name="T35" fmla="*/ 1 h 613"/>
                  <a:gd name="T36" fmla="*/ 182 w 476"/>
                  <a:gd name="T37" fmla="*/ 1 h 613"/>
                  <a:gd name="T38" fmla="*/ 194 w 476"/>
                  <a:gd name="T39" fmla="*/ 1 h 613"/>
                  <a:gd name="T40" fmla="*/ 307 w 476"/>
                  <a:gd name="T41" fmla="*/ 1 h 613"/>
                  <a:gd name="T42" fmla="*/ 357 w 476"/>
                  <a:gd name="T43" fmla="*/ 1 h 613"/>
                  <a:gd name="T44" fmla="*/ 388 w 476"/>
                  <a:gd name="T45" fmla="*/ 1 h 613"/>
                  <a:gd name="T46" fmla="*/ 401 w 476"/>
                  <a:gd name="T47" fmla="*/ 1 h 613"/>
                  <a:gd name="T48" fmla="*/ 419 w 476"/>
                  <a:gd name="T49" fmla="*/ 1 h 613"/>
                  <a:gd name="T50" fmla="*/ 401 w 476"/>
                  <a:gd name="T51" fmla="*/ 1 h 613"/>
                  <a:gd name="T52" fmla="*/ 438 w 476"/>
                  <a:gd name="T53" fmla="*/ 1 h 613"/>
                  <a:gd name="T54" fmla="*/ 451 w 476"/>
                  <a:gd name="T55" fmla="*/ 1 h 613"/>
                  <a:gd name="T56" fmla="*/ 457 w 476"/>
                  <a:gd name="T57" fmla="*/ 1 h 613"/>
                  <a:gd name="T58" fmla="*/ 457 w 476"/>
                  <a:gd name="T59" fmla="*/ 1 h 613"/>
                  <a:gd name="T60" fmla="*/ 476 w 476"/>
                  <a:gd name="T61" fmla="*/ 1 h 613"/>
                  <a:gd name="T62" fmla="*/ 451 w 476"/>
                  <a:gd name="T63" fmla="*/ 1 h 613"/>
                  <a:gd name="T64" fmla="*/ 419 w 476"/>
                  <a:gd name="T65" fmla="*/ 1 h 613"/>
                  <a:gd name="T66" fmla="*/ 401 w 476"/>
                  <a:gd name="T67" fmla="*/ 1 h 613"/>
                  <a:gd name="T68" fmla="*/ 357 w 476"/>
                  <a:gd name="T69" fmla="*/ 1 h 613"/>
                  <a:gd name="T70" fmla="*/ 338 w 476"/>
                  <a:gd name="T71" fmla="*/ 1 h 613"/>
                  <a:gd name="T72" fmla="*/ 307 w 476"/>
                  <a:gd name="T73" fmla="*/ 1 h 613"/>
                  <a:gd name="T74" fmla="*/ 307 w 476"/>
                  <a:gd name="T75" fmla="*/ 1 h 613"/>
                  <a:gd name="T76" fmla="*/ 313 w 476"/>
                  <a:gd name="T77" fmla="*/ 1 h 613"/>
                  <a:gd name="T78" fmla="*/ 288 w 476"/>
                  <a:gd name="T79" fmla="*/ 1 h 613"/>
                  <a:gd name="T80" fmla="*/ 244 w 476"/>
                  <a:gd name="T81" fmla="*/ 1 h 613"/>
                  <a:gd name="T82" fmla="*/ 212 w 476"/>
                  <a:gd name="T83" fmla="*/ 1 h 613"/>
                  <a:gd name="T84" fmla="*/ 170 w 476"/>
                  <a:gd name="T85" fmla="*/ 1 h 613"/>
                  <a:gd name="T86" fmla="*/ 101 w 476"/>
                  <a:gd name="T87" fmla="*/ 1 h 613"/>
                  <a:gd name="T88" fmla="*/ 37 w 476"/>
                  <a:gd name="T89" fmla="*/ 0 h 613"/>
                  <a:gd name="T90" fmla="*/ 0 w 476"/>
                  <a:gd name="T91" fmla="*/ 1 h 61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76" h="613">
                    <a:moveTo>
                      <a:pt x="0" y="12"/>
                    </a:moveTo>
                    <a:lnTo>
                      <a:pt x="26" y="100"/>
                    </a:lnTo>
                    <a:lnTo>
                      <a:pt x="50" y="145"/>
                    </a:lnTo>
                    <a:lnTo>
                      <a:pt x="50" y="168"/>
                    </a:lnTo>
                    <a:lnTo>
                      <a:pt x="37" y="179"/>
                    </a:lnTo>
                    <a:lnTo>
                      <a:pt x="69" y="202"/>
                    </a:lnTo>
                    <a:lnTo>
                      <a:pt x="82" y="246"/>
                    </a:lnTo>
                    <a:lnTo>
                      <a:pt x="82" y="279"/>
                    </a:lnTo>
                    <a:lnTo>
                      <a:pt x="113" y="335"/>
                    </a:lnTo>
                    <a:lnTo>
                      <a:pt x="125" y="312"/>
                    </a:lnTo>
                    <a:lnTo>
                      <a:pt x="45" y="89"/>
                    </a:lnTo>
                    <a:lnTo>
                      <a:pt x="37" y="22"/>
                    </a:lnTo>
                    <a:lnTo>
                      <a:pt x="56" y="45"/>
                    </a:lnTo>
                    <a:lnTo>
                      <a:pt x="87" y="145"/>
                    </a:lnTo>
                    <a:lnTo>
                      <a:pt x="125" y="223"/>
                    </a:lnTo>
                    <a:lnTo>
                      <a:pt x="125" y="246"/>
                    </a:lnTo>
                    <a:lnTo>
                      <a:pt x="182" y="356"/>
                    </a:lnTo>
                    <a:lnTo>
                      <a:pt x="188" y="390"/>
                    </a:lnTo>
                    <a:lnTo>
                      <a:pt x="182" y="425"/>
                    </a:lnTo>
                    <a:lnTo>
                      <a:pt x="194" y="458"/>
                    </a:lnTo>
                    <a:lnTo>
                      <a:pt x="307" y="569"/>
                    </a:lnTo>
                    <a:lnTo>
                      <a:pt x="357" y="557"/>
                    </a:lnTo>
                    <a:lnTo>
                      <a:pt x="388" y="613"/>
                    </a:lnTo>
                    <a:lnTo>
                      <a:pt x="401" y="557"/>
                    </a:lnTo>
                    <a:lnTo>
                      <a:pt x="419" y="557"/>
                    </a:lnTo>
                    <a:lnTo>
                      <a:pt x="401" y="513"/>
                    </a:lnTo>
                    <a:lnTo>
                      <a:pt x="438" y="502"/>
                    </a:lnTo>
                    <a:lnTo>
                      <a:pt x="451" y="479"/>
                    </a:lnTo>
                    <a:lnTo>
                      <a:pt x="457" y="469"/>
                    </a:lnTo>
                    <a:lnTo>
                      <a:pt x="457" y="490"/>
                    </a:lnTo>
                    <a:lnTo>
                      <a:pt x="476" y="390"/>
                    </a:lnTo>
                    <a:lnTo>
                      <a:pt x="451" y="379"/>
                    </a:lnTo>
                    <a:lnTo>
                      <a:pt x="419" y="390"/>
                    </a:lnTo>
                    <a:lnTo>
                      <a:pt x="401" y="479"/>
                    </a:lnTo>
                    <a:lnTo>
                      <a:pt x="357" y="490"/>
                    </a:lnTo>
                    <a:lnTo>
                      <a:pt x="338" y="469"/>
                    </a:lnTo>
                    <a:lnTo>
                      <a:pt x="307" y="356"/>
                    </a:lnTo>
                    <a:lnTo>
                      <a:pt x="307" y="279"/>
                    </a:lnTo>
                    <a:lnTo>
                      <a:pt x="313" y="233"/>
                    </a:lnTo>
                    <a:lnTo>
                      <a:pt x="288" y="212"/>
                    </a:lnTo>
                    <a:lnTo>
                      <a:pt x="244" y="100"/>
                    </a:lnTo>
                    <a:lnTo>
                      <a:pt x="212" y="123"/>
                    </a:lnTo>
                    <a:lnTo>
                      <a:pt x="170" y="35"/>
                    </a:lnTo>
                    <a:lnTo>
                      <a:pt x="101" y="56"/>
                    </a:lnTo>
                    <a:lnTo>
                      <a:pt x="37" y="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48" name="Freeform 499"/>
              <p:cNvSpPr>
                <a:spLocks/>
              </p:cNvSpPr>
              <p:nvPr/>
            </p:nvSpPr>
            <p:spPr bwMode="auto">
              <a:xfrm>
                <a:off x="1118" y="2113"/>
                <a:ext cx="476" cy="307"/>
              </a:xfrm>
              <a:custGeom>
                <a:avLst/>
                <a:gdLst>
                  <a:gd name="T0" fmla="*/ 0 w 476"/>
                  <a:gd name="T1" fmla="*/ 1 h 613"/>
                  <a:gd name="T2" fmla="*/ 26 w 476"/>
                  <a:gd name="T3" fmla="*/ 1 h 613"/>
                  <a:gd name="T4" fmla="*/ 50 w 476"/>
                  <a:gd name="T5" fmla="*/ 1 h 613"/>
                  <a:gd name="T6" fmla="*/ 50 w 476"/>
                  <a:gd name="T7" fmla="*/ 1 h 613"/>
                  <a:gd name="T8" fmla="*/ 37 w 476"/>
                  <a:gd name="T9" fmla="*/ 1 h 613"/>
                  <a:gd name="T10" fmla="*/ 69 w 476"/>
                  <a:gd name="T11" fmla="*/ 1 h 613"/>
                  <a:gd name="T12" fmla="*/ 82 w 476"/>
                  <a:gd name="T13" fmla="*/ 1 h 613"/>
                  <a:gd name="T14" fmla="*/ 82 w 476"/>
                  <a:gd name="T15" fmla="*/ 1 h 613"/>
                  <a:gd name="T16" fmla="*/ 113 w 476"/>
                  <a:gd name="T17" fmla="*/ 1 h 613"/>
                  <a:gd name="T18" fmla="*/ 125 w 476"/>
                  <a:gd name="T19" fmla="*/ 1 h 613"/>
                  <a:gd name="T20" fmla="*/ 45 w 476"/>
                  <a:gd name="T21" fmla="*/ 1 h 613"/>
                  <a:gd name="T22" fmla="*/ 37 w 476"/>
                  <a:gd name="T23" fmla="*/ 1 h 613"/>
                  <a:gd name="T24" fmla="*/ 56 w 476"/>
                  <a:gd name="T25" fmla="*/ 1 h 613"/>
                  <a:gd name="T26" fmla="*/ 87 w 476"/>
                  <a:gd name="T27" fmla="*/ 1 h 613"/>
                  <a:gd name="T28" fmla="*/ 125 w 476"/>
                  <a:gd name="T29" fmla="*/ 1 h 613"/>
                  <a:gd name="T30" fmla="*/ 125 w 476"/>
                  <a:gd name="T31" fmla="*/ 1 h 613"/>
                  <a:gd name="T32" fmla="*/ 182 w 476"/>
                  <a:gd name="T33" fmla="*/ 1 h 613"/>
                  <a:gd name="T34" fmla="*/ 188 w 476"/>
                  <a:gd name="T35" fmla="*/ 1 h 613"/>
                  <a:gd name="T36" fmla="*/ 182 w 476"/>
                  <a:gd name="T37" fmla="*/ 1 h 613"/>
                  <a:gd name="T38" fmla="*/ 194 w 476"/>
                  <a:gd name="T39" fmla="*/ 1 h 613"/>
                  <a:gd name="T40" fmla="*/ 307 w 476"/>
                  <a:gd name="T41" fmla="*/ 1 h 613"/>
                  <a:gd name="T42" fmla="*/ 357 w 476"/>
                  <a:gd name="T43" fmla="*/ 1 h 613"/>
                  <a:gd name="T44" fmla="*/ 388 w 476"/>
                  <a:gd name="T45" fmla="*/ 1 h 613"/>
                  <a:gd name="T46" fmla="*/ 401 w 476"/>
                  <a:gd name="T47" fmla="*/ 1 h 613"/>
                  <a:gd name="T48" fmla="*/ 419 w 476"/>
                  <a:gd name="T49" fmla="*/ 1 h 613"/>
                  <a:gd name="T50" fmla="*/ 401 w 476"/>
                  <a:gd name="T51" fmla="*/ 1 h 613"/>
                  <a:gd name="T52" fmla="*/ 438 w 476"/>
                  <a:gd name="T53" fmla="*/ 1 h 613"/>
                  <a:gd name="T54" fmla="*/ 451 w 476"/>
                  <a:gd name="T55" fmla="*/ 1 h 613"/>
                  <a:gd name="T56" fmla="*/ 457 w 476"/>
                  <a:gd name="T57" fmla="*/ 1 h 613"/>
                  <a:gd name="T58" fmla="*/ 457 w 476"/>
                  <a:gd name="T59" fmla="*/ 1 h 613"/>
                  <a:gd name="T60" fmla="*/ 476 w 476"/>
                  <a:gd name="T61" fmla="*/ 1 h 613"/>
                  <a:gd name="T62" fmla="*/ 451 w 476"/>
                  <a:gd name="T63" fmla="*/ 1 h 613"/>
                  <a:gd name="T64" fmla="*/ 419 w 476"/>
                  <a:gd name="T65" fmla="*/ 1 h 613"/>
                  <a:gd name="T66" fmla="*/ 401 w 476"/>
                  <a:gd name="T67" fmla="*/ 1 h 613"/>
                  <a:gd name="T68" fmla="*/ 357 w 476"/>
                  <a:gd name="T69" fmla="*/ 1 h 613"/>
                  <a:gd name="T70" fmla="*/ 338 w 476"/>
                  <a:gd name="T71" fmla="*/ 1 h 613"/>
                  <a:gd name="T72" fmla="*/ 307 w 476"/>
                  <a:gd name="T73" fmla="*/ 1 h 613"/>
                  <a:gd name="T74" fmla="*/ 307 w 476"/>
                  <a:gd name="T75" fmla="*/ 1 h 613"/>
                  <a:gd name="T76" fmla="*/ 313 w 476"/>
                  <a:gd name="T77" fmla="*/ 1 h 613"/>
                  <a:gd name="T78" fmla="*/ 288 w 476"/>
                  <a:gd name="T79" fmla="*/ 1 h 613"/>
                  <a:gd name="T80" fmla="*/ 244 w 476"/>
                  <a:gd name="T81" fmla="*/ 1 h 613"/>
                  <a:gd name="T82" fmla="*/ 212 w 476"/>
                  <a:gd name="T83" fmla="*/ 1 h 613"/>
                  <a:gd name="T84" fmla="*/ 170 w 476"/>
                  <a:gd name="T85" fmla="*/ 1 h 613"/>
                  <a:gd name="T86" fmla="*/ 101 w 476"/>
                  <a:gd name="T87" fmla="*/ 1 h 613"/>
                  <a:gd name="T88" fmla="*/ 37 w 476"/>
                  <a:gd name="T89" fmla="*/ 0 h 613"/>
                  <a:gd name="T90" fmla="*/ 0 w 476"/>
                  <a:gd name="T91" fmla="*/ 1 h 61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76" h="613">
                    <a:moveTo>
                      <a:pt x="0" y="12"/>
                    </a:moveTo>
                    <a:lnTo>
                      <a:pt x="26" y="100"/>
                    </a:lnTo>
                    <a:lnTo>
                      <a:pt x="50" y="145"/>
                    </a:lnTo>
                    <a:lnTo>
                      <a:pt x="50" y="168"/>
                    </a:lnTo>
                    <a:lnTo>
                      <a:pt x="37" y="179"/>
                    </a:lnTo>
                    <a:lnTo>
                      <a:pt x="69" y="202"/>
                    </a:lnTo>
                    <a:lnTo>
                      <a:pt x="82" y="246"/>
                    </a:lnTo>
                    <a:lnTo>
                      <a:pt x="82" y="279"/>
                    </a:lnTo>
                    <a:lnTo>
                      <a:pt x="113" y="335"/>
                    </a:lnTo>
                    <a:lnTo>
                      <a:pt x="125" y="312"/>
                    </a:lnTo>
                    <a:lnTo>
                      <a:pt x="45" y="89"/>
                    </a:lnTo>
                    <a:lnTo>
                      <a:pt x="37" y="22"/>
                    </a:lnTo>
                    <a:lnTo>
                      <a:pt x="56" y="45"/>
                    </a:lnTo>
                    <a:lnTo>
                      <a:pt x="87" y="145"/>
                    </a:lnTo>
                    <a:lnTo>
                      <a:pt x="125" y="223"/>
                    </a:lnTo>
                    <a:lnTo>
                      <a:pt x="125" y="246"/>
                    </a:lnTo>
                    <a:lnTo>
                      <a:pt x="182" y="356"/>
                    </a:lnTo>
                    <a:lnTo>
                      <a:pt x="188" y="390"/>
                    </a:lnTo>
                    <a:lnTo>
                      <a:pt x="182" y="425"/>
                    </a:lnTo>
                    <a:lnTo>
                      <a:pt x="194" y="458"/>
                    </a:lnTo>
                    <a:lnTo>
                      <a:pt x="307" y="569"/>
                    </a:lnTo>
                    <a:lnTo>
                      <a:pt x="357" y="557"/>
                    </a:lnTo>
                    <a:lnTo>
                      <a:pt x="388" y="613"/>
                    </a:lnTo>
                    <a:lnTo>
                      <a:pt x="401" y="557"/>
                    </a:lnTo>
                    <a:lnTo>
                      <a:pt x="419" y="557"/>
                    </a:lnTo>
                    <a:lnTo>
                      <a:pt x="401" y="513"/>
                    </a:lnTo>
                    <a:lnTo>
                      <a:pt x="438" y="502"/>
                    </a:lnTo>
                    <a:lnTo>
                      <a:pt x="451" y="479"/>
                    </a:lnTo>
                    <a:lnTo>
                      <a:pt x="457" y="469"/>
                    </a:lnTo>
                    <a:lnTo>
                      <a:pt x="457" y="490"/>
                    </a:lnTo>
                    <a:lnTo>
                      <a:pt x="476" y="390"/>
                    </a:lnTo>
                    <a:lnTo>
                      <a:pt x="451" y="379"/>
                    </a:lnTo>
                    <a:lnTo>
                      <a:pt x="419" y="390"/>
                    </a:lnTo>
                    <a:lnTo>
                      <a:pt x="401" y="479"/>
                    </a:lnTo>
                    <a:lnTo>
                      <a:pt x="357" y="490"/>
                    </a:lnTo>
                    <a:lnTo>
                      <a:pt x="338" y="469"/>
                    </a:lnTo>
                    <a:lnTo>
                      <a:pt x="307" y="356"/>
                    </a:lnTo>
                    <a:lnTo>
                      <a:pt x="307" y="279"/>
                    </a:lnTo>
                    <a:lnTo>
                      <a:pt x="313" y="233"/>
                    </a:lnTo>
                    <a:lnTo>
                      <a:pt x="288" y="212"/>
                    </a:lnTo>
                    <a:lnTo>
                      <a:pt x="244" y="100"/>
                    </a:lnTo>
                    <a:lnTo>
                      <a:pt x="212" y="123"/>
                    </a:lnTo>
                    <a:lnTo>
                      <a:pt x="170" y="35"/>
                    </a:lnTo>
                    <a:lnTo>
                      <a:pt x="101" y="56"/>
                    </a:lnTo>
                    <a:lnTo>
                      <a:pt x="37" y="0"/>
                    </a:lnTo>
                    <a:lnTo>
                      <a:pt x="0" y="12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4" name="Freeform 500"/>
            <p:cNvSpPr>
              <a:spLocks/>
            </p:cNvSpPr>
            <p:nvPr>
              <p:custDataLst>
                <p:tags r:id="rId408"/>
              </p:custDataLst>
            </p:nvPr>
          </p:nvSpPr>
          <p:spPr bwMode="auto">
            <a:xfrm>
              <a:off x="1549648" y="3643313"/>
              <a:ext cx="696913" cy="487362"/>
            </a:xfrm>
            <a:custGeom>
              <a:avLst/>
              <a:gdLst>
                <a:gd name="T0" fmla="*/ 0 w 476"/>
                <a:gd name="T1" fmla="*/ 2147483647 h 613"/>
                <a:gd name="T2" fmla="*/ 2147483647 w 476"/>
                <a:gd name="T3" fmla="*/ 2147483647 h 613"/>
                <a:gd name="T4" fmla="*/ 2147483647 w 476"/>
                <a:gd name="T5" fmla="*/ 2147483647 h 613"/>
                <a:gd name="T6" fmla="*/ 2147483647 w 476"/>
                <a:gd name="T7" fmla="*/ 2147483647 h 613"/>
                <a:gd name="T8" fmla="*/ 2147483647 w 476"/>
                <a:gd name="T9" fmla="*/ 2147483647 h 613"/>
                <a:gd name="T10" fmla="*/ 2147483647 w 476"/>
                <a:gd name="T11" fmla="*/ 2147483647 h 613"/>
                <a:gd name="T12" fmla="*/ 2147483647 w 476"/>
                <a:gd name="T13" fmla="*/ 2147483647 h 613"/>
                <a:gd name="T14" fmla="*/ 2147483647 w 476"/>
                <a:gd name="T15" fmla="*/ 2147483647 h 613"/>
                <a:gd name="T16" fmla="*/ 2147483647 w 476"/>
                <a:gd name="T17" fmla="*/ 2147483647 h 613"/>
                <a:gd name="T18" fmla="*/ 2147483647 w 476"/>
                <a:gd name="T19" fmla="*/ 2147483647 h 613"/>
                <a:gd name="T20" fmla="*/ 2147483647 w 476"/>
                <a:gd name="T21" fmla="*/ 2147483647 h 613"/>
                <a:gd name="T22" fmla="*/ 2147483647 w 476"/>
                <a:gd name="T23" fmla="*/ 2147483647 h 613"/>
                <a:gd name="T24" fmla="*/ 2147483647 w 476"/>
                <a:gd name="T25" fmla="*/ 2147483647 h 613"/>
                <a:gd name="T26" fmla="*/ 2147483647 w 476"/>
                <a:gd name="T27" fmla="*/ 2147483647 h 613"/>
                <a:gd name="T28" fmla="*/ 2147483647 w 476"/>
                <a:gd name="T29" fmla="*/ 2147483647 h 613"/>
                <a:gd name="T30" fmla="*/ 2147483647 w 476"/>
                <a:gd name="T31" fmla="*/ 2147483647 h 613"/>
                <a:gd name="T32" fmla="*/ 2147483647 w 476"/>
                <a:gd name="T33" fmla="*/ 2147483647 h 613"/>
                <a:gd name="T34" fmla="*/ 2147483647 w 476"/>
                <a:gd name="T35" fmla="*/ 2147483647 h 613"/>
                <a:gd name="T36" fmla="*/ 2147483647 w 476"/>
                <a:gd name="T37" fmla="*/ 2147483647 h 613"/>
                <a:gd name="T38" fmla="*/ 2147483647 w 476"/>
                <a:gd name="T39" fmla="*/ 2147483647 h 613"/>
                <a:gd name="T40" fmla="*/ 2147483647 w 476"/>
                <a:gd name="T41" fmla="*/ 2147483647 h 613"/>
                <a:gd name="T42" fmla="*/ 2147483647 w 476"/>
                <a:gd name="T43" fmla="*/ 2147483647 h 613"/>
                <a:gd name="T44" fmla="*/ 2147483647 w 476"/>
                <a:gd name="T45" fmla="*/ 2147483647 h 613"/>
                <a:gd name="T46" fmla="*/ 2147483647 w 476"/>
                <a:gd name="T47" fmla="*/ 2147483647 h 613"/>
                <a:gd name="T48" fmla="*/ 2147483647 w 476"/>
                <a:gd name="T49" fmla="*/ 2147483647 h 613"/>
                <a:gd name="T50" fmla="*/ 2147483647 w 476"/>
                <a:gd name="T51" fmla="*/ 2147483647 h 613"/>
                <a:gd name="T52" fmla="*/ 2147483647 w 476"/>
                <a:gd name="T53" fmla="*/ 2147483647 h 613"/>
                <a:gd name="T54" fmla="*/ 2147483647 w 476"/>
                <a:gd name="T55" fmla="*/ 2147483647 h 613"/>
                <a:gd name="T56" fmla="*/ 2147483647 w 476"/>
                <a:gd name="T57" fmla="*/ 2147483647 h 613"/>
                <a:gd name="T58" fmla="*/ 2147483647 w 476"/>
                <a:gd name="T59" fmla="*/ 2147483647 h 613"/>
                <a:gd name="T60" fmla="*/ 2147483647 w 476"/>
                <a:gd name="T61" fmla="*/ 2147483647 h 613"/>
                <a:gd name="T62" fmla="*/ 2147483647 w 476"/>
                <a:gd name="T63" fmla="*/ 2147483647 h 613"/>
                <a:gd name="T64" fmla="*/ 2147483647 w 476"/>
                <a:gd name="T65" fmla="*/ 2147483647 h 613"/>
                <a:gd name="T66" fmla="*/ 2147483647 w 476"/>
                <a:gd name="T67" fmla="*/ 2147483647 h 613"/>
                <a:gd name="T68" fmla="*/ 2147483647 w 476"/>
                <a:gd name="T69" fmla="*/ 2147483647 h 613"/>
                <a:gd name="T70" fmla="*/ 2147483647 w 476"/>
                <a:gd name="T71" fmla="*/ 2147483647 h 613"/>
                <a:gd name="T72" fmla="*/ 2147483647 w 476"/>
                <a:gd name="T73" fmla="*/ 2147483647 h 613"/>
                <a:gd name="T74" fmla="*/ 2147483647 w 476"/>
                <a:gd name="T75" fmla="*/ 2147483647 h 613"/>
                <a:gd name="T76" fmla="*/ 2147483647 w 476"/>
                <a:gd name="T77" fmla="*/ 2147483647 h 613"/>
                <a:gd name="T78" fmla="*/ 2147483647 w 476"/>
                <a:gd name="T79" fmla="*/ 2147483647 h 613"/>
                <a:gd name="T80" fmla="*/ 2147483647 w 476"/>
                <a:gd name="T81" fmla="*/ 2147483647 h 613"/>
                <a:gd name="T82" fmla="*/ 2147483647 w 476"/>
                <a:gd name="T83" fmla="*/ 2147483647 h 613"/>
                <a:gd name="T84" fmla="*/ 2147483647 w 476"/>
                <a:gd name="T85" fmla="*/ 2147483647 h 613"/>
                <a:gd name="T86" fmla="*/ 2147483647 w 476"/>
                <a:gd name="T87" fmla="*/ 2147483647 h 613"/>
                <a:gd name="T88" fmla="*/ 2147483647 w 476"/>
                <a:gd name="T89" fmla="*/ 0 h 613"/>
                <a:gd name="T90" fmla="*/ 0 w 476"/>
                <a:gd name="T91" fmla="*/ 2147483647 h 6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76" h="613">
                  <a:moveTo>
                    <a:pt x="0" y="12"/>
                  </a:moveTo>
                  <a:lnTo>
                    <a:pt x="26" y="100"/>
                  </a:lnTo>
                  <a:lnTo>
                    <a:pt x="50" y="145"/>
                  </a:lnTo>
                  <a:lnTo>
                    <a:pt x="50" y="168"/>
                  </a:lnTo>
                  <a:lnTo>
                    <a:pt x="37" y="179"/>
                  </a:lnTo>
                  <a:lnTo>
                    <a:pt x="69" y="202"/>
                  </a:lnTo>
                  <a:lnTo>
                    <a:pt x="82" y="246"/>
                  </a:lnTo>
                  <a:lnTo>
                    <a:pt x="82" y="279"/>
                  </a:lnTo>
                  <a:lnTo>
                    <a:pt x="113" y="335"/>
                  </a:lnTo>
                  <a:lnTo>
                    <a:pt x="125" y="312"/>
                  </a:lnTo>
                  <a:lnTo>
                    <a:pt x="45" y="89"/>
                  </a:lnTo>
                  <a:lnTo>
                    <a:pt x="37" y="22"/>
                  </a:lnTo>
                  <a:lnTo>
                    <a:pt x="56" y="45"/>
                  </a:lnTo>
                  <a:lnTo>
                    <a:pt x="87" y="145"/>
                  </a:lnTo>
                  <a:lnTo>
                    <a:pt x="125" y="223"/>
                  </a:lnTo>
                  <a:lnTo>
                    <a:pt x="125" y="246"/>
                  </a:lnTo>
                  <a:lnTo>
                    <a:pt x="182" y="356"/>
                  </a:lnTo>
                  <a:lnTo>
                    <a:pt x="188" y="390"/>
                  </a:lnTo>
                  <a:lnTo>
                    <a:pt x="182" y="425"/>
                  </a:lnTo>
                  <a:lnTo>
                    <a:pt x="194" y="458"/>
                  </a:lnTo>
                  <a:lnTo>
                    <a:pt x="307" y="569"/>
                  </a:lnTo>
                  <a:lnTo>
                    <a:pt x="357" y="557"/>
                  </a:lnTo>
                  <a:lnTo>
                    <a:pt x="388" y="613"/>
                  </a:lnTo>
                  <a:lnTo>
                    <a:pt x="401" y="557"/>
                  </a:lnTo>
                  <a:lnTo>
                    <a:pt x="419" y="557"/>
                  </a:lnTo>
                  <a:lnTo>
                    <a:pt x="401" y="513"/>
                  </a:lnTo>
                  <a:lnTo>
                    <a:pt x="438" y="502"/>
                  </a:lnTo>
                  <a:lnTo>
                    <a:pt x="451" y="479"/>
                  </a:lnTo>
                  <a:lnTo>
                    <a:pt x="457" y="469"/>
                  </a:lnTo>
                  <a:lnTo>
                    <a:pt x="457" y="490"/>
                  </a:lnTo>
                  <a:lnTo>
                    <a:pt x="476" y="390"/>
                  </a:lnTo>
                  <a:lnTo>
                    <a:pt x="451" y="379"/>
                  </a:lnTo>
                  <a:lnTo>
                    <a:pt x="419" y="390"/>
                  </a:lnTo>
                  <a:lnTo>
                    <a:pt x="401" y="479"/>
                  </a:lnTo>
                  <a:lnTo>
                    <a:pt x="357" y="490"/>
                  </a:lnTo>
                  <a:lnTo>
                    <a:pt x="338" y="469"/>
                  </a:lnTo>
                  <a:lnTo>
                    <a:pt x="307" y="356"/>
                  </a:lnTo>
                  <a:lnTo>
                    <a:pt x="307" y="279"/>
                  </a:lnTo>
                  <a:lnTo>
                    <a:pt x="313" y="233"/>
                  </a:lnTo>
                  <a:lnTo>
                    <a:pt x="288" y="212"/>
                  </a:lnTo>
                  <a:lnTo>
                    <a:pt x="244" y="100"/>
                  </a:lnTo>
                  <a:lnTo>
                    <a:pt x="212" y="123"/>
                  </a:lnTo>
                  <a:lnTo>
                    <a:pt x="170" y="35"/>
                  </a:lnTo>
                  <a:lnTo>
                    <a:pt x="101" y="56"/>
                  </a:lnTo>
                  <a:lnTo>
                    <a:pt x="37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15" name="Group 501"/>
            <p:cNvGrpSpPr>
              <a:grpSpLocks/>
            </p:cNvGrpSpPr>
            <p:nvPr>
              <p:custDataLst>
                <p:tags r:id="rId409"/>
              </p:custDataLst>
            </p:nvPr>
          </p:nvGrpSpPr>
          <p:grpSpPr bwMode="auto">
            <a:xfrm>
              <a:off x="1549648" y="3643313"/>
              <a:ext cx="696913" cy="487362"/>
              <a:chOff x="1118" y="2113"/>
              <a:chExt cx="476" cy="307"/>
            </a:xfrm>
            <a:solidFill>
              <a:schemeClr val="tx2"/>
            </a:solidFill>
          </p:grpSpPr>
          <p:sp>
            <p:nvSpPr>
              <p:cNvPr id="1045" name="Freeform 502"/>
              <p:cNvSpPr>
                <a:spLocks/>
              </p:cNvSpPr>
              <p:nvPr/>
            </p:nvSpPr>
            <p:spPr bwMode="auto">
              <a:xfrm>
                <a:off x="1118" y="2113"/>
                <a:ext cx="476" cy="307"/>
              </a:xfrm>
              <a:custGeom>
                <a:avLst/>
                <a:gdLst>
                  <a:gd name="T0" fmla="*/ 0 w 476"/>
                  <a:gd name="T1" fmla="*/ 1 h 613"/>
                  <a:gd name="T2" fmla="*/ 26 w 476"/>
                  <a:gd name="T3" fmla="*/ 1 h 613"/>
                  <a:gd name="T4" fmla="*/ 50 w 476"/>
                  <a:gd name="T5" fmla="*/ 1 h 613"/>
                  <a:gd name="T6" fmla="*/ 50 w 476"/>
                  <a:gd name="T7" fmla="*/ 1 h 613"/>
                  <a:gd name="T8" fmla="*/ 37 w 476"/>
                  <a:gd name="T9" fmla="*/ 1 h 613"/>
                  <a:gd name="T10" fmla="*/ 69 w 476"/>
                  <a:gd name="T11" fmla="*/ 1 h 613"/>
                  <a:gd name="T12" fmla="*/ 82 w 476"/>
                  <a:gd name="T13" fmla="*/ 1 h 613"/>
                  <a:gd name="T14" fmla="*/ 82 w 476"/>
                  <a:gd name="T15" fmla="*/ 1 h 613"/>
                  <a:gd name="T16" fmla="*/ 113 w 476"/>
                  <a:gd name="T17" fmla="*/ 1 h 613"/>
                  <a:gd name="T18" fmla="*/ 125 w 476"/>
                  <a:gd name="T19" fmla="*/ 1 h 613"/>
                  <a:gd name="T20" fmla="*/ 45 w 476"/>
                  <a:gd name="T21" fmla="*/ 1 h 613"/>
                  <a:gd name="T22" fmla="*/ 37 w 476"/>
                  <a:gd name="T23" fmla="*/ 1 h 613"/>
                  <a:gd name="T24" fmla="*/ 56 w 476"/>
                  <a:gd name="T25" fmla="*/ 1 h 613"/>
                  <a:gd name="T26" fmla="*/ 87 w 476"/>
                  <a:gd name="T27" fmla="*/ 1 h 613"/>
                  <a:gd name="T28" fmla="*/ 125 w 476"/>
                  <a:gd name="T29" fmla="*/ 1 h 613"/>
                  <a:gd name="T30" fmla="*/ 125 w 476"/>
                  <a:gd name="T31" fmla="*/ 1 h 613"/>
                  <a:gd name="T32" fmla="*/ 182 w 476"/>
                  <a:gd name="T33" fmla="*/ 1 h 613"/>
                  <a:gd name="T34" fmla="*/ 188 w 476"/>
                  <a:gd name="T35" fmla="*/ 1 h 613"/>
                  <a:gd name="T36" fmla="*/ 182 w 476"/>
                  <a:gd name="T37" fmla="*/ 1 h 613"/>
                  <a:gd name="T38" fmla="*/ 194 w 476"/>
                  <a:gd name="T39" fmla="*/ 1 h 613"/>
                  <a:gd name="T40" fmla="*/ 307 w 476"/>
                  <a:gd name="T41" fmla="*/ 1 h 613"/>
                  <a:gd name="T42" fmla="*/ 357 w 476"/>
                  <a:gd name="T43" fmla="*/ 1 h 613"/>
                  <a:gd name="T44" fmla="*/ 388 w 476"/>
                  <a:gd name="T45" fmla="*/ 1 h 613"/>
                  <a:gd name="T46" fmla="*/ 401 w 476"/>
                  <a:gd name="T47" fmla="*/ 1 h 613"/>
                  <a:gd name="T48" fmla="*/ 419 w 476"/>
                  <a:gd name="T49" fmla="*/ 1 h 613"/>
                  <a:gd name="T50" fmla="*/ 401 w 476"/>
                  <a:gd name="T51" fmla="*/ 1 h 613"/>
                  <a:gd name="T52" fmla="*/ 438 w 476"/>
                  <a:gd name="T53" fmla="*/ 1 h 613"/>
                  <a:gd name="T54" fmla="*/ 451 w 476"/>
                  <a:gd name="T55" fmla="*/ 1 h 613"/>
                  <a:gd name="T56" fmla="*/ 457 w 476"/>
                  <a:gd name="T57" fmla="*/ 1 h 613"/>
                  <a:gd name="T58" fmla="*/ 457 w 476"/>
                  <a:gd name="T59" fmla="*/ 1 h 613"/>
                  <a:gd name="T60" fmla="*/ 476 w 476"/>
                  <a:gd name="T61" fmla="*/ 1 h 613"/>
                  <a:gd name="T62" fmla="*/ 451 w 476"/>
                  <a:gd name="T63" fmla="*/ 1 h 613"/>
                  <a:gd name="T64" fmla="*/ 419 w 476"/>
                  <a:gd name="T65" fmla="*/ 1 h 613"/>
                  <a:gd name="T66" fmla="*/ 401 w 476"/>
                  <a:gd name="T67" fmla="*/ 1 h 613"/>
                  <a:gd name="T68" fmla="*/ 357 w 476"/>
                  <a:gd name="T69" fmla="*/ 1 h 613"/>
                  <a:gd name="T70" fmla="*/ 338 w 476"/>
                  <a:gd name="T71" fmla="*/ 1 h 613"/>
                  <a:gd name="T72" fmla="*/ 307 w 476"/>
                  <a:gd name="T73" fmla="*/ 1 h 613"/>
                  <a:gd name="T74" fmla="*/ 307 w 476"/>
                  <a:gd name="T75" fmla="*/ 1 h 613"/>
                  <a:gd name="T76" fmla="*/ 313 w 476"/>
                  <a:gd name="T77" fmla="*/ 1 h 613"/>
                  <a:gd name="T78" fmla="*/ 288 w 476"/>
                  <a:gd name="T79" fmla="*/ 1 h 613"/>
                  <a:gd name="T80" fmla="*/ 244 w 476"/>
                  <a:gd name="T81" fmla="*/ 1 h 613"/>
                  <a:gd name="T82" fmla="*/ 212 w 476"/>
                  <a:gd name="T83" fmla="*/ 1 h 613"/>
                  <a:gd name="T84" fmla="*/ 170 w 476"/>
                  <a:gd name="T85" fmla="*/ 1 h 613"/>
                  <a:gd name="T86" fmla="*/ 101 w 476"/>
                  <a:gd name="T87" fmla="*/ 1 h 613"/>
                  <a:gd name="T88" fmla="*/ 37 w 476"/>
                  <a:gd name="T89" fmla="*/ 0 h 613"/>
                  <a:gd name="T90" fmla="*/ 0 w 476"/>
                  <a:gd name="T91" fmla="*/ 1 h 61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76" h="613">
                    <a:moveTo>
                      <a:pt x="0" y="12"/>
                    </a:moveTo>
                    <a:lnTo>
                      <a:pt x="26" y="100"/>
                    </a:lnTo>
                    <a:lnTo>
                      <a:pt x="50" y="145"/>
                    </a:lnTo>
                    <a:lnTo>
                      <a:pt x="50" y="168"/>
                    </a:lnTo>
                    <a:lnTo>
                      <a:pt x="37" y="179"/>
                    </a:lnTo>
                    <a:lnTo>
                      <a:pt x="69" y="202"/>
                    </a:lnTo>
                    <a:lnTo>
                      <a:pt x="82" y="246"/>
                    </a:lnTo>
                    <a:lnTo>
                      <a:pt x="82" y="279"/>
                    </a:lnTo>
                    <a:lnTo>
                      <a:pt x="113" y="335"/>
                    </a:lnTo>
                    <a:lnTo>
                      <a:pt x="125" y="312"/>
                    </a:lnTo>
                    <a:lnTo>
                      <a:pt x="45" y="89"/>
                    </a:lnTo>
                    <a:lnTo>
                      <a:pt x="37" y="22"/>
                    </a:lnTo>
                    <a:lnTo>
                      <a:pt x="56" y="45"/>
                    </a:lnTo>
                    <a:lnTo>
                      <a:pt x="87" y="145"/>
                    </a:lnTo>
                    <a:lnTo>
                      <a:pt x="125" y="223"/>
                    </a:lnTo>
                    <a:lnTo>
                      <a:pt x="125" y="246"/>
                    </a:lnTo>
                    <a:lnTo>
                      <a:pt x="182" y="356"/>
                    </a:lnTo>
                    <a:lnTo>
                      <a:pt x="188" y="390"/>
                    </a:lnTo>
                    <a:lnTo>
                      <a:pt x="182" y="425"/>
                    </a:lnTo>
                    <a:lnTo>
                      <a:pt x="194" y="458"/>
                    </a:lnTo>
                    <a:lnTo>
                      <a:pt x="307" y="569"/>
                    </a:lnTo>
                    <a:lnTo>
                      <a:pt x="357" y="557"/>
                    </a:lnTo>
                    <a:lnTo>
                      <a:pt x="388" y="613"/>
                    </a:lnTo>
                    <a:lnTo>
                      <a:pt x="401" y="557"/>
                    </a:lnTo>
                    <a:lnTo>
                      <a:pt x="419" y="557"/>
                    </a:lnTo>
                    <a:lnTo>
                      <a:pt x="401" y="513"/>
                    </a:lnTo>
                    <a:lnTo>
                      <a:pt x="438" y="502"/>
                    </a:lnTo>
                    <a:lnTo>
                      <a:pt x="451" y="479"/>
                    </a:lnTo>
                    <a:lnTo>
                      <a:pt x="457" y="469"/>
                    </a:lnTo>
                    <a:lnTo>
                      <a:pt x="457" y="490"/>
                    </a:lnTo>
                    <a:lnTo>
                      <a:pt x="476" y="390"/>
                    </a:lnTo>
                    <a:lnTo>
                      <a:pt x="451" y="379"/>
                    </a:lnTo>
                    <a:lnTo>
                      <a:pt x="419" y="390"/>
                    </a:lnTo>
                    <a:lnTo>
                      <a:pt x="401" y="479"/>
                    </a:lnTo>
                    <a:lnTo>
                      <a:pt x="357" y="490"/>
                    </a:lnTo>
                    <a:lnTo>
                      <a:pt x="338" y="469"/>
                    </a:lnTo>
                    <a:lnTo>
                      <a:pt x="307" y="356"/>
                    </a:lnTo>
                    <a:lnTo>
                      <a:pt x="307" y="279"/>
                    </a:lnTo>
                    <a:lnTo>
                      <a:pt x="313" y="233"/>
                    </a:lnTo>
                    <a:lnTo>
                      <a:pt x="288" y="212"/>
                    </a:lnTo>
                    <a:lnTo>
                      <a:pt x="244" y="100"/>
                    </a:lnTo>
                    <a:lnTo>
                      <a:pt x="212" y="123"/>
                    </a:lnTo>
                    <a:lnTo>
                      <a:pt x="170" y="35"/>
                    </a:lnTo>
                    <a:lnTo>
                      <a:pt x="101" y="56"/>
                    </a:lnTo>
                    <a:lnTo>
                      <a:pt x="37" y="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46" name="Freeform 503"/>
              <p:cNvSpPr>
                <a:spLocks/>
              </p:cNvSpPr>
              <p:nvPr/>
            </p:nvSpPr>
            <p:spPr bwMode="auto">
              <a:xfrm>
                <a:off x="1118" y="2113"/>
                <a:ext cx="476" cy="307"/>
              </a:xfrm>
              <a:custGeom>
                <a:avLst/>
                <a:gdLst>
                  <a:gd name="T0" fmla="*/ 0 w 476"/>
                  <a:gd name="T1" fmla="*/ 1 h 613"/>
                  <a:gd name="T2" fmla="*/ 26 w 476"/>
                  <a:gd name="T3" fmla="*/ 1 h 613"/>
                  <a:gd name="T4" fmla="*/ 50 w 476"/>
                  <a:gd name="T5" fmla="*/ 1 h 613"/>
                  <a:gd name="T6" fmla="*/ 50 w 476"/>
                  <a:gd name="T7" fmla="*/ 1 h 613"/>
                  <a:gd name="T8" fmla="*/ 37 w 476"/>
                  <a:gd name="T9" fmla="*/ 1 h 613"/>
                  <a:gd name="T10" fmla="*/ 69 w 476"/>
                  <a:gd name="T11" fmla="*/ 1 h 613"/>
                  <a:gd name="T12" fmla="*/ 82 w 476"/>
                  <a:gd name="T13" fmla="*/ 1 h 613"/>
                  <a:gd name="T14" fmla="*/ 82 w 476"/>
                  <a:gd name="T15" fmla="*/ 1 h 613"/>
                  <a:gd name="T16" fmla="*/ 113 w 476"/>
                  <a:gd name="T17" fmla="*/ 1 h 613"/>
                  <a:gd name="T18" fmla="*/ 125 w 476"/>
                  <a:gd name="T19" fmla="*/ 1 h 613"/>
                  <a:gd name="T20" fmla="*/ 45 w 476"/>
                  <a:gd name="T21" fmla="*/ 1 h 613"/>
                  <a:gd name="T22" fmla="*/ 37 w 476"/>
                  <a:gd name="T23" fmla="*/ 1 h 613"/>
                  <a:gd name="T24" fmla="*/ 56 w 476"/>
                  <a:gd name="T25" fmla="*/ 1 h 613"/>
                  <a:gd name="T26" fmla="*/ 87 w 476"/>
                  <a:gd name="T27" fmla="*/ 1 h 613"/>
                  <a:gd name="T28" fmla="*/ 125 w 476"/>
                  <a:gd name="T29" fmla="*/ 1 h 613"/>
                  <a:gd name="T30" fmla="*/ 125 w 476"/>
                  <a:gd name="T31" fmla="*/ 1 h 613"/>
                  <a:gd name="T32" fmla="*/ 182 w 476"/>
                  <a:gd name="T33" fmla="*/ 1 h 613"/>
                  <a:gd name="T34" fmla="*/ 188 w 476"/>
                  <a:gd name="T35" fmla="*/ 1 h 613"/>
                  <a:gd name="T36" fmla="*/ 182 w 476"/>
                  <a:gd name="T37" fmla="*/ 1 h 613"/>
                  <a:gd name="T38" fmla="*/ 194 w 476"/>
                  <a:gd name="T39" fmla="*/ 1 h 613"/>
                  <a:gd name="T40" fmla="*/ 307 w 476"/>
                  <a:gd name="T41" fmla="*/ 1 h 613"/>
                  <a:gd name="T42" fmla="*/ 357 w 476"/>
                  <a:gd name="T43" fmla="*/ 1 h 613"/>
                  <a:gd name="T44" fmla="*/ 388 w 476"/>
                  <a:gd name="T45" fmla="*/ 1 h 613"/>
                  <a:gd name="T46" fmla="*/ 401 w 476"/>
                  <a:gd name="T47" fmla="*/ 1 h 613"/>
                  <a:gd name="T48" fmla="*/ 419 w 476"/>
                  <a:gd name="T49" fmla="*/ 1 h 613"/>
                  <a:gd name="T50" fmla="*/ 401 w 476"/>
                  <a:gd name="T51" fmla="*/ 1 h 613"/>
                  <a:gd name="T52" fmla="*/ 438 w 476"/>
                  <a:gd name="T53" fmla="*/ 1 h 613"/>
                  <a:gd name="T54" fmla="*/ 451 w 476"/>
                  <a:gd name="T55" fmla="*/ 1 h 613"/>
                  <a:gd name="T56" fmla="*/ 457 w 476"/>
                  <a:gd name="T57" fmla="*/ 1 h 613"/>
                  <a:gd name="T58" fmla="*/ 457 w 476"/>
                  <a:gd name="T59" fmla="*/ 1 h 613"/>
                  <a:gd name="T60" fmla="*/ 476 w 476"/>
                  <a:gd name="T61" fmla="*/ 1 h 613"/>
                  <a:gd name="T62" fmla="*/ 451 w 476"/>
                  <a:gd name="T63" fmla="*/ 1 h 613"/>
                  <a:gd name="T64" fmla="*/ 419 w 476"/>
                  <a:gd name="T65" fmla="*/ 1 h 613"/>
                  <a:gd name="T66" fmla="*/ 401 w 476"/>
                  <a:gd name="T67" fmla="*/ 1 h 613"/>
                  <a:gd name="T68" fmla="*/ 357 w 476"/>
                  <a:gd name="T69" fmla="*/ 1 h 613"/>
                  <a:gd name="T70" fmla="*/ 338 w 476"/>
                  <a:gd name="T71" fmla="*/ 1 h 613"/>
                  <a:gd name="T72" fmla="*/ 307 w 476"/>
                  <a:gd name="T73" fmla="*/ 1 h 613"/>
                  <a:gd name="T74" fmla="*/ 307 w 476"/>
                  <a:gd name="T75" fmla="*/ 1 h 613"/>
                  <a:gd name="T76" fmla="*/ 313 w 476"/>
                  <a:gd name="T77" fmla="*/ 1 h 613"/>
                  <a:gd name="T78" fmla="*/ 288 w 476"/>
                  <a:gd name="T79" fmla="*/ 1 h 613"/>
                  <a:gd name="T80" fmla="*/ 244 w 476"/>
                  <a:gd name="T81" fmla="*/ 1 h 613"/>
                  <a:gd name="T82" fmla="*/ 212 w 476"/>
                  <a:gd name="T83" fmla="*/ 1 h 613"/>
                  <a:gd name="T84" fmla="*/ 170 w 476"/>
                  <a:gd name="T85" fmla="*/ 1 h 613"/>
                  <a:gd name="T86" fmla="*/ 101 w 476"/>
                  <a:gd name="T87" fmla="*/ 1 h 613"/>
                  <a:gd name="T88" fmla="*/ 37 w 476"/>
                  <a:gd name="T89" fmla="*/ 0 h 613"/>
                  <a:gd name="T90" fmla="*/ 0 w 476"/>
                  <a:gd name="T91" fmla="*/ 1 h 61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76" h="613">
                    <a:moveTo>
                      <a:pt x="0" y="12"/>
                    </a:moveTo>
                    <a:lnTo>
                      <a:pt x="26" y="100"/>
                    </a:lnTo>
                    <a:lnTo>
                      <a:pt x="50" y="145"/>
                    </a:lnTo>
                    <a:lnTo>
                      <a:pt x="50" y="168"/>
                    </a:lnTo>
                    <a:lnTo>
                      <a:pt x="37" y="179"/>
                    </a:lnTo>
                    <a:lnTo>
                      <a:pt x="69" y="202"/>
                    </a:lnTo>
                    <a:lnTo>
                      <a:pt x="82" y="246"/>
                    </a:lnTo>
                    <a:lnTo>
                      <a:pt x="82" y="279"/>
                    </a:lnTo>
                    <a:lnTo>
                      <a:pt x="113" y="335"/>
                    </a:lnTo>
                    <a:lnTo>
                      <a:pt x="125" y="312"/>
                    </a:lnTo>
                    <a:lnTo>
                      <a:pt x="45" y="89"/>
                    </a:lnTo>
                    <a:lnTo>
                      <a:pt x="37" y="22"/>
                    </a:lnTo>
                    <a:lnTo>
                      <a:pt x="56" y="45"/>
                    </a:lnTo>
                    <a:lnTo>
                      <a:pt x="87" y="145"/>
                    </a:lnTo>
                    <a:lnTo>
                      <a:pt x="125" y="223"/>
                    </a:lnTo>
                    <a:lnTo>
                      <a:pt x="125" y="246"/>
                    </a:lnTo>
                    <a:lnTo>
                      <a:pt x="182" y="356"/>
                    </a:lnTo>
                    <a:lnTo>
                      <a:pt x="188" y="390"/>
                    </a:lnTo>
                    <a:lnTo>
                      <a:pt x="182" y="425"/>
                    </a:lnTo>
                    <a:lnTo>
                      <a:pt x="194" y="458"/>
                    </a:lnTo>
                    <a:lnTo>
                      <a:pt x="307" y="569"/>
                    </a:lnTo>
                    <a:lnTo>
                      <a:pt x="357" y="557"/>
                    </a:lnTo>
                    <a:lnTo>
                      <a:pt x="388" y="613"/>
                    </a:lnTo>
                    <a:lnTo>
                      <a:pt x="401" y="557"/>
                    </a:lnTo>
                    <a:lnTo>
                      <a:pt x="419" y="557"/>
                    </a:lnTo>
                    <a:lnTo>
                      <a:pt x="401" y="513"/>
                    </a:lnTo>
                    <a:lnTo>
                      <a:pt x="438" y="502"/>
                    </a:lnTo>
                    <a:lnTo>
                      <a:pt x="451" y="479"/>
                    </a:lnTo>
                    <a:lnTo>
                      <a:pt x="457" y="469"/>
                    </a:lnTo>
                    <a:lnTo>
                      <a:pt x="457" y="490"/>
                    </a:lnTo>
                    <a:lnTo>
                      <a:pt x="476" y="390"/>
                    </a:lnTo>
                    <a:lnTo>
                      <a:pt x="451" y="379"/>
                    </a:lnTo>
                    <a:lnTo>
                      <a:pt x="419" y="390"/>
                    </a:lnTo>
                    <a:lnTo>
                      <a:pt x="401" y="479"/>
                    </a:lnTo>
                    <a:lnTo>
                      <a:pt x="357" y="490"/>
                    </a:lnTo>
                    <a:lnTo>
                      <a:pt x="338" y="469"/>
                    </a:lnTo>
                    <a:lnTo>
                      <a:pt x="307" y="356"/>
                    </a:lnTo>
                    <a:lnTo>
                      <a:pt x="307" y="279"/>
                    </a:lnTo>
                    <a:lnTo>
                      <a:pt x="313" y="233"/>
                    </a:lnTo>
                    <a:lnTo>
                      <a:pt x="288" y="212"/>
                    </a:lnTo>
                    <a:lnTo>
                      <a:pt x="244" y="100"/>
                    </a:lnTo>
                    <a:lnTo>
                      <a:pt x="212" y="123"/>
                    </a:lnTo>
                    <a:lnTo>
                      <a:pt x="170" y="35"/>
                    </a:lnTo>
                    <a:lnTo>
                      <a:pt x="101" y="56"/>
                    </a:lnTo>
                    <a:lnTo>
                      <a:pt x="37" y="0"/>
                    </a:lnTo>
                    <a:lnTo>
                      <a:pt x="0" y="12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6" name="Freeform 504"/>
            <p:cNvSpPr>
              <a:spLocks/>
            </p:cNvSpPr>
            <p:nvPr>
              <p:custDataLst>
                <p:tags r:id="rId410"/>
              </p:custDataLst>
            </p:nvPr>
          </p:nvSpPr>
          <p:spPr bwMode="auto">
            <a:xfrm>
              <a:off x="6410573" y="3041650"/>
              <a:ext cx="722313" cy="336550"/>
            </a:xfrm>
            <a:custGeom>
              <a:avLst/>
              <a:gdLst>
                <a:gd name="T0" fmla="*/ 0 w 493"/>
                <a:gd name="T1" fmla="*/ 2147483647 h 424"/>
                <a:gd name="T2" fmla="*/ 2147483647 w 493"/>
                <a:gd name="T3" fmla="*/ 2147483647 h 424"/>
                <a:gd name="T4" fmla="*/ 2147483647 w 493"/>
                <a:gd name="T5" fmla="*/ 2147483647 h 424"/>
                <a:gd name="T6" fmla="*/ 2147483647 w 493"/>
                <a:gd name="T7" fmla="*/ 2147483647 h 424"/>
                <a:gd name="T8" fmla="*/ 2147483647 w 493"/>
                <a:gd name="T9" fmla="*/ 2147483647 h 424"/>
                <a:gd name="T10" fmla="*/ 2147483647 w 493"/>
                <a:gd name="T11" fmla="*/ 2147483647 h 424"/>
                <a:gd name="T12" fmla="*/ 2147483647 w 493"/>
                <a:gd name="T13" fmla="*/ 2147483647 h 424"/>
                <a:gd name="T14" fmla="*/ 2147483647 w 493"/>
                <a:gd name="T15" fmla="*/ 2147483647 h 424"/>
                <a:gd name="T16" fmla="*/ 2147483647 w 493"/>
                <a:gd name="T17" fmla="*/ 2147483647 h 424"/>
                <a:gd name="T18" fmla="*/ 2147483647 w 493"/>
                <a:gd name="T19" fmla="*/ 2147483647 h 424"/>
                <a:gd name="T20" fmla="*/ 2147483647 w 493"/>
                <a:gd name="T21" fmla="*/ 2147483647 h 424"/>
                <a:gd name="T22" fmla="*/ 2147483647 w 493"/>
                <a:gd name="T23" fmla="*/ 2147483647 h 424"/>
                <a:gd name="T24" fmla="*/ 2147483647 w 493"/>
                <a:gd name="T25" fmla="*/ 2147483647 h 424"/>
                <a:gd name="T26" fmla="*/ 2147483647 w 493"/>
                <a:gd name="T27" fmla="*/ 2147483647 h 424"/>
                <a:gd name="T28" fmla="*/ 2147483647 w 493"/>
                <a:gd name="T29" fmla="*/ 2147483647 h 424"/>
                <a:gd name="T30" fmla="*/ 2147483647 w 493"/>
                <a:gd name="T31" fmla="*/ 2147483647 h 424"/>
                <a:gd name="T32" fmla="*/ 2147483647 w 493"/>
                <a:gd name="T33" fmla="*/ 2147483647 h 424"/>
                <a:gd name="T34" fmla="*/ 2147483647 w 493"/>
                <a:gd name="T35" fmla="*/ 2147483647 h 424"/>
                <a:gd name="T36" fmla="*/ 2147483647 w 493"/>
                <a:gd name="T37" fmla="*/ 2147483647 h 424"/>
                <a:gd name="T38" fmla="*/ 2147483647 w 493"/>
                <a:gd name="T39" fmla="*/ 2147483647 h 424"/>
                <a:gd name="T40" fmla="*/ 2147483647 w 493"/>
                <a:gd name="T41" fmla="*/ 2147483647 h 424"/>
                <a:gd name="T42" fmla="*/ 2147483647 w 493"/>
                <a:gd name="T43" fmla="*/ 2147483647 h 424"/>
                <a:gd name="T44" fmla="*/ 2147483647 w 493"/>
                <a:gd name="T45" fmla="*/ 2147483647 h 424"/>
                <a:gd name="T46" fmla="*/ 2147483647 w 493"/>
                <a:gd name="T47" fmla="*/ 0 h 424"/>
                <a:gd name="T48" fmla="*/ 2147483647 w 493"/>
                <a:gd name="T49" fmla="*/ 2147483647 h 424"/>
                <a:gd name="T50" fmla="*/ 2147483647 w 493"/>
                <a:gd name="T51" fmla="*/ 2147483647 h 424"/>
                <a:gd name="T52" fmla="*/ 2147483647 w 493"/>
                <a:gd name="T53" fmla="*/ 2147483647 h 424"/>
                <a:gd name="T54" fmla="*/ 0 w 493"/>
                <a:gd name="T55" fmla="*/ 2147483647 h 42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3" h="424">
                  <a:moveTo>
                    <a:pt x="0" y="134"/>
                  </a:moveTo>
                  <a:lnTo>
                    <a:pt x="18" y="178"/>
                  </a:lnTo>
                  <a:lnTo>
                    <a:pt x="37" y="202"/>
                  </a:lnTo>
                  <a:lnTo>
                    <a:pt x="44" y="292"/>
                  </a:lnTo>
                  <a:lnTo>
                    <a:pt x="118" y="324"/>
                  </a:lnTo>
                  <a:lnTo>
                    <a:pt x="144" y="380"/>
                  </a:lnTo>
                  <a:lnTo>
                    <a:pt x="200" y="380"/>
                  </a:lnTo>
                  <a:lnTo>
                    <a:pt x="262" y="424"/>
                  </a:lnTo>
                  <a:lnTo>
                    <a:pt x="349" y="380"/>
                  </a:lnTo>
                  <a:lnTo>
                    <a:pt x="374" y="346"/>
                  </a:lnTo>
                  <a:lnTo>
                    <a:pt x="374" y="301"/>
                  </a:lnTo>
                  <a:lnTo>
                    <a:pt x="399" y="315"/>
                  </a:lnTo>
                  <a:lnTo>
                    <a:pt x="450" y="236"/>
                  </a:lnTo>
                  <a:lnTo>
                    <a:pt x="493" y="236"/>
                  </a:lnTo>
                  <a:lnTo>
                    <a:pt x="475" y="178"/>
                  </a:lnTo>
                  <a:lnTo>
                    <a:pt x="438" y="192"/>
                  </a:lnTo>
                  <a:lnTo>
                    <a:pt x="438" y="134"/>
                  </a:lnTo>
                  <a:lnTo>
                    <a:pt x="443" y="102"/>
                  </a:lnTo>
                  <a:lnTo>
                    <a:pt x="418" y="90"/>
                  </a:lnTo>
                  <a:lnTo>
                    <a:pt x="343" y="123"/>
                  </a:lnTo>
                  <a:lnTo>
                    <a:pt x="274" y="67"/>
                  </a:lnTo>
                  <a:lnTo>
                    <a:pt x="237" y="79"/>
                  </a:lnTo>
                  <a:lnTo>
                    <a:pt x="219" y="34"/>
                  </a:lnTo>
                  <a:lnTo>
                    <a:pt x="182" y="0"/>
                  </a:lnTo>
                  <a:lnTo>
                    <a:pt x="156" y="34"/>
                  </a:lnTo>
                  <a:lnTo>
                    <a:pt x="156" y="90"/>
                  </a:lnTo>
                  <a:lnTo>
                    <a:pt x="63" y="67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17" name="Freeform 505"/>
            <p:cNvSpPr>
              <a:spLocks/>
            </p:cNvSpPr>
            <p:nvPr>
              <p:custDataLst>
                <p:tags r:id="rId411"/>
              </p:custDataLst>
            </p:nvPr>
          </p:nvSpPr>
          <p:spPr bwMode="auto">
            <a:xfrm>
              <a:off x="6410573" y="3041650"/>
              <a:ext cx="722313" cy="336550"/>
            </a:xfrm>
            <a:custGeom>
              <a:avLst/>
              <a:gdLst>
                <a:gd name="T0" fmla="*/ 0 w 493"/>
                <a:gd name="T1" fmla="*/ 2147483647 h 424"/>
                <a:gd name="T2" fmla="*/ 2147483647 w 493"/>
                <a:gd name="T3" fmla="*/ 2147483647 h 424"/>
                <a:gd name="T4" fmla="*/ 2147483647 w 493"/>
                <a:gd name="T5" fmla="*/ 2147483647 h 424"/>
                <a:gd name="T6" fmla="*/ 2147483647 w 493"/>
                <a:gd name="T7" fmla="*/ 2147483647 h 424"/>
                <a:gd name="T8" fmla="*/ 2147483647 w 493"/>
                <a:gd name="T9" fmla="*/ 2147483647 h 424"/>
                <a:gd name="T10" fmla="*/ 2147483647 w 493"/>
                <a:gd name="T11" fmla="*/ 2147483647 h 424"/>
                <a:gd name="T12" fmla="*/ 2147483647 w 493"/>
                <a:gd name="T13" fmla="*/ 2147483647 h 424"/>
                <a:gd name="T14" fmla="*/ 2147483647 w 493"/>
                <a:gd name="T15" fmla="*/ 2147483647 h 424"/>
                <a:gd name="T16" fmla="*/ 2147483647 w 493"/>
                <a:gd name="T17" fmla="*/ 2147483647 h 424"/>
                <a:gd name="T18" fmla="*/ 2147483647 w 493"/>
                <a:gd name="T19" fmla="*/ 2147483647 h 424"/>
                <a:gd name="T20" fmla="*/ 2147483647 w 493"/>
                <a:gd name="T21" fmla="*/ 2147483647 h 424"/>
                <a:gd name="T22" fmla="*/ 2147483647 w 493"/>
                <a:gd name="T23" fmla="*/ 2147483647 h 424"/>
                <a:gd name="T24" fmla="*/ 2147483647 w 493"/>
                <a:gd name="T25" fmla="*/ 2147483647 h 424"/>
                <a:gd name="T26" fmla="*/ 2147483647 w 493"/>
                <a:gd name="T27" fmla="*/ 2147483647 h 424"/>
                <a:gd name="T28" fmla="*/ 2147483647 w 493"/>
                <a:gd name="T29" fmla="*/ 2147483647 h 424"/>
                <a:gd name="T30" fmla="*/ 2147483647 w 493"/>
                <a:gd name="T31" fmla="*/ 2147483647 h 424"/>
                <a:gd name="T32" fmla="*/ 2147483647 w 493"/>
                <a:gd name="T33" fmla="*/ 2147483647 h 424"/>
                <a:gd name="T34" fmla="*/ 2147483647 w 493"/>
                <a:gd name="T35" fmla="*/ 2147483647 h 424"/>
                <a:gd name="T36" fmla="*/ 2147483647 w 493"/>
                <a:gd name="T37" fmla="*/ 2147483647 h 424"/>
                <a:gd name="T38" fmla="*/ 2147483647 w 493"/>
                <a:gd name="T39" fmla="*/ 2147483647 h 424"/>
                <a:gd name="T40" fmla="*/ 2147483647 w 493"/>
                <a:gd name="T41" fmla="*/ 2147483647 h 424"/>
                <a:gd name="T42" fmla="*/ 2147483647 w 493"/>
                <a:gd name="T43" fmla="*/ 2147483647 h 424"/>
                <a:gd name="T44" fmla="*/ 2147483647 w 493"/>
                <a:gd name="T45" fmla="*/ 2147483647 h 424"/>
                <a:gd name="T46" fmla="*/ 2147483647 w 493"/>
                <a:gd name="T47" fmla="*/ 0 h 424"/>
                <a:gd name="T48" fmla="*/ 2147483647 w 493"/>
                <a:gd name="T49" fmla="*/ 2147483647 h 424"/>
                <a:gd name="T50" fmla="*/ 2147483647 w 493"/>
                <a:gd name="T51" fmla="*/ 2147483647 h 424"/>
                <a:gd name="T52" fmla="*/ 2147483647 w 493"/>
                <a:gd name="T53" fmla="*/ 2147483647 h 424"/>
                <a:gd name="T54" fmla="*/ 0 w 493"/>
                <a:gd name="T55" fmla="*/ 2147483647 h 42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3" h="424">
                  <a:moveTo>
                    <a:pt x="0" y="134"/>
                  </a:moveTo>
                  <a:lnTo>
                    <a:pt x="18" y="178"/>
                  </a:lnTo>
                  <a:lnTo>
                    <a:pt x="37" y="202"/>
                  </a:lnTo>
                  <a:lnTo>
                    <a:pt x="44" y="292"/>
                  </a:lnTo>
                  <a:lnTo>
                    <a:pt x="118" y="324"/>
                  </a:lnTo>
                  <a:lnTo>
                    <a:pt x="144" y="380"/>
                  </a:lnTo>
                  <a:lnTo>
                    <a:pt x="200" y="380"/>
                  </a:lnTo>
                  <a:lnTo>
                    <a:pt x="262" y="424"/>
                  </a:lnTo>
                  <a:lnTo>
                    <a:pt x="349" y="380"/>
                  </a:lnTo>
                  <a:lnTo>
                    <a:pt x="374" y="346"/>
                  </a:lnTo>
                  <a:lnTo>
                    <a:pt x="374" y="301"/>
                  </a:lnTo>
                  <a:lnTo>
                    <a:pt x="399" y="315"/>
                  </a:lnTo>
                  <a:lnTo>
                    <a:pt x="450" y="236"/>
                  </a:lnTo>
                  <a:lnTo>
                    <a:pt x="493" y="236"/>
                  </a:lnTo>
                  <a:lnTo>
                    <a:pt x="475" y="178"/>
                  </a:lnTo>
                  <a:lnTo>
                    <a:pt x="438" y="192"/>
                  </a:lnTo>
                  <a:lnTo>
                    <a:pt x="438" y="134"/>
                  </a:lnTo>
                  <a:lnTo>
                    <a:pt x="443" y="102"/>
                  </a:lnTo>
                  <a:lnTo>
                    <a:pt x="418" y="90"/>
                  </a:lnTo>
                  <a:lnTo>
                    <a:pt x="343" y="123"/>
                  </a:lnTo>
                  <a:lnTo>
                    <a:pt x="274" y="67"/>
                  </a:lnTo>
                  <a:lnTo>
                    <a:pt x="237" y="79"/>
                  </a:lnTo>
                  <a:lnTo>
                    <a:pt x="219" y="34"/>
                  </a:lnTo>
                  <a:lnTo>
                    <a:pt x="182" y="0"/>
                  </a:lnTo>
                  <a:lnTo>
                    <a:pt x="156" y="34"/>
                  </a:lnTo>
                  <a:lnTo>
                    <a:pt x="156" y="90"/>
                  </a:lnTo>
                  <a:lnTo>
                    <a:pt x="63" y="67"/>
                  </a:lnTo>
                  <a:lnTo>
                    <a:pt x="0" y="1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18" name="Freeform 506"/>
            <p:cNvSpPr>
              <a:spLocks/>
            </p:cNvSpPr>
            <p:nvPr>
              <p:custDataLst>
                <p:tags r:id="rId412"/>
              </p:custDataLst>
            </p:nvPr>
          </p:nvSpPr>
          <p:spPr bwMode="auto">
            <a:xfrm>
              <a:off x="6410573" y="3041650"/>
              <a:ext cx="722313" cy="336550"/>
            </a:xfrm>
            <a:custGeom>
              <a:avLst/>
              <a:gdLst>
                <a:gd name="T0" fmla="*/ 0 w 493"/>
                <a:gd name="T1" fmla="*/ 2147483647 h 424"/>
                <a:gd name="T2" fmla="*/ 2147483647 w 493"/>
                <a:gd name="T3" fmla="*/ 2147483647 h 424"/>
                <a:gd name="T4" fmla="*/ 2147483647 w 493"/>
                <a:gd name="T5" fmla="*/ 2147483647 h 424"/>
                <a:gd name="T6" fmla="*/ 2147483647 w 493"/>
                <a:gd name="T7" fmla="*/ 2147483647 h 424"/>
                <a:gd name="T8" fmla="*/ 2147483647 w 493"/>
                <a:gd name="T9" fmla="*/ 2147483647 h 424"/>
                <a:gd name="T10" fmla="*/ 2147483647 w 493"/>
                <a:gd name="T11" fmla="*/ 2147483647 h 424"/>
                <a:gd name="T12" fmla="*/ 2147483647 w 493"/>
                <a:gd name="T13" fmla="*/ 2147483647 h 424"/>
                <a:gd name="T14" fmla="*/ 2147483647 w 493"/>
                <a:gd name="T15" fmla="*/ 2147483647 h 424"/>
                <a:gd name="T16" fmla="*/ 2147483647 w 493"/>
                <a:gd name="T17" fmla="*/ 2147483647 h 424"/>
                <a:gd name="T18" fmla="*/ 2147483647 w 493"/>
                <a:gd name="T19" fmla="*/ 2147483647 h 424"/>
                <a:gd name="T20" fmla="*/ 2147483647 w 493"/>
                <a:gd name="T21" fmla="*/ 2147483647 h 424"/>
                <a:gd name="T22" fmla="*/ 2147483647 w 493"/>
                <a:gd name="T23" fmla="*/ 2147483647 h 424"/>
                <a:gd name="T24" fmla="*/ 2147483647 w 493"/>
                <a:gd name="T25" fmla="*/ 2147483647 h 424"/>
                <a:gd name="T26" fmla="*/ 2147483647 w 493"/>
                <a:gd name="T27" fmla="*/ 2147483647 h 424"/>
                <a:gd name="T28" fmla="*/ 2147483647 w 493"/>
                <a:gd name="T29" fmla="*/ 2147483647 h 424"/>
                <a:gd name="T30" fmla="*/ 2147483647 w 493"/>
                <a:gd name="T31" fmla="*/ 2147483647 h 424"/>
                <a:gd name="T32" fmla="*/ 2147483647 w 493"/>
                <a:gd name="T33" fmla="*/ 2147483647 h 424"/>
                <a:gd name="T34" fmla="*/ 2147483647 w 493"/>
                <a:gd name="T35" fmla="*/ 2147483647 h 424"/>
                <a:gd name="T36" fmla="*/ 2147483647 w 493"/>
                <a:gd name="T37" fmla="*/ 2147483647 h 424"/>
                <a:gd name="T38" fmla="*/ 2147483647 w 493"/>
                <a:gd name="T39" fmla="*/ 2147483647 h 424"/>
                <a:gd name="T40" fmla="*/ 2147483647 w 493"/>
                <a:gd name="T41" fmla="*/ 2147483647 h 424"/>
                <a:gd name="T42" fmla="*/ 2147483647 w 493"/>
                <a:gd name="T43" fmla="*/ 2147483647 h 424"/>
                <a:gd name="T44" fmla="*/ 2147483647 w 493"/>
                <a:gd name="T45" fmla="*/ 2147483647 h 424"/>
                <a:gd name="T46" fmla="*/ 2147483647 w 493"/>
                <a:gd name="T47" fmla="*/ 0 h 424"/>
                <a:gd name="T48" fmla="*/ 2147483647 w 493"/>
                <a:gd name="T49" fmla="*/ 2147483647 h 424"/>
                <a:gd name="T50" fmla="*/ 2147483647 w 493"/>
                <a:gd name="T51" fmla="*/ 2147483647 h 424"/>
                <a:gd name="T52" fmla="*/ 2147483647 w 493"/>
                <a:gd name="T53" fmla="*/ 2147483647 h 424"/>
                <a:gd name="T54" fmla="*/ 0 w 493"/>
                <a:gd name="T55" fmla="*/ 2147483647 h 42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3" h="424">
                  <a:moveTo>
                    <a:pt x="0" y="134"/>
                  </a:moveTo>
                  <a:lnTo>
                    <a:pt x="18" y="178"/>
                  </a:lnTo>
                  <a:lnTo>
                    <a:pt x="37" y="202"/>
                  </a:lnTo>
                  <a:lnTo>
                    <a:pt x="44" y="292"/>
                  </a:lnTo>
                  <a:lnTo>
                    <a:pt x="118" y="324"/>
                  </a:lnTo>
                  <a:lnTo>
                    <a:pt x="144" y="380"/>
                  </a:lnTo>
                  <a:lnTo>
                    <a:pt x="200" y="380"/>
                  </a:lnTo>
                  <a:lnTo>
                    <a:pt x="262" y="424"/>
                  </a:lnTo>
                  <a:lnTo>
                    <a:pt x="349" y="380"/>
                  </a:lnTo>
                  <a:lnTo>
                    <a:pt x="374" y="346"/>
                  </a:lnTo>
                  <a:lnTo>
                    <a:pt x="374" y="301"/>
                  </a:lnTo>
                  <a:lnTo>
                    <a:pt x="399" y="315"/>
                  </a:lnTo>
                  <a:lnTo>
                    <a:pt x="450" y="236"/>
                  </a:lnTo>
                  <a:lnTo>
                    <a:pt x="493" y="236"/>
                  </a:lnTo>
                  <a:lnTo>
                    <a:pt x="475" y="178"/>
                  </a:lnTo>
                  <a:lnTo>
                    <a:pt x="438" y="192"/>
                  </a:lnTo>
                  <a:lnTo>
                    <a:pt x="438" y="134"/>
                  </a:lnTo>
                  <a:lnTo>
                    <a:pt x="443" y="102"/>
                  </a:lnTo>
                  <a:lnTo>
                    <a:pt x="418" y="90"/>
                  </a:lnTo>
                  <a:lnTo>
                    <a:pt x="343" y="123"/>
                  </a:lnTo>
                  <a:lnTo>
                    <a:pt x="274" y="67"/>
                  </a:lnTo>
                  <a:lnTo>
                    <a:pt x="237" y="79"/>
                  </a:lnTo>
                  <a:lnTo>
                    <a:pt x="219" y="34"/>
                  </a:lnTo>
                  <a:lnTo>
                    <a:pt x="182" y="0"/>
                  </a:lnTo>
                  <a:lnTo>
                    <a:pt x="156" y="34"/>
                  </a:lnTo>
                  <a:lnTo>
                    <a:pt x="156" y="90"/>
                  </a:lnTo>
                  <a:lnTo>
                    <a:pt x="63" y="67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19" name="Freeform 507"/>
            <p:cNvSpPr>
              <a:spLocks/>
            </p:cNvSpPr>
            <p:nvPr>
              <p:custDataLst>
                <p:tags r:id="rId413"/>
              </p:custDataLst>
            </p:nvPr>
          </p:nvSpPr>
          <p:spPr bwMode="auto">
            <a:xfrm>
              <a:off x="6410573" y="3041650"/>
              <a:ext cx="722313" cy="336550"/>
            </a:xfrm>
            <a:custGeom>
              <a:avLst/>
              <a:gdLst>
                <a:gd name="T0" fmla="*/ 0 w 493"/>
                <a:gd name="T1" fmla="*/ 2147483647 h 424"/>
                <a:gd name="T2" fmla="*/ 2147483647 w 493"/>
                <a:gd name="T3" fmla="*/ 2147483647 h 424"/>
                <a:gd name="T4" fmla="*/ 2147483647 w 493"/>
                <a:gd name="T5" fmla="*/ 2147483647 h 424"/>
                <a:gd name="T6" fmla="*/ 2147483647 w 493"/>
                <a:gd name="T7" fmla="*/ 2147483647 h 424"/>
                <a:gd name="T8" fmla="*/ 2147483647 w 493"/>
                <a:gd name="T9" fmla="*/ 2147483647 h 424"/>
                <a:gd name="T10" fmla="*/ 2147483647 w 493"/>
                <a:gd name="T11" fmla="*/ 2147483647 h 424"/>
                <a:gd name="T12" fmla="*/ 2147483647 w 493"/>
                <a:gd name="T13" fmla="*/ 2147483647 h 424"/>
                <a:gd name="T14" fmla="*/ 2147483647 w 493"/>
                <a:gd name="T15" fmla="*/ 2147483647 h 424"/>
                <a:gd name="T16" fmla="*/ 2147483647 w 493"/>
                <a:gd name="T17" fmla="*/ 2147483647 h 424"/>
                <a:gd name="T18" fmla="*/ 2147483647 w 493"/>
                <a:gd name="T19" fmla="*/ 2147483647 h 424"/>
                <a:gd name="T20" fmla="*/ 2147483647 w 493"/>
                <a:gd name="T21" fmla="*/ 2147483647 h 424"/>
                <a:gd name="T22" fmla="*/ 2147483647 w 493"/>
                <a:gd name="T23" fmla="*/ 2147483647 h 424"/>
                <a:gd name="T24" fmla="*/ 2147483647 w 493"/>
                <a:gd name="T25" fmla="*/ 2147483647 h 424"/>
                <a:gd name="T26" fmla="*/ 2147483647 w 493"/>
                <a:gd name="T27" fmla="*/ 2147483647 h 424"/>
                <a:gd name="T28" fmla="*/ 2147483647 w 493"/>
                <a:gd name="T29" fmla="*/ 2147483647 h 424"/>
                <a:gd name="T30" fmla="*/ 2147483647 w 493"/>
                <a:gd name="T31" fmla="*/ 2147483647 h 424"/>
                <a:gd name="T32" fmla="*/ 2147483647 w 493"/>
                <a:gd name="T33" fmla="*/ 2147483647 h 424"/>
                <a:gd name="T34" fmla="*/ 2147483647 w 493"/>
                <a:gd name="T35" fmla="*/ 2147483647 h 424"/>
                <a:gd name="T36" fmla="*/ 2147483647 w 493"/>
                <a:gd name="T37" fmla="*/ 2147483647 h 424"/>
                <a:gd name="T38" fmla="*/ 2147483647 w 493"/>
                <a:gd name="T39" fmla="*/ 2147483647 h 424"/>
                <a:gd name="T40" fmla="*/ 2147483647 w 493"/>
                <a:gd name="T41" fmla="*/ 2147483647 h 424"/>
                <a:gd name="T42" fmla="*/ 2147483647 w 493"/>
                <a:gd name="T43" fmla="*/ 2147483647 h 424"/>
                <a:gd name="T44" fmla="*/ 2147483647 w 493"/>
                <a:gd name="T45" fmla="*/ 2147483647 h 424"/>
                <a:gd name="T46" fmla="*/ 2147483647 w 493"/>
                <a:gd name="T47" fmla="*/ 0 h 424"/>
                <a:gd name="T48" fmla="*/ 2147483647 w 493"/>
                <a:gd name="T49" fmla="*/ 2147483647 h 424"/>
                <a:gd name="T50" fmla="*/ 2147483647 w 493"/>
                <a:gd name="T51" fmla="*/ 2147483647 h 424"/>
                <a:gd name="T52" fmla="*/ 2147483647 w 493"/>
                <a:gd name="T53" fmla="*/ 2147483647 h 424"/>
                <a:gd name="T54" fmla="*/ 0 w 493"/>
                <a:gd name="T55" fmla="*/ 2147483647 h 42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3" h="424">
                  <a:moveTo>
                    <a:pt x="0" y="134"/>
                  </a:moveTo>
                  <a:lnTo>
                    <a:pt x="18" y="178"/>
                  </a:lnTo>
                  <a:lnTo>
                    <a:pt x="37" y="202"/>
                  </a:lnTo>
                  <a:lnTo>
                    <a:pt x="44" y="292"/>
                  </a:lnTo>
                  <a:lnTo>
                    <a:pt x="118" y="324"/>
                  </a:lnTo>
                  <a:lnTo>
                    <a:pt x="144" y="380"/>
                  </a:lnTo>
                  <a:lnTo>
                    <a:pt x="200" y="380"/>
                  </a:lnTo>
                  <a:lnTo>
                    <a:pt x="262" y="424"/>
                  </a:lnTo>
                  <a:lnTo>
                    <a:pt x="349" y="380"/>
                  </a:lnTo>
                  <a:lnTo>
                    <a:pt x="374" y="346"/>
                  </a:lnTo>
                  <a:lnTo>
                    <a:pt x="374" y="301"/>
                  </a:lnTo>
                  <a:lnTo>
                    <a:pt x="399" y="315"/>
                  </a:lnTo>
                  <a:lnTo>
                    <a:pt x="450" y="236"/>
                  </a:lnTo>
                  <a:lnTo>
                    <a:pt x="493" y="236"/>
                  </a:lnTo>
                  <a:lnTo>
                    <a:pt x="475" y="178"/>
                  </a:lnTo>
                  <a:lnTo>
                    <a:pt x="438" y="192"/>
                  </a:lnTo>
                  <a:lnTo>
                    <a:pt x="438" y="134"/>
                  </a:lnTo>
                  <a:lnTo>
                    <a:pt x="443" y="102"/>
                  </a:lnTo>
                  <a:lnTo>
                    <a:pt x="418" y="90"/>
                  </a:lnTo>
                  <a:lnTo>
                    <a:pt x="343" y="123"/>
                  </a:lnTo>
                  <a:lnTo>
                    <a:pt x="274" y="67"/>
                  </a:lnTo>
                  <a:lnTo>
                    <a:pt x="237" y="79"/>
                  </a:lnTo>
                  <a:lnTo>
                    <a:pt x="219" y="34"/>
                  </a:lnTo>
                  <a:lnTo>
                    <a:pt x="182" y="0"/>
                  </a:lnTo>
                  <a:lnTo>
                    <a:pt x="156" y="34"/>
                  </a:lnTo>
                  <a:lnTo>
                    <a:pt x="156" y="90"/>
                  </a:lnTo>
                  <a:lnTo>
                    <a:pt x="63" y="67"/>
                  </a:lnTo>
                  <a:lnTo>
                    <a:pt x="0" y="1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20" name="Freeform 508"/>
            <p:cNvSpPr>
              <a:spLocks/>
            </p:cNvSpPr>
            <p:nvPr>
              <p:custDataLst>
                <p:tags r:id="rId414"/>
              </p:custDataLst>
            </p:nvPr>
          </p:nvSpPr>
          <p:spPr bwMode="auto">
            <a:xfrm>
              <a:off x="5593011" y="3857625"/>
              <a:ext cx="173037" cy="220663"/>
            </a:xfrm>
            <a:custGeom>
              <a:avLst/>
              <a:gdLst>
                <a:gd name="T0" fmla="*/ 0 w 118"/>
                <a:gd name="T1" fmla="*/ 2147483647 h 279"/>
                <a:gd name="T2" fmla="*/ 2147483647 w 118"/>
                <a:gd name="T3" fmla="*/ 2147483647 h 279"/>
                <a:gd name="T4" fmla="*/ 2147483647 w 118"/>
                <a:gd name="T5" fmla="*/ 2147483647 h 279"/>
                <a:gd name="T6" fmla="*/ 2147483647 w 118"/>
                <a:gd name="T7" fmla="*/ 2147483647 h 279"/>
                <a:gd name="T8" fmla="*/ 2147483647 w 118"/>
                <a:gd name="T9" fmla="*/ 2147483647 h 279"/>
                <a:gd name="T10" fmla="*/ 2147483647 w 118"/>
                <a:gd name="T11" fmla="*/ 2147483647 h 279"/>
                <a:gd name="T12" fmla="*/ 2147483647 w 118"/>
                <a:gd name="T13" fmla="*/ 2147483647 h 279"/>
                <a:gd name="T14" fmla="*/ 2147483647 w 118"/>
                <a:gd name="T15" fmla="*/ 2147483647 h 279"/>
                <a:gd name="T16" fmla="*/ 2147483647 w 118"/>
                <a:gd name="T17" fmla="*/ 0 h 279"/>
                <a:gd name="T18" fmla="*/ 2147483647 w 118"/>
                <a:gd name="T19" fmla="*/ 0 h 279"/>
                <a:gd name="T20" fmla="*/ 2147483647 w 118"/>
                <a:gd name="T21" fmla="*/ 2147483647 h 279"/>
                <a:gd name="T22" fmla="*/ 2147483647 w 118"/>
                <a:gd name="T23" fmla="*/ 2147483647 h 279"/>
                <a:gd name="T24" fmla="*/ 2147483647 w 118"/>
                <a:gd name="T25" fmla="*/ 2147483647 h 279"/>
                <a:gd name="T26" fmla="*/ 2147483647 w 118"/>
                <a:gd name="T27" fmla="*/ 2147483647 h 279"/>
                <a:gd name="T28" fmla="*/ 0 w 118"/>
                <a:gd name="T29" fmla="*/ 2147483647 h 2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8" h="279">
                  <a:moveTo>
                    <a:pt x="0" y="200"/>
                  </a:moveTo>
                  <a:lnTo>
                    <a:pt x="18" y="279"/>
                  </a:lnTo>
                  <a:lnTo>
                    <a:pt x="43" y="265"/>
                  </a:lnTo>
                  <a:lnTo>
                    <a:pt x="87" y="200"/>
                  </a:lnTo>
                  <a:lnTo>
                    <a:pt x="87" y="166"/>
                  </a:lnTo>
                  <a:lnTo>
                    <a:pt x="118" y="98"/>
                  </a:lnTo>
                  <a:lnTo>
                    <a:pt x="118" y="77"/>
                  </a:lnTo>
                  <a:lnTo>
                    <a:pt x="106" y="45"/>
                  </a:lnTo>
                  <a:lnTo>
                    <a:pt x="68" y="0"/>
                  </a:lnTo>
                  <a:lnTo>
                    <a:pt x="55" y="0"/>
                  </a:lnTo>
                  <a:lnTo>
                    <a:pt x="62" y="33"/>
                  </a:lnTo>
                  <a:lnTo>
                    <a:pt x="50" y="77"/>
                  </a:lnTo>
                  <a:lnTo>
                    <a:pt x="55" y="98"/>
                  </a:lnTo>
                  <a:lnTo>
                    <a:pt x="43" y="166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21" name="Freeform 509"/>
            <p:cNvSpPr>
              <a:spLocks/>
            </p:cNvSpPr>
            <p:nvPr>
              <p:custDataLst>
                <p:tags r:id="rId415"/>
              </p:custDataLst>
            </p:nvPr>
          </p:nvSpPr>
          <p:spPr bwMode="auto">
            <a:xfrm>
              <a:off x="5593011" y="3857625"/>
              <a:ext cx="173037" cy="220663"/>
            </a:xfrm>
            <a:custGeom>
              <a:avLst/>
              <a:gdLst>
                <a:gd name="T0" fmla="*/ 0 w 118"/>
                <a:gd name="T1" fmla="*/ 2147483647 h 279"/>
                <a:gd name="T2" fmla="*/ 2147483647 w 118"/>
                <a:gd name="T3" fmla="*/ 2147483647 h 279"/>
                <a:gd name="T4" fmla="*/ 2147483647 w 118"/>
                <a:gd name="T5" fmla="*/ 2147483647 h 279"/>
                <a:gd name="T6" fmla="*/ 2147483647 w 118"/>
                <a:gd name="T7" fmla="*/ 2147483647 h 279"/>
                <a:gd name="T8" fmla="*/ 2147483647 w 118"/>
                <a:gd name="T9" fmla="*/ 2147483647 h 279"/>
                <a:gd name="T10" fmla="*/ 2147483647 w 118"/>
                <a:gd name="T11" fmla="*/ 2147483647 h 279"/>
                <a:gd name="T12" fmla="*/ 2147483647 w 118"/>
                <a:gd name="T13" fmla="*/ 2147483647 h 279"/>
                <a:gd name="T14" fmla="*/ 2147483647 w 118"/>
                <a:gd name="T15" fmla="*/ 2147483647 h 279"/>
                <a:gd name="T16" fmla="*/ 2147483647 w 118"/>
                <a:gd name="T17" fmla="*/ 0 h 279"/>
                <a:gd name="T18" fmla="*/ 2147483647 w 118"/>
                <a:gd name="T19" fmla="*/ 0 h 279"/>
                <a:gd name="T20" fmla="*/ 2147483647 w 118"/>
                <a:gd name="T21" fmla="*/ 2147483647 h 279"/>
                <a:gd name="T22" fmla="*/ 2147483647 w 118"/>
                <a:gd name="T23" fmla="*/ 2147483647 h 279"/>
                <a:gd name="T24" fmla="*/ 2147483647 w 118"/>
                <a:gd name="T25" fmla="*/ 2147483647 h 279"/>
                <a:gd name="T26" fmla="*/ 2147483647 w 118"/>
                <a:gd name="T27" fmla="*/ 2147483647 h 279"/>
                <a:gd name="T28" fmla="*/ 0 w 118"/>
                <a:gd name="T29" fmla="*/ 2147483647 h 2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8" h="279">
                  <a:moveTo>
                    <a:pt x="0" y="200"/>
                  </a:moveTo>
                  <a:lnTo>
                    <a:pt x="18" y="279"/>
                  </a:lnTo>
                  <a:lnTo>
                    <a:pt x="43" y="265"/>
                  </a:lnTo>
                  <a:lnTo>
                    <a:pt x="87" y="200"/>
                  </a:lnTo>
                  <a:lnTo>
                    <a:pt x="87" y="166"/>
                  </a:lnTo>
                  <a:lnTo>
                    <a:pt x="118" y="98"/>
                  </a:lnTo>
                  <a:lnTo>
                    <a:pt x="118" y="77"/>
                  </a:lnTo>
                  <a:lnTo>
                    <a:pt x="106" y="45"/>
                  </a:lnTo>
                  <a:lnTo>
                    <a:pt x="68" y="0"/>
                  </a:lnTo>
                  <a:lnTo>
                    <a:pt x="55" y="0"/>
                  </a:lnTo>
                  <a:lnTo>
                    <a:pt x="62" y="33"/>
                  </a:lnTo>
                  <a:lnTo>
                    <a:pt x="50" y="77"/>
                  </a:lnTo>
                  <a:lnTo>
                    <a:pt x="55" y="98"/>
                  </a:lnTo>
                  <a:lnTo>
                    <a:pt x="43" y="166"/>
                  </a:lnTo>
                  <a:lnTo>
                    <a:pt x="0" y="20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22" name="Freeform 510"/>
            <p:cNvSpPr>
              <a:spLocks/>
            </p:cNvSpPr>
            <p:nvPr>
              <p:custDataLst>
                <p:tags r:id="rId416"/>
              </p:custDataLst>
            </p:nvPr>
          </p:nvSpPr>
          <p:spPr bwMode="auto">
            <a:xfrm>
              <a:off x="5593011" y="3857625"/>
              <a:ext cx="173037" cy="220663"/>
            </a:xfrm>
            <a:custGeom>
              <a:avLst/>
              <a:gdLst>
                <a:gd name="T0" fmla="*/ 0 w 118"/>
                <a:gd name="T1" fmla="*/ 2147483647 h 279"/>
                <a:gd name="T2" fmla="*/ 2147483647 w 118"/>
                <a:gd name="T3" fmla="*/ 2147483647 h 279"/>
                <a:gd name="T4" fmla="*/ 2147483647 w 118"/>
                <a:gd name="T5" fmla="*/ 2147483647 h 279"/>
                <a:gd name="T6" fmla="*/ 2147483647 w 118"/>
                <a:gd name="T7" fmla="*/ 2147483647 h 279"/>
                <a:gd name="T8" fmla="*/ 2147483647 w 118"/>
                <a:gd name="T9" fmla="*/ 2147483647 h 279"/>
                <a:gd name="T10" fmla="*/ 2147483647 w 118"/>
                <a:gd name="T11" fmla="*/ 2147483647 h 279"/>
                <a:gd name="T12" fmla="*/ 2147483647 w 118"/>
                <a:gd name="T13" fmla="*/ 2147483647 h 279"/>
                <a:gd name="T14" fmla="*/ 2147483647 w 118"/>
                <a:gd name="T15" fmla="*/ 2147483647 h 279"/>
                <a:gd name="T16" fmla="*/ 2147483647 w 118"/>
                <a:gd name="T17" fmla="*/ 0 h 279"/>
                <a:gd name="T18" fmla="*/ 2147483647 w 118"/>
                <a:gd name="T19" fmla="*/ 0 h 279"/>
                <a:gd name="T20" fmla="*/ 2147483647 w 118"/>
                <a:gd name="T21" fmla="*/ 2147483647 h 279"/>
                <a:gd name="T22" fmla="*/ 2147483647 w 118"/>
                <a:gd name="T23" fmla="*/ 2147483647 h 279"/>
                <a:gd name="T24" fmla="*/ 2147483647 w 118"/>
                <a:gd name="T25" fmla="*/ 2147483647 h 279"/>
                <a:gd name="T26" fmla="*/ 2147483647 w 118"/>
                <a:gd name="T27" fmla="*/ 2147483647 h 279"/>
                <a:gd name="T28" fmla="*/ 0 w 118"/>
                <a:gd name="T29" fmla="*/ 2147483647 h 2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8" h="279">
                  <a:moveTo>
                    <a:pt x="0" y="200"/>
                  </a:moveTo>
                  <a:lnTo>
                    <a:pt x="18" y="279"/>
                  </a:lnTo>
                  <a:lnTo>
                    <a:pt x="43" y="265"/>
                  </a:lnTo>
                  <a:lnTo>
                    <a:pt x="87" y="200"/>
                  </a:lnTo>
                  <a:lnTo>
                    <a:pt x="87" y="166"/>
                  </a:lnTo>
                  <a:lnTo>
                    <a:pt x="118" y="98"/>
                  </a:lnTo>
                  <a:lnTo>
                    <a:pt x="118" y="77"/>
                  </a:lnTo>
                  <a:lnTo>
                    <a:pt x="106" y="45"/>
                  </a:lnTo>
                  <a:lnTo>
                    <a:pt x="68" y="0"/>
                  </a:lnTo>
                  <a:lnTo>
                    <a:pt x="55" y="0"/>
                  </a:lnTo>
                  <a:lnTo>
                    <a:pt x="62" y="33"/>
                  </a:lnTo>
                  <a:lnTo>
                    <a:pt x="50" y="77"/>
                  </a:lnTo>
                  <a:lnTo>
                    <a:pt x="55" y="98"/>
                  </a:lnTo>
                  <a:lnTo>
                    <a:pt x="43" y="166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23" name="Freeform 511"/>
            <p:cNvSpPr>
              <a:spLocks/>
            </p:cNvSpPr>
            <p:nvPr>
              <p:custDataLst>
                <p:tags r:id="rId417"/>
              </p:custDataLst>
            </p:nvPr>
          </p:nvSpPr>
          <p:spPr bwMode="auto">
            <a:xfrm>
              <a:off x="5593011" y="3857625"/>
              <a:ext cx="173037" cy="220663"/>
            </a:xfrm>
            <a:custGeom>
              <a:avLst/>
              <a:gdLst>
                <a:gd name="T0" fmla="*/ 0 w 118"/>
                <a:gd name="T1" fmla="*/ 2147483647 h 279"/>
                <a:gd name="T2" fmla="*/ 2147483647 w 118"/>
                <a:gd name="T3" fmla="*/ 2147483647 h 279"/>
                <a:gd name="T4" fmla="*/ 2147483647 w 118"/>
                <a:gd name="T5" fmla="*/ 2147483647 h 279"/>
                <a:gd name="T6" fmla="*/ 2147483647 w 118"/>
                <a:gd name="T7" fmla="*/ 2147483647 h 279"/>
                <a:gd name="T8" fmla="*/ 2147483647 w 118"/>
                <a:gd name="T9" fmla="*/ 2147483647 h 279"/>
                <a:gd name="T10" fmla="*/ 2147483647 w 118"/>
                <a:gd name="T11" fmla="*/ 2147483647 h 279"/>
                <a:gd name="T12" fmla="*/ 2147483647 w 118"/>
                <a:gd name="T13" fmla="*/ 2147483647 h 279"/>
                <a:gd name="T14" fmla="*/ 2147483647 w 118"/>
                <a:gd name="T15" fmla="*/ 2147483647 h 279"/>
                <a:gd name="T16" fmla="*/ 2147483647 w 118"/>
                <a:gd name="T17" fmla="*/ 0 h 279"/>
                <a:gd name="T18" fmla="*/ 2147483647 w 118"/>
                <a:gd name="T19" fmla="*/ 0 h 279"/>
                <a:gd name="T20" fmla="*/ 2147483647 w 118"/>
                <a:gd name="T21" fmla="*/ 2147483647 h 279"/>
                <a:gd name="T22" fmla="*/ 2147483647 w 118"/>
                <a:gd name="T23" fmla="*/ 2147483647 h 279"/>
                <a:gd name="T24" fmla="*/ 2147483647 w 118"/>
                <a:gd name="T25" fmla="*/ 2147483647 h 279"/>
                <a:gd name="T26" fmla="*/ 2147483647 w 118"/>
                <a:gd name="T27" fmla="*/ 2147483647 h 279"/>
                <a:gd name="T28" fmla="*/ 0 w 118"/>
                <a:gd name="T29" fmla="*/ 2147483647 h 2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8" h="279">
                  <a:moveTo>
                    <a:pt x="0" y="200"/>
                  </a:moveTo>
                  <a:lnTo>
                    <a:pt x="18" y="279"/>
                  </a:lnTo>
                  <a:lnTo>
                    <a:pt x="43" y="265"/>
                  </a:lnTo>
                  <a:lnTo>
                    <a:pt x="87" y="200"/>
                  </a:lnTo>
                  <a:lnTo>
                    <a:pt x="87" y="166"/>
                  </a:lnTo>
                  <a:lnTo>
                    <a:pt x="118" y="98"/>
                  </a:lnTo>
                  <a:lnTo>
                    <a:pt x="118" y="77"/>
                  </a:lnTo>
                  <a:lnTo>
                    <a:pt x="106" y="45"/>
                  </a:lnTo>
                  <a:lnTo>
                    <a:pt x="68" y="0"/>
                  </a:lnTo>
                  <a:lnTo>
                    <a:pt x="55" y="0"/>
                  </a:lnTo>
                  <a:lnTo>
                    <a:pt x="62" y="33"/>
                  </a:lnTo>
                  <a:lnTo>
                    <a:pt x="50" y="77"/>
                  </a:lnTo>
                  <a:lnTo>
                    <a:pt x="55" y="98"/>
                  </a:lnTo>
                  <a:lnTo>
                    <a:pt x="43" y="166"/>
                  </a:lnTo>
                  <a:lnTo>
                    <a:pt x="0" y="20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24" name="Freeform 512"/>
            <p:cNvSpPr>
              <a:spLocks/>
            </p:cNvSpPr>
            <p:nvPr>
              <p:custDataLst>
                <p:tags r:id="rId418"/>
              </p:custDataLst>
            </p:nvPr>
          </p:nvSpPr>
          <p:spPr bwMode="auto">
            <a:xfrm>
              <a:off x="6234361" y="3714750"/>
              <a:ext cx="184150" cy="106363"/>
            </a:xfrm>
            <a:custGeom>
              <a:avLst/>
              <a:gdLst>
                <a:gd name="T0" fmla="*/ 0 w 126"/>
                <a:gd name="T1" fmla="*/ 2147483647 h 132"/>
                <a:gd name="T2" fmla="*/ 2147483647 w 126"/>
                <a:gd name="T3" fmla="*/ 0 h 132"/>
                <a:gd name="T4" fmla="*/ 2147483647 w 126"/>
                <a:gd name="T5" fmla="*/ 2147483647 h 132"/>
                <a:gd name="T6" fmla="*/ 2147483647 w 126"/>
                <a:gd name="T7" fmla="*/ 2147483647 h 132"/>
                <a:gd name="T8" fmla="*/ 2147483647 w 126"/>
                <a:gd name="T9" fmla="*/ 2147483647 h 132"/>
                <a:gd name="T10" fmla="*/ 2147483647 w 126"/>
                <a:gd name="T11" fmla="*/ 2147483647 h 132"/>
                <a:gd name="T12" fmla="*/ 2147483647 w 126"/>
                <a:gd name="T13" fmla="*/ 2147483647 h 132"/>
                <a:gd name="T14" fmla="*/ 0 w 126"/>
                <a:gd name="T15" fmla="*/ 2147483647 h 1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6" h="132">
                  <a:moveTo>
                    <a:pt x="0" y="44"/>
                  </a:moveTo>
                  <a:lnTo>
                    <a:pt x="19" y="0"/>
                  </a:lnTo>
                  <a:lnTo>
                    <a:pt x="63" y="32"/>
                  </a:lnTo>
                  <a:lnTo>
                    <a:pt x="88" y="77"/>
                  </a:lnTo>
                  <a:lnTo>
                    <a:pt x="126" y="77"/>
                  </a:lnTo>
                  <a:lnTo>
                    <a:pt x="119" y="132"/>
                  </a:lnTo>
                  <a:lnTo>
                    <a:pt x="44" y="98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25" name="Freeform 513"/>
            <p:cNvSpPr>
              <a:spLocks/>
            </p:cNvSpPr>
            <p:nvPr>
              <p:custDataLst>
                <p:tags r:id="rId419"/>
              </p:custDataLst>
            </p:nvPr>
          </p:nvSpPr>
          <p:spPr bwMode="auto">
            <a:xfrm>
              <a:off x="6234361" y="3714750"/>
              <a:ext cx="184150" cy="106363"/>
            </a:xfrm>
            <a:custGeom>
              <a:avLst/>
              <a:gdLst>
                <a:gd name="T0" fmla="*/ 0 w 126"/>
                <a:gd name="T1" fmla="*/ 2147483647 h 132"/>
                <a:gd name="T2" fmla="*/ 2147483647 w 126"/>
                <a:gd name="T3" fmla="*/ 0 h 132"/>
                <a:gd name="T4" fmla="*/ 2147483647 w 126"/>
                <a:gd name="T5" fmla="*/ 2147483647 h 132"/>
                <a:gd name="T6" fmla="*/ 2147483647 w 126"/>
                <a:gd name="T7" fmla="*/ 2147483647 h 132"/>
                <a:gd name="T8" fmla="*/ 2147483647 w 126"/>
                <a:gd name="T9" fmla="*/ 2147483647 h 132"/>
                <a:gd name="T10" fmla="*/ 2147483647 w 126"/>
                <a:gd name="T11" fmla="*/ 2147483647 h 132"/>
                <a:gd name="T12" fmla="*/ 2147483647 w 126"/>
                <a:gd name="T13" fmla="*/ 2147483647 h 132"/>
                <a:gd name="T14" fmla="*/ 0 w 126"/>
                <a:gd name="T15" fmla="*/ 2147483647 h 1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6" h="132">
                  <a:moveTo>
                    <a:pt x="0" y="44"/>
                  </a:moveTo>
                  <a:lnTo>
                    <a:pt x="19" y="0"/>
                  </a:lnTo>
                  <a:lnTo>
                    <a:pt x="63" y="32"/>
                  </a:lnTo>
                  <a:lnTo>
                    <a:pt x="88" y="77"/>
                  </a:lnTo>
                  <a:lnTo>
                    <a:pt x="126" y="77"/>
                  </a:lnTo>
                  <a:lnTo>
                    <a:pt x="119" y="132"/>
                  </a:lnTo>
                  <a:lnTo>
                    <a:pt x="44" y="98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26" name="Freeform 514"/>
            <p:cNvSpPr>
              <a:spLocks/>
            </p:cNvSpPr>
            <p:nvPr>
              <p:custDataLst>
                <p:tags r:id="rId420"/>
              </p:custDataLst>
            </p:nvPr>
          </p:nvSpPr>
          <p:spPr bwMode="auto">
            <a:xfrm>
              <a:off x="6234361" y="3714750"/>
              <a:ext cx="184150" cy="106363"/>
            </a:xfrm>
            <a:custGeom>
              <a:avLst/>
              <a:gdLst>
                <a:gd name="T0" fmla="*/ 0 w 126"/>
                <a:gd name="T1" fmla="*/ 2147483647 h 132"/>
                <a:gd name="T2" fmla="*/ 2147483647 w 126"/>
                <a:gd name="T3" fmla="*/ 0 h 132"/>
                <a:gd name="T4" fmla="*/ 2147483647 w 126"/>
                <a:gd name="T5" fmla="*/ 2147483647 h 132"/>
                <a:gd name="T6" fmla="*/ 2147483647 w 126"/>
                <a:gd name="T7" fmla="*/ 2147483647 h 132"/>
                <a:gd name="T8" fmla="*/ 2147483647 w 126"/>
                <a:gd name="T9" fmla="*/ 2147483647 h 132"/>
                <a:gd name="T10" fmla="*/ 2147483647 w 126"/>
                <a:gd name="T11" fmla="*/ 2147483647 h 132"/>
                <a:gd name="T12" fmla="*/ 2147483647 w 126"/>
                <a:gd name="T13" fmla="*/ 2147483647 h 132"/>
                <a:gd name="T14" fmla="*/ 0 w 126"/>
                <a:gd name="T15" fmla="*/ 2147483647 h 1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6" h="132">
                  <a:moveTo>
                    <a:pt x="0" y="44"/>
                  </a:moveTo>
                  <a:lnTo>
                    <a:pt x="19" y="0"/>
                  </a:lnTo>
                  <a:lnTo>
                    <a:pt x="63" y="32"/>
                  </a:lnTo>
                  <a:lnTo>
                    <a:pt x="88" y="77"/>
                  </a:lnTo>
                  <a:lnTo>
                    <a:pt x="126" y="77"/>
                  </a:lnTo>
                  <a:lnTo>
                    <a:pt x="119" y="132"/>
                  </a:lnTo>
                  <a:lnTo>
                    <a:pt x="44" y="98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27" name="Freeform 515"/>
            <p:cNvSpPr>
              <a:spLocks/>
            </p:cNvSpPr>
            <p:nvPr>
              <p:custDataLst>
                <p:tags r:id="rId421"/>
              </p:custDataLst>
            </p:nvPr>
          </p:nvSpPr>
          <p:spPr bwMode="auto">
            <a:xfrm>
              <a:off x="6234361" y="3714750"/>
              <a:ext cx="184150" cy="106363"/>
            </a:xfrm>
            <a:custGeom>
              <a:avLst/>
              <a:gdLst>
                <a:gd name="T0" fmla="*/ 0 w 126"/>
                <a:gd name="T1" fmla="*/ 2147483647 h 132"/>
                <a:gd name="T2" fmla="*/ 2147483647 w 126"/>
                <a:gd name="T3" fmla="*/ 0 h 132"/>
                <a:gd name="T4" fmla="*/ 2147483647 w 126"/>
                <a:gd name="T5" fmla="*/ 2147483647 h 132"/>
                <a:gd name="T6" fmla="*/ 2147483647 w 126"/>
                <a:gd name="T7" fmla="*/ 2147483647 h 132"/>
                <a:gd name="T8" fmla="*/ 2147483647 w 126"/>
                <a:gd name="T9" fmla="*/ 2147483647 h 132"/>
                <a:gd name="T10" fmla="*/ 2147483647 w 126"/>
                <a:gd name="T11" fmla="*/ 2147483647 h 132"/>
                <a:gd name="T12" fmla="*/ 2147483647 w 126"/>
                <a:gd name="T13" fmla="*/ 2147483647 h 132"/>
                <a:gd name="T14" fmla="*/ 0 w 126"/>
                <a:gd name="T15" fmla="*/ 2147483647 h 1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6" h="132">
                  <a:moveTo>
                    <a:pt x="0" y="44"/>
                  </a:moveTo>
                  <a:lnTo>
                    <a:pt x="19" y="0"/>
                  </a:lnTo>
                  <a:lnTo>
                    <a:pt x="63" y="32"/>
                  </a:lnTo>
                  <a:lnTo>
                    <a:pt x="88" y="77"/>
                  </a:lnTo>
                  <a:lnTo>
                    <a:pt x="126" y="77"/>
                  </a:lnTo>
                  <a:lnTo>
                    <a:pt x="119" y="132"/>
                  </a:lnTo>
                  <a:lnTo>
                    <a:pt x="44" y="98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28" name="Freeform 516"/>
            <p:cNvSpPr>
              <a:spLocks/>
            </p:cNvSpPr>
            <p:nvPr>
              <p:custDataLst>
                <p:tags r:id="rId422"/>
              </p:custDataLst>
            </p:nvPr>
          </p:nvSpPr>
          <p:spPr bwMode="auto">
            <a:xfrm>
              <a:off x="4492873" y="3006725"/>
              <a:ext cx="73025" cy="88900"/>
            </a:xfrm>
            <a:custGeom>
              <a:avLst/>
              <a:gdLst>
                <a:gd name="T0" fmla="*/ 0 w 50"/>
                <a:gd name="T1" fmla="*/ 2147483647 h 113"/>
                <a:gd name="T2" fmla="*/ 2147483647 w 50"/>
                <a:gd name="T3" fmla="*/ 2147483647 h 113"/>
                <a:gd name="T4" fmla="*/ 2147483647 w 50"/>
                <a:gd name="T5" fmla="*/ 2147483647 h 113"/>
                <a:gd name="T6" fmla="*/ 2147483647 w 50"/>
                <a:gd name="T7" fmla="*/ 2147483647 h 113"/>
                <a:gd name="T8" fmla="*/ 2147483647 w 50"/>
                <a:gd name="T9" fmla="*/ 2147483647 h 113"/>
                <a:gd name="T10" fmla="*/ 2147483647 w 50"/>
                <a:gd name="T11" fmla="*/ 0 h 113"/>
                <a:gd name="T12" fmla="*/ 2147483647 w 50"/>
                <a:gd name="T13" fmla="*/ 0 h 113"/>
                <a:gd name="T14" fmla="*/ 2147483647 w 50"/>
                <a:gd name="T15" fmla="*/ 2147483647 h 113"/>
                <a:gd name="T16" fmla="*/ 2147483647 w 50"/>
                <a:gd name="T17" fmla="*/ 2147483647 h 113"/>
                <a:gd name="T18" fmla="*/ 2147483647 w 50"/>
                <a:gd name="T19" fmla="*/ 2147483647 h 113"/>
                <a:gd name="T20" fmla="*/ 2147483647 w 50"/>
                <a:gd name="T21" fmla="*/ 2147483647 h 113"/>
                <a:gd name="T22" fmla="*/ 0 w 50"/>
                <a:gd name="T23" fmla="*/ 2147483647 h 1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0" h="113">
                  <a:moveTo>
                    <a:pt x="0" y="78"/>
                  </a:moveTo>
                  <a:lnTo>
                    <a:pt x="19" y="69"/>
                  </a:lnTo>
                  <a:lnTo>
                    <a:pt x="6" y="57"/>
                  </a:lnTo>
                  <a:lnTo>
                    <a:pt x="19" y="23"/>
                  </a:lnTo>
                  <a:lnTo>
                    <a:pt x="25" y="44"/>
                  </a:lnTo>
                  <a:lnTo>
                    <a:pt x="25" y="0"/>
                  </a:lnTo>
                  <a:lnTo>
                    <a:pt x="50" y="0"/>
                  </a:lnTo>
                  <a:lnTo>
                    <a:pt x="50" y="44"/>
                  </a:lnTo>
                  <a:lnTo>
                    <a:pt x="31" y="57"/>
                  </a:lnTo>
                  <a:lnTo>
                    <a:pt x="38" y="113"/>
                  </a:lnTo>
                  <a:lnTo>
                    <a:pt x="19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29" name="Freeform 517"/>
            <p:cNvSpPr>
              <a:spLocks/>
            </p:cNvSpPr>
            <p:nvPr>
              <p:custDataLst>
                <p:tags r:id="rId423"/>
              </p:custDataLst>
            </p:nvPr>
          </p:nvSpPr>
          <p:spPr bwMode="auto">
            <a:xfrm>
              <a:off x="4492873" y="3006725"/>
              <a:ext cx="73025" cy="88900"/>
            </a:xfrm>
            <a:custGeom>
              <a:avLst/>
              <a:gdLst>
                <a:gd name="T0" fmla="*/ 0 w 50"/>
                <a:gd name="T1" fmla="*/ 2147483647 h 113"/>
                <a:gd name="T2" fmla="*/ 2147483647 w 50"/>
                <a:gd name="T3" fmla="*/ 2147483647 h 113"/>
                <a:gd name="T4" fmla="*/ 2147483647 w 50"/>
                <a:gd name="T5" fmla="*/ 2147483647 h 113"/>
                <a:gd name="T6" fmla="*/ 2147483647 w 50"/>
                <a:gd name="T7" fmla="*/ 2147483647 h 113"/>
                <a:gd name="T8" fmla="*/ 2147483647 w 50"/>
                <a:gd name="T9" fmla="*/ 2147483647 h 113"/>
                <a:gd name="T10" fmla="*/ 2147483647 w 50"/>
                <a:gd name="T11" fmla="*/ 0 h 113"/>
                <a:gd name="T12" fmla="*/ 2147483647 w 50"/>
                <a:gd name="T13" fmla="*/ 0 h 113"/>
                <a:gd name="T14" fmla="*/ 2147483647 w 50"/>
                <a:gd name="T15" fmla="*/ 2147483647 h 113"/>
                <a:gd name="T16" fmla="*/ 2147483647 w 50"/>
                <a:gd name="T17" fmla="*/ 2147483647 h 113"/>
                <a:gd name="T18" fmla="*/ 2147483647 w 50"/>
                <a:gd name="T19" fmla="*/ 2147483647 h 113"/>
                <a:gd name="T20" fmla="*/ 2147483647 w 50"/>
                <a:gd name="T21" fmla="*/ 2147483647 h 113"/>
                <a:gd name="T22" fmla="*/ 0 w 50"/>
                <a:gd name="T23" fmla="*/ 2147483647 h 1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0" h="113">
                  <a:moveTo>
                    <a:pt x="0" y="78"/>
                  </a:moveTo>
                  <a:lnTo>
                    <a:pt x="19" y="69"/>
                  </a:lnTo>
                  <a:lnTo>
                    <a:pt x="6" y="57"/>
                  </a:lnTo>
                  <a:lnTo>
                    <a:pt x="19" y="23"/>
                  </a:lnTo>
                  <a:lnTo>
                    <a:pt x="25" y="44"/>
                  </a:lnTo>
                  <a:lnTo>
                    <a:pt x="25" y="0"/>
                  </a:lnTo>
                  <a:lnTo>
                    <a:pt x="50" y="0"/>
                  </a:lnTo>
                  <a:lnTo>
                    <a:pt x="50" y="44"/>
                  </a:lnTo>
                  <a:lnTo>
                    <a:pt x="31" y="57"/>
                  </a:lnTo>
                  <a:lnTo>
                    <a:pt x="38" y="113"/>
                  </a:lnTo>
                  <a:lnTo>
                    <a:pt x="19" y="78"/>
                  </a:lnTo>
                  <a:lnTo>
                    <a:pt x="0" y="78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30" name="Freeform 518"/>
            <p:cNvSpPr>
              <a:spLocks/>
            </p:cNvSpPr>
            <p:nvPr>
              <p:custDataLst>
                <p:tags r:id="rId424"/>
              </p:custDataLst>
            </p:nvPr>
          </p:nvSpPr>
          <p:spPr bwMode="auto">
            <a:xfrm>
              <a:off x="8206036" y="5589588"/>
              <a:ext cx="173037" cy="184150"/>
            </a:xfrm>
            <a:custGeom>
              <a:avLst/>
              <a:gdLst>
                <a:gd name="T0" fmla="*/ 0 w 118"/>
                <a:gd name="T1" fmla="*/ 2147483647 h 233"/>
                <a:gd name="T2" fmla="*/ 2147483647 w 118"/>
                <a:gd name="T3" fmla="*/ 2147483647 h 233"/>
                <a:gd name="T4" fmla="*/ 2147483647 w 118"/>
                <a:gd name="T5" fmla="*/ 2147483647 h 233"/>
                <a:gd name="T6" fmla="*/ 2147483647 w 118"/>
                <a:gd name="T7" fmla="*/ 0 h 233"/>
                <a:gd name="T8" fmla="*/ 2147483647 w 118"/>
                <a:gd name="T9" fmla="*/ 2147483647 h 233"/>
                <a:gd name="T10" fmla="*/ 2147483647 w 118"/>
                <a:gd name="T11" fmla="*/ 2147483647 h 233"/>
                <a:gd name="T12" fmla="*/ 2147483647 w 118"/>
                <a:gd name="T13" fmla="*/ 2147483647 h 233"/>
                <a:gd name="T14" fmla="*/ 2147483647 w 118"/>
                <a:gd name="T15" fmla="*/ 2147483647 h 233"/>
                <a:gd name="T16" fmla="*/ 2147483647 w 118"/>
                <a:gd name="T17" fmla="*/ 2147483647 h 233"/>
                <a:gd name="T18" fmla="*/ 2147483647 w 118"/>
                <a:gd name="T19" fmla="*/ 2147483647 h 233"/>
                <a:gd name="T20" fmla="*/ 2147483647 w 118"/>
                <a:gd name="T21" fmla="*/ 2147483647 h 233"/>
                <a:gd name="T22" fmla="*/ 2147483647 w 118"/>
                <a:gd name="T23" fmla="*/ 2147483647 h 233"/>
                <a:gd name="T24" fmla="*/ 0 w 118"/>
                <a:gd name="T25" fmla="*/ 2147483647 h 23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8" h="233">
                  <a:moveTo>
                    <a:pt x="0" y="200"/>
                  </a:moveTo>
                  <a:lnTo>
                    <a:pt x="24" y="133"/>
                  </a:lnTo>
                  <a:lnTo>
                    <a:pt x="68" y="79"/>
                  </a:lnTo>
                  <a:lnTo>
                    <a:pt x="93" y="0"/>
                  </a:lnTo>
                  <a:lnTo>
                    <a:pt x="105" y="21"/>
                  </a:lnTo>
                  <a:lnTo>
                    <a:pt x="118" y="12"/>
                  </a:lnTo>
                  <a:lnTo>
                    <a:pt x="118" y="44"/>
                  </a:lnTo>
                  <a:lnTo>
                    <a:pt x="93" y="100"/>
                  </a:lnTo>
                  <a:lnTo>
                    <a:pt x="105" y="123"/>
                  </a:lnTo>
                  <a:lnTo>
                    <a:pt x="74" y="133"/>
                  </a:lnTo>
                  <a:lnTo>
                    <a:pt x="63" y="211"/>
                  </a:lnTo>
                  <a:lnTo>
                    <a:pt x="37" y="233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31" name="Group 519"/>
            <p:cNvGrpSpPr>
              <a:grpSpLocks/>
            </p:cNvGrpSpPr>
            <p:nvPr>
              <p:custDataLst>
                <p:tags r:id="rId425"/>
              </p:custDataLst>
            </p:nvPr>
          </p:nvGrpSpPr>
          <p:grpSpPr bwMode="auto">
            <a:xfrm>
              <a:off x="8206036" y="5589588"/>
              <a:ext cx="173037" cy="184150"/>
              <a:chOff x="5535" y="3339"/>
              <a:chExt cx="118" cy="116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43" name="Freeform 520"/>
              <p:cNvSpPr>
                <a:spLocks/>
              </p:cNvSpPr>
              <p:nvPr/>
            </p:nvSpPr>
            <p:spPr bwMode="auto">
              <a:xfrm>
                <a:off x="5535" y="3339"/>
                <a:ext cx="118" cy="116"/>
              </a:xfrm>
              <a:custGeom>
                <a:avLst/>
                <a:gdLst>
                  <a:gd name="T0" fmla="*/ 0 w 118"/>
                  <a:gd name="T1" fmla="*/ 0 h 233"/>
                  <a:gd name="T2" fmla="*/ 24 w 118"/>
                  <a:gd name="T3" fmla="*/ 0 h 233"/>
                  <a:gd name="T4" fmla="*/ 68 w 118"/>
                  <a:gd name="T5" fmla="*/ 0 h 233"/>
                  <a:gd name="T6" fmla="*/ 93 w 118"/>
                  <a:gd name="T7" fmla="*/ 0 h 233"/>
                  <a:gd name="T8" fmla="*/ 105 w 118"/>
                  <a:gd name="T9" fmla="*/ 0 h 233"/>
                  <a:gd name="T10" fmla="*/ 118 w 118"/>
                  <a:gd name="T11" fmla="*/ 0 h 233"/>
                  <a:gd name="T12" fmla="*/ 118 w 118"/>
                  <a:gd name="T13" fmla="*/ 0 h 233"/>
                  <a:gd name="T14" fmla="*/ 93 w 118"/>
                  <a:gd name="T15" fmla="*/ 0 h 233"/>
                  <a:gd name="T16" fmla="*/ 105 w 118"/>
                  <a:gd name="T17" fmla="*/ 0 h 233"/>
                  <a:gd name="T18" fmla="*/ 74 w 118"/>
                  <a:gd name="T19" fmla="*/ 0 h 233"/>
                  <a:gd name="T20" fmla="*/ 63 w 118"/>
                  <a:gd name="T21" fmla="*/ 0 h 233"/>
                  <a:gd name="T22" fmla="*/ 37 w 118"/>
                  <a:gd name="T23" fmla="*/ 0 h 233"/>
                  <a:gd name="T24" fmla="*/ 0 w 118"/>
                  <a:gd name="T25" fmla="*/ 0 h 23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8" h="233">
                    <a:moveTo>
                      <a:pt x="0" y="200"/>
                    </a:moveTo>
                    <a:lnTo>
                      <a:pt x="24" y="133"/>
                    </a:lnTo>
                    <a:lnTo>
                      <a:pt x="68" y="79"/>
                    </a:lnTo>
                    <a:lnTo>
                      <a:pt x="93" y="0"/>
                    </a:lnTo>
                    <a:lnTo>
                      <a:pt x="105" y="21"/>
                    </a:lnTo>
                    <a:lnTo>
                      <a:pt x="118" y="12"/>
                    </a:lnTo>
                    <a:lnTo>
                      <a:pt x="118" y="44"/>
                    </a:lnTo>
                    <a:lnTo>
                      <a:pt x="93" y="100"/>
                    </a:lnTo>
                    <a:lnTo>
                      <a:pt x="105" y="123"/>
                    </a:lnTo>
                    <a:lnTo>
                      <a:pt x="74" y="133"/>
                    </a:lnTo>
                    <a:lnTo>
                      <a:pt x="63" y="211"/>
                    </a:lnTo>
                    <a:lnTo>
                      <a:pt x="37" y="233"/>
                    </a:lnTo>
                    <a:lnTo>
                      <a:pt x="0" y="200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44" name="Freeform 521"/>
              <p:cNvSpPr>
                <a:spLocks/>
              </p:cNvSpPr>
              <p:nvPr/>
            </p:nvSpPr>
            <p:spPr bwMode="auto">
              <a:xfrm>
                <a:off x="5535" y="3339"/>
                <a:ext cx="118" cy="116"/>
              </a:xfrm>
              <a:custGeom>
                <a:avLst/>
                <a:gdLst>
                  <a:gd name="T0" fmla="*/ 0 w 118"/>
                  <a:gd name="T1" fmla="*/ 0 h 233"/>
                  <a:gd name="T2" fmla="*/ 24 w 118"/>
                  <a:gd name="T3" fmla="*/ 0 h 233"/>
                  <a:gd name="T4" fmla="*/ 68 w 118"/>
                  <a:gd name="T5" fmla="*/ 0 h 233"/>
                  <a:gd name="T6" fmla="*/ 93 w 118"/>
                  <a:gd name="T7" fmla="*/ 0 h 233"/>
                  <a:gd name="T8" fmla="*/ 105 w 118"/>
                  <a:gd name="T9" fmla="*/ 0 h 233"/>
                  <a:gd name="T10" fmla="*/ 118 w 118"/>
                  <a:gd name="T11" fmla="*/ 0 h 233"/>
                  <a:gd name="T12" fmla="*/ 118 w 118"/>
                  <a:gd name="T13" fmla="*/ 0 h 233"/>
                  <a:gd name="T14" fmla="*/ 93 w 118"/>
                  <a:gd name="T15" fmla="*/ 0 h 233"/>
                  <a:gd name="T16" fmla="*/ 105 w 118"/>
                  <a:gd name="T17" fmla="*/ 0 h 233"/>
                  <a:gd name="T18" fmla="*/ 74 w 118"/>
                  <a:gd name="T19" fmla="*/ 0 h 233"/>
                  <a:gd name="T20" fmla="*/ 63 w 118"/>
                  <a:gd name="T21" fmla="*/ 0 h 233"/>
                  <a:gd name="T22" fmla="*/ 37 w 118"/>
                  <a:gd name="T23" fmla="*/ 0 h 233"/>
                  <a:gd name="T24" fmla="*/ 0 w 118"/>
                  <a:gd name="T25" fmla="*/ 0 h 23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8" h="233">
                    <a:moveTo>
                      <a:pt x="0" y="200"/>
                    </a:moveTo>
                    <a:lnTo>
                      <a:pt x="24" y="133"/>
                    </a:lnTo>
                    <a:lnTo>
                      <a:pt x="68" y="79"/>
                    </a:lnTo>
                    <a:lnTo>
                      <a:pt x="93" y="0"/>
                    </a:lnTo>
                    <a:lnTo>
                      <a:pt x="105" y="21"/>
                    </a:lnTo>
                    <a:lnTo>
                      <a:pt x="118" y="12"/>
                    </a:lnTo>
                    <a:lnTo>
                      <a:pt x="118" y="44"/>
                    </a:lnTo>
                    <a:lnTo>
                      <a:pt x="93" y="100"/>
                    </a:lnTo>
                    <a:lnTo>
                      <a:pt x="105" y="123"/>
                    </a:lnTo>
                    <a:lnTo>
                      <a:pt x="74" y="133"/>
                    </a:lnTo>
                    <a:lnTo>
                      <a:pt x="63" y="211"/>
                    </a:lnTo>
                    <a:lnTo>
                      <a:pt x="37" y="233"/>
                    </a:lnTo>
                    <a:lnTo>
                      <a:pt x="0" y="200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32" name="Freeform 522"/>
            <p:cNvSpPr>
              <a:spLocks/>
            </p:cNvSpPr>
            <p:nvPr>
              <p:custDataLst>
                <p:tags r:id="rId426"/>
              </p:custDataLst>
            </p:nvPr>
          </p:nvSpPr>
          <p:spPr bwMode="auto">
            <a:xfrm>
              <a:off x="8206036" y="5589588"/>
              <a:ext cx="173037" cy="184150"/>
            </a:xfrm>
            <a:custGeom>
              <a:avLst/>
              <a:gdLst>
                <a:gd name="T0" fmla="*/ 0 w 118"/>
                <a:gd name="T1" fmla="*/ 2147483647 h 233"/>
                <a:gd name="T2" fmla="*/ 2147483647 w 118"/>
                <a:gd name="T3" fmla="*/ 2147483647 h 233"/>
                <a:gd name="T4" fmla="*/ 2147483647 w 118"/>
                <a:gd name="T5" fmla="*/ 2147483647 h 233"/>
                <a:gd name="T6" fmla="*/ 2147483647 w 118"/>
                <a:gd name="T7" fmla="*/ 0 h 233"/>
                <a:gd name="T8" fmla="*/ 2147483647 w 118"/>
                <a:gd name="T9" fmla="*/ 2147483647 h 233"/>
                <a:gd name="T10" fmla="*/ 2147483647 w 118"/>
                <a:gd name="T11" fmla="*/ 2147483647 h 233"/>
                <a:gd name="T12" fmla="*/ 2147483647 w 118"/>
                <a:gd name="T13" fmla="*/ 2147483647 h 233"/>
                <a:gd name="T14" fmla="*/ 2147483647 w 118"/>
                <a:gd name="T15" fmla="*/ 2147483647 h 233"/>
                <a:gd name="T16" fmla="*/ 2147483647 w 118"/>
                <a:gd name="T17" fmla="*/ 2147483647 h 233"/>
                <a:gd name="T18" fmla="*/ 2147483647 w 118"/>
                <a:gd name="T19" fmla="*/ 2147483647 h 233"/>
                <a:gd name="T20" fmla="*/ 2147483647 w 118"/>
                <a:gd name="T21" fmla="*/ 2147483647 h 233"/>
                <a:gd name="T22" fmla="*/ 2147483647 w 118"/>
                <a:gd name="T23" fmla="*/ 2147483647 h 233"/>
                <a:gd name="T24" fmla="*/ 0 w 118"/>
                <a:gd name="T25" fmla="*/ 2147483647 h 23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8" h="233">
                  <a:moveTo>
                    <a:pt x="0" y="200"/>
                  </a:moveTo>
                  <a:lnTo>
                    <a:pt x="24" y="133"/>
                  </a:lnTo>
                  <a:lnTo>
                    <a:pt x="68" y="79"/>
                  </a:lnTo>
                  <a:lnTo>
                    <a:pt x="93" y="0"/>
                  </a:lnTo>
                  <a:lnTo>
                    <a:pt x="105" y="21"/>
                  </a:lnTo>
                  <a:lnTo>
                    <a:pt x="118" y="12"/>
                  </a:lnTo>
                  <a:lnTo>
                    <a:pt x="118" y="44"/>
                  </a:lnTo>
                  <a:lnTo>
                    <a:pt x="93" y="100"/>
                  </a:lnTo>
                  <a:lnTo>
                    <a:pt x="105" y="123"/>
                  </a:lnTo>
                  <a:lnTo>
                    <a:pt x="74" y="133"/>
                  </a:lnTo>
                  <a:lnTo>
                    <a:pt x="63" y="211"/>
                  </a:lnTo>
                  <a:lnTo>
                    <a:pt x="37" y="233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33" name="Group 523"/>
            <p:cNvGrpSpPr>
              <a:grpSpLocks/>
            </p:cNvGrpSpPr>
            <p:nvPr>
              <p:custDataLst>
                <p:tags r:id="rId427"/>
              </p:custDataLst>
            </p:nvPr>
          </p:nvGrpSpPr>
          <p:grpSpPr bwMode="auto">
            <a:xfrm>
              <a:off x="8206036" y="5589588"/>
              <a:ext cx="173037" cy="184150"/>
              <a:chOff x="5535" y="3339"/>
              <a:chExt cx="118" cy="116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41" name="Freeform 524"/>
              <p:cNvSpPr>
                <a:spLocks/>
              </p:cNvSpPr>
              <p:nvPr/>
            </p:nvSpPr>
            <p:spPr bwMode="auto">
              <a:xfrm>
                <a:off x="5535" y="3339"/>
                <a:ext cx="118" cy="116"/>
              </a:xfrm>
              <a:custGeom>
                <a:avLst/>
                <a:gdLst>
                  <a:gd name="T0" fmla="*/ 0 w 118"/>
                  <a:gd name="T1" fmla="*/ 0 h 233"/>
                  <a:gd name="T2" fmla="*/ 24 w 118"/>
                  <a:gd name="T3" fmla="*/ 0 h 233"/>
                  <a:gd name="T4" fmla="*/ 68 w 118"/>
                  <a:gd name="T5" fmla="*/ 0 h 233"/>
                  <a:gd name="T6" fmla="*/ 93 w 118"/>
                  <a:gd name="T7" fmla="*/ 0 h 233"/>
                  <a:gd name="T8" fmla="*/ 105 w 118"/>
                  <a:gd name="T9" fmla="*/ 0 h 233"/>
                  <a:gd name="T10" fmla="*/ 118 w 118"/>
                  <a:gd name="T11" fmla="*/ 0 h 233"/>
                  <a:gd name="T12" fmla="*/ 118 w 118"/>
                  <a:gd name="T13" fmla="*/ 0 h 233"/>
                  <a:gd name="T14" fmla="*/ 93 w 118"/>
                  <a:gd name="T15" fmla="*/ 0 h 233"/>
                  <a:gd name="T16" fmla="*/ 105 w 118"/>
                  <a:gd name="T17" fmla="*/ 0 h 233"/>
                  <a:gd name="T18" fmla="*/ 74 w 118"/>
                  <a:gd name="T19" fmla="*/ 0 h 233"/>
                  <a:gd name="T20" fmla="*/ 63 w 118"/>
                  <a:gd name="T21" fmla="*/ 0 h 233"/>
                  <a:gd name="T22" fmla="*/ 37 w 118"/>
                  <a:gd name="T23" fmla="*/ 0 h 233"/>
                  <a:gd name="T24" fmla="*/ 0 w 118"/>
                  <a:gd name="T25" fmla="*/ 0 h 23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8" h="233">
                    <a:moveTo>
                      <a:pt x="0" y="200"/>
                    </a:moveTo>
                    <a:lnTo>
                      <a:pt x="24" y="133"/>
                    </a:lnTo>
                    <a:lnTo>
                      <a:pt x="68" y="79"/>
                    </a:lnTo>
                    <a:lnTo>
                      <a:pt x="93" y="0"/>
                    </a:lnTo>
                    <a:lnTo>
                      <a:pt x="105" y="21"/>
                    </a:lnTo>
                    <a:lnTo>
                      <a:pt x="118" y="12"/>
                    </a:lnTo>
                    <a:lnTo>
                      <a:pt x="118" y="44"/>
                    </a:lnTo>
                    <a:lnTo>
                      <a:pt x="93" y="100"/>
                    </a:lnTo>
                    <a:lnTo>
                      <a:pt x="105" y="123"/>
                    </a:lnTo>
                    <a:lnTo>
                      <a:pt x="74" y="133"/>
                    </a:lnTo>
                    <a:lnTo>
                      <a:pt x="63" y="211"/>
                    </a:lnTo>
                    <a:lnTo>
                      <a:pt x="37" y="233"/>
                    </a:lnTo>
                    <a:lnTo>
                      <a:pt x="0" y="200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42" name="Freeform 525"/>
              <p:cNvSpPr>
                <a:spLocks/>
              </p:cNvSpPr>
              <p:nvPr/>
            </p:nvSpPr>
            <p:spPr bwMode="auto">
              <a:xfrm>
                <a:off x="5535" y="3339"/>
                <a:ext cx="118" cy="116"/>
              </a:xfrm>
              <a:custGeom>
                <a:avLst/>
                <a:gdLst>
                  <a:gd name="T0" fmla="*/ 0 w 118"/>
                  <a:gd name="T1" fmla="*/ 0 h 233"/>
                  <a:gd name="T2" fmla="*/ 24 w 118"/>
                  <a:gd name="T3" fmla="*/ 0 h 233"/>
                  <a:gd name="T4" fmla="*/ 68 w 118"/>
                  <a:gd name="T5" fmla="*/ 0 h 233"/>
                  <a:gd name="T6" fmla="*/ 93 w 118"/>
                  <a:gd name="T7" fmla="*/ 0 h 233"/>
                  <a:gd name="T8" fmla="*/ 105 w 118"/>
                  <a:gd name="T9" fmla="*/ 0 h 233"/>
                  <a:gd name="T10" fmla="*/ 118 w 118"/>
                  <a:gd name="T11" fmla="*/ 0 h 233"/>
                  <a:gd name="T12" fmla="*/ 118 w 118"/>
                  <a:gd name="T13" fmla="*/ 0 h 233"/>
                  <a:gd name="T14" fmla="*/ 93 w 118"/>
                  <a:gd name="T15" fmla="*/ 0 h 233"/>
                  <a:gd name="T16" fmla="*/ 105 w 118"/>
                  <a:gd name="T17" fmla="*/ 0 h 233"/>
                  <a:gd name="T18" fmla="*/ 74 w 118"/>
                  <a:gd name="T19" fmla="*/ 0 h 233"/>
                  <a:gd name="T20" fmla="*/ 63 w 118"/>
                  <a:gd name="T21" fmla="*/ 0 h 233"/>
                  <a:gd name="T22" fmla="*/ 37 w 118"/>
                  <a:gd name="T23" fmla="*/ 0 h 233"/>
                  <a:gd name="T24" fmla="*/ 0 w 118"/>
                  <a:gd name="T25" fmla="*/ 0 h 23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8" h="233">
                    <a:moveTo>
                      <a:pt x="0" y="200"/>
                    </a:moveTo>
                    <a:lnTo>
                      <a:pt x="24" y="133"/>
                    </a:lnTo>
                    <a:lnTo>
                      <a:pt x="68" y="79"/>
                    </a:lnTo>
                    <a:lnTo>
                      <a:pt x="93" y="0"/>
                    </a:lnTo>
                    <a:lnTo>
                      <a:pt x="105" y="21"/>
                    </a:lnTo>
                    <a:lnTo>
                      <a:pt x="118" y="12"/>
                    </a:lnTo>
                    <a:lnTo>
                      <a:pt x="118" y="44"/>
                    </a:lnTo>
                    <a:lnTo>
                      <a:pt x="93" y="100"/>
                    </a:lnTo>
                    <a:lnTo>
                      <a:pt x="105" y="123"/>
                    </a:lnTo>
                    <a:lnTo>
                      <a:pt x="74" y="133"/>
                    </a:lnTo>
                    <a:lnTo>
                      <a:pt x="63" y="211"/>
                    </a:lnTo>
                    <a:lnTo>
                      <a:pt x="37" y="233"/>
                    </a:lnTo>
                    <a:lnTo>
                      <a:pt x="0" y="200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34" name="Freeform 526"/>
            <p:cNvSpPr>
              <a:spLocks/>
            </p:cNvSpPr>
            <p:nvPr>
              <p:custDataLst>
                <p:tags r:id="rId428"/>
              </p:custDataLst>
            </p:nvPr>
          </p:nvSpPr>
          <p:spPr bwMode="auto">
            <a:xfrm>
              <a:off x="8342561" y="5400675"/>
              <a:ext cx="130175" cy="204788"/>
            </a:xfrm>
            <a:custGeom>
              <a:avLst/>
              <a:gdLst>
                <a:gd name="T0" fmla="*/ 0 w 89"/>
                <a:gd name="T1" fmla="*/ 0 h 257"/>
                <a:gd name="T2" fmla="*/ 2147483647 w 89"/>
                <a:gd name="T3" fmla="*/ 2147483647 h 257"/>
                <a:gd name="T4" fmla="*/ 2147483647 w 89"/>
                <a:gd name="T5" fmla="*/ 2147483647 h 257"/>
                <a:gd name="T6" fmla="*/ 2147483647 w 89"/>
                <a:gd name="T7" fmla="*/ 2147483647 h 257"/>
                <a:gd name="T8" fmla="*/ 2147483647 w 89"/>
                <a:gd name="T9" fmla="*/ 2147483647 h 257"/>
                <a:gd name="T10" fmla="*/ 2147483647 w 89"/>
                <a:gd name="T11" fmla="*/ 2147483647 h 257"/>
                <a:gd name="T12" fmla="*/ 2147483647 w 89"/>
                <a:gd name="T13" fmla="*/ 2147483647 h 257"/>
                <a:gd name="T14" fmla="*/ 2147483647 w 89"/>
                <a:gd name="T15" fmla="*/ 2147483647 h 257"/>
                <a:gd name="T16" fmla="*/ 2147483647 w 89"/>
                <a:gd name="T17" fmla="*/ 2147483647 h 257"/>
                <a:gd name="T18" fmla="*/ 2147483647 w 89"/>
                <a:gd name="T19" fmla="*/ 2147483647 h 257"/>
                <a:gd name="T20" fmla="*/ 2147483647 w 89"/>
                <a:gd name="T21" fmla="*/ 2147483647 h 257"/>
                <a:gd name="T22" fmla="*/ 2147483647 w 89"/>
                <a:gd name="T23" fmla="*/ 2147483647 h 257"/>
                <a:gd name="T24" fmla="*/ 2147483647 w 89"/>
                <a:gd name="T25" fmla="*/ 2147483647 h 257"/>
                <a:gd name="T26" fmla="*/ 2147483647 w 89"/>
                <a:gd name="T27" fmla="*/ 2147483647 h 257"/>
                <a:gd name="T28" fmla="*/ 2147483647 w 89"/>
                <a:gd name="T29" fmla="*/ 2147483647 h 257"/>
                <a:gd name="T30" fmla="*/ 0 w 89"/>
                <a:gd name="T31" fmla="*/ 0 h 25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257">
                  <a:moveTo>
                    <a:pt x="0" y="0"/>
                  </a:moveTo>
                  <a:lnTo>
                    <a:pt x="26" y="34"/>
                  </a:lnTo>
                  <a:lnTo>
                    <a:pt x="32" y="90"/>
                  </a:lnTo>
                  <a:lnTo>
                    <a:pt x="45" y="113"/>
                  </a:lnTo>
                  <a:lnTo>
                    <a:pt x="51" y="79"/>
                  </a:lnTo>
                  <a:lnTo>
                    <a:pt x="57" y="123"/>
                  </a:lnTo>
                  <a:lnTo>
                    <a:pt x="89" y="123"/>
                  </a:lnTo>
                  <a:lnTo>
                    <a:pt x="82" y="180"/>
                  </a:lnTo>
                  <a:lnTo>
                    <a:pt x="63" y="190"/>
                  </a:lnTo>
                  <a:lnTo>
                    <a:pt x="51" y="257"/>
                  </a:lnTo>
                  <a:lnTo>
                    <a:pt x="32" y="257"/>
                  </a:lnTo>
                  <a:lnTo>
                    <a:pt x="45" y="234"/>
                  </a:lnTo>
                  <a:lnTo>
                    <a:pt x="20" y="180"/>
                  </a:lnTo>
                  <a:lnTo>
                    <a:pt x="38" y="136"/>
                  </a:lnTo>
                  <a:lnTo>
                    <a:pt x="32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35" name="Group 527"/>
            <p:cNvGrpSpPr>
              <a:grpSpLocks/>
            </p:cNvGrpSpPr>
            <p:nvPr>
              <p:custDataLst>
                <p:tags r:id="rId429"/>
              </p:custDataLst>
            </p:nvPr>
          </p:nvGrpSpPr>
          <p:grpSpPr bwMode="auto">
            <a:xfrm>
              <a:off x="8342561" y="5400675"/>
              <a:ext cx="130175" cy="204788"/>
              <a:chOff x="5628" y="3220"/>
              <a:chExt cx="89" cy="12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39" name="Freeform 528"/>
              <p:cNvSpPr>
                <a:spLocks/>
              </p:cNvSpPr>
              <p:nvPr/>
            </p:nvSpPr>
            <p:spPr bwMode="auto">
              <a:xfrm>
                <a:off x="5628" y="3220"/>
                <a:ext cx="89" cy="129"/>
              </a:xfrm>
              <a:custGeom>
                <a:avLst/>
                <a:gdLst>
                  <a:gd name="T0" fmla="*/ 0 w 89"/>
                  <a:gd name="T1" fmla="*/ 0 h 257"/>
                  <a:gd name="T2" fmla="*/ 26 w 89"/>
                  <a:gd name="T3" fmla="*/ 1 h 257"/>
                  <a:gd name="T4" fmla="*/ 32 w 89"/>
                  <a:gd name="T5" fmla="*/ 1 h 257"/>
                  <a:gd name="T6" fmla="*/ 45 w 89"/>
                  <a:gd name="T7" fmla="*/ 1 h 257"/>
                  <a:gd name="T8" fmla="*/ 51 w 89"/>
                  <a:gd name="T9" fmla="*/ 1 h 257"/>
                  <a:gd name="T10" fmla="*/ 57 w 89"/>
                  <a:gd name="T11" fmla="*/ 1 h 257"/>
                  <a:gd name="T12" fmla="*/ 89 w 89"/>
                  <a:gd name="T13" fmla="*/ 1 h 257"/>
                  <a:gd name="T14" fmla="*/ 82 w 89"/>
                  <a:gd name="T15" fmla="*/ 1 h 257"/>
                  <a:gd name="T16" fmla="*/ 63 w 89"/>
                  <a:gd name="T17" fmla="*/ 1 h 257"/>
                  <a:gd name="T18" fmla="*/ 51 w 89"/>
                  <a:gd name="T19" fmla="*/ 1 h 257"/>
                  <a:gd name="T20" fmla="*/ 32 w 89"/>
                  <a:gd name="T21" fmla="*/ 1 h 257"/>
                  <a:gd name="T22" fmla="*/ 45 w 89"/>
                  <a:gd name="T23" fmla="*/ 1 h 257"/>
                  <a:gd name="T24" fmla="*/ 20 w 89"/>
                  <a:gd name="T25" fmla="*/ 1 h 257"/>
                  <a:gd name="T26" fmla="*/ 38 w 89"/>
                  <a:gd name="T27" fmla="*/ 1 h 257"/>
                  <a:gd name="T28" fmla="*/ 32 w 89"/>
                  <a:gd name="T29" fmla="*/ 1 h 257"/>
                  <a:gd name="T30" fmla="*/ 0 w 89"/>
                  <a:gd name="T31" fmla="*/ 0 h 25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257">
                    <a:moveTo>
                      <a:pt x="0" y="0"/>
                    </a:moveTo>
                    <a:lnTo>
                      <a:pt x="26" y="34"/>
                    </a:lnTo>
                    <a:lnTo>
                      <a:pt x="32" y="90"/>
                    </a:lnTo>
                    <a:lnTo>
                      <a:pt x="45" y="113"/>
                    </a:lnTo>
                    <a:lnTo>
                      <a:pt x="51" y="79"/>
                    </a:lnTo>
                    <a:lnTo>
                      <a:pt x="57" y="123"/>
                    </a:lnTo>
                    <a:lnTo>
                      <a:pt x="89" y="123"/>
                    </a:lnTo>
                    <a:lnTo>
                      <a:pt x="82" y="180"/>
                    </a:lnTo>
                    <a:lnTo>
                      <a:pt x="63" y="190"/>
                    </a:lnTo>
                    <a:lnTo>
                      <a:pt x="51" y="257"/>
                    </a:lnTo>
                    <a:lnTo>
                      <a:pt x="32" y="257"/>
                    </a:lnTo>
                    <a:lnTo>
                      <a:pt x="45" y="234"/>
                    </a:lnTo>
                    <a:lnTo>
                      <a:pt x="20" y="180"/>
                    </a:lnTo>
                    <a:lnTo>
                      <a:pt x="38" y="136"/>
                    </a:lnTo>
                    <a:lnTo>
                      <a:pt x="32" y="10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40" name="Freeform 529"/>
              <p:cNvSpPr>
                <a:spLocks/>
              </p:cNvSpPr>
              <p:nvPr/>
            </p:nvSpPr>
            <p:spPr bwMode="auto">
              <a:xfrm>
                <a:off x="5628" y="3220"/>
                <a:ext cx="89" cy="129"/>
              </a:xfrm>
              <a:custGeom>
                <a:avLst/>
                <a:gdLst>
                  <a:gd name="T0" fmla="*/ 0 w 89"/>
                  <a:gd name="T1" fmla="*/ 0 h 257"/>
                  <a:gd name="T2" fmla="*/ 26 w 89"/>
                  <a:gd name="T3" fmla="*/ 1 h 257"/>
                  <a:gd name="T4" fmla="*/ 32 w 89"/>
                  <a:gd name="T5" fmla="*/ 1 h 257"/>
                  <a:gd name="T6" fmla="*/ 45 w 89"/>
                  <a:gd name="T7" fmla="*/ 1 h 257"/>
                  <a:gd name="T8" fmla="*/ 51 w 89"/>
                  <a:gd name="T9" fmla="*/ 1 h 257"/>
                  <a:gd name="T10" fmla="*/ 57 w 89"/>
                  <a:gd name="T11" fmla="*/ 1 h 257"/>
                  <a:gd name="T12" fmla="*/ 89 w 89"/>
                  <a:gd name="T13" fmla="*/ 1 h 257"/>
                  <a:gd name="T14" fmla="*/ 82 w 89"/>
                  <a:gd name="T15" fmla="*/ 1 h 257"/>
                  <a:gd name="T16" fmla="*/ 63 w 89"/>
                  <a:gd name="T17" fmla="*/ 1 h 257"/>
                  <a:gd name="T18" fmla="*/ 51 w 89"/>
                  <a:gd name="T19" fmla="*/ 1 h 257"/>
                  <a:gd name="T20" fmla="*/ 32 w 89"/>
                  <a:gd name="T21" fmla="*/ 1 h 257"/>
                  <a:gd name="T22" fmla="*/ 45 w 89"/>
                  <a:gd name="T23" fmla="*/ 1 h 257"/>
                  <a:gd name="T24" fmla="*/ 20 w 89"/>
                  <a:gd name="T25" fmla="*/ 1 h 257"/>
                  <a:gd name="T26" fmla="*/ 38 w 89"/>
                  <a:gd name="T27" fmla="*/ 1 h 257"/>
                  <a:gd name="T28" fmla="*/ 32 w 89"/>
                  <a:gd name="T29" fmla="*/ 1 h 257"/>
                  <a:gd name="T30" fmla="*/ 0 w 89"/>
                  <a:gd name="T31" fmla="*/ 0 h 25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257">
                    <a:moveTo>
                      <a:pt x="0" y="0"/>
                    </a:moveTo>
                    <a:lnTo>
                      <a:pt x="26" y="34"/>
                    </a:lnTo>
                    <a:lnTo>
                      <a:pt x="32" y="90"/>
                    </a:lnTo>
                    <a:lnTo>
                      <a:pt x="45" y="113"/>
                    </a:lnTo>
                    <a:lnTo>
                      <a:pt x="51" y="79"/>
                    </a:lnTo>
                    <a:lnTo>
                      <a:pt x="57" y="123"/>
                    </a:lnTo>
                    <a:lnTo>
                      <a:pt x="89" y="123"/>
                    </a:lnTo>
                    <a:lnTo>
                      <a:pt x="82" y="180"/>
                    </a:lnTo>
                    <a:lnTo>
                      <a:pt x="63" y="190"/>
                    </a:lnTo>
                    <a:lnTo>
                      <a:pt x="51" y="257"/>
                    </a:lnTo>
                    <a:lnTo>
                      <a:pt x="32" y="257"/>
                    </a:lnTo>
                    <a:lnTo>
                      <a:pt x="45" y="234"/>
                    </a:lnTo>
                    <a:lnTo>
                      <a:pt x="20" y="180"/>
                    </a:lnTo>
                    <a:lnTo>
                      <a:pt x="38" y="136"/>
                    </a:lnTo>
                    <a:lnTo>
                      <a:pt x="32" y="10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36" name="Freeform 530"/>
            <p:cNvSpPr>
              <a:spLocks/>
            </p:cNvSpPr>
            <p:nvPr>
              <p:custDataLst>
                <p:tags r:id="rId430"/>
              </p:custDataLst>
            </p:nvPr>
          </p:nvSpPr>
          <p:spPr bwMode="auto">
            <a:xfrm>
              <a:off x="8342561" y="5400675"/>
              <a:ext cx="130175" cy="204788"/>
            </a:xfrm>
            <a:custGeom>
              <a:avLst/>
              <a:gdLst>
                <a:gd name="T0" fmla="*/ 0 w 89"/>
                <a:gd name="T1" fmla="*/ 0 h 257"/>
                <a:gd name="T2" fmla="*/ 2147483647 w 89"/>
                <a:gd name="T3" fmla="*/ 2147483647 h 257"/>
                <a:gd name="T4" fmla="*/ 2147483647 w 89"/>
                <a:gd name="T5" fmla="*/ 2147483647 h 257"/>
                <a:gd name="T6" fmla="*/ 2147483647 w 89"/>
                <a:gd name="T7" fmla="*/ 2147483647 h 257"/>
                <a:gd name="T8" fmla="*/ 2147483647 w 89"/>
                <a:gd name="T9" fmla="*/ 2147483647 h 257"/>
                <a:gd name="T10" fmla="*/ 2147483647 w 89"/>
                <a:gd name="T11" fmla="*/ 2147483647 h 257"/>
                <a:gd name="T12" fmla="*/ 2147483647 w 89"/>
                <a:gd name="T13" fmla="*/ 2147483647 h 257"/>
                <a:gd name="T14" fmla="*/ 2147483647 w 89"/>
                <a:gd name="T15" fmla="*/ 2147483647 h 257"/>
                <a:gd name="T16" fmla="*/ 2147483647 w 89"/>
                <a:gd name="T17" fmla="*/ 2147483647 h 257"/>
                <a:gd name="T18" fmla="*/ 2147483647 w 89"/>
                <a:gd name="T19" fmla="*/ 2147483647 h 257"/>
                <a:gd name="T20" fmla="*/ 2147483647 w 89"/>
                <a:gd name="T21" fmla="*/ 2147483647 h 257"/>
                <a:gd name="T22" fmla="*/ 2147483647 w 89"/>
                <a:gd name="T23" fmla="*/ 2147483647 h 257"/>
                <a:gd name="T24" fmla="*/ 2147483647 w 89"/>
                <a:gd name="T25" fmla="*/ 2147483647 h 257"/>
                <a:gd name="T26" fmla="*/ 2147483647 w 89"/>
                <a:gd name="T27" fmla="*/ 2147483647 h 257"/>
                <a:gd name="T28" fmla="*/ 2147483647 w 89"/>
                <a:gd name="T29" fmla="*/ 2147483647 h 257"/>
                <a:gd name="T30" fmla="*/ 0 w 89"/>
                <a:gd name="T31" fmla="*/ 0 h 25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257">
                  <a:moveTo>
                    <a:pt x="0" y="0"/>
                  </a:moveTo>
                  <a:lnTo>
                    <a:pt x="26" y="34"/>
                  </a:lnTo>
                  <a:lnTo>
                    <a:pt x="32" y="90"/>
                  </a:lnTo>
                  <a:lnTo>
                    <a:pt x="45" y="113"/>
                  </a:lnTo>
                  <a:lnTo>
                    <a:pt x="51" y="79"/>
                  </a:lnTo>
                  <a:lnTo>
                    <a:pt x="57" y="123"/>
                  </a:lnTo>
                  <a:lnTo>
                    <a:pt x="89" y="123"/>
                  </a:lnTo>
                  <a:lnTo>
                    <a:pt x="82" y="180"/>
                  </a:lnTo>
                  <a:lnTo>
                    <a:pt x="63" y="190"/>
                  </a:lnTo>
                  <a:lnTo>
                    <a:pt x="51" y="257"/>
                  </a:lnTo>
                  <a:lnTo>
                    <a:pt x="32" y="257"/>
                  </a:lnTo>
                  <a:lnTo>
                    <a:pt x="45" y="234"/>
                  </a:lnTo>
                  <a:lnTo>
                    <a:pt x="20" y="180"/>
                  </a:lnTo>
                  <a:lnTo>
                    <a:pt x="38" y="136"/>
                  </a:lnTo>
                  <a:lnTo>
                    <a:pt x="32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37" name="Group 531"/>
            <p:cNvGrpSpPr>
              <a:grpSpLocks/>
            </p:cNvGrpSpPr>
            <p:nvPr>
              <p:custDataLst>
                <p:tags r:id="rId431"/>
              </p:custDataLst>
            </p:nvPr>
          </p:nvGrpSpPr>
          <p:grpSpPr bwMode="auto">
            <a:xfrm>
              <a:off x="8342561" y="5400675"/>
              <a:ext cx="130175" cy="204788"/>
              <a:chOff x="5628" y="3220"/>
              <a:chExt cx="89" cy="12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37" name="Freeform 532"/>
              <p:cNvSpPr>
                <a:spLocks/>
              </p:cNvSpPr>
              <p:nvPr/>
            </p:nvSpPr>
            <p:spPr bwMode="auto">
              <a:xfrm>
                <a:off x="5628" y="3220"/>
                <a:ext cx="89" cy="129"/>
              </a:xfrm>
              <a:custGeom>
                <a:avLst/>
                <a:gdLst>
                  <a:gd name="T0" fmla="*/ 0 w 89"/>
                  <a:gd name="T1" fmla="*/ 0 h 257"/>
                  <a:gd name="T2" fmla="*/ 26 w 89"/>
                  <a:gd name="T3" fmla="*/ 1 h 257"/>
                  <a:gd name="T4" fmla="*/ 32 w 89"/>
                  <a:gd name="T5" fmla="*/ 1 h 257"/>
                  <a:gd name="T6" fmla="*/ 45 w 89"/>
                  <a:gd name="T7" fmla="*/ 1 h 257"/>
                  <a:gd name="T8" fmla="*/ 51 w 89"/>
                  <a:gd name="T9" fmla="*/ 1 h 257"/>
                  <a:gd name="T10" fmla="*/ 57 w 89"/>
                  <a:gd name="T11" fmla="*/ 1 h 257"/>
                  <a:gd name="T12" fmla="*/ 89 w 89"/>
                  <a:gd name="T13" fmla="*/ 1 h 257"/>
                  <a:gd name="T14" fmla="*/ 82 w 89"/>
                  <a:gd name="T15" fmla="*/ 1 h 257"/>
                  <a:gd name="T16" fmla="*/ 63 w 89"/>
                  <a:gd name="T17" fmla="*/ 1 h 257"/>
                  <a:gd name="T18" fmla="*/ 51 w 89"/>
                  <a:gd name="T19" fmla="*/ 1 h 257"/>
                  <a:gd name="T20" fmla="*/ 32 w 89"/>
                  <a:gd name="T21" fmla="*/ 1 h 257"/>
                  <a:gd name="T22" fmla="*/ 45 w 89"/>
                  <a:gd name="T23" fmla="*/ 1 h 257"/>
                  <a:gd name="T24" fmla="*/ 20 w 89"/>
                  <a:gd name="T25" fmla="*/ 1 h 257"/>
                  <a:gd name="T26" fmla="*/ 38 w 89"/>
                  <a:gd name="T27" fmla="*/ 1 h 257"/>
                  <a:gd name="T28" fmla="*/ 32 w 89"/>
                  <a:gd name="T29" fmla="*/ 1 h 257"/>
                  <a:gd name="T30" fmla="*/ 0 w 89"/>
                  <a:gd name="T31" fmla="*/ 0 h 25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257">
                    <a:moveTo>
                      <a:pt x="0" y="0"/>
                    </a:moveTo>
                    <a:lnTo>
                      <a:pt x="26" y="34"/>
                    </a:lnTo>
                    <a:lnTo>
                      <a:pt x="32" y="90"/>
                    </a:lnTo>
                    <a:lnTo>
                      <a:pt x="45" y="113"/>
                    </a:lnTo>
                    <a:lnTo>
                      <a:pt x="51" y="79"/>
                    </a:lnTo>
                    <a:lnTo>
                      <a:pt x="57" y="123"/>
                    </a:lnTo>
                    <a:lnTo>
                      <a:pt x="89" y="123"/>
                    </a:lnTo>
                    <a:lnTo>
                      <a:pt x="82" y="180"/>
                    </a:lnTo>
                    <a:lnTo>
                      <a:pt x="63" y="190"/>
                    </a:lnTo>
                    <a:lnTo>
                      <a:pt x="51" y="257"/>
                    </a:lnTo>
                    <a:lnTo>
                      <a:pt x="32" y="257"/>
                    </a:lnTo>
                    <a:lnTo>
                      <a:pt x="45" y="234"/>
                    </a:lnTo>
                    <a:lnTo>
                      <a:pt x="20" y="180"/>
                    </a:lnTo>
                    <a:lnTo>
                      <a:pt x="38" y="136"/>
                    </a:lnTo>
                    <a:lnTo>
                      <a:pt x="32" y="10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38" name="Freeform 533"/>
              <p:cNvSpPr>
                <a:spLocks/>
              </p:cNvSpPr>
              <p:nvPr/>
            </p:nvSpPr>
            <p:spPr bwMode="auto">
              <a:xfrm>
                <a:off x="5628" y="3220"/>
                <a:ext cx="89" cy="129"/>
              </a:xfrm>
              <a:custGeom>
                <a:avLst/>
                <a:gdLst>
                  <a:gd name="T0" fmla="*/ 0 w 89"/>
                  <a:gd name="T1" fmla="*/ 0 h 257"/>
                  <a:gd name="T2" fmla="*/ 26 w 89"/>
                  <a:gd name="T3" fmla="*/ 1 h 257"/>
                  <a:gd name="T4" fmla="*/ 32 w 89"/>
                  <a:gd name="T5" fmla="*/ 1 h 257"/>
                  <a:gd name="T6" fmla="*/ 45 w 89"/>
                  <a:gd name="T7" fmla="*/ 1 h 257"/>
                  <a:gd name="T8" fmla="*/ 51 w 89"/>
                  <a:gd name="T9" fmla="*/ 1 h 257"/>
                  <a:gd name="T10" fmla="*/ 57 w 89"/>
                  <a:gd name="T11" fmla="*/ 1 h 257"/>
                  <a:gd name="T12" fmla="*/ 89 w 89"/>
                  <a:gd name="T13" fmla="*/ 1 h 257"/>
                  <a:gd name="T14" fmla="*/ 82 w 89"/>
                  <a:gd name="T15" fmla="*/ 1 h 257"/>
                  <a:gd name="T16" fmla="*/ 63 w 89"/>
                  <a:gd name="T17" fmla="*/ 1 h 257"/>
                  <a:gd name="T18" fmla="*/ 51 w 89"/>
                  <a:gd name="T19" fmla="*/ 1 h 257"/>
                  <a:gd name="T20" fmla="*/ 32 w 89"/>
                  <a:gd name="T21" fmla="*/ 1 h 257"/>
                  <a:gd name="T22" fmla="*/ 45 w 89"/>
                  <a:gd name="T23" fmla="*/ 1 h 257"/>
                  <a:gd name="T24" fmla="*/ 20 w 89"/>
                  <a:gd name="T25" fmla="*/ 1 h 257"/>
                  <a:gd name="T26" fmla="*/ 38 w 89"/>
                  <a:gd name="T27" fmla="*/ 1 h 257"/>
                  <a:gd name="T28" fmla="*/ 32 w 89"/>
                  <a:gd name="T29" fmla="*/ 1 h 257"/>
                  <a:gd name="T30" fmla="*/ 0 w 89"/>
                  <a:gd name="T31" fmla="*/ 0 h 25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257">
                    <a:moveTo>
                      <a:pt x="0" y="0"/>
                    </a:moveTo>
                    <a:lnTo>
                      <a:pt x="26" y="34"/>
                    </a:lnTo>
                    <a:lnTo>
                      <a:pt x="32" y="90"/>
                    </a:lnTo>
                    <a:lnTo>
                      <a:pt x="45" y="113"/>
                    </a:lnTo>
                    <a:lnTo>
                      <a:pt x="51" y="79"/>
                    </a:lnTo>
                    <a:lnTo>
                      <a:pt x="57" y="123"/>
                    </a:lnTo>
                    <a:lnTo>
                      <a:pt x="89" y="123"/>
                    </a:lnTo>
                    <a:lnTo>
                      <a:pt x="82" y="180"/>
                    </a:lnTo>
                    <a:lnTo>
                      <a:pt x="63" y="190"/>
                    </a:lnTo>
                    <a:lnTo>
                      <a:pt x="51" y="257"/>
                    </a:lnTo>
                    <a:lnTo>
                      <a:pt x="32" y="257"/>
                    </a:lnTo>
                    <a:lnTo>
                      <a:pt x="45" y="234"/>
                    </a:lnTo>
                    <a:lnTo>
                      <a:pt x="20" y="180"/>
                    </a:lnTo>
                    <a:lnTo>
                      <a:pt x="38" y="136"/>
                    </a:lnTo>
                    <a:lnTo>
                      <a:pt x="32" y="102"/>
                    </a:lnTo>
                    <a:lnTo>
                      <a:pt x="0" y="0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38" name="Freeform 534"/>
            <p:cNvSpPr>
              <a:spLocks/>
            </p:cNvSpPr>
            <p:nvPr>
              <p:custDataLst>
                <p:tags r:id="rId432"/>
              </p:custDataLst>
            </p:nvPr>
          </p:nvSpPr>
          <p:spPr bwMode="auto">
            <a:xfrm>
              <a:off x="2229098" y="4111625"/>
              <a:ext cx="88900" cy="106363"/>
            </a:xfrm>
            <a:custGeom>
              <a:avLst/>
              <a:gdLst>
                <a:gd name="T0" fmla="*/ 0 w 61"/>
                <a:gd name="T1" fmla="*/ 2147483647 h 135"/>
                <a:gd name="T2" fmla="*/ 2147483647 w 61"/>
                <a:gd name="T3" fmla="*/ 2147483647 h 135"/>
                <a:gd name="T4" fmla="*/ 2147483647 w 61"/>
                <a:gd name="T5" fmla="*/ 2147483647 h 135"/>
                <a:gd name="T6" fmla="*/ 2147483647 w 61"/>
                <a:gd name="T7" fmla="*/ 0 h 135"/>
                <a:gd name="T8" fmla="*/ 2147483647 w 61"/>
                <a:gd name="T9" fmla="*/ 2147483647 h 135"/>
                <a:gd name="T10" fmla="*/ 0 w 61"/>
                <a:gd name="T11" fmla="*/ 2147483647 h 1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135">
                  <a:moveTo>
                    <a:pt x="0" y="77"/>
                  </a:moveTo>
                  <a:lnTo>
                    <a:pt x="24" y="135"/>
                  </a:lnTo>
                  <a:lnTo>
                    <a:pt x="61" y="135"/>
                  </a:lnTo>
                  <a:lnTo>
                    <a:pt x="61" y="0"/>
                  </a:lnTo>
                  <a:lnTo>
                    <a:pt x="42" y="12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39" name="Freeform 535"/>
            <p:cNvSpPr>
              <a:spLocks/>
            </p:cNvSpPr>
            <p:nvPr>
              <p:custDataLst>
                <p:tags r:id="rId433"/>
              </p:custDataLst>
            </p:nvPr>
          </p:nvSpPr>
          <p:spPr bwMode="auto">
            <a:xfrm>
              <a:off x="2229098" y="4111625"/>
              <a:ext cx="88900" cy="106363"/>
            </a:xfrm>
            <a:custGeom>
              <a:avLst/>
              <a:gdLst>
                <a:gd name="T0" fmla="*/ 0 w 61"/>
                <a:gd name="T1" fmla="*/ 2147483647 h 135"/>
                <a:gd name="T2" fmla="*/ 2147483647 w 61"/>
                <a:gd name="T3" fmla="*/ 2147483647 h 135"/>
                <a:gd name="T4" fmla="*/ 2147483647 w 61"/>
                <a:gd name="T5" fmla="*/ 2147483647 h 135"/>
                <a:gd name="T6" fmla="*/ 2147483647 w 61"/>
                <a:gd name="T7" fmla="*/ 0 h 135"/>
                <a:gd name="T8" fmla="*/ 2147483647 w 61"/>
                <a:gd name="T9" fmla="*/ 2147483647 h 135"/>
                <a:gd name="T10" fmla="*/ 0 w 61"/>
                <a:gd name="T11" fmla="*/ 2147483647 h 1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135">
                  <a:moveTo>
                    <a:pt x="0" y="77"/>
                  </a:moveTo>
                  <a:lnTo>
                    <a:pt x="24" y="135"/>
                  </a:lnTo>
                  <a:lnTo>
                    <a:pt x="61" y="135"/>
                  </a:lnTo>
                  <a:lnTo>
                    <a:pt x="61" y="0"/>
                  </a:lnTo>
                  <a:lnTo>
                    <a:pt x="42" y="12"/>
                  </a:lnTo>
                  <a:lnTo>
                    <a:pt x="0" y="7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40" name="Freeform 536"/>
            <p:cNvSpPr>
              <a:spLocks/>
            </p:cNvSpPr>
            <p:nvPr>
              <p:custDataLst>
                <p:tags r:id="rId434"/>
              </p:custDataLst>
            </p:nvPr>
          </p:nvSpPr>
          <p:spPr bwMode="auto">
            <a:xfrm>
              <a:off x="2229098" y="4111625"/>
              <a:ext cx="88900" cy="106363"/>
            </a:xfrm>
            <a:custGeom>
              <a:avLst/>
              <a:gdLst>
                <a:gd name="T0" fmla="*/ 0 w 61"/>
                <a:gd name="T1" fmla="*/ 2147483647 h 135"/>
                <a:gd name="T2" fmla="*/ 2147483647 w 61"/>
                <a:gd name="T3" fmla="*/ 2147483647 h 135"/>
                <a:gd name="T4" fmla="*/ 2147483647 w 61"/>
                <a:gd name="T5" fmla="*/ 2147483647 h 135"/>
                <a:gd name="T6" fmla="*/ 2147483647 w 61"/>
                <a:gd name="T7" fmla="*/ 0 h 135"/>
                <a:gd name="T8" fmla="*/ 2147483647 w 61"/>
                <a:gd name="T9" fmla="*/ 2147483647 h 135"/>
                <a:gd name="T10" fmla="*/ 0 w 61"/>
                <a:gd name="T11" fmla="*/ 2147483647 h 1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135">
                  <a:moveTo>
                    <a:pt x="0" y="77"/>
                  </a:moveTo>
                  <a:lnTo>
                    <a:pt x="24" y="135"/>
                  </a:lnTo>
                  <a:lnTo>
                    <a:pt x="61" y="135"/>
                  </a:lnTo>
                  <a:lnTo>
                    <a:pt x="61" y="0"/>
                  </a:lnTo>
                  <a:lnTo>
                    <a:pt x="42" y="12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41" name="Freeform 537"/>
            <p:cNvSpPr>
              <a:spLocks/>
            </p:cNvSpPr>
            <p:nvPr>
              <p:custDataLst>
                <p:tags r:id="rId435"/>
              </p:custDataLst>
            </p:nvPr>
          </p:nvSpPr>
          <p:spPr bwMode="auto">
            <a:xfrm>
              <a:off x="2229098" y="4111625"/>
              <a:ext cx="88900" cy="106363"/>
            </a:xfrm>
            <a:custGeom>
              <a:avLst/>
              <a:gdLst>
                <a:gd name="T0" fmla="*/ 0 w 61"/>
                <a:gd name="T1" fmla="*/ 2147483647 h 135"/>
                <a:gd name="T2" fmla="*/ 2147483647 w 61"/>
                <a:gd name="T3" fmla="*/ 2147483647 h 135"/>
                <a:gd name="T4" fmla="*/ 2147483647 w 61"/>
                <a:gd name="T5" fmla="*/ 2147483647 h 135"/>
                <a:gd name="T6" fmla="*/ 2147483647 w 61"/>
                <a:gd name="T7" fmla="*/ 0 h 135"/>
                <a:gd name="T8" fmla="*/ 2147483647 w 61"/>
                <a:gd name="T9" fmla="*/ 2147483647 h 135"/>
                <a:gd name="T10" fmla="*/ 0 w 61"/>
                <a:gd name="T11" fmla="*/ 2147483647 h 1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135">
                  <a:moveTo>
                    <a:pt x="0" y="77"/>
                  </a:moveTo>
                  <a:lnTo>
                    <a:pt x="24" y="135"/>
                  </a:lnTo>
                  <a:lnTo>
                    <a:pt x="61" y="135"/>
                  </a:lnTo>
                  <a:lnTo>
                    <a:pt x="61" y="0"/>
                  </a:lnTo>
                  <a:lnTo>
                    <a:pt x="42" y="12"/>
                  </a:lnTo>
                  <a:lnTo>
                    <a:pt x="0" y="7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42" name="Freeform 538"/>
            <p:cNvSpPr>
              <a:spLocks/>
            </p:cNvSpPr>
            <p:nvPr>
              <p:custDataLst>
                <p:tags r:id="rId436"/>
              </p:custDataLst>
            </p:nvPr>
          </p:nvSpPr>
          <p:spPr bwMode="auto">
            <a:xfrm>
              <a:off x="4521448" y="2309813"/>
              <a:ext cx="593725" cy="520700"/>
            </a:xfrm>
            <a:custGeom>
              <a:avLst/>
              <a:gdLst>
                <a:gd name="T0" fmla="*/ 2147483647 w 405"/>
                <a:gd name="T1" fmla="*/ 2147483647 h 657"/>
                <a:gd name="T2" fmla="*/ 2147483647 w 405"/>
                <a:gd name="T3" fmla="*/ 2147483647 h 657"/>
                <a:gd name="T4" fmla="*/ 2147483647 w 405"/>
                <a:gd name="T5" fmla="*/ 2147483647 h 657"/>
                <a:gd name="T6" fmla="*/ 2147483647 w 405"/>
                <a:gd name="T7" fmla="*/ 2147483647 h 657"/>
                <a:gd name="T8" fmla="*/ 2147483647 w 405"/>
                <a:gd name="T9" fmla="*/ 2147483647 h 657"/>
                <a:gd name="T10" fmla="*/ 2147483647 w 405"/>
                <a:gd name="T11" fmla="*/ 2147483647 h 657"/>
                <a:gd name="T12" fmla="*/ 2147483647 w 405"/>
                <a:gd name="T13" fmla="*/ 2147483647 h 657"/>
                <a:gd name="T14" fmla="*/ 2147483647 w 405"/>
                <a:gd name="T15" fmla="*/ 2147483647 h 657"/>
                <a:gd name="T16" fmla="*/ 2147483647 w 405"/>
                <a:gd name="T17" fmla="*/ 2147483647 h 657"/>
                <a:gd name="T18" fmla="*/ 2147483647 w 405"/>
                <a:gd name="T19" fmla="*/ 2147483647 h 657"/>
                <a:gd name="T20" fmla="*/ 2147483647 w 405"/>
                <a:gd name="T21" fmla="*/ 2147483647 h 657"/>
                <a:gd name="T22" fmla="*/ 2147483647 w 405"/>
                <a:gd name="T23" fmla="*/ 2147483647 h 657"/>
                <a:gd name="T24" fmla="*/ 2147483647 w 405"/>
                <a:gd name="T25" fmla="*/ 2147483647 h 657"/>
                <a:gd name="T26" fmla="*/ 2147483647 w 405"/>
                <a:gd name="T27" fmla="*/ 2147483647 h 657"/>
                <a:gd name="T28" fmla="*/ 2147483647 w 405"/>
                <a:gd name="T29" fmla="*/ 2147483647 h 657"/>
                <a:gd name="T30" fmla="*/ 2147483647 w 405"/>
                <a:gd name="T31" fmla="*/ 2147483647 h 657"/>
                <a:gd name="T32" fmla="*/ 2147483647 w 405"/>
                <a:gd name="T33" fmla="*/ 2147483647 h 657"/>
                <a:gd name="T34" fmla="*/ 2147483647 w 405"/>
                <a:gd name="T35" fmla="*/ 2147483647 h 657"/>
                <a:gd name="T36" fmla="*/ 2147483647 w 405"/>
                <a:gd name="T37" fmla="*/ 2147483647 h 657"/>
                <a:gd name="T38" fmla="*/ 2147483647 w 405"/>
                <a:gd name="T39" fmla="*/ 2147483647 h 657"/>
                <a:gd name="T40" fmla="*/ 2147483647 w 405"/>
                <a:gd name="T41" fmla="*/ 2147483647 h 657"/>
                <a:gd name="T42" fmla="*/ 2147483647 w 405"/>
                <a:gd name="T43" fmla="*/ 2147483647 h 657"/>
                <a:gd name="T44" fmla="*/ 2147483647 w 405"/>
                <a:gd name="T45" fmla="*/ 0 h 657"/>
                <a:gd name="T46" fmla="*/ 2147483647 w 405"/>
                <a:gd name="T47" fmla="*/ 2147483647 h 657"/>
                <a:gd name="T48" fmla="*/ 2147483647 w 405"/>
                <a:gd name="T49" fmla="*/ 0 h 657"/>
                <a:gd name="T50" fmla="*/ 2147483647 w 405"/>
                <a:gd name="T51" fmla="*/ 2147483647 h 657"/>
                <a:gd name="T52" fmla="*/ 2147483647 w 405"/>
                <a:gd name="T53" fmla="*/ 2147483647 h 657"/>
                <a:gd name="T54" fmla="*/ 2147483647 w 405"/>
                <a:gd name="T55" fmla="*/ 2147483647 h 657"/>
                <a:gd name="T56" fmla="*/ 2147483647 w 405"/>
                <a:gd name="T57" fmla="*/ 2147483647 h 657"/>
                <a:gd name="T58" fmla="*/ 2147483647 w 405"/>
                <a:gd name="T59" fmla="*/ 2147483647 h 657"/>
                <a:gd name="T60" fmla="*/ 2147483647 w 405"/>
                <a:gd name="T61" fmla="*/ 2147483647 h 657"/>
                <a:gd name="T62" fmla="*/ 2147483647 w 405"/>
                <a:gd name="T63" fmla="*/ 2147483647 h 657"/>
                <a:gd name="T64" fmla="*/ 2147483647 w 405"/>
                <a:gd name="T65" fmla="*/ 2147483647 h 657"/>
                <a:gd name="T66" fmla="*/ 2147483647 w 405"/>
                <a:gd name="T67" fmla="*/ 2147483647 h 657"/>
                <a:gd name="T68" fmla="*/ 2147483647 w 405"/>
                <a:gd name="T69" fmla="*/ 2147483647 h 657"/>
                <a:gd name="T70" fmla="*/ 2147483647 w 405"/>
                <a:gd name="T71" fmla="*/ 2147483647 h 657"/>
                <a:gd name="T72" fmla="*/ 2147483647 w 405"/>
                <a:gd name="T73" fmla="*/ 2147483647 h 657"/>
                <a:gd name="T74" fmla="*/ 2147483647 w 405"/>
                <a:gd name="T75" fmla="*/ 2147483647 h 657"/>
                <a:gd name="T76" fmla="*/ 2147483647 w 405"/>
                <a:gd name="T77" fmla="*/ 2147483647 h 657"/>
                <a:gd name="T78" fmla="*/ 2147483647 w 405"/>
                <a:gd name="T79" fmla="*/ 2147483647 h 657"/>
                <a:gd name="T80" fmla="*/ 0 w 405"/>
                <a:gd name="T81" fmla="*/ 2147483647 h 65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405" h="657">
                  <a:moveTo>
                    <a:pt x="0" y="490"/>
                  </a:moveTo>
                  <a:lnTo>
                    <a:pt x="6" y="522"/>
                  </a:lnTo>
                  <a:lnTo>
                    <a:pt x="37" y="499"/>
                  </a:lnTo>
                  <a:lnTo>
                    <a:pt x="43" y="513"/>
                  </a:lnTo>
                  <a:lnTo>
                    <a:pt x="6" y="534"/>
                  </a:lnTo>
                  <a:lnTo>
                    <a:pt x="12" y="543"/>
                  </a:lnTo>
                  <a:lnTo>
                    <a:pt x="6" y="578"/>
                  </a:lnTo>
                  <a:lnTo>
                    <a:pt x="31" y="543"/>
                  </a:lnTo>
                  <a:lnTo>
                    <a:pt x="6" y="601"/>
                  </a:lnTo>
                  <a:lnTo>
                    <a:pt x="19" y="601"/>
                  </a:lnTo>
                  <a:lnTo>
                    <a:pt x="12" y="645"/>
                  </a:lnTo>
                  <a:lnTo>
                    <a:pt x="50" y="657"/>
                  </a:lnTo>
                  <a:lnTo>
                    <a:pt x="81" y="622"/>
                  </a:lnTo>
                  <a:lnTo>
                    <a:pt x="87" y="578"/>
                  </a:lnTo>
                  <a:lnTo>
                    <a:pt x="100" y="622"/>
                  </a:lnTo>
                  <a:lnTo>
                    <a:pt x="112" y="578"/>
                  </a:lnTo>
                  <a:lnTo>
                    <a:pt x="112" y="534"/>
                  </a:lnTo>
                  <a:lnTo>
                    <a:pt x="119" y="513"/>
                  </a:lnTo>
                  <a:lnTo>
                    <a:pt x="112" y="490"/>
                  </a:lnTo>
                  <a:lnTo>
                    <a:pt x="112" y="399"/>
                  </a:lnTo>
                  <a:lnTo>
                    <a:pt x="144" y="367"/>
                  </a:lnTo>
                  <a:lnTo>
                    <a:pt x="138" y="346"/>
                  </a:lnTo>
                  <a:lnTo>
                    <a:pt x="150" y="267"/>
                  </a:lnTo>
                  <a:lnTo>
                    <a:pt x="175" y="211"/>
                  </a:lnTo>
                  <a:lnTo>
                    <a:pt x="180" y="179"/>
                  </a:lnTo>
                  <a:lnTo>
                    <a:pt x="199" y="167"/>
                  </a:lnTo>
                  <a:lnTo>
                    <a:pt x="206" y="132"/>
                  </a:lnTo>
                  <a:lnTo>
                    <a:pt x="238" y="144"/>
                  </a:lnTo>
                  <a:lnTo>
                    <a:pt x="238" y="109"/>
                  </a:lnTo>
                  <a:lnTo>
                    <a:pt x="244" y="109"/>
                  </a:lnTo>
                  <a:lnTo>
                    <a:pt x="256" y="100"/>
                  </a:lnTo>
                  <a:lnTo>
                    <a:pt x="275" y="123"/>
                  </a:lnTo>
                  <a:lnTo>
                    <a:pt x="306" y="132"/>
                  </a:lnTo>
                  <a:lnTo>
                    <a:pt x="325" y="109"/>
                  </a:lnTo>
                  <a:lnTo>
                    <a:pt x="331" y="65"/>
                  </a:lnTo>
                  <a:lnTo>
                    <a:pt x="363" y="56"/>
                  </a:lnTo>
                  <a:lnTo>
                    <a:pt x="375" y="79"/>
                  </a:lnTo>
                  <a:lnTo>
                    <a:pt x="375" y="109"/>
                  </a:lnTo>
                  <a:lnTo>
                    <a:pt x="400" y="65"/>
                  </a:lnTo>
                  <a:lnTo>
                    <a:pt x="381" y="79"/>
                  </a:lnTo>
                  <a:lnTo>
                    <a:pt x="387" y="65"/>
                  </a:lnTo>
                  <a:lnTo>
                    <a:pt x="368" y="56"/>
                  </a:lnTo>
                  <a:lnTo>
                    <a:pt x="405" y="35"/>
                  </a:lnTo>
                  <a:lnTo>
                    <a:pt x="375" y="11"/>
                  </a:lnTo>
                  <a:lnTo>
                    <a:pt x="355" y="35"/>
                  </a:lnTo>
                  <a:lnTo>
                    <a:pt x="368" y="0"/>
                  </a:lnTo>
                  <a:lnTo>
                    <a:pt x="350" y="0"/>
                  </a:lnTo>
                  <a:lnTo>
                    <a:pt x="344" y="35"/>
                  </a:lnTo>
                  <a:lnTo>
                    <a:pt x="337" y="35"/>
                  </a:lnTo>
                  <a:lnTo>
                    <a:pt x="337" y="0"/>
                  </a:lnTo>
                  <a:lnTo>
                    <a:pt x="313" y="56"/>
                  </a:lnTo>
                  <a:lnTo>
                    <a:pt x="325" y="11"/>
                  </a:lnTo>
                  <a:lnTo>
                    <a:pt x="313" y="0"/>
                  </a:lnTo>
                  <a:lnTo>
                    <a:pt x="288" y="65"/>
                  </a:lnTo>
                  <a:lnTo>
                    <a:pt x="256" y="44"/>
                  </a:lnTo>
                  <a:lnTo>
                    <a:pt x="263" y="79"/>
                  </a:lnTo>
                  <a:lnTo>
                    <a:pt x="256" y="56"/>
                  </a:lnTo>
                  <a:lnTo>
                    <a:pt x="238" y="100"/>
                  </a:lnTo>
                  <a:lnTo>
                    <a:pt x="238" y="65"/>
                  </a:lnTo>
                  <a:lnTo>
                    <a:pt x="230" y="88"/>
                  </a:lnTo>
                  <a:lnTo>
                    <a:pt x="219" y="65"/>
                  </a:lnTo>
                  <a:lnTo>
                    <a:pt x="225" y="100"/>
                  </a:lnTo>
                  <a:lnTo>
                    <a:pt x="206" y="88"/>
                  </a:lnTo>
                  <a:lnTo>
                    <a:pt x="199" y="123"/>
                  </a:lnTo>
                  <a:lnTo>
                    <a:pt x="180" y="144"/>
                  </a:lnTo>
                  <a:lnTo>
                    <a:pt x="199" y="144"/>
                  </a:lnTo>
                  <a:lnTo>
                    <a:pt x="169" y="167"/>
                  </a:lnTo>
                  <a:lnTo>
                    <a:pt x="162" y="188"/>
                  </a:lnTo>
                  <a:lnTo>
                    <a:pt x="169" y="188"/>
                  </a:lnTo>
                  <a:lnTo>
                    <a:pt x="130" y="232"/>
                  </a:lnTo>
                  <a:lnTo>
                    <a:pt x="119" y="323"/>
                  </a:lnTo>
                  <a:lnTo>
                    <a:pt x="75" y="390"/>
                  </a:lnTo>
                  <a:lnTo>
                    <a:pt x="81" y="399"/>
                  </a:lnTo>
                  <a:lnTo>
                    <a:pt x="100" y="390"/>
                  </a:lnTo>
                  <a:lnTo>
                    <a:pt x="56" y="411"/>
                  </a:lnTo>
                  <a:lnTo>
                    <a:pt x="31" y="434"/>
                  </a:lnTo>
                  <a:lnTo>
                    <a:pt x="37" y="446"/>
                  </a:lnTo>
                  <a:lnTo>
                    <a:pt x="24" y="446"/>
                  </a:lnTo>
                  <a:lnTo>
                    <a:pt x="24" y="469"/>
                  </a:lnTo>
                  <a:lnTo>
                    <a:pt x="6" y="469"/>
                  </a:lnTo>
                  <a:lnTo>
                    <a:pt x="24" y="478"/>
                  </a:lnTo>
                  <a:lnTo>
                    <a:pt x="0" y="49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43" name="Freeform 539"/>
            <p:cNvSpPr>
              <a:spLocks/>
            </p:cNvSpPr>
            <p:nvPr>
              <p:custDataLst>
                <p:tags r:id="rId437"/>
              </p:custDataLst>
            </p:nvPr>
          </p:nvSpPr>
          <p:spPr bwMode="auto">
            <a:xfrm>
              <a:off x="4521448" y="2309813"/>
              <a:ext cx="593725" cy="520700"/>
            </a:xfrm>
            <a:custGeom>
              <a:avLst/>
              <a:gdLst>
                <a:gd name="T0" fmla="*/ 2147483647 w 405"/>
                <a:gd name="T1" fmla="*/ 2147483647 h 657"/>
                <a:gd name="T2" fmla="*/ 2147483647 w 405"/>
                <a:gd name="T3" fmla="*/ 2147483647 h 657"/>
                <a:gd name="T4" fmla="*/ 2147483647 w 405"/>
                <a:gd name="T5" fmla="*/ 2147483647 h 657"/>
                <a:gd name="T6" fmla="*/ 2147483647 w 405"/>
                <a:gd name="T7" fmla="*/ 2147483647 h 657"/>
                <a:gd name="T8" fmla="*/ 2147483647 w 405"/>
                <a:gd name="T9" fmla="*/ 2147483647 h 657"/>
                <a:gd name="T10" fmla="*/ 2147483647 w 405"/>
                <a:gd name="T11" fmla="*/ 2147483647 h 657"/>
                <a:gd name="T12" fmla="*/ 2147483647 w 405"/>
                <a:gd name="T13" fmla="*/ 2147483647 h 657"/>
                <a:gd name="T14" fmla="*/ 2147483647 w 405"/>
                <a:gd name="T15" fmla="*/ 2147483647 h 657"/>
                <a:gd name="T16" fmla="*/ 2147483647 w 405"/>
                <a:gd name="T17" fmla="*/ 2147483647 h 657"/>
                <a:gd name="T18" fmla="*/ 2147483647 w 405"/>
                <a:gd name="T19" fmla="*/ 2147483647 h 657"/>
                <a:gd name="T20" fmla="*/ 2147483647 w 405"/>
                <a:gd name="T21" fmla="*/ 2147483647 h 657"/>
                <a:gd name="T22" fmla="*/ 2147483647 w 405"/>
                <a:gd name="T23" fmla="*/ 2147483647 h 657"/>
                <a:gd name="T24" fmla="*/ 2147483647 w 405"/>
                <a:gd name="T25" fmla="*/ 2147483647 h 657"/>
                <a:gd name="T26" fmla="*/ 2147483647 w 405"/>
                <a:gd name="T27" fmla="*/ 2147483647 h 657"/>
                <a:gd name="T28" fmla="*/ 2147483647 w 405"/>
                <a:gd name="T29" fmla="*/ 2147483647 h 657"/>
                <a:gd name="T30" fmla="*/ 2147483647 w 405"/>
                <a:gd name="T31" fmla="*/ 2147483647 h 657"/>
                <a:gd name="T32" fmla="*/ 2147483647 w 405"/>
                <a:gd name="T33" fmla="*/ 2147483647 h 657"/>
                <a:gd name="T34" fmla="*/ 2147483647 w 405"/>
                <a:gd name="T35" fmla="*/ 2147483647 h 657"/>
                <a:gd name="T36" fmla="*/ 2147483647 w 405"/>
                <a:gd name="T37" fmla="*/ 2147483647 h 657"/>
                <a:gd name="T38" fmla="*/ 2147483647 w 405"/>
                <a:gd name="T39" fmla="*/ 2147483647 h 657"/>
                <a:gd name="T40" fmla="*/ 2147483647 w 405"/>
                <a:gd name="T41" fmla="*/ 2147483647 h 657"/>
                <a:gd name="T42" fmla="*/ 2147483647 w 405"/>
                <a:gd name="T43" fmla="*/ 2147483647 h 657"/>
                <a:gd name="T44" fmla="*/ 2147483647 w 405"/>
                <a:gd name="T45" fmla="*/ 0 h 657"/>
                <a:gd name="T46" fmla="*/ 2147483647 w 405"/>
                <a:gd name="T47" fmla="*/ 2147483647 h 657"/>
                <a:gd name="T48" fmla="*/ 2147483647 w 405"/>
                <a:gd name="T49" fmla="*/ 0 h 657"/>
                <a:gd name="T50" fmla="*/ 2147483647 w 405"/>
                <a:gd name="T51" fmla="*/ 2147483647 h 657"/>
                <a:gd name="T52" fmla="*/ 2147483647 w 405"/>
                <a:gd name="T53" fmla="*/ 2147483647 h 657"/>
                <a:gd name="T54" fmla="*/ 2147483647 w 405"/>
                <a:gd name="T55" fmla="*/ 2147483647 h 657"/>
                <a:gd name="T56" fmla="*/ 2147483647 w 405"/>
                <a:gd name="T57" fmla="*/ 2147483647 h 657"/>
                <a:gd name="T58" fmla="*/ 2147483647 w 405"/>
                <a:gd name="T59" fmla="*/ 2147483647 h 657"/>
                <a:gd name="T60" fmla="*/ 2147483647 w 405"/>
                <a:gd name="T61" fmla="*/ 2147483647 h 657"/>
                <a:gd name="T62" fmla="*/ 2147483647 w 405"/>
                <a:gd name="T63" fmla="*/ 2147483647 h 657"/>
                <a:gd name="T64" fmla="*/ 2147483647 w 405"/>
                <a:gd name="T65" fmla="*/ 2147483647 h 657"/>
                <a:gd name="T66" fmla="*/ 2147483647 w 405"/>
                <a:gd name="T67" fmla="*/ 2147483647 h 657"/>
                <a:gd name="T68" fmla="*/ 2147483647 w 405"/>
                <a:gd name="T69" fmla="*/ 2147483647 h 657"/>
                <a:gd name="T70" fmla="*/ 2147483647 w 405"/>
                <a:gd name="T71" fmla="*/ 2147483647 h 657"/>
                <a:gd name="T72" fmla="*/ 2147483647 w 405"/>
                <a:gd name="T73" fmla="*/ 2147483647 h 657"/>
                <a:gd name="T74" fmla="*/ 2147483647 w 405"/>
                <a:gd name="T75" fmla="*/ 2147483647 h 657"/>
                <a:gd name="T76" fmla="*/ 2147483647 w 405"/>
                <a:gd name="T77" fmla="*/ 2147483647 h 657"/>
                <a:gd name="T78" fmla="*/ 2147483647 w 405"/>
                <a:gd name="T79" fmla="*/ 2147483647 h 657"/>
                <a:gd name="T80" fmla="*/ 0 w 405"/>
                <a:gd name="T81" fmla="*/ 2147483647 h 65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405" h="657">
                  <a:moveTo>
                    <a:pt x="0" y="490"/>
                  </a:moveTo>
                  <a:lnTo>
                    <a:pt x="6" y="522"/>
                  </a:lnTo>
                  <a:lnTo>
                    <a:pt x="37" y="499"/>
                  </a:lnTo>
                  <a:lnTo>
                    <a:pt x="43" y="513"/>
                  </a:lnTo>
                  <a:lnTo>
                    <a:pt x="6" y="534"/>
                  </a:lnTo>
                  <a:lnTo>
                    <a:pt x="12" y="543"/>
                  </a:lnTo>
                  <a:lnTo>
                    <a:pt x="6" y="578"/>
                  </a:lnTo>
                  <a:lnTo>
                    <a:pt x="31" y="543"/>
                  </a:lnTo>
                  <a:lnTo>
                    <a:pt x="6" y="601"/>
                  </a:lnTo>
                  <a:lnTo>
                    <a:pt x="19" y="601"/>
                  </a:lnTo>
                  <a:lnTo>
                    <a:pt x="12" y="645"/>
                  </a:lnTo>
                  <a:lnTo>
                    <a:pt x="50" y="657"/>
                  </a:lnTo>
                  <a:lnTo>
                    <a:pt x="81" y="622"/>
                  </a:lnTo>
                  <a:lnTo>
                    <a:pt x="87" y="578"/>
                  </a:lnTo>
                  <a:lnTo>
                    <a:pt x="100" y="622"/>
                  </a:lnTo>
                  <a:lnTo>
                    <a:pt x="112" y="578"/>
                  </a:lnTo>
                  <a:lnTo>
                    <a:pt x="112" y="534"/>
                  </a:lnTo>
                  <a:lnTo>
                    <a:pt x="119" y="513"/>
                  </a:lnTo>
                  <a:lnTo>
                    <a:pt x="112" y="490"/>
                  </a:lnTo>
                  <a:lnTo>
                    <a:pt x="112" y="399"/>
                  </a:lnTo>
                  <a:lnTo>
                    <a:pt x="144" y="367"/>
                  </a:lnTo>
                  <a:lnTo>
                    <a:pt x="138" y="346"/>
                  </a:lnTo>
                  <a:lnTo>
                    <a:pt x="150" y="267"/>
                  </a:lnTo>
                  <a:lnTo>
                    <a:pt x="175" y="211"/>
                  </a:lnTo>
                  <a:lnTo>
                    <a:pt x="180" y="179"/>
                  </a:lnTo>
                  <a:lnTo>
                    <a:pt x="199" y="167"/>
                  </a:lnTo>
                  <a:lnTo>
                    <a:pt x="206" y="132"/>
                  </a:lnTo>
                  <a:lnTo>
                    <a:pt x="238" y="144"/>
                  </a:lnTo>
                  <a:lnTo>
                    <a:pt x="238" y="109"/>
                  </a:lnTo>
                  <a:lnTo>
                    <a:pt x="244" y="109"/>
                  </a:lnTo>
                  <a:lnTo>
                    <a:pt x="256" y="100"/>
                  </a:lnTo>
                  <a:lnTo>
                    <a:pt x="275" y="123"/>
                  </a:lnTo>
                  <a:lnTo>
                    <a:pt x="306" y="132"/>
                  </a:lnTo>
                  <a:lnTo>
                    <a:pt x="325" y="109"/>
                  </a:lnTo>
                  <a:lnTo>
                    <a:pt x="331" y="65"/>
                  </a:lnTo>
                  <a:lnTo>
                    <a:pt x="363" y="56"/>
                  </a:lnTo>
                  <a:lnTo>
                    <a:pt x="375" y="79"/>
                  </a:lnTo>
                  <a:lnTo>
                    <a:pt x="375" y="109"/>
                  </a:lnTo>
                  <a:lnTo>
                    <a:pt x="400" y="65"/>
                  </a:lnTo>
                  <a:lnTo>
                    <a:pt x="381" y="79"/>
                  </a:lnTo>
                  <a:lnTo>
                    <a:pt x="387" y="65"/>
                  </a:lnTo>
                  <a:lnTo>
                    <a:pt x="368" y="56"/>
                  </a:lnTo>
                  <a:lnTo>
                    <a:pt x="405" y="35"/>
                  </a:lnTo>
                  <a:lnTo>
                    <a:pt x="375" y="11"/>
                  </a:lnTo>
                  <a:lnTo>
                    <a:pt x="355" y="35"/>
                  </a:lnTo>
                  <a:lnTo>
                    <a:pt x="368" y="0"/>
                  </a:lnTo>
                  <a:lnTo>
                    <a:pt x="350" y="0"/>
                  </a:lnTo>
                  <a:lnTo>
                    <a:pt x="344" y="35"/>
                  </a:lnTo>
                  <a:lnTo>
                    <a:pt x="337" y="35"/>
                  </a:lnTo>
                  <a:lnTo>
                    <a:pt x="337" y="0"/>
                  </a:lnTo>
                  <a:lnTo>
                    <a:pt x="313" y="56"/>
                  </a:lnTo>
                  <a:lnTo>
                    <a:pt x="325" y="11"/>
                  </a:lnTo>
                  <a:lnTo>
                    <a:pt x="313" y="0"/>
                  </a:lnTo>
                  <a:lnTo>
                    <a:pt x="288" y="65"/>
                  </a:lnTo>
                  <a:lnTo>
                    <a:pt x="256" y="44"/>
                  </a:lnTo>
                  <a:lnTo>
                    <a:pt x="263" y="79"/>
                  </a:lnTo>
                  <a:lnTo>
                    <a:pt x="256" y="56"/>
                  </a:lnTo>
                  <a:lnTo>
                    <a:pt x="238" y="100"/>
                  </a:lnTo>
                  <a:lnTo>
                    <a:pt x="238" y="65"/>
                  </a:lnTo>
                  <a:lnTo>
                    <a:pt x="230" y="88"/>
                  </a:lnTo>
                  <a:lnTo>
                    <a:pt x="219" y="65"/>
                  </a:lnTo>
                  <a:lnTo>
                    <a:pt x="225" y="100"/>
                  </a:lnTo>
                  <a:lnTo>
                    <a:pt x="206" y="88"/>
                  </a:lnTo>
                  <a:lnTo>
                    <a:pt x="199" y="123"/>
                  </a:lnTo>
                  <a:lnTo>
                    <a:pt x="180" y="144"/>
                  </a:lnTo>
                  <a:lnTo>
                    <a:pt x="199" y="144"/>
                  </a:lnTo>
                  <a:lnTo>
                    <a:pt x="169" y="167"/>
                  </a:lnTo>
                  <a:lnTo>
                    <a:pt x="162" y="188"/>
                  </a:lnTo>
                  <a:lnTo>
                    <a:pt x="169" y="188"/>
                  </a:lnTo>
                  <a:lnTo>
                    <a:pt x="130" y="232"/>
                  </a:lnTo>
                  <a:lnTo>
                    <a:pt x="119" y="323"/>
                  </a:lnTo>
                  <a:lnTo>
                    <a:pt x="75" y="390"/>
                  </a:lnTo>
                  <a:lnTo>
                    <a:pt x="81" y="399"/>
                  </a:lnTo>
                  <a:lnTo>
                    <a:pt x="100" y="390"/>
                  </a:lnTo>
                  <a:lnTo>
                    <a:pt x="56" y="411"/>
                  </a:lnTo>
                  <a:lnTo>
                    <a:pt x="31" y="434"/>
                  </a:lnTo>
                  <a:lnTo>
                    <a:pt x="37" y="446"/>
                  </a:lnTo>
                  <a:lnTo>
                    <a:pt x="24" y="446"/>
                  </a:lnTo>
                  <a:lnTo>
                    <a:pt x="24" y="469"/>
                  </a:lnTo>
                  <a:lnTo>
                    <a:pt x="6" y="469"/>
                  </a:lnTo>
                  <a:lnTo>
                    <a:pt x="24" y="478"/>
                  </a:lnTo>
                  <a:lnTo>
                    <a:pt x="0" y="49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44" name="Freeform 540"/>
            <p:cNvSpPr>
              <a:spLocks/>
            </p:cNvSpPr>
            <p:nvPr>
              <p:custDataLst>
                <p:tags r:id="rId438"/>
              </p:custDataLst>
            </p:nvPr>
          </p:nvSpPr>
          <p:spPr bwMode="auto">
            <a:xfrm>
              <a:off x="5794623" y="3519488"/>
              <a:ext cx="385763" cy="373062"/>
            </a:xfrm>
            <a:custGeom>
              <a:avLst/>
              <a:gdLst>
                <a:gd name="T0" fmla="*/ 0 w 263"/>
                <a:gd name="T1" fmla="*/ 2147483647 h 469"/>
                <a:gd name="T2" fmla="*/ 2147483647 w 263"/>
                <a:gd name="T3" fmla="*/ 2147483647 h 469"/>
                <a:gd name="T4" fmla="*/ 2147483647 w 263"/>
                <a:gd name="T5" fmla="*/ 2147483647 h 469"/>
                <a:gd name="T6" fmla="*/ 2147483647 w 263"/>
                <a:gd name="T7" fmla="*/ 2147483647 h 469"/>
                <a:gd name="T8" fmla="*/ 2147483647 w 263"/>
                <a:gd name="T9" fmla="*/ 2147483647 h 469"/>
                <a:gd name="T10" fmla="*/ 2147483647 w 263"/>
                <a:gd name="T11" fmla="*/ 2147483647 h 469"/>
                <a:gd name="T12" fmla="*/ 2147483647 w 263"/>
                <a:gd name="T13" fmla="*/ 2147483647 h 469"/>
                <a:gd name="T14" fmla="*/ 2147483647 w 263"/>
                <a:gd name="T15" fmla="*/ 2147483647 h 469"/>
                <a:gd name="T16" fmla="*/ 2147483647 w 263"/>
                <a:gd name="T17" fmla="*/ 2147483647 h 469"/>
                <a:gd name="T18" fmla="*/ 2147483647 w 263"/>
                <a:gd name="T19" fmla="*/ 2147483647 h 469"/>
                <a:gd name="T20" fmla="*/ 2147483647 w 263"/>
                <a:gd name="T21" fmla="*/ 2147483647 h 469"/>
                <a:gd name="T22" fmla="*/ 2147483647 w 263"/>
                <a:gd name="T23" fmla="*/ 0 h 469"/>
                <a:gd name="T24" fmla="*/ 2147483647 w 263"/>
                <a:gd name="T25" fmla="*/ 2147483647 h 469"/>
                <a:gd name="T26" fmla="*/ 2147483647 w 263"/>
                <a:gd name="T27" fmla="*/ 2147483647 h 469"/>
                <a:gd name="T28" fmla="*/ 2147483647 w 263"/>
                <a:gd name="T29" fmla="*/ 2147483647 h 469"/>
                <a:gd name="T30" fmla="*/ 2147483647 w 263"/>
                <a:gd name="T31" fmla="*/ 2147483647 h 469"/>
                <a:gd name="T32" fmla="*/ 2147483647 w 263"/>
                <a:gd name="T33" fmla="*/ 2147483647 h 469"/>
                <a:gd name="T34" fmla="*/ 2147483647 w 263"/>
                <a:gd name="T35" fmla="*/ 2147483647 h 469"/>
                <a:gd name="T36" fmla="*/ 2147483647 w 263"/>
                <a:gd name="T37" fmla="*/ 2147483647 h 469"/>
                <a:gd name="T38" fmla="*/ 2147483647 w 263"/>
                <a:gd name="T39" fmla="*/ 2147483647 h 469"/>
                <a:gd name="T40" fmla="*/ 2147483647 w 263"/>
                <a:gd name="T41" fmla="*/ 2147483647 h 469"/>
                <a:gd name="T42" fmla="*/ 2147483647 w 263"/>
                <a:gd name="T43" fmla="*/ 2147483647 h 469"/>
                <a:gd name="T44" fmla="*/ 2147483647 w 263"/>
                <a:gd name="T45" fmla="*/ 2147483647 h 469"/>
                <a:gd name="T46" fmla="*/ 2147483647 w 263"/>
                <a:gd name="T47" fmla="*/ 2147483647 h 469"/>
                <a:gd name="T48" fmla="*/ 2147483647 w 263"/>
                <a:gd name="T49" fmla="*/ 2147483647 h 469"/>
                <a:gd name="T50" fmla="*/ 2147483647 w 263"/>
                <a:gd name="T51" fmla="*/ 2147483647 h 469"/>
                <a:gd name="T52" fmla="*/ 2147483647 w 263"/>
                <a:gd name="T53" fmla="*/ 2147483647 h 469"/>
                <a:gd name="T54" fmla="*/ 2147483647 w 263"/>
                <a:gd name="T55" fmla="*/ 2147483647 h 469"/>
                <a:gd name="T56" fmla="*/ 0 w 263"/>
                <a:gd name="T57" fmla="*/ 2147483647 h 4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63" h="469">
                  <a:moveTo>
                    <a:pt x="0" y="255"/>
                  </a:moveTo>
                  <a:lnTo>
                    <a:pt x="24" y="267"/>
                  </a:lnTo>
                  <a:lnTo>
                    <a:pt x="82" y="255"/>
                  </a:lnTo>
                  <a:lnTo>
                    <a:pt x="93" y="211"/>
                  </a:lnTo>
                  <a:lnTo>
                    <a:pt x="132" y="177"/>
                  </a:lnTo>
                  <a:lnTo>
                    <a:pt x="138" y="146"/>
                  </a:lnTo>
                  <a:lnTo>
                    <a:pt x="150" y="132"/>
                  </a:lnTo>
                  <a:lnTo>
                    <a:pt x="143" y="111"/>
                  </a:lnTo>
                  <a:lnTo>
                    <a:pt x="157" y="111"/>
                  </a:lnTo>
                  <a:lnTo>
                    <a:pt x="169" y="67"/>
                  </a:lnTo>
                  <a:lnTo>
                    <a:pt x="162" y="23"/>
                  </a:lnTo>
                  <a:lnTo>
                    <a:pt x="213" y="0"/>
                  </a:lnTo>
                  <a:lnTo>
                    <a:pt x="263" y="56"/>
                  </a:lnTo>
                  <a:lnTo>
                    <a:pt x="249" y="79"/>
                  </a:lnTo>
                  <a:lnTo>
                    <a:pt x="207" y="79"/>
                  </a:lnTo>
                  <a:lnTo>
                    <a:pt x="207" y="132"/>
                  </a:lnTo>
                  <a:lnTo>
                    <a:pt x="225" y="167"/>
                  </a:lnTo>
                  <a:lnTo>
                    <a:pt x="213" y="190"/>
                  </a:lnTo>
                  <a:lnTo>
                    <a:pt x="219" y="211"/>
                  </a:lnTo>
                  <a:lnTo>
                    <a:pt x="169" y="324"/>
                  </a:lnTo>
                  <a:lnTo>
                    <a:pt x="150" y="324"/>
                  </a:lnTo>
                  <a:lnTo>
                    <a:pt x="138" y="346"/>
                  </a:lnTo>
                  <a:lnTo>
                    <a:pt x="162" y="445"/>
                  </a:lnTo>
                  <a:lnTo>
                    <a:pt x="125" y="445"/>
                  </a:lnTo>
                  <a:lnTo>
                    <a:pt x="113" y="469"/>
                  </a:lnTo>
                  <a:lnTo>
                    <a:pt x="88" y="401"/>
                  </a:lnTo>
                  <a:lnTo>
                    <a:pt x="13" y="422"/>
                  </a:lnTo>
                  <a:lnTo>
                    <a:pt x="38" y="346"/>
                  </a:lnTo>
                  <a:lnTo>
                    <a:pt x="0" y="25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45" name="Freeform 541"/>
            <p:cNvSpPr>
              <a:spLocks/>
            </p:cNvSpPr>
            <p:nvPr>
              <p:custDataLst>
                <p:tags r:id="rId439"/>
              </p:custDataLst>
            </p:nvPr>
          </p:nvSpPr>
          <p:spPr bwMode="auto">
            <a:xfrm>
              <a:off x="5794623" y="3519488"/>
              <a:ext cx="385763" cy="373062"/>
            </a:xfrm>
            <a:custGeom>
              <a:avLst/>
              <a:gdLst>
                <a:gd name="T0" fmla="*/ 0 w 263"/>
                <a:gd name="T1" fmla="*/ 2147483647 h 469"/>
                <a:gd name="T2" fmla="*/ 2147483647 w 263"/>
                <a:gd name="T3" fmla="*/ 2147483647 h 469"/>
                <a:gd name="T4" fmla="*/ 2147483647 w 263"/>
                <a:gd name="T5" fmla="*/ 2147483647 h 469"/>
                <a:gd name="T6" fmla="*/ 2147483647 w 263"/>
                <a:gd name="T7" fmla="*/ 2147483647 h 469"/>
                <a:gd name="T8" fmla="*/ 2147483647 w 263"/>
                <a:gd name="T9" fmla="*/ 2147483647 h 469"/>
                <a:gd name="T10" fmla="*/ 2147483647 w 263"/>
                <a:gd name="T11" fmla="*/ 2147483647 h 469"/>
                <a:gd name="T12" fmla="*/ 2147483647 w 263"/>
                <a:gd name="T13" fmla="*/ 2147483647 h 469"/>
                <a:gd name="T14" fmla="*/ 2147483647 w 263"/>
                <a:gd name="T15" fmla="*/ 2147483647 h 469"/>
                <a:gd name="T16" fmla="*/ 2147483647 w 263"/>
                <a:gd name="T17" fmla="*/ 2147483647 h 469"/>
                <a:gd name="T18" fmla="*/ 2147483647 w 263"/>
                <a:gd name="T19" fmla="*/ 2147483647 h 469"/>
                <a:gd name="T20" fmla="*/ 2147483647 w 263"/>
                <a:gd name="T21" fmla="*/ 2147483647 h 469"/>
                <a:gd name="T22" fmla="*/ 2147483647 w 263"/>
                <a:gd name="T23" fmla="*/ 0 h 469"/>
                <a:gd name="T24" fmla="*/ 2147483647 w 263"/>
                <a:gd name="T25" fmla="*/ 2147483647 h 469"/>
                <a:gd name="T26" fmla="*/ 2147483647 w 263"/>
                <a:gd name="T27" fmla="*/ 2147483647 h 469"/>
                <a:gd name="T28" fmla="*/ 2147483647 w 263"/>
                <a:gd name="T29" fmla="*/ 2147483647 h 469"/>
                <a:gd name="T30" fmla="*/ 2147483647 w 263"/>
                <a:gd name="T31" fmla="*/ 2147483647 h 469"/>
                <a:gd name="T32" fmla="*/ 2147483647 w 263"/>
                <a:gd name="T33" fmla="*/ 2147483647 h 469"/>
                <a:gd name="T34" fmla="*/ 2147483647 w 263"/>
                <a:gd name="T35" fmla="*/ 2147483647 h 469"/>
                <a:gd name="T36" fmla="*/ 2147483647 w 263"/>
                <a:gd name="T37" fmla="*/ 2147483647 h 469"/>
                <a:gd name="T38" fmla="*/ 2147483647 w 263"/>
                <a:gd name="T39" fmla="*/ 2147483647 h 469"/>
                <a:gd name="T40" fmla="*/ 2147483647 w 263"/>
                <a:gd name="T41" fmla="*/ 2147483647 h 469"/>
                <a:gd name="T42" fmla="*/ 2147483647 w 263"/>
                <a:gd name="T43" fmla="*/ 2147483647 h 469"/>
                <a:gd name="T44" fmla="*/ 2147483647 w 263"/>
                <a:gd name="T45" fmla="*/ 2147483647 h 469"/>
                <a:gd name="T46" fmla="*/ 2147483647 w 263"/>
                <a:gd name="T47" fmla="*/ 2147483647 h 469"/>
                <a:gd name="T48" fmla="*/ 2147483647 w 263"/>
                <a:gd name="T49" fmla="*/ 2147483647 h 469"/>
                <a:gd name="T50" fmla="*/ 2147483647 w 263"/>
                <a:gd name="T51" fmla="*/ 2147483647 h 469"/>
                <a:gd name="T52" fmla="*/ 2147483647 w 263"/>
                <a:gd name="T53" fmla="*/ 2147483647 h 469"/>
                <a:gd name="T54" fmla="*/ 2147483647 w 263"/>
                <a:gd name="T55" fmla="*/ 2147483647 h 469"/>
                <a:gd name="T56" fmla="*/ 0 w 263"/>
                <a:gd name="T57" fmla="*/ 2147483647 h 4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63" h="469">
                  <a:moveTo>
                    <a:pt x="0" y="255"/>
                  </a:moveTo>
                  <a:lnTo>
                    <a:pt x="24" y="267"/>
                  </a:lnTo>
                  <a:lnTo>
                    <a:pt x="82" y="255"/>
                  </a:lnTo>
                  <a:lnTo>
                    <a:pt x="93" y="211"/>
                  </a:lnTo>
                  <a:lnTo>
                    <a:pt x="132" y="177"/>
                  </a:lnTo>
                  <a:lnTo>
                    <a:pt x="138" y="146"/>
                  </a:lnTo>
                  <a:lnTo>
                    <a:pt x="150" y="132"/>
                  </a:lnTo>
                  <a:lnTo>
                    <a:pt x="143" y="111"/>
                  </a:lnTo>
                  <a:lnTo>
                    <a:pt x="157" y="111"/>
                  </a:lnTo>
                  <a:lnTo>
                    <a:pt x="169" y="67"/>
                  </a:lnTo>
                  <a:lnTo>
                    <a:pt x="162" y="23"/>
                  </a:lnTo>
                  <a:lnTo>
                    <a:pt x="213" y="0"/>
                  </a:lnTo>
                  <a:lnTo>
                    <a:pt x="263" y="56"/>
                  </a:lnTo>
                  <a:lnTo>
                    <a:pt x="249" y="79"/>
                  </a:lnTo>
                  <a:lnTo>
                    <a:pt x="207" y="79"/>
                  </a:lnTo>
                  <a:lnTo>
                    <a:pt x="207" y="132"/>
                  </a:lnTo>
                  <a:lnTo>
                    <a:pt x="225" y="167"/>
                  </a:lnTo>
                  <a:lnTo>
                    <a:pt x="213" y="190"/>
                  </a:lnTo>
                  <a:lnTo>
                    <a:pt x="219" y="211"/>
                  </a:lnTo>
                  <a:lnTo>
                    <a:pt x="169" y="324"/>
                  </a:lnTo>
                  <a:lnTo>
                    <a:pt x="150" y="324"/>
                  </a:lnTo>
                  <a:lnTo>
                    <a:pt x="138" y="346"/>
                  </a:lnTo>
                  <a:lnTo>
                    <a:pt x="162" y="445"/>
                  </a:lnTo>
                  <a:lnTo>
                    <a:pt x="125" y="445"/>
                  </a:lnTo>
                  <a:lnTo>
                    <a:pt x="113" y="469"/>
                  </a:lnTo>
                  <a:lnTo>
                    <a:pt x="88" y="401"/>
                  </a:lnTo>
                  <a:lnTo>
                    <a:pt x="13" y="422"/>
                  </a:lnTo>
                  <a:lnTo>
                    <a:pt x="38" y="346"/>
                  </a:lnTo>
                  <a:lnTo>
                    <a:pt x="0" y="25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46" name="Freeform 542"/>
            <p:cNvSpPr>
              <a:spLocks/>
            </p:cNvSpPr>
            <p:nvPr>
              <p:custDataLst>
                <p:tags r:id="rId440"/>
              </p:custDataLst>
            </p:nvPr>
          </p:nvSpPr>
          <p:spPr bwMode="auto">
            <a:xfrm>
              <a:off x="5794623" y="3519488"/>
              <a:ext cx="385763" cy="373062"/>
            </a:xfrm>
            <a:custGeom>
              <a:avLst/>
              <a:gdLst>
                <a:gd name="T0" fmla="*/ 0 w 263"/>
                <a:gd name="T1" fmla="*/ 2147483647 h 469"/>
                <a:gd name="T2" fmla="*/ 2147483647 w 263"/>
                <a:gd name="T3" fmla="*/ 2147483647 h 469"/>
                <a:gd name="T4" fmla="*/ 2147483647 w 263"/>
                <a:gd name="T5" fmla="*/ 2147483647 h 469"/>
                <a:gd name="T6" fmla="*/ 2147483647 w 263"/>
                <a:gd name="T7" fmla="*/ 2147483647 h 469"/>
                <a:gd name="T8" fmla="*/ 2147483647 w 263"/>
                <a:gd name="T9" fmla="*/ 2147483647 h 469"/>
                <a:gd name="T10" fmla="*/ 2147483647 w 263"/>
                <a:gd name="T11" fmla="*/ 2147483647 h 469"/>
                <a:gd name="T12" fmla="*/ 2147483647 w 263"/>
                <a:gd name="T13" fmla="*/ 2147483647 h 469"/>
                <a:gd name="T14" fmla="*/ 2147483647 w 263"/>
                <a:gd name="T15" fmla="*/ 2147483647 h 469"/>
                <a:gd name="T16" fmla="*/ 2147483647 w 263"/>
                <a:gd name="T17" fmla="*/ 2147483647 h 469"/>
                <a:gd name="T18" fmla="*/ 2147483647 w 263"/>
                <a:gd name="T19" fmla="*/ 2147483647 h 469"/>
                <a:gd name="T20" fmla="*/ 2147483647 w 263"/>
                <a:gd name="T21" fmla="*/ 2147483647 h 469"/>
                <a:gd name="T22" fmla="*/ 2147483647 w 263"/>
                <a:gd name="T23" fmla="*/ 0 h 469"/>
                <a:gd name="T24" fmla="*/ 2147483647 w 263"/>
                <a:gd name="T25" fmla="*/ 2147483647 h 469"/>
                <a:gd name="T26" fmla="*/ 2147483647 w 263"/>
                <a:gd name="T27" fmla="*/ 2147483647 h 469"/>
                <a:gd name="T28" fmla="*/ 2147483647 w 263"/>
                <a:gd name="T29" fmla="*/ 2147483647 h 469"/>
                <a:gd name="T30" fmla="*/ 2147483647 w 263"/>
                <a:gd name="T31" fmla="*/ 2147483647 h 469"/>
                <a:gd name="T32" fmla="*/ 2147483647 w 263"/>
                <a:gd name="T33" fmla="*/ 2147483647 h 469"/>
                <a:gd name="T34" fmla="*/ 2147483647 w 263"/>
                <a:gd name="T35" fmla="*/ 2147483647 h 469"/>
                <a:gd name="T36" fmla="*/ 2147483647 w 263"/>
                <a:gd name="T37" fmla="*/ 2147483647 h 469"/>
                <a:gd name="T38" fmla="*/ 2147483647 w 263"/>
                <a:gd name="T39" fmla="*/ 2147483647 h 469"/>
                <a:gd name="T40" fmla="*/ 2147483647 w 263"/>
                <a:gd name="T41" fmla="*/ 2147483647 h 469"/>
                <a:gd name="T42" fmla="*/ 2147483647 w 263"/>
                <a:gd name="T43" fmla="*/ 2147483647 h 469"/>
                <a:gd name="T44" fmla="*/ 2147483647 w 263"/>
                <a:gd name="T45" fmla="*/ 2147483647 h 469"/>
                <a:gd name="T46" fmla="*/ 2147483647 w 263"/>
                <a:gd name="T47" fmla="*/ 2147483647 h 469"/>
                <a:gd name="T48" fmla="*/ 2147483647 w 263"/>
                <a:gd name="T49" fmla="*/ 2147483647 h 469"/>
                <a:gd name="T50" fmla="*/ 2147483647 w 263"/>
                <a:gd name="T51" fmla="*/ 2147483647 h 469"/>
                <a:gd name="T52" fmla="*/ 2147483647 w 263"/>
                <a:gd name="T53" fmla="*/ 2147483647 h 469"/>
                <a:gd name="T54" fmla="*/ 2147483647 w 263"/>
                <a:gd name="T55" fmla="*/ 2147483647 h 469"/>
                <a:gd name="T56" fmla="*/ 0 w 263"/>
                <a:gd name="T57" fmla="*/ 2147483647 h 4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63" h="469">
                  <a:moveTo>
                    <a:pt x="0" y="255"/>
                  </a:moveTo>
                  <a:lnTo>
                    <a:pt x="24" y="267"/>
                  </a:lnTo>
                  <a:lnTo>
                    <a:pt x="82" y="255"/>
                  </a:lnTo>
                  <a:lnTo>
                    <a:pt x="93" y="211"/>
                  </a:lnTo>
                  <a:lnTo>
                    <a:pt x="132" y="177"/>
                  </a:lnTo>
                  <a:lnTo>
                    <a:pt x="138" y="146"/>
                  </a:lnTo>
                  <a:lnTo>
                    <a:pt x="150" y="132"/>
                  </a:lnTo>
                  <a:lnTo>
                    <a:pt x="143" y="111"/>
                  </a:lnTo>
                  <a:lnTo>
                    <a:pt x="157" y="111"/>
                  </a:lnTo>
                  <a:lnTo>
                    <a:pt x="169" y="67"/>
                  </a:lnTo>
                  <a:lnTo>
                    <a:pt x="162" y="23"/>
                  </a:lnTo>
                  <a:lnTo>
                    <a:pt x="213" y="0"/>
                  </a:lnTo>
                  <a:lnTo>
                    <a:pt x="263" y="56"/>
                  </a:lnTo>
                  <a:lnTo>
                    <a:pt x="249" y="79"/>
                  </a:lnTo>
                  <a:lnTo>
                    <a:pt x="207" y="79"/>
                  </a:lnTo>
                  <a:lnTo>
                    <a:pt x="207" y="132"/>
                  </a:lnTo>
                  <a:lnTo>
                    <a:pt x="225" y="167"/>
                  </a:lnTo>
                  <a:lnTo>
                    <a:pt x="213" y="190"/>
                  </a:lnTo>
                  <a:lnTo>
                    <a:pt x="219" y="211"/>
                  </a:lnTo>
                  <a:lnTo>
                    <a:pt x="169" y="324"/>
                  </a:lnTo>
                  <a:lnTo>
                    <a:pt x="150" y="324"/>
                  </a:lnTo>
                  <a:lnTo>
                    <a:pt x="138" y="346"/>
                  </a:lnTo>
                  <a:lnTo>
                    <a:pt x="162" y="445"/>
                  </a:lnTo>
                  <a:lnTo>
                    <a:pt x="125" y="445"/>
                  </a:lnTo>
                  <a:lnTo>
                    <a:pt x="113" y="469"/>
                  </a:lnTo>
                  <a:lnTo>
                    <a:pt x="88" y="401"/>
                  </a:lnTo>
                  <a:lnTo>
                    <a:pt x="13" y="422"/>
                  </a:lnTo>
                  <a:lnTo>
                    <a:pt x="38" y="346"/>
                  </a:lnTo>
                  <a:lnTo>
                    <a:pt x="0" y="25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47" name="Freeform 543"/>
            <p:cNvSpPr>
              <a:spLocks/>
            </p:cNvSpPr>
            <p:nvPr>
              <p:custDataLst>
                <p:tags r:id="rId441"/>
              </p:custDataLst>
            </p:nvPr>
          </p:nvSpPr>
          <p:spPr bwMode="auto">
            <a:xfrm>
              <a:off x="5794623" y="3519488"/>
              <a:ext cx="385763" cy="373062"/>
            </a:xfrm>
            <a:custGeom>
              <a:avLst/>
              <a:gdLst>
                <a:gd name="T0" fmla="*/ 0 w 263"/>
                <a:gd name="T1" fmla="*/ 2147483647 h 469"/>
                <a:gd name="T2" fmla="*/ 2147483647 w 263"/>
                <a:gd name="T3" fmla="*/ 2147483647 h 469"/>
                <a:gd name="T4" fmla="*/ 2147483647 w 263"/>
                <a:gd name="T5" fmla="*/ 2147483647 h 469"/>
                <a:gd name="T6" fmla="*/ 2147483647 w 263"/>
                <a:gd name="T7" fmla="*/ 2147483647 h 469"/>
                <a:gd name="T8" fmla="*/ 2147483647 w 263"/>
                <a:gd name="T9" fmla="*/ 2147483647 h 469"/>
                <a:gd name="T10" fmla="*/ 2147483647 w 263"/>
                <a:gd name="T11" fmla="*/ 2147483647 h 469"/>
                <a:gd name="T12" fmla="*/ 2147483647 w 263"/>
                <a:gd name="T13" fmla="*/ 2147483647 h 469"/>
                <a:gd name="T14" fmla="*/ 2147483647 w 263"/>
                <a:gd name="T15" fmla="*/ 2147483647 h 469"/>
                <a:gd name="T16" fmla="*/ 2147483647 w 263"/>
                <a:gd name="T17" fmla="*/ 2147483647 h 469"/>
                <a:gd name="T18" fmla="*/ 2147483647 w 263"/>
                <a:gd name="T19" fmla="*/ 2147483647 h 469"/>
                <a:gd name="T20" fmla="*/ 2147483647 w 263"/>
                <a:gd name="T21" fmla="*/ 2147483647 h 469"/>
                <a:gd name="T22" fmla="*/ 2147483647 w 263"/>
                <a:gd name="T23" fmla="*/ 0 h 469"/>
                <a:gd name="T24" fmla="*/ 2147483647 w 263"/>
                <a:gd name="T25" fmla="*/ 2147483647 h 469"/>
                <a:gd name="T26" fmla="*/ 2147483647 w 263"/>
                <a:gd name="T27" fmla="*/ 2147483647 h 469"/>
                <a:gd name="T28" fmla="*/ 2147483647 w 263"/>
                <a:gd name="T29" fmla="*/ 2147483647 h 469"/>
                <a:gd name="T30" fmla="*/ 2147483647 w 263"/>
                <a:gd name="T31" fmla="*/ 2147483647 h 469"/>
                <a:gd name="T32" fmla="*/ 2147483647 w 263"/>
                <a:gd name="T33" fmla="*/ 2147483647 h 469"/>
                <a:gd name="T34" fmla="*/ 2147483647 w 263"/>
                <a:gd name="T35" fmla="*/ 2147483647 h 469"/>
                <a:gd name="T36" fmla="*/ 2147483647 w 263"/>
                <a:gd name="T37" fmla="*/ 2147483647 h 469"/>
                <a:gd name="T38" fmla="*/ 2147483647 w 263"/>
                <a:gd name="T39" fmla="*/ 2147483647 h 469"/>
                <a:gd name="T40" fmla="*/ 2147483647 w 263"/>
                <a:gd name="T41" fmla="*/ 2147483647 h 469"/>
                <a:gd name="T42" fmla="*/ 2147483647 w 263"/>
                <a:gd name="T43" fmla="*/ 2147483647 h 469"/>
                <a:gd name="T44" fmla="*/ 2147483647 w 263"/>
                <a:gd name="T45" fmla="*/ 2147483647 h 469"/>
                <a:gd name="T46" fmla="*/ 2147483647 w 263"/>
                <a:gd name="T47" fmla="*/ 2147483647 h 469"/>
                <a:gd name="T48" fmla="*/ 2147483647 w 263"/>
                <a:gd name="T49" fmla="*/ 2147483647 h 469"/>
                <a:gd name="T50" fmla="*/ 2147483647 w 263"/>
                <a:gd name="T51" fmla="*/ 2147483647 h 469"/>
                <a:gd name="T52" fmla="*/ 2147483647 w 263"/>
                <a:gd name="T53" fmla="*/ 2147483647 h 469"/>
                <a:gd name="T54" fmla="*/ 2147483647 w 263"/>
                <a:gd name="T55" fmla="*/ 2147483647 h 469"/>
                <a:gd name="T56" fmla="*/ 0 w 263"/>
                <a:gd name="T57" fmla="*/ 2147483647 h 4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63" h="469">
                  <a:moveTo>
                    <a:pt x="0" y="255"/>
                  </a:moveTo>
                  <a:lnTo>
                    <a:pt x="24" y="267"/>
                  </a:lnTo>
                  <a:lnTo>
                    <a:pt x="82" y="255"/>
                  </a:lnTo>
                  <a:lnTo>
                    <a:pt x="93" y="211"/>
                  </a:lnTo>
                  <a:lnTo>
                    <a:pt x="132" y="177"/>
                  </a:lnTo>
                  <a:lnTo>
                    <a:pt x="138" y="146"/>
                  </a:lnTo>
                  <a:lnTo>
                    <a:pt x="150" y="132"/>
                  </a:lnTo>
                  <a:lnTo>
                    <a:pt x="143" y="111"/>
                  </a:lnTo>
                  <a:lnTo>
                    <a:pt x="157" y="111"/>
                  </a:lnTo>
                  <a:lnTo>
                    <a:pt x="169" y="67"/>
                  </a:lnTo>
                  <a:lnTo>
                    <a:pt x="162" y="23"/>
                  </a:lnTo>
                  <a:lnTo>
                    <a:pt x="213" y="0"/>
                  </a:lnTo>
                  <a:lnTo>
                    <a:pt x="263" y="56"/>
                  </a:lnTo>
                  <a:lnTo>
                    <a:pt x="249" y="79"/>
                  </a:lnTo>
                  <a:lnTo>
                    <a:pt x="207" y="79"/>
                  </a:lnTo>
                  <a:lnTo>
                    <a:pt x="207" y="132"/>
                  </a:lnTo>
                  <a:lnTo>
                    <a:pt x="225" y="167"/>
                  </a:lnTo>
                  <a:lnTo>
                    <a:pt x="213" y="190"/>
                  </a:lnTo>
                  <a:lnTo>
                    <a:pt x="219" y="211"/>
                  </a:lnTo>
                  <a:lnTo>
                    <a:pt x="169" y="324"/>
                  </a:lnTo>
                  <a:lnTo>
                    <a:pt x="150" y="324"/>
                  </a:lnTo>
                  <a:lnTo>
                    <a:pt x="138" y="346"/>
                  </a:lnTo>
                  <a:lnTo>
                    <a:pt x="162" y="445"/>
                  </a:lnTo>
                  <a:lnTo>
                    <a:pt x="125" y="445"/>
                  </a:lnTo>
                  <a:lnTo>
                    <a:pt x="113" y="469"/>
                  </a:lnTo>
                  <a:lnTo>
                    <a:pt x="88" y="401"/>
                  </a:lnTo>
                  <a:lnTo>
                    <a:pt x="13" y="422"/>
                  </a:lnTo>
                  <a:lnTo>
                    <a:pt x="38" y="346"/>
                  </a:lnTo>
                  <a:lnTo>
                    <a:pt x="0" y="25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48" name="Freeform 544"/>
            <p:cNvSpPr>
              <a:spLocks/>
            </p:cNvSpPr>
            <p:nvPr>
              <p:custDataLst>
                <p:tags r:id="rId442"/>
              </p:custDataLst>
            </p:nvPr>
          </p:nvSpPr>
          <p:spPr bwMode="auto">
            <a:xfrm>
              <a:off x="2327523" y="4252913"/>
              <a:ext cx="130175" cy="63500"/>
            </a:xfrm>
            <a:custGeom>
              <a:avLst/>
              <a:gdLst>
                <a:gd name="T0" fmla="*/ 0 w 89"/>
                <a:gd name="T1" fmla="*/ 2147483647 h 78"/>
                <a:gd name="T2" fmla="*/ 2147483647 w 89"/>
                <a:gd name="T3" fmla="*/ 0 h 78"/>
                <a:gd name="T4" fmla="*/ 2147483647 w 89"/>
                <a:gd name="T5" fmla="*/ 2147483647 h 78"/>
                <a:gd name="T6" fmla="*/ 2147483647 w 89"/>
                <a:gd name="T7" fmla="*/ 0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2147483647 h 78"/>
                <a:gd name="T16" fmla="*/ 2147483647 w 89"/>
                <a:gd name="T17" fmla="*/ 2147483647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0 w 89"/>
                <a:gd name="T23" fmla="*/ 2147483647 h 7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9" h="78">
                  <a:moveTo>
                    <a:pt x="0" y="44"/>
                  </a:moveTo>
                  <a:lnTo>
                    <a:pt x="7" y="0"/>
                  </a:lnTo>
                  <a:lnTo>
                    <a:pt x="25" y="21"/>
                  </a:lnTo>
                  <a:lnTo>
                    <a:pt x="63" y="0"/>
                  </a:lnTo>
                  <a:lnTo>
                    <a:pt x="89" y="34"/>
                  </a:lnTo>
                  <a:lnTo>
                    <a:pt x="83" y="78"/>
                  </a:lnTo>
                  <a:lnTo>
                    <a:pt x="83" y="44"/>
                  </a:lnTo>
                  <a:lnTo>
                    <a:pt x="63" y="21"/>
                  </a:lnTo>
                  <a:lnTo>
                    <a:pt x="44" y="44"/>
                  </a:lnTo>
                  <a:lnTo>
                    <a:pt x="44" y="65"/>
                  </a:lnTo>
                  <a:lnTo>
                    <a:pt x="38" y="78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49" name="Freeform 545"/>
            <p:cNvSpPr>
              <a:spLocks/>
            </p:cNvSpPr>
            <p:nvPr>
              <p:custDataLst>
                <p:tags r:id="rId443"/>
              </p:custDataLst>
            </p:nvPr>
          </p:nvSpPr>
          <p:spPr bwMode="auto">
            <a:xfrm>
              <a:off x="2327523" y="4252913"/>
              <a:ext cx="130175" cy="63500"/>
            </a:xfrm>
            <a:custGeom>
              <a:avLst/>
              <a:gdLst>
                <a:gd name="T0" fmla="*/ 0 w 89"/>
                <a:gd name="T1" fmla="*/ 2147483647 h 78"/>
                <a:gd name="T2" fmla="*/ 2147483647 w 89"/>
                <a:gd name="T3" fmla="*/ 0 h 78"/>
                <a:gd name="T4" fmla="*/ 2147483647 w 89"/>
                <a:gd name="T5" fmla="*/ 2147483647 h 78"/>
                <a:gd name="T6" fmla="*/ 2147483647 w 89"/>
                <a:gd name="T7" fmla="*/ 0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2147483647 h 78"/>
                <a:gd name="T16" fmla="*/ 2147483647 w 89"/>
                <a:gd name="T17" fmla="*/ 2147483647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0 w 89"/>
                <a:gd name="T23" fmla="*/ 2147483647 h 7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9" h="78">
                  <a:moveTo>
                    <a:pt x="0" y="44"/>
                  </a:moveTo>
                  <a:lnTo>
                    <a:pt x="7" y="0"/>
                  </a:lnTo>
                  <a:lnTo>
                    <a:pt x="25" y="21"/>
                  </a:lnTo>
                  <a:lnTo>
                    <a:pt x="63" y="0"/>
                  </a:lnTo>
                  <a:lnTo>
                    <a:pt x="89" y="34"/>
                  </a:lnTo>
                  <a:lnTo>
                    <a:pt x="83" y="78"/>
                  </a:lnTo>
                  <a:lnTo>
                    <a:pt x="83" y="44"/>
                  </a:lnTo>
                  <a:lnTo>
                    <a:pt x="63" y="21"/>
                  </a:lnTo>
                  <a:lnTo>
                    <a:pt x="44" y="44"/>
                  </a:lnTo>
                  <a:lnTo>
                    <a:pt x="44" y="65"/>
                  </a:lnTo>
                  <a:lnTo>
                    <a:pt x="38" y="78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50" name="Freeform 546"/>
            <p:cNvSpPr>
              <a:spLocks/>
            </p:cNvSpPr>
            <p:nvPr>
              <p:custDataLst>
                <p:tags r:id="rId444"/>
              </p:custDataLst>
            </p:nvPr>
          </p:nvSpPr>
          <p:spPr bwMode="auto">
            <a:xfrm>
              <a:off x="2327523" y="4252913"/>
              <a:ext cx="130175" cy="63500"/>
            </a:xfrm>
            <a:custGeom>
              <a:avLst/>
              <a:gdLst>
                <a:gd name="T0" fmla="*/ 0 w 89"/>
                <a:gd name="T1" fmla="*/ 2147483647 h 78"/>
                <a:gd name="T2" fmla="*/ 2147483647 w 89"/>
                <a:gd name="T3" fmla="*/ 0 h 78"/>
                <a:gd name="T4" fmla="*/ 2147483647 w 89"/>
                <a:gd name="T5" fmla="*/ 2147483647 h 78"/>
                <a:gd name="T6" fmla="*/ 2147483647 w 89"/>
                <a:gd name="T7" fmla="*/ 0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2147483647 h 78"/>
                <a:gd name="T16" fmla="*/ 2147483647 w 89"/>
                <a:gd name="T17" fmla="*/ 2147483647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0 w 89"/>
                <a:gd name="T23" fmla="*/ 2147483647 h 7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9" h="78">
                  <a:moveTo>
                    <a:pt x="0" y="44"/>
                  </a:moveTo>
                  <a:lnTo>
                    <a:pt x="7" y="0"/>
                  </a:lnTo>
                  <a:lnTo>
                    <a:pt x="25" y="21"/>
                  </a:lnTo>
                  <a:lnTo>
                    <a:pt x="63" y="0"/>
                  </a:lnTo>
                  <a:lnTo>
                    <a:pt x="89" y="34"/>
                  </a:lnTo>
                  <a:lnTo>
                    <a:pt x="83" y="78"/>
                  </a:lnTo>
                  <a:lnTo>
                    <a:pt x="83" y="44"/>
                  </a:lnTo>
                  <a:lnTo>
                    <a:pt x="63" y="21"/>
                  </a:lnTo>
                  <a:lnTo>
                    <a:pt x="44" y="44"/>
                  </a:lnTo>
                  <a:lnTo>
                    <a:pt x="44" y="65"/>
                  </a:lnTo>
                  <a:lnTo>
                    <a:pt x="38" y="78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51" name="Freeform 547"/>
            <p:cNvSpPr>
              <a:spLocks/>
            </p:cNvSpPr>
            <p:nvPr>
              <p:custDataLst>
                <p:tags r:id="rId445"/>
              </p:custDataLst>
            </p:nvPr>
          </p:nvSpPr>
          <p:spPr bwMode="auto">
            <a:xfrm>
              <a:off x="2327523" y="4252913"/>
              <a:ext cx="130175" cy="63500"/>
            </a:xfrm>
            <a:custGeom>
              <a:avLst/>
              <a:gdLst>
                <a:gd name="T0" fmla="*/ 0 w 89"/>
                <a:gd name="T1" fmla="*/ 2147483647 h 78"/>
                <a:gd name="T2" fmla="*/ 2147483647 w 89"/>
                <a:gd name="T3" fmla="*/ 0 h 78"/>
                <a:gd name="T4" fmla="*/ 2147483647 w 89"/>
                <a:gd name="T5" fmla="*/ 2147483647 h 78"/>
                <a:gd name="T6" fmla="*/ 2147483647 w 89"/>
                <a:gd name="T7" fmla="*/ 0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2147483647 h 78"/>
                <a:gd name="T16" fmla="*/ 2147483647 w 89"/>
                <a:gd name="T17" fmla="*/ 2147483647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0 w 89"/>
                <a:gd name="T23" fmla="*/ 2147483647 h 7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9" h="78">
                  <a:moveTo>
                    <a:pt x="0" y="44"/>
                  </a:moveTo>
                  <a:lnTo>
                    <a:pt x="7" y="0"/>
                  </a:lnTo>
                  <a:lnTo>
                    <a:pt x="25" y="21"/>
                  </a:lnTo>
                  <a:lnTo>
                    <a:pt x="63" y="0"/>
                  </a:lnTo>
                  <a:lnTo>
                    <a:pt x="89" y="34"/>
                  </a:lnTo>
                  <a:lnTo>
                    <a:pt x="83" y="78"/>
                  </a:lnTo>
                  <a:lnTo>
                    <a:pt x="83" y="44"/>
                  </a:lnTo>
                  <a:lnTo>
                    <a:pt x="63" y="21"/>
                  </a:lnTo>
                  <a:lnTo>
                    <a:pt x="44" y="44"/>
                  </a:lnTo>
                  <a:lnTo>
                    <a:pt x="44" y="65"/>
                  </a:lnTo>
                  <a:lnTo>
                    <a:pt x="38" y="78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52" name="Freeform 548"/>
            <p:cNvSpPr>
              <a:spLocks/>
            </p:cNvSpPr>
            <p:nvPr>
              <p:custDataLst>
                <p:tags r:id="rId446"/>
              </p:custDataLst>
            </p:nvPr>
          </p:nvSpPr>
          <p:spPr bwMode="auto">
            <a:xfrm>
              <a:off x="7628186" y="4562475"/>
              <a:ext cx="228600" cy="195263"/>
            </a:xfrm>
            <a:custGeom>
              <a:avLst/>
              <a:gdLst>
                <a:gd name="T0" fmla="*/ 0 w 156"/>
                <a:gd name="T1" fmla="*/ 0 h 245"/>
                <a:gd name="T2" fmla="*/ 0 w 156"/>
                <a:gd name="T3" fmla="*/ 2147483647 h 245"/>
                <a:gd name="T4" fmla="*/ 2147483647 w 156"/>
                <a:gd name="T5" fmla="*/ 2147483647 h 245"/>
                <a:gd name="T6" fmla="*/ 2147483647 w 156"/>
                <a:gd name="T7" fmla="*/ 2147483647 h 245"/>
                <a:gd name="T8" fmla="*/ 2147483647 w 156"/>
                <a:gd name="T9" fmla="*/ 2147483647 h 245"/>
                <a:gd name="T10" fmla="*/ 2147483647 w 156"/>
                <a:gd name="T11" fmla="*/ 2147483647 h 245"/>
                <a:gd name="T12" fmla="*/ 2147483647 w 156"/>
                <a:gd name="T13" fmla="*/ 2147483647 h 245"/>
                <a:gd name="T14" fmla="*/ 2147483647 w 156"/>
                <a:gd name="T15" fmla="*/ 2147483647 h 245"/>
                <a:gd name="T16" fmla="*/ 2147483647 w 156"/>
                <a:gd name="T17" fmla="*/ 2147483647 h 245"/>
                <a:gd name="T18" fmla="*/ 2147483647 w 156"/>
                <a:gd name="T19" fmla="*/ 2147483647 h 245"/>
                <a:gd name="T20" fmla="*/ 2147483647 w 156"/>
                <a:gd name="T21" fmla="*/ 2147483647 h 245"/>
                <a:gd name="T22" fmla="*/ 0 w 156"/>
                <a:gd name="T23" fmla="*/ 0 h 2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6" h="245">
                  <a:moveTo>
                    <a:pt x="0" y="0"/>
                  </a:moveTo>
                  <a:lnTo>
                    <a:pt x="0" y="213"/>
                  </a:lnTo>
                  <a:lnTo>
                    <a:pt x="25" y="213"/>
                  </a:lnTo>
                  <a:lnTo>
                    <a:pt x="50" y="155"/>
                  </a:lnTo>
                  <a:lnTo>
                    <a:pt x="81" y="178"/>
                  </a:lnTo>
                  <a:lnTo>
                    <a:pt x="106" y="245"/>
                  </a:lnTo>
                  <a:lnTo>
                    <a:pt x="156" y="245"/>
                  </a:lnTo>
                  <a:lnTo>
                    <a:pt x="100" y="155"/>
                  </a:lnTo>
                  <a:lnTo>
                    <a:pt x="100" y="111"/>
                  </a:lnTo>
                  <a:lnTo>
                    <a:pt x="76" y="99"/>
                  </a:lnTo>
                  <a:lnTo>
                    <a:pt x="50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53" name="Freeform 549"/>
            <p:cNvSpPr>
              <a:spLocks/>
            </p:cNvSpPr>
            <p:nvPr>
              <p:custDataLst>
                <p:tags r:id="rId447"/>
              </p:custDataLst>
            </p:nvPr>
          </p:nvSpPr>
          <p:spPr bwMode="auto">
            <a:xfrm>
              <a:off x="7628186" y="4562475"/>
              <a:ext cx="228600" cy="195263"/>
            </a:xfrm>
            <a:custGeom>
              <a:avLst/>
              <a:gdLst>
                <a:gd name="T0" fmla="*/ 0 w 156"/>
                <a:gd name="T1" fmla="*/ 0 h 245"/>
                <a:gd name="T2" fmla="*/ 0 w 156"/>
                <a:gd name="T3" fmla="*/ 2147483647 h 245"/>
                <a:gd name="T4" fmla="*/ 2147483647 w 156"/>
                <a:gd name="T5" fmla="*/ 2147483647 h 245"/>
                <a:gd name="T6" fmla="*/ 2147483647 w 156"/>
                <a:gd name="T7" fmla="*/ 2147483647 h 245"/>
                <a:gd name="T8" fmla="*/ 2147483647 w 156"/>
                <a:gd name="T9" fmla="*/ 2147483647 h 245"/>
                <a:gd name="T10" fmla="*/ 2147483647 w 156"/>
                <a:gd name="T11" fmla="*/ 2147483647 h 245"/>
                <a:gd name="T12" fmla="*/ 2147483647 w 156"/>
                <a:gd name="T13" fmla="*/ 2147483647 h 245"/>
                <a:gd name="T14" fmla="*/ 2147483647 w 156"/>
                <a:gd name="T15" fmla="*/ 2147483647 h 245"/>
                <a:gd name="T16" fmla="*/ 2147483647 w 156"/>
                <a:gd name="T17" fmla="*/ 2147483647 h 245"/>
                <a:gd name="T18" fmla="*/ 2147483647 w 156"/>
                <a:gd name="T19" fmla="*/ 2147483647 h 245"/>
                <a:gd name="T20" fmla="*/ 2147483647 w 156"/>
                <a:gd name="T21" fmla="*/ 2147483647 h 245"/>
                <a:gd name="T22" fmla="*/ 0 w 156"/>
                <a:gd name="T23" fmla="*/ 0 h 2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6" h="245">
                  <a:moveTo>
                    <a:pt x="0" y="0"/>
                  </a:moveTo>
                  <a:lnTo>
                    <a:pt x="0" y="213"/>
                  </a:lnTo>
                  <a:lnTo>
                    <a:pt x="25" y="213"/>
                  </a:lnTo>
                  <a:lnTo>
                    <a:pt x="50" y="155"/>
                  </a:lnTo>
                  <a:lnTo>
                    <a:pt x="81" y="178"/>
                  </a:lnTo>
                  <a:lnTo>
                    <a:pt x="106" y="245"/>
                  </a:lnTo>
                  <a:lnTo>
                    <a:pt x="156" y="245"/>
                  </a:lnTo>
                  <a:lnTo>
                    <a:pt x="100" y="155"/>
                  </a:lnTo>
                  <a:lnTo>
                    <a:pt x="100" y="111"/>
                  </a:lnTo>
                  <a:lnTo>
                    <a:pt x="76" y="99"/>
                  </a:lnTo>
                  <a:lnTo>
                    <a:pt x="50" y="44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54" name="Freeform 550"/>
            <p:cNvSpPr>
              <a:spLocks/>
            </p:cNvSpPr>
            <p:nvPr>
              <p:custDataLst>
                <p:tags r:id="rId448"/>
              </p:custDataLst>
            </p:nvPr>
          </p:nvSpPr>
          <p:spPr bwMode="auto">
            <a:xfrm>
              <a:off x="7628186" y="4562475"/>
              <a:ext cx="228600" cy="195263"/>
            </a:xfrm>
            <a:custGeom>
              <a:avLst/>
              <a:gdLst>
                <a:gd name="T0" fmla="*/ 0 w 156"/>
                <a:gd name="T1" fmla="*/ 0 h 245"/>
                <a:gd name="T2" fmla="*/ 0 w 156"/>
                <a:gd name="T3" fmla="*/ 2147483647 h 245"/>
                <a:gd name="T4" fmla="*/ 2147483647 w 156"/>
                <a:gd name="T5" fmla="*/ 2147483647 h 245"/>
                <a:gd name="T6" fmla="*/ 2147483647 w 156"/>
                <a:gd name="T7" fmla="*/ 2147483647 h 245"/>
                <a:gd name="T8" fmla="*/ 2147483647 w 156"/>
                <a:gd name="T9" fmla="*/ 2147483647 h 245"/>
                <a:gd name="T10" fmla="*/ 2147483647 w 156"/>
                <a:gd name="T11" fmla="*/ 2147483647 h 245"/>
                <a:gd name="T12" fmla="*/ 2147483647 w 156"/>
                <a:gd name="T13" fmla="*/ 2147483647 h 245"/>
                <a:gd name="T14" fmla="*/ 2147483647 w 156"/>
                <a:gd name="T15" fmla="*/ 2147483647 h 245"/>
                <a:gd name="T16" fmla="*/ 2147483647 w 156"/>
                <a:gd name="T17" fmla="*/ 2147483647 h 245"/>
                <a:gd name="T18" fmla="*/ 2147483647 w 156"/>
                <a:gd name="T19" fmla="*/ 2147483647 h 245"/>
                <a:gd name="T20" fmla="*/ 2147483647 w 156"/>
                <a:gd name="T21" fmla="*/ 2147483647 h 245"/>
                <a:gd name="T22" fmla="*/ 0 w 156"/>
                <a:gd name="T23" fmla="*/ 0 h 2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6" h="245">
                  <a:moveTo>
                    <a:pt x="0" y="0"/>
                  </a:moveTo>
                  <a:lnTo>
                    <a:pt x="0" y="213"/>
                  </a:lnTo>
                  <a:lnTo>
                    <a:pt x="25" y="213"/>
                  </a:lnTo>
                  <a:lnTo>
                    <a:pt x="50" y="155"/>
                  </a:lnTo>
                  <a:lnTo>
                    <a:pt x="81" y="178"/>
                  </a:lnTo>
                  <a:lnTo>
                    <a:pt x="106" y="245"/>
                  </a:lnTo>
                  <a:lnTo>
                    <a:pt x="156" y="245"/>
                  </a:lnTo>
                  <a:lnTo>
                    <a:pt x="100" y="155"/>
                  </a:lnTo>
                  <a:lnTo>
                    <a:pt x="100" y="111"/>
                  </a:lnTo>
                  <a:lnTo>
                    <a:pt x="76" y="99"/>
                  </a:lnTo>
                  <a:lnTo>
                    <a:pt x="50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55" name="Freeform 551"/>
            <p:cNvSpPr>
              <a:spLocks/>
            </p:cNvSpPr>
            <p:nvPr>
              <p:custDataLst>
                <p:tags r:id="rId449"/>
              </p:custDataLst>
            </p:nvPr>
          </p:nvSpPr>
          <p:spPr bwMode="auto">
            <a:xfrm>
              <a:off x="7628186" y="4562475"/>
              <a:ext cx="228600" cy="195263"/>
            </a:xfrm>
            <a:custGeom>
              <a:avLst/>
              <a:gdLst>
                <a:gd name="T0" fmla="*/ 0 w 156"/>
                <a:gd name="T1" fmla="*/ 0 h 245"/>
                <a:gd name="T2" fmla="*/ 0 w 156"/>
                <a:gd name="T3" fmla="*/ 2147483647 h 245"/>
                <a:gd name="T4" fmla="*/ 2147483647 w 156"/>
                <a:gd name="T5" fmla="*/ 2147483647 h 245"/>
                <a:gd name="T6" fmla="*/ 2147483647 w 156"/>
                <a:gd name="T7" fmla="*/ 2147483647 h 245"/>
                <a:gd name="T8" fmla="*/ 2147483647 w 156"/>
                <a:gd name="T9" fmla="*/ 2147483647 h 245"/>
                <a:gd name="T10" fmla="*/ 2147483647 w 156"/>
                <a:gd name="T11" fmla="*/ 2147483647 h 245"/>
                <a:gd name="T12" fmla="*/ 2147483647 w 156"/>
                <a:gd name="T13" fmla="*/ 2147483647 h 245"/>
                <a:gd name="T14" fmla="*/ 2147483647 w 156"/>
                <a:gd name="T15" fmla="*/ 2147483647 h 245"/>
                <a:gd name="T16" fmla="*/ 2147483647 w 156"/>
                <a:gd name="T17" fmla="*/ 2147483647 h 245"/>
                <a:gd name="T18" fmla="*/ 2147483647 w 156"/>
                <a:gd name="T19" fmla="*/ 2147483647 h 245"/>
                <a:gd name="T20" fmla="*/ 2147483647 w 156"/>
                <a:gd name="T21" fmla="*/ 2147483647 h 245"/>
                <a:gd name="T22" fmla="*/ 0 w 156"/>
                <a:gd name="T23" fmla="*/ 0 h 2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6" h="245">
                  <a:moveTo>
                    <a:pt x="0" y="0"/>
                  </a:moveTo>
                  <a:lnTo>
                    <a:pt x="0" y="213"/>
                  </a:lnTo>
                  <a:lnTo>
                    <a:pt x="25" y="213"/>
                  </a:lnTo>
                  <a:lnTo>
                    <a:pt x="50" y="155"/>
                  </a:lnTo>
                  <a:lnTo>
                    <a:pt x="81" y="178"/>
                  </a:lnTo>
                  <a:lnTo>
                    <a:pt x="106" y="245"/>
                  </a:lnTo>
                  <a:lnTo>
                    <a:pt x="156" y="245"/>
                  </a:lnTo>
                  <a:lnTo>
                    <a:pt x="100" y="155"/>
                  </a:lnTo>
                  <a:lnTo>
                    <a:pt x="100" y="111"/>
                  </a:lnTo>
                  <a:lnTo>
                    <a:pt x="76" y="99"/>
                  </a:lnTo>
                  <a:lnTo>
                    <a:pt x="50" y="44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56" name="Freeform 552"/>
            <p:cNvSpPr>
              <a:spLocks/>
            </p:cNvSpPr>
            <p:nvPr>
              <p:custDataLst>
                <p:tags r:id="rId450"/>
              </p:custDataLst>
            </p:nvPr>
          </p:nvSpPr>
          <p:spPr bwMode="auto">
            <a:xfrm>
              <a:off x="7794873" y="4606925"/>
              <a:ext cx="90488" cy="53975"/>
            </a:xfrm>
            <a:custGeom>
              <a:avLst/>
              <a:gdLst>
                <a:gd name="T0" fmla="*/ 0 w 62"/>
                <a:gd name="T1" fmla="*/ 2147483647 h 67"/>
                <a:gd name="T2" fmla="*/ 2147483647 w 62"/>
                <a:gd name="T3" fmla="*/ 2147483647 h 67"/>
                <a:gd name="T4" fmla="*/ 2147483647 w 62"/>
                <a:gd name="T5" fmla="*/ 2147483647 h 67"/>
                <a:gd name="T6" fmla="*/ 2147483647 w 62"/>
                <a:gd name="T7" fmla="*/ 0 h 67"/>
                <a:gd name="T8" fmla="*/ 2147483647 w 62"/>
                <a:gd name="T9" fmla="*/ 2147483647 h 67"/>
                <a:gd name="T10" fmla="*/ 0 w 62"/>
                <a:gd name="T11" fmla="*/ 2147483647 h 6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" h="67">
                  <a:moveTo>
                    <a:pt x="0" y="44"/>
                  </a:moveTo>
                  <a:lnTo>
                    <a:pt x="37" y="67"/>
                  </a:lnTo>
                  <a:lnTo>
                    <a:pt x="62" y="23"/>
                  </a:lnTo>
                  <a:lnTo>
                    <a:pt x="56" y="0"/>
                  </a:lnTo>
                  <a:lnTo>
                    <a:pt x="43" y="2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57" name="Freeform 553"/>
            <p:cNvSpPr>
              <a:spLocks/>
            </p:cNvSpPr>
            <p:nvPr>
              <p:custDataLst>
                <p:tags r:id="rId451"/>
              </p:custDataLst>
            </p:nvPr>
          </p:nvSpPr>
          <p:spPr bwMode="auto">
            <a:xfrm>
              <a:off x="7794873" y="4606925"/>
              <a:ext cx="90488" cy="53975"/>
            </a:xfrm>
            <a:custGeom>
              <a:avLst/>
              <a:gdLst>
                <a:gd name="T0" fmla="*/ 0 w 62"/>
                <a:gd name="T1" fmla="*/ 2147483647 h 67"/>
                <a:gd name="T2" fmla="*/ 2147483647 w 62"/>
                <a:gd name="T3" fmla="*/ 2147483647 h 67"/>
                <a:gd name="T4" fmla="*/ 2147483647 w 62"/>
                <a:gd name="T5" fmla="*/ 2147483647 h 67"/>
                <a:gd name="T6" fmla="*/ 2147483647 w 62"/>
                <a:gd name="T7" fmla="*/ 0 h 67"/>
                <a:gd name="T8" fmla="*/ 2147483647 w 62"/>
                <a:gd name="T9" fmla="*/ 2147483647 h 67"/>
                <a:gd name="T10" fmla="*/ 0 w 62"/>
                <a:gd name="T11" fmla="*/ 2147483647 h 6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" h="67">
                  <a:moveTo>
                    <a:pt x="0" y="44"/>
                  </a:moveTo>
                  <a:lnTo>
                    <a:pt x="37" y="67"/>
                  </a:lnTo>
                  <a:lnTo>
                    <a:pt x="62" y="23"/>
                  </a:lnTo>
                  <a:lnTo>
                    <a:pt x="56" y="0"/>
                  </a:lnTo>
                  <a:lnTo>
                    <a:pt x="43" y="23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58" name="Freeform 554"/>
            <p:cNvSpPr>
              <a:spLocks/>
            </p:cNvSpPr>
            <p:nvPr>
              <p:custDataLst>
                <p:tags r:id="rId452"/>
              </p:custDataLst>
            </p:nvPr>
          </p:nvSpPr>
          <p:spPr bwMode="auto">
            <a:xfrm>
              <a:off x="7794873" y="4606925"/>
              <a:ext cx="90488" cy="53975"/>
            </a:xfrm>
            <a:custGeom>
              <a:avLst/>
              <a:gdLst>
                <a:gd name="T0" fmla="*/ 0 w 62"/>
                <a:gd name="T1" fmla="*/ 2147483647 h 67"/>
                <a:gd name="T2" fmla="*/ 2147483647 w 62"/>
                <a:gd name="T3" fmla="*/ 2147483647 h 67"/>
                <a:gd name="T4" fmla="*/ 2147483647 w 62"/>
                <a:gd name="T5" fmla="*/ 2147483647 h 67"/>
                <a:gd name="T6" fmla="*/ 2147483647 w 62"/>
                <a:gd name="T7" fmla="*/ 0 h 67"/>
                <a:gd name="T8" fmla="*/ 2147483647 w 62"/>
                <a:gd name="T9" fmla="*/ 2147483647 h 67"/>
                <a:gd name="T10" fmla="*/ 0 w 62"/>
                <a:gd name="T11" fmla="*/ 2147483647 h 6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" h="67">
                  <a:moveTo>
                    <a:pt x="0" y="44"/>
                  </a:moveTo>
                  <a:lnTo>
                    <a:pt x="37" y="67"/>
                  </a:lnTo>
                  <a:lnTo>
                    <a:pt x="62" y="23"/>
                  </a:lnTo>
                  <a:lnTo>
                    <a:pt x="56" y="0"/>
                  </a:lnTo>
                  <a:lnTo>
                    <a:pt x="43" y="2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59" name="Freeform 555"/>
            <p:cNvSpPr>
              <a:spLocks/>
            </p:cNvSpPr>
            <p:nvPr>
              <p:custDataLst>
                <p:tags r:id="rId453"/>
              </p:custDataLst>
            </p:nvPr>
          </p:nvSpPr>
          <p:spPr bwMode="auto">
            <a:xfrm>
              <a:off x="7794873" y="4606925"/>
              <a:ext cx="90488" cy="53975"/>
            </a:xfrm>
            <a:custGeom>
              <a:avLst/>
              <a:gdLst>
                <a:gd name="T0" fmla="*/ 0 w 62"/>
                <a:gd name="T1" fmla="*/ 2147483647 h 67"/>
                <a:gd name="T2" fmla="*/ 2147483647 w 62"/>
                <a:gd name="T3" fmla="*/ 2147483647 h 67"/>
                <a:gd name="T4" fmla="*/ 2147483647 w 62"/>
                <a:gd name="T5" fmla="*/ 2147483647 h 67"/>
                <a:gd name="T6" fmla="*/ 2147483647 w 62"/>
                <a:gd name="T7" fmla="*/ 0 h 67"/>
                <a:gd name="T8" fmla="*/ 2147483647 w 62"/>
                <a:gd name="T9" fmla="*/ 2147483647 h 67"/>
                <a:gd name="T10" fmla="*/ 0 w 62"/>
                <a:gd name="T11" fmla="*/ 2147483647 h 6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" h="67">
                  <a:moveTo>
                    <a:pt x="0" y="44"/>
                  </a:moveTo>
                  <a:lnTo>
                    <a:pt x="37" y="67"/>
                  </a:lnTo>
                  <a:lnTo>
                    <a:pt x="62" y="23"/>
                  </a:lnTo>
                  <a:lnTo>
                    <a:pt x="56" y="0"/>
                  </a:lnTo>
                  <a:lnTo>
                    <a:pt x="43" y="23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60" name="Freeform 556"/>
            <p:cNvSpPr>
              <a:spLocks/>
            </p:cNvSpPr>
            <p:nvPr>
              <p:custDataLst>
                <p:tags r:id="rId454"/>
              </p:custDataLst>
            </p:nvPr>
          </p:nvSpPr>
          <p:spPr bwMode="auto">
            <a:xfrm>
              <a:off x="7848848" y="4562475"/>
              <a:ext cx="46038" cy="53975"/>
            </a:xfrm>
            <a:custGeom>
              <a:avLst/>
              <a:gdLst>
                <a:gd name="T0" fmla="*/ 0 w 31"/>
                <a:gd name="T1" fmla="*/ 0 h 67"/>
                <a:gd name="T2" fmla="*/ 2147483647 w 31"/>
                <a:gd name="T3" fmla="*/ 2147483647 h 67"/>
                <a:gd name="T4" fmla="*/ 2147483647 w 31"/>
                <a:gd name="T5" fmla="*/ 2147483647 h 67"/>
                <a:gd name="T6" fmla="*/ 2147483647 w 31"/>
                <a:gd name="T7" fmla="*/ 2147483647 h 67"/>
                <a:gd name="T8" fmla="*/ 0 w 31"/>
                <a:gd name="T9" fmla="*/ 0 h 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67">
                  <a:moveTo>
                    <a:pt x="0" y="0"/>
                  </a:moveTo>
                  <a:lnTo>
                    <a:pt x="24" y="34"/>
                  </a:lnTo>
                  <a:lnTo>
                    <a:pt x="31" y="67"/>
                  </a:lnTo>
                  <a:lnTo>
                    <a:pt x="31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61" name="Freeform 557"/>
            <p:cNvSpPr>
              <a:spLocks/>
            </p:cNvSpPr>
            <p:nvPr>
              <p:custDataLst>
                <p:tags r:id="rId455"/>
              </p:custDataLst>
            </p:nvPr>
          </p:nvSpPr>
          <p:spPr bwMode="auto">
            <a:xfrm>
              <a:off x="7848848" y="4562475"/>
              <a:ext cx="46038" cy="53975"/>
            </a:xfrm>
            <a:custGeom>
              <a:avLst/>
              <a:gdLst>
                <a:gd name="T0" fmla="*/ 0 w 31"/>
                <a:gd name="T1" fmla="*/ 0 h 67"/>
                <a:gd name="T2" fmla="*/ 2147483647 w 31"/>
                <a:gd name="T3" fmla="*/ 2147483647 h 67"/>
                <a:gd name="T4" fmla="*/ 2147483647 w 31"/>
                <a:gd name="T5" fmla="*/ 2147483647 h 67"/>
                <a:gd name="T6" fmla="*/ 2147483647 w 31"/>
                <a:gd name="T7" fmla="*/ 2147483647 h 67"/>
                <a:gd name="T8" fmla="*/ 0 w 31"/>
                <a:gd name="T9" fmla="*/ 0 h 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67">
                  <a:moveTo>
                    <a:pt x="0" y="0"/>
                  </a:moveTo>
                  <a:lnTo>
                    <a:pt x="24" y="34"/>
                  </a:lnTo>
                  <a:lnTo>
                    <a:pt x="31" y="67"/>
                  </a:lnTo>
                  <a:lnTo>
                    <a:pt x="31" y="44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62" name="Freeform 558"/>
            <p:cNvSpPr>
              <a:spLocks/>
            </p:cNvSpPr>
            <p:nvPr>
              <p:custDataLst>
                <p:tags r:id="rId456"/>
              </p:custDataLst>
            </p:nvPr>
          </p:nvSpPr>
          <p:spPr bwMode="auto">
            <a:xfrm>
              <a:off x="7848848" y="4562475"/>
              <a:ext cx="46038" cy="53975"/>
            </a:xfrm>
            <a:custGeom>
              <a:avLst/>
              <a:gdLst>
                <a:gd name="T0" fmla="*/ 0 w 31"/>
                <a:gd name="T1" fmla="*/ 0 h 67"/>
                <a:gd name="T2" fmla="*/ 2147483647 w 31"/>
                <a:gd name="T3" fmla="*/ 2147483647 h 67"/>
                <a:gd name="T4" fmla="*/ 2147483647 w 31"/>
                <a:gd name="T5" fmla="*/ 2147483647 h 67"/>
                <a:gd name="T6" fmla="*/ 2147483647 w 31"/>
                <a:gd name="T7" fmla="*/ 2147483647 h 67"/>
                <a:gd name="T8" fmla="*/ 0 w 31"/>
                <a:gd name="T9" fmla="*/ 0 h 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67">
                  <a:moveTo>
                    <a:pt x="0" y="0"/>
                  </a:moveTo>
                  <a:lnTo>
                    <a:pt x="24" y="34"/>
                  </a:lnTo>
                  <a:lnTo>
                    <a:pt x="31" y="67"/>
                  </a:lnTo>
                  <a:lnTo>
                    <a:pt x="31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63" name="Freeform 559"/>
            <p:cNvSpPr>
              <a:spLocks/>
            </p:cNvSpPr>
            <p:nvPr>
              <p:custDataLst>
                <p:tags r:id="rId457"/>
              </p:custDataLst>
            </p:nvPr>
          </p:nvSpPr>
          <p:spPr bwMode="auto">
            <a:xfrm>
              <a:off x="7848848" y="4562475"/>
              <a:ext cx="46038" cy="53975"/>
            </a:xfrm>
            <a:custGeom>
              <a:avLst/>
              <a:gdLst>
                <a:gd name="T0" fmla="*/ 0 w 31"/>
                <a:gd name="T1" fmla="*/ 0 h 67"/>
                <a:gd name="T2" fmla="*/ 2147483647 w 31"/>
                <a:gd name="T3" fmla="*/ 2147483647 h 67"/>
                <a:gd name="T4" fmla="*/ 2147483647 w 31"/>
                <a:gd name="T5" fmla="*/ 2147483647 h 67"/>
                <a:gd name="T6" fmla="*/ 2147483647 w 31"/>
                <a:gd name="T7" fmla="*/ 2147483647 h 67"/>
                <a:gd name="T8" fmla="*/ 0 w 31"/>
                <a:gd name="T9" fmla="*/ 0 h 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67">
                  <a:moveTo>
                    <a:pt x="0" y="0"/>
                  </a:moveTo>
                  <a:lnTo>
                    <a:pt x="24" y="34"/>
                  </a:lnTo>
                  <a:lnTo>
                    <a:pt x="31" y="67"/>
                  </a:lnTo>
                  <a:lnTo>
                    <a:pt x="31" y="44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64" name="Freeform 560"/>
            <p:cNvSpPr>
              <a:spLocks/>
            </p:cNvSpPr>
            <p:nvPr>
              <p:custDataLst>
                <p:tags r:id="rId458"/>
              </p:custDataLst>
            </p:nvPr>
          </p:nvSpPr>
          <p:spPr bwMode="auto">
            <a:xfrm>
              <a:off x="2794248" y="4986338"/>
              <a:ext cx="184150" cy="220662"/>
            </a:xfrm>
            <a:custGeom>
              <a:avLst/>
              <a:gdLst>
                <a:gd name="T0" fmla="*/ 0 w 125"/>
                <a:gd name="T1" fmla="*/ 2147483647 h 279"/>
                <a:gd name="T2" fmla="*/ 2147483647 w 125"/>
                <a:gd name="T3" fmla="*/ 2147483647 h 279"/>
                <a:gd name="T4" fmla="*/ 2147483647 w 125"/>
                <a:gd name="T5" fmla="*/ 0 h 279"/>
                <a:gd name="T6" fmla="*/ 2147483647 w 125"/>
                <a:gd name="T7" fmla="*/ 2147483647 h 279"/>
                <a:gd name="T8" fmla="*/ 2147483647 w 125"/>
                <a:gd name="T9" fmla="*/ 2147483647 h 279"/>
                <a:gd name="T10" fmla="*/ 2147483647 w 125"/>
                <a:gd name="T11" fmla="*/ 2147483647 h 279"/>
                <a:gd name="T12" fmla="*/ 2147483647 w 125"/>
                <a:gd name="T13" fmla="*/ 2147483647 h 279"/>
                <a:gd name="T14" fmla="*/ 2147483647 w 125"/>
                <a:gd name="T15" fmla="*/ 2147483647 h 279"/>
                <a:gd name="T16" fmla="*/ 2147483647 w 125"/>
                <a:gd name="T17" fmla="*/ 2147483647 h 279"/>
                <a:gd name="T18" fmla="*/ 2147483647 w 125"/>
                <a:gd name="T19" fmla="*/ 2147483647 h 279"/>
                <a:gd name="T20" fmla="*/ 2147483647 w 125"/>
                <a:gd name="T21" fmla="*/ 2147483647 h 279"/>
                <a:gd name="T22" fmla="*/ 2147483647 w 125"/>
                <a:gd name="T23" fmla="*/ 2147483647 h 279"/>
                <a:gd name="T24" fmla="*/ 0 w 125"/>
                <a:gd name="T25" fmla="*/ 2147483647 h 27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79">
                  <a:moveTo>
                    <a:pt x="0" y="112"/>
                  </a:moveTo>
                  <a:lnTo>
                    <a:pt x="8" y="24"/>
                  </a:lnTo>
                  <a:lnTo>
                    <a:pt x="58" y="0"/>
                  </a:lnTo>
                  <a:lnTo>
                    <a:pt x="69" y="35"/>
                  </a:lnTo>
                  <a:lnTo>
                    <a:pt x="76" y="102"/>
                  </a:lnTo>
                  <a:lnTo>
                    <a:pt x="107" y="112"/>
                  </a:lnTo>
                  <a:lnTo>
                    <a:pt x="114" y="156"/>
                  </a:lnTo>
                  <a:lnTo>
                    <a:pt x="125" y="156"/>
                  </a:lnTo>
                  <a:lnTo>
                    <a:pt x="125" y="223"/>
                  </a:lnTo>
                  <a:lnTo>
                    <a:pt x="107" y="279"/>
                  </a:lnTo>
                  <a:lnTo>
                    <a:pt x="69" y="269"/>
                  </a:lnTo>
                  <a:lnTo>
                    <a:pt x="76" y="2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65" name="Freeform 561"/>
            <p:cNvSpPr>
              <a:spLocks/>
            </p:cNvSpPr>
            <p:nvPr>
              <p:custDataLst>
                <p:tags r:id="rId459"/>
              </p:custDataLst>
            </p:nvPr>
          </p:nvSpPr>
          <p:spPr bwMode="auto">
            <a:xfrm>
              <a:off x="2794248" y="4986338"/>
              <a:ext cx="184150" cy="220662"/>
            </a:xfrm>
            <a:custGeom>
              <a:avLst/>
              <a:gdLst>
                <a:gd name="T0" fmla="*/ 0 w 125"/>
                <a:gd name="T1" fmla="*/ 2147483647 h 279"/>
                <a:gd name="T2" fmla="*/ 2147483647 w 125"/>
                <a:gd name="T3" fmla="*/ 2147483647 h 279"/>
                <a:gd name="T4" fmla="*/ 2147483647 w 125"/>
                <a:gd name="T5" fmla="*/ 0 h 279"/>
                <a:gd name="T6" fmla="*/ 2147483647 w 125"/>
                <a:gd name="T7" fmla="*/ 2147483647 h 279"/>
                <a:gd name="T8" fmla="*/ 2147483647 w 125"/>
                <a:gd name="T9" fmla="*/ 2147483647 h 279"/>
                <a:gd name="T10" fmla="*/ 2147483647 w 125"/>
                <a:gd name="T11" fmla="*/ 2147483647 h 279"/>
                <a:gd name="T12" fmla="*/ 2147483647 w 125"/>
                <a:gd name="T13" fmla="*/ 2147483647 h 279"/>
                <a:gd name="T14" fmla="*/ 2147483647 w 125"/>
                <a:gd name="T15" fmla="*/ 2147483647 h 279"/>
                <a:gd name="T16" fmla="*/ 2147483647 w 125"/>
                <a:gd name="T17" fmla="*/ 2147483647 h 279"/>
                <a:gd name="T18" fmla="*/ 2147483647 w 125"/>
                <a:gd name="T19" fmla="*/ 2147483647 h 279"/>
                <a:gd name="T20" fmla="*/ 2147483647 w 125"/>
                <a:gd name="T21" fmla="*/ 2147483647 h 279"/>
                <a:gd name="T22" fmla="*/ 2147483647 w 125"/>
                <a:gd name="T23" fmla="*/ 2147483647 h 279"/>
                <a:gd name="T24" fmla="*/ 0 w 125"/>
                <a:gd name="T25" fmla="*/ 2147483647 h 27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79">
                  <a:moveTo>
                    <a:pt x="0" y="112"/>
                  </a:moveTo>
                  <a:lnTo>
                    <a:pt x="8" y="24"/>
                  </a:lnTo>
                  <a:lnTo>
                    <a:pt x="58" y="0"/>
                  </a:lnTo>
                  <a:lnTo>
                    <a:pt x="69" y="35"/>
                  </a:lnTo>
                  <a:lnTo>
                    <a:pt x="76" y="102"/>
                  </a:lnTo>
                  <a:lnTo>
                    <a:pt x="107" y="112"/>
                  </a:lnTo>
                  <a:lnTo>
                    <a:pt x="114" y="156"/>
                  </a:lnTo>
                  <a:lnTo>
                    <a:pt x="125" y="156"/>
                  </a:lnTo>
                  <a:lnTo>
                    <a:pt x="125" y="223"/>
                  </a:lnTo>
                  <a:lnTo>
                    <a:pt x="107" y="279"/>
                  </a:lnTo>
                  <a:lnTo>
                    <a:pt x="69" y="269"/>
                  </a:lnTo>
                  <a:lnTo>
                    <a:pt x="76" y="212"/>
                  </a:lnTo>
                  <a:lnTo>
                    <a:pt x="0" y="1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66" name="Freeform 562"/>
            <p:cNvSpPr>
              <a:spLocks/>
            </p:cNvSpPr>
            <p:nvPr>
              <p:custDataLst>
                <p:tags r:id="rId460"/>
              </p:custDataLst>
            </p:nvPr>
          </p:nvSpPr>
          <p:spPr bwMode="auto">
            <a:xfrm>
              <a:off x="2794248" y="4986338"/>
              <a:ext cx="184150" cy="220662"/>
            </a:xfrm>
            <a:custGeom>
              <a:avLst/>
              <a:gdLst>
                <a:gd name="T0" fmla="*/ 0 w 125"/>
                <a:gd name="T1" fmla="*/ 2147483647 h 279"/>
                <a:gd name="T2" fmla="*/ 2147483647 w 125"/>
                <a:gd name="T3" fmla="*/ 2147483647 h 279"/>
                <a:gd name="T4" fmla="*/ 2147483647 w 125"/>
                <a:gd name="T5" fmla="*/ 0 h 279"/>
                <a:gd name="T6" fmla="*/ 2147483647 w 125"/>
                <a:gd name="T7" fmla="*/ 2147483647 h 279"/>
                <a:gd name="T8" fmla="*/ 2147483647 w 125"/>
                <a:gd name="T9" fmla="*/ 2147483647 h 279"/>
                <a:gd name="T10" fmla="*/ 2147483647 w 125"/>
                <a:gd name="T11" fmla="*/ 2147483647 h 279"/>
                <a:gd name="T12" fmla="*/ 2147483647 w 125"/>
                <a:gd name="T13" fmla="*/ 2147483647 h 279"/>
                <a:gd name="T14" fmla="*/ 2147483647 w 125"/>
                <a:gd name="T15" fmla="*/ 2147483647 h 279"/>
                <a:gd name="T16" fmla="*/ 2147483647 w 125"/>
                <a:gd name="T17" fmla="*/ 2147483647 h 279"/>
                <a:gd name="T18" fmla="*/ 2147483647 w 125"/>
                <a:gd name="T19" fmla="*/ 2147483647 h 279"/>
                <a:gd name="T20" fmla="*/ 2147483647 w 125"/>
                <a:gd name="T21" fmla="*/ 2147483647 h 279"/>
                <a:gd name="T22" fmla="*/ 2147483647 w 125"/>
                <a:gd name="T23" fmla="*/ 2147483647 h 279"/>
                <a:gd name="T24" fmla="*/ 0 w 125"/>
                <a:gd name="T25" fmla="*/ 2147483647 h 27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79">
                  <a:moveTo>
                    <a:pt x="0" y="112"/>
                  </a:moveTo>
                  <a:lnTo>
                    <a:pt x="8" y="24"/>
                  </a:lnTo>
                  <a:lnTo>
                    <a:pt x="58" y="0"/>
                  </a:lnTo>
                  <a:lnTo>
                    <a:pt x="69" y="35"/>
                  </a:lnTo>
                  <a:lnTo>
                    <a:pt x="76" y="102"/>
                  </a:lnTo>
                  <a:lnTo>
                    <a:pt x="107" y="112"/>
                  </a:lnTo>
                  <a:lnTo>
                    <a:pt x="114" y="156"/>
                  </a:lnTo>
                  <a:lnTo>
                    <a:pt x="125" y="156"/>
                  </a:lnTo>
                  <a:lnTo>
                    <a:pt x="125" y="223"/>
                  </a:lnTo>
                  <a:lnTo>
                    <a:pt x="107" y="279"/>
                  </a:lnTo>
                  <a:lnTo>
                    <a:pt x="69" y="269"/>
                  </a:lnTo>
                  <a:lnTo>
                    <a:pt x="76" y="2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67" name="Freeform 563"/>
            <p:cNvSpPr>
              <a:spLocks/>
            </p:cNvSpPr>
            <p:nvPr>
              <p:custDataLst>
                <p:tags r:id="rId461"/>
              </p:custDataLst>
            </p:nvPr>
          </p:nvSpPr>
          <p:spPr bwMode="auto">
            <a:xfrm>
              <a:off x="2794248" y="4986338"/>
              <a:ext cx="184150" cy="220662"/>
            </a:xfrm>
            <a:custGeom>
              <a:avLst/>
              <a:gdLst>
                <a:gd name="T0" fmla="*/ 0 w 125"/>
                <a:gd name="T1" fmla="*/ 2147483647 h 279"/>
                <a:gd name="T2" fmla="*/ 2147483647 w 125"/>
                <a:gd name="T3" fmla="*/ 2147483647 h 279"/>
                <a:gd name="T4" fmla="*/ 2147483647 w 125"/>
                <a:gd name="T5" fmla="*/ 0 h 279"/>
                <a:gd name="T6" fmla="*/ 2147483647 w 125"/>
                <a:gd name="T7" fmla="*/ 2147483647 h 279"/>
                <a:gd name="T8" fmla="*/ 2147483647 w 125"/>
                <a:gd name="T9" fmla="*/ 2147483647 h 279"/>
                <a:gd name="T10" fmla="*/ 2147483647 w 125"/>
                <a:gd name="T11" fmla="*/ 2147483647 h 279"/>
                <a:gd name="T12" fmla="*/ 2147483647 w 125"/>
                <a:gd name="T13" fmla="*/ 2147483647 h 279"/>
                <a:gd name="T14" fmla="*/ 2147483647 w 125"/>
                <a:gd name="T15" fmla="*/ 2147483647 h 279"/>
                <a:gd name="T16" fmla="*/ 2147483647 w 125"/>
                <a:gd name="T17" fmla="*/ 2147483647 h 279"/>
                <a:gd name="T18" fmla="*/ 2147483647 w 125"/>
                <a:gd name="T19" fmla="*/ 2147483647 h 279"/>
                <a:gd name="T20" fmla="*/ 2147483647 w 125"/>
                <a:gd name="T21" fmla="*/ 2147483647 h 279"/>
                <a:gd name="T22" fmla="*/ 2147483647 w 125"/>
                <a:gd name="T23" fmla="*/ 2147483647 h 279"/>
                <a:gd name="T24" fmla="*/ 0 w 125"/>
                <a:gd name="T25" fmla="*/ 2147483647 h 27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79">
                  <a:moveTo>
                    <a:pt x="0" y="112"/>
                  </a:moveTo>
                  <a:lnTo>
                    <a:pt x="8" y="24"/>
                  </a:lnTo>
                  <a:lnTo>
                    <a:pt x="58" y="0"/>
                  </a:lnTo>
                  <a:lnTo>
                    <a:pt x="69" y="35"/>
                  </a:lnTo>
                  <a:lnTo>
                    <a:pt x="76" y="102"/>
                  </a:lnTo>
                  <a:lnTo>
                    <a:pt x="107" y="112"/>
                  </a:lnTo>
                  <a:lnTo>
                    <a:pt x="114" y="156"/>
                  </a:lnTo>
                  <a:lnTo>
                    <a:pt x="125" y="156"/>
                  </a:lnTo>
                  <a:lnTo>
                    <a:pt x="125" y="223"/>
                  </a:lnTo>
                  <a:lnTo>
                    <a:pt x="107" y="279"/>
                  </a:lnTo>
                  <a:lnTo>
                    <a:pt x="69" y="269"/>
                  </a:lnTo>
                  <a:lnTo>
                    <a:pt x="76" y="212"/>
                  </a:lnTo>
                  <a:lnTo>
                    <a:pt x="0" y="1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68" name="Freeform 564"/>
            <p:cNvSpPr>
              <a:spLocks/>
            </p:cNvSpPr>
            <p:nvPr>
              <p:custDataLst>
                <p:tags r:id="rId462"/>
              </p:custDataLst>
            </p:nvPr>
          </p:nvSpPr>
          <p:spPr bwMode="auto">
            <a:xfrm>
              <a:off x="2364036" y="4502150"/>
              <a:ext cx="293687" cy="460375"/>
            </a:xfrm>
            <a:custGeom>
              <a:avLst/>
              <a:gdLst>
                <a:gd name="T0" fmla="*/ 0 w 201"/>
                <a:gd name="T1" fmla="*/ 2147483647 h 580"/>
                <a:gd name="T2" fmla="*/ 2147483647 w 201"/>
                <a:gd name="T3" fmla="*/ 2147483647 h 580"/>
                <a:gd name="T4" fmla="*/ 2147483647 w 201"/>
                <a:gd name="T5" fmla="*/ 2147483647 h 580"/>
                <a:gd name="T6" fmla="*/ 2147483647 w 201"/>
                <a:gd name="T7" fmla="*/ 2147483647 h 580"/>
                <a:gd name="T8" fmla="*/ 2147483647 w 201"/>
                <a:gd name="T9" fmla="*/ 2147483647 h 580"/>
                <a:gd name="T10" fmla="*/ 2147483647 w 201"/>
                <a:gd name="T11" fmla="*/ 2147483647 h 580"/>
                <a:gd name="T12" fmla="*/ 2147483647 w 201"/>
                <a:gd name="T13" fmla="*/ 2147483647 h 580"/>
                <a:gd name="T14" fmla="*/ 2147483647 w 201"/>
                <a:gd name="T15" fmla="*/ 2147483647 h 580"/>
                <a:gd name="T16" fmla="*/ 2147483647 w 201"/>
                <a:gd name="T17" fmla="*/ 2147483647 h 580"/>
                <a:gd name="T18" fmla="*/ 2147483647 w 201"/>
                <a:gd name="T19" fmla="*/ 2147483647 h 580"/>
                <a:gd name="T20" fmla="*/ 2147483647 w 201"/>
                <a:gd name="T21" fmla="*/ 2147483647 h 580"/>
                <a:gd name="T22" fmla="*/ 2147483647 w 201"/>
                <a:gd name="T23" fmla="*/ 2147483647 h 580"/>
                <a:gd name="T24" fmla="*/ 2147483647 w 201"/>
                <a:gd name="T25" fmla="*/ 2147483647 h 580"/>
                <a:gd name="T26" fmla="*/ 2147483647 w 201"/>
                <a:gd name="T27" fmla="*/ 2147483647 h 580"/>
                <a:gd name="T28" fmla="*/ 2147483647 w 201"/>
                <a:gd name="T29" fmla="*/ 2147483647 h 580"/>
                <a:gd name="T30" fmla="*/ 2147483647 w 201"/>
                <a:gd name="T31" fmla="*/ 2147483647 h 580"/>
                <a:gd name="T32" fmla="*/ 2147483647 w 201"/>
                <a:gd name="T33" fmla="*/ 2147483647 h 580"/>
                <a:gd name="T34" fmla="*/ 2147483647 w 201"/>
                <a:gd name="T35" fmla="*/ 2147483647 h 580"/>
                <a:gd name="T36" fmla="*/ 2147483647 w 201"/>
                <a:gd name="T37" fmla="*/ 2147483647 h 580"/>
                <a:gd name="T38" fmla="*/ 2147483647 w 201"/>
                <a:gd name="T39" fmla="*/ 2147483647 h 580"/>
                <a:gd name="T40" fmla="*/ 2147483647 w 201"/>
                <a:gd name="T41" fmla="*/ 2147483647 h 580"/>
                <a:gd name="T42" fmla="*/ 2147483647 w 201"/>
                <a:gd name="T43" fmla="*/ 0 h 580"/>
                <a:gd name="T44" fmla="*/ 2147483647 w 201"/>
                <a:gd name="T45" fmla="*/ 2147483647 h 580"/>
                <a:gd name="T46" fmla="*/ 2147483647 w 201"/>
                <a:gd name="T47" fmla="*/ 2147483647 h 580"/>
                <a:gd name="T48" fmla="*/ 2147483647 w 201"/>
                <a:gd name="T49" fmla="*/ 2147483647 h 580"/>
                <a:gd name="T50" fmla="*/ 2147483647 w 201"/>
                <a:gd name="T51" fmla="*/ 2147483647 h 580"/>
                <a:gd name="T52" fmla="*/ 2147483647 w 201"/>
                <a:gd name="T53" fmla="*/ 2147483647 h 580"/>
                <a:gd name="T54" fmla="*/ 0 w 201"/>
                <a:gd name="T55" fmla="*/ 2147483647 h 58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01" h="580">
                  <a:moveTo>
                    <a:pt x="0" y="132"/>
                  </a:moveTo>
                  <a:lnTo>
                    <a:pt x="8" y="188"/>
                  </a:lnTo>
                  <a:lnTo>
                    <a:pt x="45" y="267"/>
                  </a:lnTo>
                  <a:lnTo>
                    <a:pt x="83" y="457"/>
                  </a:lnTo>
                  <a:lnTo>
                    <a:pt x="170" y="580"/>
                  </a:lnTo>
                  <a:lnTo>
                    <a:pt x="189" y="557"/>
                  </a:lnTo>
                  <a:lnTo>
                    <a:pt x="194" y="511"/>
                  </a:lnTo>
                  <a:lnTo>
                    <a:pt x="183" y="511"/>
                  </a:lnTo>
                  <a:lnTo>
                    <a:pt x="189" y="501"/>
                  </a:lnTo>
                  <a:lnTo>
                    <a:pt x="201" y="390"/>
                  </a:lnTo>
                  <a:lnTo>
                    <a:pt x="183" y="344"/>
                  </a:lnTo>
                  <a:lnTo>
                    <a:pt x="170" y="344"/>
                  </a:lnTo>
                  <a:lnTo>
                    <a:pt x="170" y="290"/>
                  </a:lnTo>
                  <a:lnTo>
                    <a:pt x="157" y="322"/>
                  </a:lnTo>
                  <a:lnTo>
                    <a:pt x="133" y="299"/>
                  </a:lnTo>
                  <a:lnTo>
                    <a:pt x="119" y="232"/>
                  </a:lnTo>
                  <a:lnTo>
                    <a:pt x="145" y="167"/>
                  </a:lnTo>
                  <a:lnTo>
                    <a:pt x="183" y="132"/>
                  </a:lnTo>
                  <a:lnTo>
                    <a:pt x="170" y="121"/>
                  </a:lnTo>
                  <a:lnTo>
                    <a:pt x="175" y="77"/>
                  </a:lnTo>
                  <a:lnTo>
                    <a:pt x="133" y="77"/>
                  </a:lnTo>
                  <a:lnTo>
                    <a:pt x="101" y="0"/>
                  </a:lnTo>
                  <a:lnTo>
                    <a:pt x="88" y="54"/>
                  </a:lnTo>
                  <a:lnTo>
                    <a:pt x="58" y="98"/>
                  </a:lnTo>
                  <a:lnTo>
                    <a:pt x="38" y="155"/>
                  </a:lnTo>
                  <a:lnTo>
                    <a:pt x="19" y="144"/>
                  </a:lnTo>
                  <a:lnTo>
                    <a:pt x="19" y="111"/>
                  </a:lnTo>
                  <a:lnTo>
                    <a:pt x="0" y="1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69" name="Freeform 565"/>
            <p:cNvSpPr>
              <a:spLocks/>
            </p:cNvSpPr>
            <p:nvPr>
              <p:custDataLst>
                <p:tags r:id="rId463"/>
              </p:custDataLst>
            </p:nvPr>
          </p:nvSpPr>
          <p:spPr bwMode="auto">
            <a:xfrm>
              <a:off x="2364036" y="4502150"/>
              <a:ext cx="293687" cy="460375"/>
            </a:xfrm>
            <a:custGeom>
              <a:avLst/>
              <a:gdLst>
                <a:gd name="T0" fmla="*/ 0 w 201"/>
                <a:gd name="T1" fmla="*/ 2147483647 h 580"/>
                <a:gd name="T2" fmla="*/ 2147483647 w 201"/>
                <a:gd name="T3" fmla="*/ 2147483647 h 580"/>
                <a:gd name="T4" fmla="*/ 2147483647 w 201"/>
                <a:gd name="T5" fmla="*/ 2147483647 h 580"/>
                <a:gd name="T6" fmla="*/ 2147483647 w 201"/>
                <a:gd name="T7" fmla="*/ 2147483647 h 580"/>
                <a:gd name="T8" fmla="*/ 2147483647 w 201"/>
                <a:gd name="T9" fmla="*/ 2147483647 h 580"/>
                <a:gd name="T10" fmla="*/ 2147483647 w 201"/>
                <a:gd name="T11" fmla="*/ 2147483647 h 580"/>
                <a:gd name="T12" fmla="*/ 2147483647 w 201"/>
                <a:gd name="T13" fmla="*/ 2147483647 h 580"/>
                <a:gd name="T14" fmla="*/ 2147483647 w 201"/>
                <a:gd name="T15" fmla="*/ 2147483647 h 580"/>
                <a:gd name="T16" fmla="*/ 2147483647 w 201"/>
                <a:gd name="T17" fmla="*/ 2147483647 h 580"/>
                <a:gd name="T18" fmla="*/ 2147483647 w 201"/>
                <a:gd name="T19" fmla="*/ 2147483647 h 580"/>
                <a:gd name="T20" fmla="*/ 2147483647 w 201"/>
                <a:gd name="T21" fmla="*/ 2147483647 h 580"/>
                <a:gd name="T22" fmla="*/ 2147483647 w 201"/>
                <a:gd name="T23" fmla="*/ 2147483647 h 580"/>
                <a:gd name="T24" fmla="*/ 2147483647 w 201"/>
                <a:gd name="T25" fmla="*/ 2147483647 h 580"/>
                <a:gd name="T26" fmla="*/ 2147483647 w 201"/>
                <a:gd name="T27" fmla="*/ 2147483647 h 580"/>
                <a:gd name="T28" fmla="*/ 2147483647 w 201"/>
                <a:gd name="T29" fmla="*/ 2147483647 h 580"/>
                <a:gd name="T30" fmla="*/ 2147483647 w 201"/>
                <a:gd name="T31" fmla="*/ 2147483647 h 580"/>
                <a:gd name="T32" fmla="*/ 2147483647 w 201"/>
                <a:gd name="T33" fmla="*/ 2147483647 h 580"/>
                <a:gd name="T34" fmla="*/ 2147483647 w 201"/>
                <a:gd name="T35" fmla="*/ 2147483647 h 580"/>
                <a:gd name="T36" fmla="*/ 2147483647 w 201"/>
                <a:gd name="T37" fmla="*/ 2147483647 h 580"/>
                <a:gd name="T38" fmla="*/ 2147483647 w 201"/>
                <a:gd name="T39" fmla="*/ 2147483647 h 580"/>
                <a:gd name="T40" fmla="*/ 2147483647 w 201"/>
                <a:gd name="T41" fmla="*/ 2147483647 h 580"/>
                <a:gd name="T42" fmla="*/ 2147483647 w 201"/>
                <a:gd name="T43" fmla="*/ 0 h 580"/>
                <a:gd name="T44" fmla="*/ 2147483647 w 201"/>
                <a:gd name="T45" fmla="*/ 2147483647 h 580"/>
                <a:gd name="T46" fmla="*/ 2147483647 w 201"/>
                <a:gd name="T47" fmla="*/ 2147483647 h 580"/>
                <a:gd name="T48" fmla="*/ 2147483647 w 201"/>
                <a:gd name="T49" fmla="*/ 2147483647 h 580"/>
                <a:gd name="T50" fmla="*/ 2147483647 w 201"/>
                <a:gd name="T51" fmla="*/ 2147483647 h 580"/>
                <a:gd name="T52" fmla="*/ 2147483647 w 201"/>
                <a:gd name="T53" fmla="*/ 2147483647 h 580"/>
                <a:gd name="T54" fmla="*/ 0 w 201"/>
                <a:gd name="T55" fmla="*/ 2147483647 h 58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01" h="580">
                  <a:moveTo>
                    <a:pt x="0" y="132"/>
                  </a:moveTo>
                  <a:lnTo>
                    <a:pt x="8" y="188"/>
                  </a:lnTo>
                  <a:lnTo>
                    <a:pt x="45" y="267"/>
                  </a:lnTo>
                  <a:lnTo>
                    <a:pt x="83" y="457"/>
                  </a:lnTo>
                  <a:lnTo>
                    <a:pt x="170" y="580"/>
                  </a:lnTo>
                  <a:lnTo>
                    <a:pt x="189" y="557"/>
                  </a:lnTo>
                  <a:lnTo>
                    <a:pt x="194" y="511"/>
                  </a:lnTo>
                  <a:lnTo>
                    <a:pt x="183" y="511"/>
                  </a:lnTo>
                  <a:lnTo>
                    <a:pt x="189" y="501"/>
                  </a:lnTo>
                  <a:lnTo>
                    <a:pt x="201" y="390"/>
                  </a:lnTo>
                  <a:lnTo>
                    <a:pt x="183" y="344"/>
                  </a:lnTo>
                  <a:lnTo>
                    <a:pt x="170" y="344"/>
                  </a:lnTo>
                  <a:lnTo>
                    <a:pt x="170" y="290"/>
                  </a:lnTo>
                  <a:lnTo>
                    <a:pt x="157" y="322"/>
                  </a:lnTo>
                  <a:lnTo>
                    <a:pt x="133" y="299"/>
                  </a:lnTo>
                  <a:lnTo>
                    <a:pt x="119" y="232"/>
                  </a:lnTo>
                  <a:lnTo>
                    <a:pt x="145" y="167"/>
                  </a:lnTo>
                  <a:lnTo>
                    <a:pt x="183" y="132"/>
                  </a:lnTo>
                  <a:lnTo>
                    <a:pt x="170" y="121"/>
                  </a:lnTo>
                  <a:lnTo>
                    <a:pt x="175" y="77"/>
                  </a:lnTo>
                  <a:lnTo>
                    <a:pt x="133" y="77"/>
                  </a:lnTo>
                  <a:lnTo>
                    <a:pt x="101" y="0"/>
                  </a:lnTo>
                  <a:lnTo>
                    <a:pt x="88" y="54"/>
                  </a:lnTo>
                  <a:lnTo>
                    <a:pt x="58" y="98"/>
                  </a:lnTo>
                  <a:lnTo>
                    <a:pt x="38" y="155"/>
                  </a:lnTo>
                  <a:lnTo>
                    <a:pt x="19" y="144"/>
                  </a:lnTo>
                  <a:lnTo>
                    <a:pt x="19" y="111"/>
                  </a:lnTo>
                  <a:lnTo>
                    <a:pt x="0" y="1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70" name="Freeform 566"/>
            <p:cNvSpPr>
              <a:spLocks/>
            </p:cNvSpPr>
            <p:nvPr>
              <p:custDataLst>
                <p:tags r:id="rId464"/>
              </p:custDataLst>
            </p:nvPr>
          </p:nvSpPr>
          <p:spPr bwMode="auto">
            <a:xfrm>
              <a:off x="2364036" y="4502150"/>
              <a:ext cx="293687" cy="460375"/>
            </a:xfrm>
            <a:custGeom>
              <a:avLst/>
              <a:gdLst>
                <a:gd name="T0" fmla="*/ 0 w 201"/>
                <a:gd name="T1" fmla="*/ 2147483647 h 580"/>
                <a:gd name="T2" fmla="*/ 2147483647 w 201"/>
                <a:gd name="T3" fmla="*/ 2147483647 h 580"/>
                <a:gd name="T4" fmla="*/ 2147483647 w 201"/>
                <a:gd name="T5" fmla="*/ 2147483647 h 580"/>
                <a:gd name="T6" fmla="*/ 2147483647 w 201"/>
                <a:gd name="T7" fmla="*/ 2147483647 h 580"/>
                <a:gd name="T8" fmla="*/ 2147483647 w 201"/>
                <a:gd name="T9" fmla="*/ 2147483647 h 580"/>
                <a:gd name="T10" fmla="*/ 2147483647 w 201"/>
                <a:gd name="T11" fmla="*/ 2147483647 h 580"/>
                <a:gd name="T12" fmla="*/ 2147483647 w 201"/>
                <a:gd name="T13" fmla="*/ 2147483647 h 580"/>
                <a:gd name="T14" fmla="*/ 2147483647 w 201"/>
                <a:gd name="T15" fmla="*/ 2147483647 h 580"/>
                <a:gd name="T16" fmla="*/ 2147483647 w 201"/>
                <a:gd name="T17" fmla="*/ 2147483647 h 580"/>
                <a:gd name="T18" fmla="*/ 2147483647 w 201"/>
                <a:gd name="T19" fmla="*/ 2147483647 h 580"/>
                <a:gd name="T20" fmla="*/ 2147483647 w 201"/>
                <a:gd name="T21" fmla="*/ 2147483647 h 580"/>
                <a:gd name="T22" fmla="*/ 2147483647 w 201"/>
                <a:gd name="T23" fmla="*/ 2147483647 h 580"/>
                <a:gd name="T24" fmla="*/ 2147483647 w 201"/>
                <a:gd name="T25" fmla="*/ 2147483647 h 580"/>
                <a:gd name="T26" fmla="*/ 2147483647 w 201"/>
                <a:gd name="T27" fmla="*/ 2147483647 h 580"/>
                <a:gd name="T28" fmla="*/ 2147483647 w 201"/>
                <a:gd name="T29" fmla="*/ 2147483647 h 580"/>
                <a:gd name="T30" fmla="*/ 2147483647 w 201"/>
                <a:gd name="T31" fmla="*/ 2147483647 h 580"/>
                <a:gd name="T32" fmla="*/ 2147483647 w 201"/>
                <a:gd name="T33" fmla="*/ 2147483647 h 580"/>
                <a:gd name="T34" fmla="*/ 2147483647 w 201"/>
                <a:gd name="T35" fmla="*/ 2147483647 h 580"/>
                <a:gd name="T36" fmla="*/ 2147483647 w 201"/>
                <a:gd name="T37" fmla="*/ 2147483647 h 580"/>
                <a:gd name="T38" fmla="*/ 2147483647 w 201"/>
                <a:gd name="T39" fmla="*/ 2147483647 h 580"/>
                <a:gd name="T40" fmla="*/ 2147483647 w 201"/>
                <a:gd name="T41" fmla="*/ 2147483647 h 580"/>
                <a:gd name="T42" fmla="*/ 2147483647 w 201"/>
                <a:gd name="T43" fmla="*/ 0 h 580"/>
                <a:gd name="T44" fmla="*/ 2147483647 w 201"/>
                <a:gd name="T45" fmla="*/ 2147483647 h 580"/>
                <a:gd name="T46" fmla="*/ 2147483647 w 201"/>
                <a:gd name="T47" fmla="*/ 2147483647 h 580"/>
                <a:gd name="T48" fmla="*/ 2147483647 w 201"/>
                <a:gd name="T49" fmla="*/ 2147483647 h 580"/>
                <a:gd name="T50" fmla="*/ 2147483647 w 201"/>
                <a:gd name="T51" fmla="*/ 2147483647 h 580"/>
                <a:gd name="T52" fmla="*/ 2147483647 w 201"/>
                <a:gd name="T53" fmla="*/ 2147483647 h 580"/>
                <a:gd name="T54" fmla="*/ 0 w 201"/>
                <a:gd name="T55" fmla="*/ 2147483647 h 58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01" h="580">
                  <a:moveTo>
                    <a:pt x="0" y="132"/>
                  </a:moveTo>
                  <a:lnTo>
                    <a:pt x="8" y="188"/>
                  </a:lnTo>
                  <a:lnTo>
                    <a:pt x="45" y="267"/>
                  </a:lnTo>
                  <a:lnTo>
                    <a:pt x="83" y="457"/>
                  </a:lnTo>
                  <a:lnTo>
                    <a:pt x="170" y="580"/>
                  </a:lnTo>
                  <a:lnTo>
                    <a:pt x="189" y="557"/>
                  </a:lnTo>
                  <a:lnTo>
                    <a:pt x="194" y="511"/>
                  </a:lnTo>
                  <a:lnTo>
                    <a:pt x="183" y="511"/>
                  </a:lnTo>
                  <a:lnTo>
                    <a:pt x="189" y="501"/>
                  </a:lnTo>
                  <a:lnTo>
                    <a:pt x="201" y="390"/>
                  </a:lnTo>
                  <a:lnTo>
                    <a:pt x="183" y="344"/>
                  </a:lnTo>
                  <a:lnTo>
                    <a:pt x="170" y="344"/>
                  </a:lnTo>
                  <a:lnTo>
                    <a:pt x="170" y="290"/>
                  </a:lnTo>
                  <a:lnTo>
                    <a:pt x="157" y="322"/>
                  </a:lnTo>
                  <a:lnTo>
                    <a:pt x="133" y="299"/>
                  </a:lnTo>
                  <a:lnTo>
                    <a:pt x="119" y="232"/>
                  </a:lnTo>
                  <a:lnTo>
                    <a:pt x="145" y="167"/>
                  </a:lnTo>
                  <a:lnTo>
                    <a:pt x="183" y="132"/>
                  </a:lnTo>
                  <a:lnTo>
                    <a:pt x="170" y="121"/>
                  </a:lnTo>
                  <a:lnTo>
                    <a:pt x="175" y="77"/>
                  </a:lnTo>
                  <a:lnTo>
                    <a:pt x="133" y="77"/>
                  </a:lnTo>
                  <a:lnTo>
                    <a:pt x="101" y="0"/>
                  </a:lnTo>
                  <a:lnTo>
                    <a:pt x="88" y="54"/>
                  </a:lnTo>
                  <a:lnTo>
                    <a:pt x="58" y="98"/>
                  </a:lnTo>
                  <a:lnTo>
                    <a:pt x="38" y="155"/>
                  </a:lnTo>
                  <a:lnTo>
                    <a:pt x="19" y="144"/>
                  </a:lnTo>
                  <a:lnTo>
                    <a:pt x="19" y="111"/>
                  </a:lnTo>
                  <a:lnTo>
                    <a:pt x="0" y="1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71" name="Freeform 567"/>
            <p:cNvSpPr>
              <a:spLocks/>
            </p:cNvSpPr>
            <p:nvPr>
              <p:custDataLst>
                <p:tags r:id="rId465"/>
              </p:custDataLst>
            </p:nvPr>
          </p:nvSpPr>
          <p:spPr bwMode="auto">
            <a:xfrm>
              <a:off x="2364036" y="4502150"/>
              <a:ext cx="293687" cy="460375"/>
            </a:xfrm>
            <a:custGeom>
              <a:avLst/>
              <a:gdLst>
                <a:gd name="T0" fmla="*/ 0 w 201"/>
                <a:gd name="T1" fmla="*/ 2147483647 h 580"/>
                <a:gd name="T2" fmla="*/ 2147483647 w 201"/>
                <a:gd name="T3" fmla="*/ 2147483647 h 580"/>
                <a:gd name="T4" fmla="*/ 2147483647 w 201"/>
                <a:gd name="T5" fmla="*/ 2147483647 h 580"/>
                <a:gd name="T6" fmla="*/ 2147483647 w 201"/>
                <a:gd name="T7" fmla="*/ 2147483647 h 580"/>
                <a:gd name="T8" fmla="*/ 2147483647 w 201"/>
                <a:gd name="T9" fmla="*/ 2147483647 h 580"/>
                <a:gd name="T10" fmla="*/ 2147483647 w 201"/>
                <a:gd name="T11" fmla="*/ 2147483647 h 580"/>
                <a:gd name="T12" fmla="*/ 2147483647 w 201"/>
                <a:gd name="T13" fmla="*/ 2147483647 h 580"/>
                <a:gd name="T14" fmla="*/ 2147483647 w 201"/>
                <a:gd name="T15" fmla="*/ 2147483647 h 580"/>
                <a:gd name="T16" fmla="*/ 2147483647 w 201"/>
                <a:gd name="T17" fmla="*/ 2147483647 h 580"/>
                <a:gd name="T18" fmla="*/ 2147483647 w 201"/>
                <a:gd name="T19" fmla="*/ 2147483647 h 580"/>
                <a:gd name="T20" fmla="*/ 2147483647 w 201"/>
                <a:gd name="T21" fmla="*/ 2147483647 h 580"/>
                <a:gd name="T22" fmla="*/ 2147483647 w 201"/>
                <a:gd name="T23" fmla="*/ 2147483647 h 580"/>
                <a:gd name="T24" fmla="*/ 2147483647 w 201"/>
                <a:gd name="T25" fmla="*/ 2147483647 h 580"/>
                <a:gd name="T26" fmla="*/ 2147483647 w 201"/>
                <a:gd name="T27" fmla="*/ 2147483647 h 580"/>
                <a:gd name="T28" fmla="*/ 2147483647 w 201"/>
                <a:gd name="T29" fmla="*/ 2147483647 h 580"/>
                <a:gd name="T30" fmla="*/ 2147483647 w 201"/>
                <a:gd name="T31" fmla="*/ 2147483647 h 580"/>
                <a:gd name="T32" fmla="*/ 2147483647 w 201"/>
                <a:gd name="T33" fmla="*/ 2147483647 h 580"/>
                <a:gd name="T34" fmla="*/ 2147483647 w 201"/>
                <a:gd name="T35" fmla="*/ 2147483647 h 580"/>
                <a:gd name="T36" fmla="*/ 2147483647 w 201"/>
                <a:gd name="T37" fmla="*/ 2147483647 h 580"/>
                <a:gd name="T38" fmla="*/ 2147483647 w 201"/>
                <a:gd name="T39" fmla="*/ 2147483647 h 580"/>
                <a:gd name="T40" fmla="*/ 2147483647 w 201"/>
                <a:gd name="T41" fmla="*/ 2147483647 h 580"/>
                <a:gd name="T42" fmla="*/ 2147483647 w 201"/>
                <a:gd name="T43" fmla="*/ 0 h 580"/>
                <a:gd name="T44" fmla="*/ 2147483647 w 201"/>
                <a:gd name="T45" fmla="*/ 2147483647 h 580"/>
                <a:gd name="T46" fmla="*/ 2147483647 w 201"/>
                <a:gd name="T47" fmla="*/ 2147483647 h 580"/>
                <a:gd name="T48" fmla="*/ 2147483647 w 201"/>
                <a:gd name="T49" fmla="*/ 2147483647 h 580"/>
                <a:gd name="T50" fmla="*/ 2147483647 w 201"/>
                <a:gd name="T51" fmla="*/ 2147483647 h 580"/>
                <a:gd name="T52" fmla="*/ 2147483647 w 201"/>
                <a:gd name="T53" fmla="*/ 2147483647 h 580"/>
                <a:gd name="T54" fmla="*/ 0 w 201"/>
                <a:gd name="T55" fmla="*/ 2147483647 h 58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01" h="580">
                  <a:moveTo>
                    <a:pt x="0" y="132"/>
                  </a:moveTo>
                  <a:lnTo>
                    <a:pt x="8" y="188"/>
                  </a:lnTo>
                  <a:lnTo>
                    <a:pt x="45" y="267"/>
                  </a:lnTo>
                  <a:lnTo>
                    <a:pt x="83" y="457"/>
                  </a:lnTo>
                  <a:lnTo>
                    <a:pt x="170" y="580"/>
                  </a:lnTo>
                  <a:lnTo>
                    <a:pt x="189" y="557"/>
                  </a:lnTo>
                  <a:lnTo>
                    <a:pt x="194" y="511"/>
                  </a:lnTo>
                  <a:lnTo>
                    <a:pt x="183" y="511"/>
                  </a:lnTo>
                  <a:lnTo>
                    <a:pt x="189" y="501"/>
                  </a:lnTo>
                  <a:lnTo>
                    <a:pt x="201" y="390"/>
                  </a:lnTo>
                  <a:lnTo>
                    <a:pt x="183" y="344"/>
                  </a:lnTo>
                  <a:lnTo>
                    <a:pt x="170" y="344"/>
                  </a:lnTo>
                  <a:lnTo>
                    <a:pt x="170" y="290"/>
                  </a:lnTo>
                  <a:lnTo>
                    <a:pt x="157" y="322"/>
                  </a:lnTo>
                  <a:lnTo>
                    <a:pt x="133" y="299"/>
                  </a:lnTo>
                  <a:lnTo>
                    <a:pt x="119" y="232"/>
                  </a:lnTo>
                  <a:lnTo>
                    <a:pt x="145" y="167"/>
                  </a:lnTo>
                  <a:lnTo>
                    <a:pt x="183" y="132"/>
                  </a:lnTo>
                  <a:lnTo>
                    <a:pt x="170" y="121"/>
                  </a:lnTo>
                  <a:lnTo>
                    <a:pt x="175" y="77"/>
                  </a:lnTo>
                  <a:lnTo>
                    <a:pt x="133" y="77"/>
                  </a:lnTo>
                  <a:lnTo>
                    <a:pt x="101" y="0"/>
                  </a:lnTo>
                  <a:lnTo>
                    <a:pt x="88" y="54"/>
                  </a:lnTo>
                  <a:lnTo>
                    <a:pt x="58" y="98"/>
                  </a:lnTo>
                  <a:lnTo>
                    <a:pt x="38" y="155"/>
                  </a:lnTo>
                  <a:lnTo>
                    <a:pt x="19" y="144"/>
                  </a:lnTo>
                  <a:lnTo>
                    <a:pt x="19" y="111"/>
                  </a:lnTo>
                  <a:lnTo>
                    <a:pt x="0" y="1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72" name="Freeform 568"/>
            <p:cNvSpPr>
              <a:spLocks/>
            </p:cNvSpPr>
            <p:nvPr>
              <p:custDataLst>
                <p:tags r:id="rId466"/>
              </p:custDataLst>
            </p:nvPr>
          </p:nvSpPr>
          <p:spPr bwMode="auto">
            <a:xfrm>
              <a:off x="7078911" y="4210050"/>
              <a:ext cx="53975" cy="77788"/>
            </a:xfrm>
            <a:custGeom>
              <a:avLst/>
              <a:gdLst>
                <a:gd name="T0" fmla="*/ 0 w 36"/>
                <a:gd name="T1" fmla="*/ 2147483647 h 100"/>
                <a:gd name="T2" fmla="*/ 2147483647 w 36"/>
                <a:gd name="T3" fmla="*/ 2147483647 h 100"/>
                <a:gd name="T4" fmla="*/ 2147483647 w 36"/>
                <a:gd name="T5" fmla="*/ 0 h 100"/>
                <a:gd name="T6" fmla="*/ 0 w 36"/>
                <a:gd name="T7" fmla="*/ 2147483647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6" h="100">
                  <a:moveTo>
                    <a:pt x="0" y="100"/>
                  </a:moveTo>
                  <a:lnTo>
                    <a:pt x="24" y="46"/>
                  </a:lnTo>
                  <a:lnTo>
                    <a:pt x="36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73" name="Group 569"/>
            <p:cNvGrpSpPr>
              <a:grpSpLocks/>
            </p:cNvGrpSpPr>
            <p:nvPr>
              <p:custDataLst>
                <p:tags r:id="rId467"/>
              </p:custDataLst>
            </p:nvPr>
          </p:nvGrpSpPr>
          <p:grpSpPr bwMode="auto">
            <a:xfrm>
              <a:off x="7078911" y="4210050"/>
              <a:ext cx="53975" cy="77788"/>
              <a:chOff x="4766" y="2470"/>
              <a:chExt cx="36" cy="4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35" name="Freeform 570"/>
              <p:cNvSpPr>
                <a:spLocks/>
              </p:cNvSpPr>
              <p:nvPr/>
            </p:nvSpPr>
            <p:spPr bwMode="auto">
              <a:xfrm>
                <a:off x="4766" y="2470"/>
                <a:ext cx="36" cy="49"/>
              </a:xfrm>
              <a:custGeom>
                <a:avLst/>
                <a:gdLst>
                  <a:gd name="T0" fmla="*/ 0 w 36"/>
                  <a:gd name="T1" fmla="*/ 0 h 100"/>
                  <a:gd name="T2" fmla="*/ 24 w 36"/>
                  <a:gd name="T3" fmla="*/ 0 h 100"/>
                  <a:gd name="T4" fmla="*/ 36 w 36"/>
                  <a:gd name="T5" fmla="*/ 0 h 100"/>
                  <a:gd name="T6" fmla="*/ 0 w 36"/>
                  <a:gd name="T7" fmla="*/ 0 h 1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6" h="100">
                    <a:moveTo>
                      <a:pt x="0" y="100"/>
                    </a:moveTo>
                    <a:lnTo>
                      <a:pt x="24" y="46"/>
                    </a:lnTo>
                    <a:lnTo>
                      <a:pt x="36" y="0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36" name="Freeform 571"/>
              <p:cNvSpPr>
                <a:spLocks/>
              </p:cNvSpPr>
              <p:nvPr/>
            </p:nvSpPr>
            <p:spPr bwMode="auto">
              <a:xfrm>
                <a:off x="4766" y="2470"/>
                <a:ext cx="36" cy="49"/>
              </a:xfrm>
              <a:custGeom>
                <a:avLst/>
                <a:gdLst>
                  <a:gd name="T0" fmla="*/ 0 w 36"/>
                  <a:gd name="T1" fmla="*/ 0 h 100"/>
                  <a:gd name="T2" fmla="*/ 24 w 36"/>
                  <a:gd name="T3" fmla="*/ 0 h 100"/>
                  <a:gd name="T4" fmla="*/ 36 w 36"/>
                  <a:gd name="T5" fmla="*/ 0 h 100"/>
                  <a:gd name="T6" fmla="*/ 0 w 36"/>
                  <a:gd name="T7" fmla="*/ 0 h 1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6" h="100">
                    <a:moveTo>
                      <a:pt x="0" y="100"/>
                    </a:moveTo>
                    <a:lnTo>
                      <a:pt x="24" y="46"/>
                    </a:lnTo>
                    <a:lnTo>
                      <a:pt x="36" y="0"/>
                    </a:lnTo>
                    <a:lnTo>
                      <a:pt x="0" y="100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74" name="Freeform 572"/>
            <p:cNvSpPr>
              <a:spLocks/>
            </p:cNvSpPr>
            <p:nvPr>
              <p:custDataLst>
                <p:tags r:id="rId468"/>
              </p:custDataLst>
            </p:nvPr>
          </p:nvSpPr>
          <p:spPr bwMode="auto">
            <a:xfrm>
              <a:off x="7078911" y="4210050"/>
              <a:ext cx="53975" cy="77788"/>
            </a:xfrm>
            <a:custGeom>
              <a:avLst/>
              <a:gdLst>
                <a:gd name="T0" fmla="*/ 0 w 36"/>
                <a:gd name="T1" fmla="*/ 2147483647 h 100"/>
                <a:gd name="T2" fmla="*/ 2147483647 w 36"/>
                <a:gd name="T3" fmla="*/ 2147483647 h 100"/>
                <a:gd name="T4" fmla="*/ 2147483647 w 36"/>
                <a:gd name="T5" fmla="*/ 0 h 100"/>
                <a:gd name="T6" fmla="*/ 0 w 36"/>
                <a:gd name="T7" fmla="*/ 2147483647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6" h="100">
                  <a:moveTo>
                    <a:pt x="0" y="100"/>
                  </a:moveTo>
                  <a:lnTo>
                    <a:pt x="24" y="46"/>
                  </a:lnTo>
                  <a:lnTo>
                    <a:pt x="36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75" name="Group 573"/>
            <p:cNvGrpSpPr>
              <a:grpSpLocks/>
            </p:cNvGrpSpPr>
            <p:nvPr>
              <p:custDataLst>
                <p:tags r:id="rId469"/>
              </p:custDataLst>
            </p:nvPr>
          </p:nvGrpSpPr>
          <p:grpSpPr bwMode="auto">
            <a:xfrm>
              <a:off x="7078911" y="4210050"/>
              <a:ext cx="53975" cy="77788"/>
              <a:chOff x="4766" y="2470"/>
              <a:chExt cx="36" cy="4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33" name="Freeform 574"/>
              <p:cNvSpPr>
                <a:spLocks/>
              </p:cNvSpPr>
              <p:nvPr/>
            </p:nvSpPr>
            <p:spPr bwMode="auto">
              <a:xfrm>
                <a:off x="4766" y="2470"/>
                <a:ext cx="36" cy="49"/>
              </a:xfrm>
              <a:custGeom>
                <a:avLst/>
                <a:gdLst>
                  <a:gd name="T0" fmla="*/ 0 w 36"/>
                  <a:gd name="T1" fmla="*/ 0 h 100"/>
                  <a:gd name="T2" fmla="*/ 24 w 36"/>
                  <a:gd name="T3" fmla="*/ 0 h 100"/>
                  <a:gd name="T4" fmla="*/ 36 w 36"/>
                  <a:gd name="T5" fmla="*/ 0 h 100"/>
                  <a:gd name="T6" fmla="*/ 0 w 36"/>
                  <a:gd name="T7" fmla="*/ 0 h 1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6" h="100">
                    <a:moveTo>
                      <a:pt x="0" y="100"/>
                    </a:moveTo>
                    <a:lnTo>
                      <a:pt x="24" y="46"/>
                    </a:lnTo>
                    <a:lnTo>
                      <a:pt x="36" y="0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34" name="Freeform 575"/>
              <p:cNvSpPr>
                <a:spLocks/>
              </p:cNvSpPr>
              <p:nvPr/>
            </p:nvSpPr>
            <p:spPr bwMode="auto">
              <a:xfrm>
                <a:off x="4766" y="2470"/>
                <a:ext cx="36" cy="49"/>
              </a:xfrm>
              <a:custGeom>
                <a:avLst/>
                <a:gdLst>
                  <a:gd name="T0" fmla="*/ 0 w 36"/>
                  <a:gd name="T1" fmla="*/ 0 h 100"/>
                  <a:gd name="T2" fmla="*/ 24 w 36"/>
                  <a:gd name="T3" fmla="*/ 0 h 100"/>
                  <a:gd name="T4" fmla="*/ 36 w 36"/>
                  <a:gd name="T5" fmla="*/ 0 h 100"/>
                  <a:gd name="T6" fmla="*/ 0 w 36"/>
                  <a:gd name="T7" fmla="*/ 0 h 1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6" h="100">
                    <a:moveTo>
                      <a:pt x="0" y="100"/>
                    </a:moveTo>
                    <a:lnTo>
                      <a:pt x="24" y="46"/>
                    </a:lnTo>
                    <a:lnTo>
                      <a:pt x="36" y="0"/>
                    </a:lnTo>
                    <a:lnTo>
                      <a:pt x="0" y="100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76" name="Freeform 576"/>
            <p:cNvSpPr>
              <a:spLocks/>
            </p:cNvSpPr>
            <p:nvPr>
              <p:custDataLst>
                <p:tags r:id="rId470"/>
              </p:custDataLst>
            </p:nvPr>
          </p:nvSpPr>
          <p:spPr bwMode="auto">
            <a:xfrm>
              <a:off x="7142411" y="4022725"/>
              <a:ext cx="92075" cy="160338"/>
            </a:xfrm>
            <a:custGeom>
              <a:avLst/>
              <a:gdLst>
                <a:gd name="T0" fmla="*/ 0 w 63"/>
                <a:gd name="T1" fmla="*/ 2147483647 h 201"/>
                <a:gd name="T2" fmla="*/ 2147483647 w 63"/>
                <a:gd name="T3" fmla="*/ 0 h 201"/>
                <a:gd name="T4" fmla="*/ 2147483647 w 63"/>
                <a:gd name="T5" fmla="*/ 0 h 201"/>
                <a:gd name="T6" fmla="*/ 2147483647 w 63"/>
                <a:gd name="T7" fmla="*/ 2147483647 h 201"/>
                <a:gd name="T8" fmla="*/ 2147483647 w 63"/>
                <a:gd name="T9" fmla="*/ 2147483647 h 201"/>
                <a:gd name="T10" fmla="*/ 2147483647 w 63"/>
                <a:gd name="T11" fmla="*/ 2147483647 h 201"/>
                <a:gd name="T12" fmla="*/ 2147483647 w 63"/>
                <a:gd name="T13" fmla="*/ 2147483647 h 201"/>
                <a:gd name="T14" fmla="*/ 2147483647 w 63"/>
                <a:gd name="T15" fmla="*/ 2147483647 h 201"/>
                <a:gd name="T16" fmla="*/ 2147483647 w 63"/>
                <a:gd name="T17" fmla="*/ 2147483647 h 201"/>
                <a:gd name="T18" fmla="*/ 2147483647 w 63"/>
                <a:gd name="T19" fmla="*/ 2147483647 h 201"/>
                <a:gd name="T20" fmla="*/ 2147483647 w 63"/>
                <a:gd name="T21" fmla="*/ 2147483647 h 201"/>
                <a:gd name="T22" fmla="*/ 0 w 63"/>
                <a:gd name="T23" fmla="*/ 2147483647 h 20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3" h="201">
                  <a:moveTo>
                    <a:pt x="0" y="78"/>
                  </a:moveTo>
                  <a:lnTo>
                    <a:pt x="13" y="0"/>
                  </a:lnTo>
                  <a:lnTo>
                    <a:pt x="37" y="0"/>
                  </a:lnTo>
                  <a:lnTo>
                    <a:pt x="44" y="55"/>
                  </a:lnTo>
                  <a:lnTo>
                    <a:pt x="26" y="113"/>
                  </a:lnTo>
                  <a:lnTo>
                    <a:pt x="26" y="144"/>
                  </a:lnTo>
                  <a:lnTo>
                    <a:pt x="63" y="157"/>
                  </a:lnTo>
                  <a:lnTo>
                    <a:pt x="63" y="201"/>
                  </a:lnTo>
                  <a:lnTo>
                    <a:pt x="44" y="157"/>
                  </a:lnTo>
                  <a:lnTo>
                    <a:pt x="44" y="178"/>
                  </a:lnTo>
                  <a:lnTo>
                    <a:pt x="13" y="157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77" name="Group 577"/>
            <p:cNvGrpSpPr>
              <a:grpSpLocks/>
            </p:cNvGrpSpPr>
            <p:nvPr>
              <p:custDataLst>
                <p:tags r:id="rId471"/>
              </p:custDataLst>
            </p:nvPr>
          </p:nvGrpSpPr>
          <p:grpSpPr bwMode="auto">
            <a:xfrm>
              <a:off x="7142411" y="4022725"/>
              <a:ext cx="92075" cy="160338"/>
              <a:chOff x="4809" y="2352"/>
              <a:chExt cx="63" cy="101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31" name="Freeform 578"/>
              <p:cNvSpPr>
                <a:spLocks/>
              </p:cNvSpPr>
              <p:nvPr/>
            </p:nvSpPr>
            <p:spPr bwMode="auto">
              <a:xfrm>
                <a:off x="4809" y="2352"/>
                <a:ext cx="63" cy="101"/>
              </a:xfrm>
              <a:custGeom>
                <a:avLst/>
                <a:gdLst>
                  <a:gd name="T0" fmla="*/ 0 w 63"/>
                  <a:gd name="T1" fmla="*/ 1 h 201"/>
                  <a:gd name="T2" fmla="*/ 13 w 63"/>
                  <a:gd name="T3" fmla="*/ 0 h 201"/>
                  <a:gd name="T4" fmla="*/ 37 w 63"/>
                  <a:gd name="T5" fmla="*/ 0 h 201"/>
                  <a:gd name="T6" fmla="*/ 44 w 63"/>
                  <a:gd name="T7" fmla="*/ 1 h 201"/>
                  <a:gd name="T8" fmla="*/ 26 w 63"/>
                  <a:gd name="T9" fmla="*/ 1 h 201"/>
                  <a:gd name="T10" fmla="*/ 26 w 63"/>
                  <a:gd name="T11" fmla="*/ 1 h 201"/>
                  <a:gd name="T12" fmla="*/ 63 w 63"/>
                  <a:gd name="T13" fmla="*/ 1 h 201"/>
                  <a:gd name="T14" fmla="*/ 63 w 63"/>
                  <a:gd name="T15" fmla="*/ 1 h 201"/>
                  <a:gd name="T16" fmla="*/ 44 w 63"/>
                  <a:gd name="T17" fmla="*/ 1 h 201"/>
                  <a:gd name="T18" fmla="*/ 44 w 63"/>
                  <a:gd name="T19" fmla="*/ 1 h 201"/>
                  <a:gd name="T20" fmla="*/ 13 w 63"/>
                  <a:gd name="T21" fmla="*/ 1 h 201"/>
                  <a:gd name="T22" fmla="*/ 0 w 63"/>
                  <a:gd name="T23" fmla="*/ 1 h 20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3" h="201">
                    <a:moveTo>
                      <a:pt x="0" y="78"/>
                    </a:moveTo>
                    <a:lnTo>
                      <a:pt x="13" y="0"/>
                    </a:lnTo>
                    <a:lnTo>
                      <a:pt x="37" y="0"/>
                    </a:lnTo>
                    <a:lnTo>
                      <a:pt x="44" y="55"/>
                    </a:lnTo>
                    <a:lnTo>
                      <a:pt x="26" y="113"/>
                    </a:lnTo>
                    <a:lnTo>
                      <a:pt x="26" y="144"/>
                    </a:lnTo>
                    <a:lnTo>
                      <a:pt x="63" y="157"/>
                    </a:lnTo>
                    <a:lnTo>
                      <a:pt x="63" y="201"/>
                    </a:lnTo>
                    <a:lnTo>
                      <a:pt x="44" y="157"/>
                    </a:lnTo>
                    <a:lnTo>
                      <a:pt x="44" y="178"/>
                    </a:lnTo>
                    <a:lnTo>
                      <a:pt x="13" y="157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32" name="Freeform 579"/>
              <p:cNvSpPr>
                <a:spLocks/>
              </p:cNvSpPr>
              <p:nvPr/>
            </p:nvSpPr>
            <p:spPr bwMode="auto">
              <a:xfrm>
                <a:off x="4809" y="2352"/>
                <a:ext cx="63" cy="101"/>
              </a:xfrm>
              <a:custGeom>
                <a:avLst/>
                <a:gdLst>
                  <a:gd name="T0" fmla="*/ 0 w 63"/>
                  <a:gd name="T1" fmla="*/ 1 h 201"/>
                  <a:gd name="T2" fmla="*/ 13 w 63"/>
                  <a:gd name="T3" fmla="*/ 0 h 201"/>
                  <a:gd name="T4" fmla="*/ 37 w 63"/>
                  <a:gd name="T5" fmla="*/ 0 h 201"/>
                  <a:gd name="T6" fmla="*/ 44 w 63"/>
                  <a:gd name="T7" fmla="*/ 1 h 201"/>
                  <a:gd name="T8" fmla="*/ 26 w 63"/>
                  <a:gd name="T9" fmla="*/ 1 h 201"/>
                  <a:gd name="T10" fmla="*/ 26 w 63"/>
                  <a:gd name="T11" fmla="*/ 1 h 201"/>
                  <a:gd name="T12" fmla="*/ 63 w 63"/>
                  <a:gd name="T13" fmla="*/ 1 h 201"/>
                  <a:gd name="T14" fmla="*/ 63 w 63"/>
                  <a:gd name="T15" fmla="*/ 1 h 201"/>
                  <a:gd name="T16" fmla="*/ 44 w 63"/>
                  <a:gd name="T17" fmla="*/ 1 h 201"/>
                  <a:gd name="T18" fmla="*/ 44 w 63"/>
                  <a:gd name="T19" fmla="*/ 1 h 201"/>
                  <a:gd name="T20" fmla="*/ 13 w 63"/>
                  <a:gd name="T21" fmla="*/ 1 h 201"/>
                  <a:gd name="T22" fmla="*/ 0 w 63"/>
                  <a:gd name="T23" fmla="*/ 1 h 20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3" h="201">
                    <a:moveTo>
                      <a:pt x="0" y="78"/>
                    </a:moveTo>
                    <a:lnTo>
                      <a:pt x="13" y="0"/>
                    </a:lnTo>
                    <a:lnTo>
                      <a:pt x="37" y="0"/>
                    </a:lnTo>
                    <a:lnTo>
                      <a:pt x="44" y="55"/>
                    </a:lnTo>
                    <a:lnTo>
                      <a:pt x="26" y="113"/>
                    </a:lnTo>
                    <a:lnTo>
                      <a:pt x="26" y="144"/>
                    </a:lnTo>
                    <a:lnTo>
                      <a:pt x="63" y="157"/>
                    </a:lnTo>
                    <a:lnTo>
                      <a:pt x="63" y="201"/>
                    </a:lnTo>
                    <a:lnTo>
                      <a:pt x="44" y="157"/>
                    </a:lnTo>
                    <a:lnTo>
                      <a:pt x="44" y="178"/>
                    </a:lnTo>
                    <a:lnTo>
                      <a:pt x="13" y="157"/>
                    </a:lnTo>
                    <a:lnTo>
                      <a:pt x="0" y="78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78" name="Freeform 580"/>
            <p:cNvSpPr>
              <a:spLocks/>
            </p:cNvSpPr>
            <p:nvPr>
              <p:custDataLst>
                <p:tags r:id="rId472"/>
              </p:custDataLst>
            </p:nvPr>
          </p:nvSpPr>
          <p:spPr bwMode="auto">
            <a:xfrm>
              <a:off x="7142411" y="4022725"/>
              <a:ext cx="92075" cy="160338"/>
            </a:xfrm>
            <a:custGeom>
              <a:avLst/>
              <a:gdLst>
                <a:gd name="T0" fmla="*/ 0 w 63"/>
                <a:gd name="T1" fmla="*/ 2147483647 h 201"/>
                <a:gd name="T2" fmla="*/ 2147483647 w 63"/>
                <a:gd name="T3" fmla="*/ 0 h 201"/>
                <a:gd name="T4" fmla="*/ 2147483647 w 63"/>
                <a:gd name="T5" fmla="*/ 0 h 201"/>
                <a:gd name="T6" fmla="*/ 2147483647 w 63"/>
                <a:gd name="T7" fmla="*/ 2147483647 h 201"/>
                <a:gd name="T8" fmla="*/ 2147483647 w 63"/>
                <a:gd name="T9" fmla="*/ 2147483647 h 201"/>
                <a:gd name="T10" fmla="*/ 2147483647 w 63"/>
                <a:gd name="T11" fmla="*/ 2147483647 h 201"/>
                <a:gd name="T12" fmla="*/ 2147483647 w 63"/>
                <a:gd name="T13" fmla="*/ 2147483647 h 201"/>
                <a:gd name="T14" fmla="*/ 2147483647 w 63"/>
                <a:gd name="T15" fmla="*/ 2147483647 h 201"/>
                <a:gd name="T16" fmla="*/ 2147483647 w 63"/>
                <a:gd name="T17" fmla="*/ 2147483647 h 201"/>
                <a:gd name="T18" fmla="*/ 2147483647 w 63"/>
                <a:gd name="T19" fmla="*/ 2147483647 h 201"/>
                <a:gd name="T20" fmla="*/ 2147483647 w 63"/>
                <a:gd name="T21" fmla="*/ 2147483647 h 201"/>
                <a:gd name="T22" fmla="*/ 0 w 63"/>
                <a:gd name="T23" fmla="*/ 2147483647 h 20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3" h="201">
                  <a:moveTo>
                    <a:pt x="0" y="78"/>
                  </a:moveTo>
                  <a:lnTo>
                    <a:pt x="13" y="0"/>
                  </a:lnTo>
                  <a:lnTo>
                    <a:pt x="37" y="0"/>
                  </a:lnTo>
                  <a:lnTo>
                    <a:pt x="44" y="55"/>
                  </a:lnTo>
                  <a:lnTo>
                    <a:pt x="26" y="113"/>
                  </a:lnTo>
                  <a:lnTo>
                    <a:pt x="26" y="144"/>
                  </a:lnTo>
                  <a:lnTo>
                    <a:pt x="63" y="157"/>
                  </a:lnTo>
                  <a:lnTo>
                    <a:pt x="63" y="201"/>
                  </a:lnTo>
                  <a:lnTo>
                    <a:pt x="44" y="157"/>
                  </a:lnTo>
                  <a:lnTo>
                    <a:pt x="44" y="178"/>
                  </a:lnTo>
                  <a:lnTo>
                    <a:pt x="13" y="157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79" name="Group 581"/>
            <p:cNvGrpSpPr>
              <a:grpSpLocks/>
            </p:cNvGrpSpPr>
            <p:nvPr>
              <p:custDataLst>
                <p:tags r:id="rId473"/>
              </p:custDataLst>
            </p:nvPr>
          </p:nvGrpSpPr>
          <p:grpSpPr bwMode="auto">
            <a:xfrm>
              <a:off x="7142411" y="4022725"/>
              <a:ext cx="92075" cy="160338"/>
              <a:chOff x="4809" y="2352"/>
              <a:chExt cx="63" cy="101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29" name="Freeform 582"/>
              <p:cNvSpPr>
                <a:spLocks/>
              </p:cNvSpPr>
              <p:nvPr/>
            </p:nvSpPr>
            <p:spPr bwMode="auto">
              <a:xfrm>
                <a:off x="4809" y="2352"/>
                <a:ext cx="63" cy="101"/>
              </a:xfrm>
              <a:custGeom>
                <a:avLst/>
                <a:gdLst>
                  <a:gd name="T0" fmla="*/ 0 w 63"/>
                  <a:gd name="T1" fmla="*/ 1 h 201"/>
                  <a:gd name="T2" fmla="*/ 13 w 63"/>
                  <a:gd name="T3" fmla="*/ 0 h 201"/>
                  <a:gd name="T4" fmla="*/ 37 w 63"/>
                  <a:gd name="T5" fmla="*/ 0 h 201"/>
                  <a:gd name="T6" fmla="*/ 44 w 63"/>
                  <a:gd name="T7" fmla="*/ 1 h 201"/>
                  <a:gd name="T8" fmla="*/ 26 w 63"/>
                  <a:gd name="T9" fmla="*/ 1 h 201"/>
                  <a:gd name="T10" fmla="*/ 26 w 63"/>
                  <a:gd name="T11" fmla="*/ 1 h 201"/>
                  <a:gd name="T12" fmla="*/ 63 w 63"/>
                  <a:gd name="T13" fmla="*/ 1 h 201"/>
                  <a:gd name="T14" fmla="*/ 63 w 63"/>
                  <a:gd name="T15" fmla="*/ 1 h 201"/>
                  <a:gd name="T16" fmla="*/ 44 w 63"/>
                  <a:gd name="T17" fmla="*/ 1 h 201"/>
                  <a:gd name="T18" fmla="*/ 44 w 63"/>
                  <a:gd name="T19" fmla="*/ 1 h 201"/>
                  <a:gd name="T20" fmla="*/ 13 w 63"/>
                  <a:gd name="T21" fmla="*/ 1 h 201"/>
                  <a:gd name="T22" fmla="*/ 0 w 63"/>
                  <a:gd name="T23" fmla="*/ 1 h 20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3" h="201">
                    <a:moveTo>
                      <a:pt x="0" y="78"/>
                    </a:moveTo>
                    <a:lnTo>
                      <a:pt x="13" y="0"/>
                    </a:lnTo>
                    <a:lnTo>
                      <a:pt x="37" y="0"/>
                    </a:lnTo>
                    <a:lnTo>
                      <a:pt x="44" y="55"/>
                    </a:lnTo>
                    <a:lnTo>
                      <a:pt x="26" y="113"/>
                    </a:lnTo>
                    <a:lnTo>
                      <a:pt x="26" y="144"/>
                    </a:lnTo>
                    <a:lnTo>
                      <a:pt x="63" y="157"/>
                    </a:lnTo>
                    <a:lnTo>
                      <a:pt x="63" y="201"/>
                    </a:lnTo>
                    <a:lnTo>
                      <a:pt x="44" y="157"/>
                    </a:lnTo>
                    <a:lnTo>
                      <a:pt x="44" y="178"/>
                    </a:lnTo>
                    <a:lnTo>
                      <a:pt x="13" y="157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30" name="Freeform 583"/>
              <p:cNvSpPr>
                <a:spLocks/>
              </p:cNvSpPr>
              <p:nvPr/>
            </p:nvSpPr>
            <p:spPr bwMode="auto">
              <a:xfrm>
                <a:off x="4809" y="2352"/>
                <a:ext cx="63" cy="101"/>
              </a:xfrm>
              <a:custGeom>
                <a:avLst/>
                <a:gdLst>
                  <a:gd name="T0" fmla="*/ 0 w 63"/>
                  <a:gd name="T1" fmla="*/ 1 h 201"/>
                  <a:gd name="T2" fmla="*/ 13 w 63"/>
                  <a:gd name="T3" fmla="*/ 0 h 201"/>
                  <a:gd name="T4" fmla="*/ 37 w 63"/>
                  <a:gd name="T5" fmla="*/ 0 h 201"/>
                  <a:gd name="T6" fmla="*/ 44 w 63"/>
                  <a:gd name="T7" fmla="*/ 1 h 201"/>
                  <a:gd name="T8" fmla="*/ 26 w 63"/>
                  <a:gd name="T9" fmla="*/ 1 h 201"/>
                  <a:gd name="T10" fmla="*/ 26 w 63"/>
                  <a:gd name="T11" fmla="*/ 1 h 201"/>
                  <a:gd name="T12" fmla="*/ 63 w 63"/>
                  <a:gd name="T13" fmla="*/ 1 h 201"/>
                  <a:gd name="T14" fmla="*/ 63 w 63"/>
                  <a:gd name="T15" fmla="*/ 1 h 201"/>
                  <a:gd name="T16" fmla="*/ 44 w 63"/>
                  <a:gd name="T17" fmla="*/ 1 h 201"/>
                  <a:gd name="T18" fmla="*/ 44 w 63"/>
                  <a:gd name="T19" fmla="*/ 1 h 201"/>
                  <a:gd name="T20" fmla="*/ 13 w 63"/>
                  <a:gd name="T21" fmla="*/ 1 h 201"/>
                  <a:gd name="T22" fmla="*/ 0 w 63"/>
                  <a:gd name="T23" fmla="*/ 1 h 20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3" h="201">
                    <a:moveTo>
                      <a:pt x="0" y="78"/>
                    </a:moveTo>
                    <a:lnTo>
                      <a:pt x="13" y="0"/>
                    </a:lnTo>
                    <a:lnTo>
                      <a:pt x="37" y="0"/>
                    </a:lnTo>
                    <a:lnTo>
                      <a:pt x="44" y="55"/>
                    </a:lnTo>
                    <a:lnTo>
                      <a:pt x="26" y="113"/>
                    </a:lnTo>
                    <a:lnTo>
                      <a:pt x="26" y="144"/>
                    </a:lnTo>
                    <a:lnTo>
                      <a:pt x="63" y="157"/>
                    </a:lnTo>
                    <a:lnTo>
                      <a:pt x="63" y="201"/>
                    </a:lnTo>
                    <a:lnTo>
                      <a:pt x="44" y="157"/>
                    </a:lnTo>
                    <a:lnTo>
                      <a:pt x="44" y="178"/>
                    </a:lnTo>
                    <a:lnTo>
                      <a:pt x="13" y="157"/>
                    </a:lnTo>
                    <a:lnTo>
                      <a:pt x="0" y="78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80" name="Freeform 584"/>
            <p:cNvSpPr>
              <a:spLocks/>
            </p:cNvSpPr>
            <p:nvPr>
              <p:custDataLst>
                <p:tags r:id="rId474"/>
              </p:custDataLst>
            </p:nvPr>
          </p:nvSpPr>
          <p:spPr bwMode="auto">
            <a:xfrm>
              <a:off x="7153523" y="4156075"/>
              <a:ext cx="25400" cy="36513"/>
            </a:xfrm>
            <a:custGeom>
              <a:avLst/>
              <a:gdLst>
                <a:gd name="T0" fmla="*/ 0 w 18"/>
                <a:gd name="T1" fmla="*/ 0 h 46"/>
                <a:gd name="T2" fmla="*/ 2147483647 w 18"/>
                <a:gd name="T3" fmla="*/ 0 h 46"/>
                <a:gd name="T4" fmla="*/ 2147483647 w 18"/>
                <a:gd name="T5" fmla="*/ 2147483647 h 46"/>
                <a:gd name="T6" fmla="*/ 2147483647 w 18"/>
                <a:gd name="T7" fmla="*/ 2147483647 h 46"/>
                <a:gd name="T8" fmla="*/ 0 w 18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46">
                  <a:moveTo>
                    <a:pt x="0" y="0"/>
                  </a:moveTo>
                  <a:lnTo>
                    <a:pt x="11" y="0"/>
                  </a:lnTo>
                  <a:lnTo>
                    <a:pt x="18" y="11"/>
                  </a:lnTo>
                  <a:lnTo>
                    <a:pt x="11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81" name="Freeform 585"/>
            <p:cNvSpPr>
              <a:spLocks/>
            </p:cNvSpPr>
            <p:nvPr>
              <p:custDataLst>
                <p:tags r:id="rId475"/>
              </p:custDataLst>
            </p:nvPr>
          </p:nvSpPr>
          <p:spPr bwMode="auto">
            <a:xfrm>
              <a:off x="7153523" y="4156075"/>
              <a:ext cx="25400" cy="36513"/>
            </a:xfrm>
            <a:custGeom>
              <a:avLst/>
              <a:gdLst>
                <a:gd name="T0" fmla="*/ 0 w 18"/>
                <a:gd name="T1" fmla="*/ 0 h 46"/>
                <a:gd name="T2" fmla="*/ 2147483647 w 18"/>
                <a:gd name="T3" fmla="*/ 0 h 46"/>
                <a:gd name="T4" fmla="*/ 2147483647 w 18"/>
                <a:gd name="T5" fmla="*/ 2147483647 h 46"/>
                <a:gd name="T6" fmla="*/ 2147483647 w 18"/>
                <a:gd name="T7" fmla="*/ 2147483647 h 46"/>
                <a:gd name="T8" fmla="*/ 0 w 18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46">
                  <a:moveTo>
                    <a:pt x="0" y="0"/>
                  </a:moveTo>
                  <a:lnTo>
                    <a:pt x="11" y="0"/>
                  </a:lnTo>
                  <a:lnTo>
                    <a:pt x="18" y="11"/>
                  </a:lnTo>
                  <a:lnTo>
                    <a:pt x="11" y="46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82" name="Freeform 586"/>
            <p:cNvSpPr>
              <a:spLocks/>
            </p:cNvSpPr>
            <p:nvPr>
              <p:custDataLst>
                <p:tags r:id="rId476"/>
              </p:custDataLst>
            </p:nvPr>
          </p:nvSpPr>
          <p:spPr bwMode="auto">
            <a:xfrm>
              <a:off x="7153523" y="4156075"/>
              <a:ext cx="25400" cy="36513"/>
            </a:xfrm>
            <a:custGeom>
              <a:avLst/>
              <a:gdLst>
                <a:gd name="T0" fmla="*/ 0 w 18"/>
                <a:gd name="T1" fmla="*/ 0 h 46"/>
                <a:gd name="T2" fmla="*/ 2147483647 w 18"/>
                <a:gd name="T3" fmla="*/ 0 h 46"/>
                <a:gd name="T4" fmla="*/ 2147483647 w 18"/>
                <a:gd name="T5" fmla="*/ 2147483647 h 46"/>
                <a:gd name="T6" fmla="*/ 2147483647 w 18"/>
                <a:gd name="T7" fmla="*/ 2147483647 h 46"/>
                <a:gd name="T8" fmla="*/ 0 w 18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46">
                  <a:moveTo>
                    <a:pt x="0" y="0"/>
                  </a:moveTo>
                  <a:lnTo>
                    <a:pt x="11" y="0"/>
                  </a:lnTo>
                  <a:lnTo>
                    <a:pt x="18" y="11"/>
                  </a:lnTo>
                  <a:lnTo>
                    <a:pt x="11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83" name="Freeform 587"/>
            <p:cNvSpPr>
              <a:spLocks/>
            </p:cNvSpPr>
            <p:nvPr>
              <p:custDataLst>
                <p:tags r:id="rId477"/>
              </p:custDataLst>
            </p:nvPr>
          </p:nvSpPr>
          <p:spPr bwMode="auto">
            <a:xfrm>
              <a:off x="7153523" y="4156075"/>
              <a:ext cx="25400" cy="36513"/>
            </a:xfrm>
            <a:custGeom>
              <a:avLst/>
              <a:gdLst>
                <a:gd name="T0" fmla="*/ 0 w 18"/>
                <a:gd name="T1" fmla="*/ 0 h 46"/>
                <a:gd name="T2" fmla="*/ 2147483647 w 18"/>
                <a:gd name="T3" fmla="*/ 0 h 46"/>
                <a:gd name="T4" fmla="*/ 2147483647 w 18"/>
                <a:gd name="T5" fmla="*/ 2147483647 h 46"/>
                <a:gd name="T6" fmla="*/ 2147483647 w 18"/>
                <a:gd name="T7" fmla="*/ 2147483647 h 46"/>
                <a:gd name="T8" fmla="*/ 0 w 18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46">
                  <a:moveTo>
                    <a:pt x="0" y="0"/>
                  </a:moveTo>
                  <a:lnTo>
                    <a:pt x="11" y="0"/>
                  </a:lnTo>
                  <a:lnTo>
                    <a:pt x="18" y="11"/>
                  </a:lnTo>
                  <a:lnTo>
                    <a:pt x="11" y="46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84" name="Freeform 588"/>
            <p:cNvSpPr>
              <a:spLocks/>
            </p:cNvSpPr>
            <p:nvPr>
              <p:custDataLst>
                <p:tags r:id="rId478"/>
              </p:custDataLst>
            </p:nvPr>
          </p:nvSpPr>
          <p:spPr bwMode="auto">
            <a:xfrm>
              <a:off x="7190036" y="4191000"/>
              <a:ext cx="25400" cy="46038"/>
            </a:xfrm>
            <a:custGeom>
              <a:avLst/>
              <a:gdLst>
                <a:gd name="T0" fmla="*/ 0 w 18"/>
                <a:gd name="T1" fmla="*/ 0 h 58"/>
                <a:gd name="T2" fmla="*/ 0 w 18"/>
                <a:gd name="T3" fmla="*/ 2147483647 h 58"/>
                <a:gd name="T4" fmla="*/ 2147483647 w 18"/>
                <a:gd name="T5" fmla="*/ 2147483647 h 58"/>
                <a:gd name="T6" fmla="*/ 0 w 18"/>
                <a:gd name="T7" fmla="*/ 0 h 5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8">
                  <a:moveTo>
                    <a:pt x="0" y="0"/>
                  </a:moveTo>
                  <a:lnTo>
                    <a:pt x="0" y="58"/>
                  </a:lnTo>
                  <a:lnTo>
                    <a:pt x="18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85" name="Group 589"/>
            <p:cNvGrpSpPr>
              <a:grpSpLocks/>
            </p:cNvGrpSpPr>
            <p:nvPr>
              <p:custDataLst>
                <p:tags r:id="rId479"/>
              </p:custDataLst>
            </p:nvPr>
          </p:nvGrpSpPr>
          <p:grpSpPr bwMode="auto">
            <a:xfrm>
              <a:off x="7190036" y="4191000"/>
              <a:ext cx="25400" cy="46038"/>
              <a:chOff x="4841" y="2458"/>
              <a:chExt cx="18" cy="2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27" name="Freeform 590"/>
              <p:cNvSpPr>
                <a:spLocks/>
              </p:cNvSpPr>
              <p:nvPr/>
            </p:nvSpPr>
            <p:spPr bwMode="auto">
              <a:xfrm>
                <a:off x="4841" y="2458"/>
                <a:ext cx="18" cy="29"/>
              </a:xfrm>
              <a:custGeom>
                <a:avLst/>
                <a:gdLst>
                  <a:gd name="T0" fmla="*/ 0 w 18"/>
                  <a:gd name="T1" fmla="*/ 0 h 58"/>
                  <a:gd name="T2" fmla="*/ 0 w 18"/>
                  <a:gd name="T3" fmla="*/ 1 h 58"/>
                  <a:gd name="T4" fmla="*/ 18 w 18"/>
                  <a:gd name="T5" fmla="*/ 1 h 58"/>
                  <a:gd name="T6" fmla="*/ 0 w 18"/>
                  <a:gd name="T7" fmla="*/ 0 h 5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" h="58">
                    <a:moveTo>
                      <a:pt x="0" y="0"/>
                    </a:moveTo>
                    <a:lnTo>
                      <a:pt x="0" y="58"/>
                    </a:lnTo>
                    <a:lnTo>
                      <a:pt x="18" y="3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28" name="Freeform 591"/>
              <p:cNvSpPr>
                <a:spLocks/>
              </p:cNvSpPr>
              <p:nvPr/>
            </p:nvSpPr>
            <p:spPr bwMode="auto">
              <a:xfrm>
                <a:off x="4841" y="2458"/>
                <a:ext cx="18" cy="29"/>
              </a:xfrm>
              <a:custGeom>
                <a:avLst/>
                <a:gdLst>
                  <a:gd name="T0" fmla="*/ 0 w 18"/>
                  <a:gd name="T1" fmla="*/ 0 h 58"/>
                  <a:gd name="T2" fmla="*/ 0 w 18"/>
                  <a:gd name="T3" fmla="*/ 1 h 58"/>
                  <a:gd name="T4" fmla="*/ 18 w 18"/>
                  <a:gd name="T5" fmla="*/ 1 h 58"/>
                  <a:gd name="T6" fmla="*/ 0 w 18"/>
                  <a:gd name="T7" fmla="*/ 0 h 5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" h="58">
                    <a:moveTo>
                      <a:pt x="0" y="0"/>
                    </a:moveTo>
                    <a:lnTo>
                      <a:pt x="0" y="58"/>
                    </a:lnTo>
                    <a:lnTo>
                      <a:pt x="18" y="35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86" name="Freeform 592"/>
            <p:cNvSpPr>
              <a:spLocks/>
            </p:cNvSpPr>
            <p:nvPr>
              <p:custDataLst>
                <p:tags r:id="rId480"/>
              </p:custDataLst>
            </p:nvPr>
          </p:nvSpPr>
          <p:spPr bwMode="auto">
            <a:xfrm>
              <a:off x="7190036" y="4191000"/>
              <a:ext cx="25400" cy="46038"/>
            </a:xfrm>
            <a:custGeom>
              <a:avLst/>
              <a:gdLst>
                <a:gd name="T0" fmla="*/ 0 w 18"/>
                <a:gd name="T1" fmla="*/ 0 h 58"/>
                <a:gd name="T2" fmla="*/ 0 w 18"/>
                <a:gd name="T3" fmla="*/ 2147483647 h 58"/>
                <a:gd name="T4" fmla="*/ 2147483647 w 18"/>
                <a:gd name="T5" fmla="*/ 2147483647 h 58"/>
                <a:gd name="T6" fmla="*/ 0 w 18"/>
                <a:gd name="T7" fmla="*/ 0 h 5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8">
                  <a:moveTo>
                    <a:pt x="0" y="0"/>
                  </a:moveTo>
                  <a:lnTo>
                    <a:pt x="0" y="58"/>
                  </a:lnTo>
                  <a:lnTo>
                    <a:pt x="18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87" name="Group 593"/>
            <p:cNvGrpSpPr>
              <a:grpSpLocks/>
            </p:cNvGrpSpPr>
            <p:nvPr>
              <p:custDataLst>
                <p:tags r:id="rId481"/>
              </p:custDataLst>
            </p:nvPr>
          </p:nvGrpSpPr>
          <p:grpSpPr bwMode="auto">
            <a:xfrm>
              <a:off x="7190036" y="4191000"/>
              <a:ext cx="25400" cy="46038"/>
              <a:chOff x="4841" y="2458"/>
              <a:chExt cx="18" cy="2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25" name="Freeform 594"/>
              <p:cNvSpPr>
                <a:spLocks/>
              </p:cNvSpPr>
              <p:nvPr/>
            </p:nvSpPr>
            <p:spPr bwMode="auto">
              <a:xfrm>
                <a:off x="4841" y="2458"/>
                <a:ext cx="18" cy="29"/>
              </a:xfrm>
              <a:custGeom>
                <a:avLst/>
                <a:gdLst>
                  <a:gd name="T0" fmla="*/ 0 w 18"/>
                  <a:gd name="T1" fmla="*/ 0 h 58"/>
                  <a:gd name="T2" fmla="*/ 0 w 18"/>
                  <a:gd name="T3" fmla="*/ 1 h 58"/>
                  <a:gd name="T4" fmla="*/ 18 w 18"/>
                  <a:gd name="T5" fmla="*/ 1 h 58"/>
                  <a:gd name="T6" fmla="*/ 0 w 18"/>
                  <a:gd name="T7" fmla="*/ 0 h 5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" h="58">
                    <a:moveTo>
                      <a:pt x="0" y="0"/>
                    </a:moveTo>
                    <a:lnTo>
                      <a:pt x="0" y="58"/>
                    </a:lnTo>
                    <a:lnTo>
                      <a:pt x="18" y="3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26" name="Freeform 595"/>
              <p:cNvSpPr>
                <a:spLocks/>
              </p:cNvSpPr>
              <p:nvPr/>
            </p:nvSpPr>
            <p:spPr bwMode="auto">
              <a:xfrm>
                <a:off x="4841" y="2458"/>
                <a:ext cx="18" cy="29"/>
              </a:xfrm>
              <a:custGeom>
                <a:avLst/>
                <a:gdLst>
                  <a:gd name="T0" fmla="*/ 0 w 18"/>
                  <a:gd name="T1" fmla="*/ 0 h 58"/>
                  <a:gd name="T2" fmla="*/ 0 w 18"/>
                  <a:gd name="T3" fmla="*/ 1 h 58"/>
                  <a:gd name="T4" fmla="*/ 18 w 18"/>
                  <a:gd name="T5" fmla="*/ 1 h 58"/>
                  <a:gd name="T6" fmla="*/ 0 w 18"/>
                  <a:gd name="T7" fmla="*/ 0 h 5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" h="58">
                    <a:moveTo>
                      <a:pt x="0" y="0"/>
                    </a:moveTo>
                    <a:lnTo>
                      <a:pt x="0" y="58"/>
                    </a:lnTo>
                    <a:lnTo>
                      <a:pt x="18" y="35"/>
                    </a:lnTo>
                    <a:lnTo>
                      <a:pt x="0" y="0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88" name="Freeform 596"/>
            <p:cNvSpPr>
              <a:spLocks/>
            </p:cNvSpPr>
            <p:nvPr>
              <p:custDataLst>
                <p:tags r:id="rId482"/>
              </p:custDataLst>
            </p:nvPr>
          </p:nvSpPr>
          <p:spPr bwMode="auto">
            <a:xfrm>
              <a:off x="7190036" y="4252913"/>
              <a:ext cx="98425" cy="107950"/>
            </a:xfrm>
            <a:custGeom>
              <a:avLst/>
              <a:gdLst>
                <a:gd name="T0" fmla="*/ 0 w 68"/>
                <a:gd name="T1" fmla="*/ 2147483647 h 134"/>
                <a:gd name="T2" fmla="*/ 2147483647 w 68"/>
                <a:gd name="T3" fmla="*/ 2147483647 h 134"/>
                <a:gd name="T4" fmla="*/ 2147483647 w 68"/>
                <a:gd name="T5" fmla="*/ 2147483647 h 134"/>
                <a:gd name="T6" fmla="*/ 2147483647 w 68"/>
                <a:gd name="T7" fmla="*/ 0 h 134"/>
                <a:gd name="T8" fmla="*/ 2147483647 w 68"/>
                <a:gd name="T9" fmla="*/ 2147483647 h 134"/>
                <a:gd name="T10" fmla="*/ 2147483647 w 68"/>
                <a:gd name="T11" fmla="*/ 2147483647 h 134"/>
                <a:gd name="T12" fmla="*/ 2147483647 w 68"/>
                <a:gd name="T13" fmla="*/ 2147483647 h 134"/>
                <a:gd name="T14" fmla="*/ 2147483647 w 68"/>
                <a:gd name="T15" fmla="*/ 2147483647 h 134"/>
                <a:gd name="T16" fmla="*/ 2147483647 w 68"/>
                <a:gd name="T17" fmla="*/ 2147483647 h 134"/>
                <a:gd name="T18" fmla="*/ 2147483647 w 68"/>
                <a:gd name="T19" fmla="*/ 2147483647 h 134"/>
                <a:gd name="T20" fmla="*/ 0 w 68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8" h="134">
                  <a:moveTo>
                    <a:pt x="0" y="90"/>
                  </a:moveTo>
                  <a:lnTo>
                    <a:pt x="18" y="44"/>
                  </a:lnTo>
                  <a:lnTo>
                    <a:pt x="31" y="44"/>
                  </a:lnTo>
                  <a:lnTo>
                    <a:pt x="55" y="0"/>
                  </a:lnTo>
                  <a:lnTo>
                    <a:pt x="68" y="34"/>
                  </a:lnTo>
                  <a:lnTo>
                    <a:pt x="68" y="111"/>
                  </a:lnTo>
                  <a:lnTo>
                    <a:pt x="62" y="78"/>
                  </a:lnTo>
                  <a:lnTo>
                    <a:pt x="55" y="134"/>
                  </a:lnTo>
                  <a:lnTo>
                    <a:pt x="36" y="123"/>
                  </a:lnTo>
                  <a:lnTo>
                    <a:pt x="24" y="55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89" name="Group 597"/>
            <p:cNvGrpSpPr>
              <a:grpSpLocks/>
            </p:cNvGrpSpPr>
            <p:nvPr>
              <p:custDataLst>
                <p:tags r:id="rId483"/>
              </p:custDataLst>
            </p:nvPr>
          </p:nvGrpSpPr>
          <p:grpSpPr bwMode="auto">
            <a:xfrm>
              <a:off x="7190036" y="4252913"/>
              <a:ext cx="98425" cy="107950"/>
              <a:chOff x="4841" y="2497"/>
              <a:chExt cx="68" cy="68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23" name="Freeform 598"/>
              <p:cNvSpPr>
                <a:spLocks/>
              </p:cNvSpPr>
              <p:nvPr/>
            </p:nvSpPr>
            <p:spPr bwMode="auto">
              <a:xfrm>
                <a:off x="4841" y="2497"/>
                <a:ext cx="68" cy="68"/>
              </a:xfrm>
              <a:custGeom>
                <a:avLst/>
                <a:gdLst>
                  <a:gd name="T0" fmla="*/ 0 w 68"/>
                  <a:gd name="T1" fmla="*/ 1 h 134"/>
                  <a:gd name="T2" fmla="*/ 18 w 68"/>
                  <a:gd name="T3" fmla="*/ 1 h 134"/>
                  <a:gd name="T4" fmla="*/ 31 w 68"/>
                  <a:gd name="T5" fmla="*/ 1 h 134"/>
                  <a:gd name="T6" fmla="*/ 55 w 68"/>
                  <a:gd name="T7" fmla="*/ 0 h 134"/>
                  <a:gd name="T8" fmla="*/ 68 w 68"/>
                  <a:gd name="T9" fmla="*/ 1 h 134"/>
                  <a:gd name="T10" fmla="*/ 68 w 68"/>
                  <a:gd name="T11" fmla="*/ 1 h 134"/>
                  <a:gd name="T12" fmla="*/ 62 w 68"/>
                  <a:gd name="T13" fmla="*/ 1 h 134"/>
                  <a:gd name="T14" fmla="*/ 55 w 68"/>
                  <a:gd name="T15" fmla="*/ 1 h 134"/>
                  <a:gd name="T16" fmla="*/ 36 w 68"/>
                  <a:gd name="T17" fmla="*/ 1 h 134"/>
                  <a:gd name="T18" fmla="*/ 24 w 68"/>
                  <a:gd name="T19" fmla="*/ 1 h 134"/>
                  <a:gd name="T20" fmla="*/ 0 w 68"/>
                  <a:gd name="T21" fmla="*/ 1 h 13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8" h="134">
                    <a:moveTo>
                      <a:pt x="0" y="90"/>
                    </a:moveTo>
                    <a:lnTo>
                      <a:pt x="18" y="44"/>
                    </a:lnTo>
                    <a:lnTo>
                      <a:pt x="31" y="44"/>
                    </a:lnTo>
                    <a:lnTo>
                      <a:pt x="55" y="0"/>
                    </a:lnTo>
                    <a:lnTo>
                      <a:pt x="68" y="34"/>
                    </a:lnTo>
                    <a:lnTo>
                      <a:pt x="68" y="111"/>
                    </a:lnTo>
                    <a:lnTo>
                      <a:pt x="62" y="78"/>
                    </a:lnTo>
                    <a:lnTo>
                      <a:pt x="55" y="134"/>
                    </a:lnTo>
                    <a:lnTo>
                      <a:pt x="36" y="123"/>
                    </a:lnTo>
                    <a:lnTo>
                      <a:pt x="24" y="55"/>
                    </a:lnTo>
                    <a:lnTo>
                      <a:pt x="0" y="90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24" name="Freeform 599"/>
              <p:cNvSpPr>
                <a:spLocks/>
              </p:cNvSpPr>
              <p:nvPr/>
            </p:nvSpPr>
            <p:spPr bwMode="auto">
              <a:xfrm>
                <a:off x="4841" y="2497"/>
                <a:ext cx="68" cy="68"/>
              </a:xfrm>
              <a:custGeom>
                <a:avLst/>
                <a:gdLst>
                  <a:gd name="T0" fmla="*/ 0 w 68"/>
                  <a:gd name="T1" fmla="*/ 1 h 134"/>
                  <a:gd name="T2" fmla="*/ 18 w 68"/>
                  <a:gd name="T3" fmla="*/ 1 h 134"/>
                  <a:gd name="T4" fmla="*/ 31 w 68"/>
                  <a:gd name="T5" fmla="*/ 1 h 134"/>
                  <a:gd name="T6" fmla="*/ 55 w 68"/>
                  <a:gd name="T7" fmla="*/ 0 h 134"/>
                  <a:gd name="T8" fmla="*/ 68 w 68"/>
                  <a:gd name="T9" fmla="*/ 1 h 134"/>
                  <a:gd name="T10" fmla="*/ 68 w 68"/>
                  <a:gd name="T11" fmla="*/ 1 h 134"/>
                  <a:gd name="T12" fmla="*/ 62 w 68"/>
                  <a:gd name="T13" fmla="*/ 1 h 134"/>
                  <a:gd name="T14" fmla="*/ 55 w 68"/>
                  <a:gd name="T15" fmla="*/ 1 h 134"/>
                  <a:gd name="T16" fmla="*/ 36 w 68"/>
                  <a:gd name="T17" fmla="*/ 1 h 134"/>
                  <a:gd name="T18" fmla="*/ 24 w 68"/>
                  <a:gd name="T19" fmla="*/ 1 h 134"/>
                  <a:gd name="T20" fmla="*/ 0 w 68"/>
                  <a:gd name="T21" fmla="*/ 1 h 13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8" h="134">
                    <a:moveTo>
                      <a:pt x="0" y="90"/>
                    </a:moveTo>
                    <a:lnTo>
                      <a:pt x="18" y="44"/>
                    </a:lnTo>
                    <a:lnTo>
                      <a:pt x="31" y="44"/>
                    </a:lnTo>
                    <a:lnTo>
                      <a:pt x="55" y="0"/>
                    </a:lnTo>
                    <a:lnTo>
                      <a:pt x="68" y="34"/>
                    </a:lnTo>
                    <a:lnTo>
                      <a:pt x="68" y="111"/>
                    </a:lnTo>
                    <a:lnTo>
                      <a:pt x="62" y="78"/>
                    </a:lnTo>
                    <a:lnTo>
                      <a:pt x="55" y="134"/>
                    </a:lnTo>
                    <a:lnTo>
                      <a:pt x="36" y="123"/>
                    </a:lnTo>
                    <a:lnTo>
                      <a:pt x="24" y="55"/>
                    </a:lnTo>
                    <a:lnTo>
                      <a:pt x="0" y="90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90" name="Freeform 600"/>
            <p:cNvSpPr>
              <a:spLocks/>
            </p:cNvSpPr>
            <p:nvPr>
              <p:custDataLst>
                <p:tags r:id="rId484"/>
              </p:custDataLst>
            </p:nvPr>
          </p:nvSpPr>
          <p:spPr bwMode="auto">
            <a:xfrm>
              <a:off x="7190036" y="4252913"/>
              <a:ext cx="98425" cy="107950"/>
            </a:xfrm>
            <a:custGeom>
              <a:avLst/>
              <a:gdLst>
                <a:gd name="T0" fmla="*/ 0 w 68"/>
                <a:gd name="T1" fmla="*/ 2147483647 h 134"/>
                <a:gd name="T2" fmla="*/ 2147483647 w 68"/>
                <a:gd name="T3" fmla="*/ 2147483647 h 134"/>
                <a:gd name="T4" fmla="*/ 2147483647 w 68"/>
                <a:gd name="T5" fmla="*/ 2147483647 h 134"/>
                <a:gd name="T6" fmla="*/ 2147483647 w 68"/>
                <a:gd name="T7" fmla="*/ 0 h 134"/>
                <a:gd name="T8" fmla="*/ 2147483647 w 68"/>
                <a:gd name="T9" fmla="*/ 2147483647 h 134"/>
                <a:gd name="T10" fmla="*/ 2147483647 w 68"/>
                <a:gd name="T11" fmla="*/ 2147483647 h 134"/>
                <a:gd name="T12" fmla="*/ 2147483647 w 68"/>
                <a:gd name="T13" fmla="*/ 2147483647 h 134"/>
                <a:gd name="T14" fmla="*/ 2147483647 w 68"/>
                <a:gd name="T15" fmla="*/ 2147483647 h 134"/>
                <a:gd name="T16" fmla="*/ 2147483647 w 68"/>
                <a:gd name="T17" fmla="*/ 2147483647 h 134"/>
                <a:gd name="T18" fmla="*/ 2147483647 w 68"/>
                <a:gd name="T19" fmla="*/ 2147483647 h 134"/>
                <a:gd name="T20" fmla="*/ 0 w 68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8" h="134">
                  <a:moveTo>
                    <a:pt x="0" y="90"/>
                  </a:moveTo>
                  <a:lnTo>
                    <a:pt x="18" y="44"/>
                  </a:lnTo>
                  <a:lnTo>
                    <a:pt x="31" y="44"/>
                  </a:lnTo>
                  <a:lnTo>
                    <a:pt x="55" y="0"/>
                  </a:lnTo>
                  <a:lnTo>
                    <a:pt x="68" y="34"/>
                  </a:lnTo>
                  <a:lnTo>
                    <a:pt x="68" y="111"/>
                  </a:lnTo>
                  <a:lnTo>
                    <a:pt x="62" y="78"/>
                  </a:lnTo>
                  <a:lnTo>
                    <a:pt x="55" y="134"/>
                  </a:lnTo>
                  <a:lnTo>
                    <a:pt x="36" y="123"/>
                  </a:lnTo>
                  <a:lnTo>
                    <a:pt x="24" y="55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91" name="Group 601"/>
            <p:cNvGrpSpPr>
              <a:grpSpLocks/>
            </p:cNvGrpSpPr>
            <p:nvPr>
              <p:custDataLst>
                <p:tags r:id="rId485"/>
              </p:custDataLst>
            </p:nvPr>
          </p:nvGrpSpPr>
          <p:grpSpPr bwMode="auto">
            <a:xfrm>
              <a:off x="7190036" y="4252913"/>
              <a:ext cx="98425" cy="107950"/>
              <a:chOff x="4841" y="2497"/>
              <a:chExt cx="68" cy="68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21" name="Freeform 602"/>
              <p:cNvSpPr>
                <a:spLocks/>
              </p:cNvSpPr>
              <p:nvPr/>
            </p:nvSpPr>
            <p:spPr bwMode="auto">
              <a:xfrm>
                <a:off x="4841" y="2497"/>
                <a:ext cx="68" cy="68"/>
              </a:xfrm>
              <a:custGeom>
                <a:avLst/>
                <a:gdLst>
                  <a:gd name="T0" fmla="*/ 0 w 68"/>
                  <a:gd name="T1" fmla="*/ 1 h 134"/>
                  <a:gd name="T2" fmla="*/ 18 w 68"/>
                  <a:gd name="T3" fmla="*/ 1 h 134"/>
                  <a:gd name="T4" fmla="*/ 31 w 68"/>
                  <a:gd name="T5" fmla="*/ 1 h 134"/>
                  <a:gd name="T6" fmla="*/ 55 w 68"/>
                  <a:gd name="T7" fmla="*/ 0 h 134"/>
                  <a:gd name="T8" fmla="*/ 68 w 68"/>
                  <a:gd name="T9" fmla="*/ 1 h 134"/>
                  <a:gd name="T10" fmla="*/ 68 w 68"/>
                  <a:gd name="T11" fmla="*/ 1 h 134"/>
                  <a:gd name="T12" fmla="*/ 62 w 68"/>
                  <a:gd name="T13" fmla="*/ 1 h 134"/>
                  <a:gd name="T14" fmla="*/ 55 w 68"/>
                  <a:gd name="T15" fmla="*/ 1 h 134"/>
                  <a:gd name="T16" fmla="*/ 36 w 68"/>
                  <a:gd name="T17" fmla="*/ 1 h 134"/>
                  <a:gd name="T18" fmla="*/ 24 w 68"/>
                  <a:gd name="T19" fmla="*/ 1 h 134"/>
                  <a:gd name="T20" fmla="*/ 0 w 68"/>
                  <a:gd name="T21" fmla="*/ 1 h 13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8" h="134">
                    <a:moveTo>
                      <a:pt x="0" y="90"/>
                    </a:moveTo>
                    <a:lnTo>
                      <a:pt x="18" y="44"/>
                    </a:lnTo>
                    <a:lnTo>
                      <a:pt x="31" y="44"/>
                    </a:lnTo>
                    <a:lnTo>
                      <a:pt x="55" y="0"/>
                    </a:lnTo>
                    <a:lnTo>
                      <a:pt x="68" y="34"/>
                    </a:lnTo>
                    <a:lnTo>
                      <a:pt x="68" y="111"/>
                    </a:lnTo>
                    <a:lnTo>
                      <a:pt x="62" y="78"/>
                    </a:lnTo>
                    <a:lnTo>
                      <a:pt x="55" y="134"/>
                    </a:lnTo>
                    <a:lnTo>
                      <a:pt x="36" y="123"/>
                    </a:lnTo>
                    <a:lnTo>
                      <a:pt x="24" y="55"/>
                    </a:lnTo>
                    <a:lnTo>
                      <a:pt x="0" y="90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22" name="Freeform 603"/>
              <p:cNvSpPr>
                <a:spLocks/>
              </p:cNvSpPr>
              <p:nvPr/>
            </p:nvSpPr>
            <p:spPr bwMode="auto">
              <a:xfrm>
                <a:off x="4841" y="2497"/>
                <a:ext cx="68" cy="68"/>
              </a:xfrm>
              <a:custGeom>
                <a:avLst/>
                <a:gdLst>
                  <a:gd name="T0" fmla="*/ 0 w 68"/>
                  <a:gd name="T1" fmla="*/ 1 h 134"/>
                  <a:gd name="T2" fmla="*/ 18 w 68"/>
                  <a:gd name="T3" fmla="*/ 1 h 134"/>
                  <a:gd name="T4" fmla="*/ 31 w 68"/>
                  <a:gd name="T5" fmla="*/ 1 h 134"/>
                  <a:gd name="T6" fmla="*/ 55 w 68"/>
                  <a:gd name="T7" fmla="*/ 0 h 134"/>
                  <a:gd name="T8" fmla="*/ 68 w 68"/>
                  <a:gd name="T9" fmla="*/ 1 h 134"/>
                  <a:gd name="T10" fmla="*/ 68 w 68"/>
                  <a:gd name="T11" fmla="*/ 1 h 134"/>
                  <a:gd name="T12" fmla="*/ 62 w 68"/>
                  <a:gd name="T13" fmla="*/ 1 h 134"/>
                  <a:gd name="T14" fmla="*/ 55 w 68"/>
                  <a:gd name="T15" fmla="*/ 1 h 134"/>
                  <a:gd name="T16" fmla="*/ 36 w 68"/>
                  <a:gd name="T17" fmla="*/ 1 h 134"/>
                  <a:gd name="T18" fmla="*/ 24 w 68"/>
                  <a:gd name="T19" fmla="*/ 1 h 134"/>
                  <a:gd name="T20" fmla="*/ 0 w 68"/>
                  <a:gd name="T21" fmla="*/ 1 h 13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8" h="134">
                    <a:moveTo>
                      <a:pt x="0" y="90"/>
                    </a:moveTo>
                    <a:lnTo>
                      <a:pt x="18" y="44"/>
                    </a:lnTo>
                    <a:lnTo>
                      <a:pt x="31" y="44"/>
                    </a:lnTo>
                    <a:lnTo>
                      <a:pt x="55" y="0"/>
                    </a:lnTo>
                    <a:lnTo>
                      <a:pt x="68" y="34"/>
                    </a:lnTo>
                    <a:lnTo>
                      <a:pt x="68" y="111"/>
                    </a:lnTo>
                    <a:lnTo>
                      <a:pt x="62" y="78"/>
                    </a:lnTo>
                    <a:lnTo>
                      <a:pt x="55" y="134"/>
                    </a:lnTo>
                    <a:lnTo>
                      <a:pt x="36" y="123"/>
                    </a:lnTo>
                    <a:lnTo>
                      <a:pt x="24" y="55"/>
                    </a:lnTo>
                    <a:lnTo>
                      <a:pt x="0" y="90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92" name="Freeform 604"/>
            <p:cNvSpPr>
              <a:spLocks/>
            </p:cNvSpPr>
            <p:nvPr>
              <p:custDataLst>
                <p:tags r:id="rId486"/>
              </p:custDataLst>
            </p:nvPr>
          </p:nvSpPr>
          <p:spPr bwMode="auto">
            <a:xfrm>
              <a:off x="7196386" y="4225925"/>
              <a:ext cx="28575" cy="46038"/>
            </a:xfrm>
            <a:custGeom>
              <a:avLst/>
              <a:gdLst>
                <a:gd name="T0" fmla="*/ 0 w 19"/>
                <a:gd name="T1" fmla="*/ 2147483647 h 58"/>
                <a:gd name="T2" fmla="*/ 2147483647 w 19"/>
                <a:gd name="T3" fmla="*/ 2147483647 h 58"/>
                <a:gd name="T4" fmla="*/ 2147483647 w 19"/>
                <a:gd name="T5" fmla="*/ 0 h 58"/>
                <a:gd name="T6" fmla="*/ 2147483647 w 19"/>
                <a:gd name="T7" fmla="*/ 2147483647 h 58"/>
                <a:gd name="T8" fmla="*/ 0 w 19"/>
                <a:gd name="T9" fmla="*/ 2147483647 h 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8">
                  <a:moveTo>
                    <a:pt x="0" y="35"/>
                  </a:moveTo>
                  <a:lnTo>
                    <a:pt x="6" y="25"/>
                  </a:lnTo>
                  <a:lnTo>
                    <a:pt x="19" y="0"/>
                  </a:lnTo>
                  <a:lnTo>
                    <a:pt x="13" y="58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93" name="Group 605"/>
            <p:cNvGrpSpPr>
              <a:grpSpLocks/>
            </p:cNvGrpSpPr>
            <p:nvPr>
              <p:custDataLst>
                <p:tags r:id="rId487"/>
              </p:custDataLst>
            </p:nvPr>
          </p:nvGrpSpPr>
          <p:grpSpPr bwMode="auto">
            <a:xfrm>
              <a:off x="7196386" y="4225925"/>
              <a:ext cx="28575" cy="46038"/>
              <a:chOff x="4846" y="2480"/>
              <a:chExt cx="19" cy="2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19" name="Freeform 606"/>
              <p:cNvSpPr>
                <a:spLocks/>
              </p:cNvSpPr>
              <p:nvPr/>
            </p:nvSpPr>
            <p:spPr bwMode="auto">
              <a:xfrm>
                <a:off x="4846" y="2480"/>
                <a:ext cx="19" cy="29"/>
              </a:xfrm>
              <a:custGeom>
                <a:avLst/>
                <a:gdLst>
                  <a:gd name="T0" fmla="*/ 0 w 19"/>
                  <a:gd name="T1" fmla="*/ 1 h 58"/>
                  <a:gd name="T2" fmla="*/ 6 w 19"/>
                  <a:gd name="T3" fmla="*/ 1 h 58"/>
                  <a:gd name="T4" fmla="*/ 19 w 19"/>
                  <a:gd name="T5" fmla="*/ 0 h 58"/>
                  <a:gd name="T6" fmla="*/ 13 w 19"/>
                  <a:gd name="T7" fmla="*/ 1 h 58"/>
                  <a:gd name="T8" fmla="*/ 0 w 19"/>
                  <a:gd name="T9" fmla="*/ 1 h 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58">
                    <a:moveTo>
                      <a:pt x="0" y="35"/>
                    </a:moveTo>
                    <a:lnTo>
                      <a:pt x="6" y="25"/>
                    </a:lnTo>
                    <a:lnTo>
                      <a:pt x="19" y="0"/>
                    </a:lnTo>
                    <a:lnTo>
                      <a:pt x="13" y="58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20" name="Freeform 607"/>
              <p:cNvSpPr>
                <a:spLocks/>
              </p:cNvSpPr>
              <p:nvPr/>
            </p:nvSpPr>
            <p:spPr bwMode="auto">
              <a:xfrm>
                <a:off x="4846" y="2480"/>
                <a:ext cx="19" cy="29"/>
              </a:xfrm>
              <a:custGeom>
                <a:avLst/>
                <a:gdLst>
                  <a:gd name="T0" fmla="*/ 0 w 19"/>
                  <a:gd name="T1" fmla="*/ 1 h 58"/>
                  <a:gd name="T2" fmla="*/ 6 w 19"/>
                  <a:gd name="T3" fmla="*/ 1 h 58"/>
                  <a:gd name="T4" fmla="*/ 19 w 19"/>
                  <a:gd name="T5" fmla="*/ 0 h 58"/>
                  <a:gd name="T6" fmla="*/ 13 w 19"/>
                  <a:gd name="T7" fmla="*/ 1 h 58"/>
                  <a:gd name="T8" fmla="*/ 0 w 19"/>
                  <a:gd name="T9" fmla="*/ 1 h 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58">
                    <a:moveTo>
                      <a:pt x="0" y="35"/>
                    </a:moveTo>
                    <a:lnTo>
                      <a:pt x="6" y="25"/>
                    </a:lnTo>
                    <a:lnTo>
                      <a:pt x="19" y="0"/>
                    </a:lnTo>
                    <a:lnTo>
                      <a:pt x="13" y="58"/>
                    </a:lnTo>
                    <a:lnTo>
                      <a:pt x="0" y="35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94" name="Freeform 608"/>
            <p:cNvSpPr>
              <a:spLocks/>
            </p:cNvSpPr>
            <p:nvPr>
              <p:custDataLst>
                <p:tags r:id="rId488"/>
              </p:custDataLst>
            </p:nvPr>
          </p:nvSpPr>
          <p:spPr bwMode="auto">
            <a:xfrm>
              <a:off x="7196386" y="4225925"/>
              <a:ext cx="28575" cy="46038"/>
            </a:xfrm>
            <a:custGeom>
              <a:avLst/>
              <a:gdLst>
                <a:gd name="T0" fmla="*/ 0 w 19"/>
                <a:gd name="T1" fmla="*/ 2147483647 h 58"/>
                <a:gd name="T2" fmla="*/ 2147483647 w 19"/>
                <a:gd name="T3" fmla="*/ 2147483647 h 58"/>
                <a:gd name="T4" fmla="*/ 2147483647 w 19"/>
                <a:gd name="T5" fmla="*/ 0 h 58"/>
                <a:gd name="T6" fmla="*/ 2147483647 w 19"/>
                <a:gd name="T7" fmla="*/ 2147483647 h 58"/>
                <a:gd name="T8" fmla="*/ 0 w 19"/>
                <a:gd name="T9" fmla="*/ 2147483647 h 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8">
                  <a:moveTo>
                    <a:pt x="0" y="35"/>
                  </a:moveTo>
                  <a:lnTo>
                    <a:pt x="6" y="25"/>
                  </a:lnTo>
                  <a:lnTo>
                    <a:pt x="19" y="0"/>
                  </a:lnTo>
                  <a:lnTo>
                    <a:pt x="13" y="58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495" name="Group 609"/>
            <p:cNvGrpSpPr>
              <a:grpSpLocks/>
            </p:cNvGrpSpPr>
            <p:nvPr>
              <p:custDataLst>
                <p:tags r:id="rId489"/>
              </p:custDataLst>
            </p:nvPr>
          </p:nvGrpSpPr>
          <p:grpSpPr bwMode="auto">
            <a:xfrm>
              <a:off x="7196386" y="4225925"/>
              <a:ext cx="28575" cy="46038"/>
              <a:chOff x="4846" y="2480"/>
              <a:chExt cx="19" cy="2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17" name="Freeform 610"/>
              <p:cNvSpPr>
                <a:spLocks/>
              </p:cNvSpPr>
              <p:nvPr/>
            </p:nvSpPr>
            <p:spPr bwMode="auto">
              <a:xfrm>
                <a:off x="4846" y="2480"/>
                <a:ext cx="19" cy="29"/>
              </a:xfrm>
              <a:custGeom>
                <a:avLst/>
                <a:gdLst>
                  <a:gd name="T0" fmla="*/ 0 w 19"/>
                  <a:gd name="T1" fmla="*/ 1 h 58"/>
                  <a:gd name="T2" fmla="*/ 6 w 19"/>
                  <a:gd name="T3" fmla="*/ 1 h 58"/>
                  <a:gd name="T4" fmla="*/ 19 w 19"/>
                  <a:gd name="T5" fmla="*/ 0 h 58"/>
                  <a:gd name="T6" fmla="*/ 13 w 19"/>
                  <a:gd name="T7" fmla="*/ 1 h 58"/>
                  <a:gd name="T8" fmla="*/ 0 w 19"/>
                  <a:gd name="T9" fmla="*/ 1 h 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58">
                    <a:moveTo>
                      <a:pt x="0" y="35"/>
                    </a:moveTo>
                    <a:lnTo>
                      <a:pt x="6" y="25"/>
                    </a:lnTo>
                    <a:lnTo>
                      <a:pt x="19" y="0"/>
                    </a:lnTo>
                    <a:lnTo>
                      <a:pt x="13" y="58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18" name="Freeform 611"/>
              <p:cNvSpPr>
                <a:spLocks/>
              </p:cNvSpPr>
              <p:nvPr/>
            </p:nvSpPr>
            <p:spPr bwMode="auto">
              <a:xfrm>
                <a:off x="4846" y="2480"/>
                <a:ext cx="19" cy="29"/>
              </a:xfrm>
              <a:custGeom>
                <a:avLst/>
                <a:gdLst>
                  <a:gd name="T0" fmla="*/ 0 w 19"/>
                  <a:gd name="T1" fmla="*/ 1 h 58"/>
                  <a:gd name="T2" fmla="*/ 6 w 19"/>
                  <a:gd name="T3" fmla="*/ 1 h 58"/>
                  <a:gd name="T4" fmla="*/ 19 w 19"/>
                  <a:gd name="T5" fmla="*/ 0 h 58"/>
                  <a:gd name="T6" fmla="*/ 13 w 19"/>
                  <a:gd name="T7" fmla="*/ 1 h 58"/>
                  <a:gd name="T8" fmla="*/ 0 w 19"/>
                  <a:gd name="T9" fmla="*/ 1 h 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58">
                    <a:moveTo>
                      <a:pt x="0" y="35"/>
                    </a:moveTo>
                    <a:lnTo>
                      <a:pt x="6" y="25"/>
                    </a:lnTo>
                    <a:lnTo>
                      <a:pt x="19" y="0"/>
                    </a:lnTo>
                    <a:lnTo>
                      <a:pt x="13" y="58"/>
                    </a:lnTo>
                    <a:lnTo>
                      <a:pt x="0" y="35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96" name="Freeform 612"/>
            <p:cNvSpPr>
              <a:spLocks/>
            </p:cNvSpPr>
            <p:nvPr>
              <p:custDataLst>
                <p:tags r:id="rId490"/>
              </p:custDataLst>
            </p:nvPr>
          </p:nvSpPr>
          <p:spPr bwMode="auto">
            <a:xfrm>
              <a:off x="4730998" y="2954338"/>
              <a:ext cx="220663" cy="193675"/>
            </a:xfrm>
            <a:custGeom>
              <a:avLst/>
              <a:gdLst>
                <a:gd name="T0" fmla="*/ 0 w 151"/>
                <a:gd name="T1" fmla="*/ 2147483647 h 244"/>
                <a:gd name="T2" fmla="*/ 2147483647 w 151"/>
                <a:gd name="T3" fmla="*/ 2147483647 h 244"/>
                <a:gd name="T4" fmla="*/ 2147483647 w 151"/>
                <a:gd name="T5" fmla="*/ 2147483647 h 244"/>
                <a:gd name="T6" fmla="*/ 2147483647 w 151"/>
                <a:gd name="T7" fmla="*/ 2147483647 h 244"/>
                <a:gd name="T8" fmla="*/ 2147483647 w 151"/>
                <a:gd name="T9" fmla="*/ 2147483647 h 244"/>
                <a:gd name="T10" fmla="*/ 2147483647 w 151"/>
                <a:gd name="T11" fmla="*/ 2147483647 h 244"/>
                <a:gd name="T12" fmla="*/ 2147483647 w 151"/>
                <a:gd name="T13" fmla="*/ 2147483647 h 244"/>
                <a:gd name="T14" fmla="*/ 2147483647 w 151"/>
                <a:gd name="T15" fmla="*/ 2147483647 h 244"/>
                <a:gd name="T16" fmla="*/ 2147483647 w 151"/>
                <a:gd name="T17" fmla="*/ 2147483647 h 244"/>
                <a:gd name="T18" fmla="*/ 2147483647 w 151"/>
                <a:gd name="T19" fmla="*/ 0 h 244"/>
                <a:gd name="T20" fmla="*/ 0 w 151"/>
                <a:gd name="T21" fmla="*/ 2147483647 h 2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1" h="244">
                  <a:moveTo>
                    <a:pt x="0" y="45"/>
                  </a:moveTo>
                  <a:lnTo>
                    <a:pt x="7" y="179"/>
                  </a:lnTo>
                  <a:lnTo>
                    <a:pt x="88" y="235"/>
                  </a:lnTo>
                  <a:lnTo>
                    <a:pt x="125" y="244"/>
                  </a:lnTo>
                  <a:lnTo>
                    <a:pt x="151" y="179"/>
                  </a:lnTo>
                  <a:lnTo>
                    <a:pt x="138" y="110"/>
                  </a:lnTo>
                  <a:lnTo>
                    <a:pt x="151" y="89"/>
                  </a:lnTo>
                  <a:lnTo>
                    <a:pt x="145" y="33"/>
                  </a:lnTo>
                  <a:lnTo>
                    <a:pt x="88" y="10"/>
                  </a:lnTo>
                  <a:lnTo>
                    <a:pt x="51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97" name="Freeform 613"/>
            <p:cNvSpPr>
              <a:spLocks/>
            </p:cNvSpPr>
            <p:nvPr>
              <p:custDataLst>
                <p:tags r:id="rId491"/>
              </p:custDataLst>
            </p:nvPr>
          </p:nvSpPr>
          <p:spPr bwMode="auto">
            <a:xfrm>
              <a:off x="4730998" y="2954338"/>
              <a:ext cx="220663" cy="193675"/>
            </a:xfrm>
            <a:custGeom>
              <a:avLst/>
              <a:gdLst>
                <a:gd name="T0" fmla="*/ 0 w 151"/>
                <a:gd name="T1" fmla="*/ 2147483647 h 244"/>
                <a:gd name="T2" fmla="*/ 2147483647 w 151"/>
                <a:gd name="T3" fmla="*/ 2147483647 h 244"/>
                <a:gd name="T4" fmla="*/ 2147483647 w 151"/>
                <a:gd name="T5" fmla="*/ 2147483647 h 244"/>
                <a:gd name="T6" fmla="*/ 2147483647 w 151"/>
                <a:gd name="T7" fmla="*/ 2147483647 h 244"/>
                <a:gd name="T8" fmla="*/ 2147483647 w 151"/>
                <a:gd name="T9" fmla="*/ 2147483647 h 244"/>
                <a:gd name="T10" fmla="*/ 2147483647 w 151"/>
                <a:gd name="T11" fmla="*/ 2147483647 h 244"/>
                <a:gd name="T12" fmla="*/ 2147483647 w 151"/>
                <a:gd name="T13" fmla="*/ 2147483647 h 244"/>
                <a:gd name="T14" fmla="*/ 2147483647 w 151"/>
                <a:gd name="T15" fmla="*/ 2147483647 h 244"/>
                <a:gd name="T16" fmla="*/ 2147483647 w 151"/>
                <a:gd name="T17" fmla="*/ 2147483647 h 244"/>
                <a:gd name="T18" fmla="*/ 2147483647 w 151"/>
                <a:gd name="T19" fmla="*/ 0 h 244"/>
                <a:gd name="T20" fmla="*/ 0 w 151"/>
                <a:gd name="T21" fmla="*/ 2147483647 h 2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1" h="244">
                  <a:moveTo>
                    <a:pt x="0" y="45"/>
                  </a:moveTo>
                  <a:lnTo>
                    <a:pt x="7" y="179"/>
                  </a:lnTo>
                  <a:lnTo>
                    <a:pt x="88" y="235"/>
                  </a:lnTo>
                  <a:lnTo>
                    <a:pt x="125" y="244"/>
                  </a:lnTo>
                  <a:lnTo>
                    <a:pt x="151" y="179"/>
                  </a:lnTo>
                  <a:lnTo>
                    <a:pt x="138" y="110"/>
                  </a:lnTo>
                  <a:lnTo>
                    <a:pt x="151" y="89"/>
                  </a:lnTo>
                  <a:lnTo>
                    <a:pt x="145" y="33"/>
                  </a:lnTo>
                  <a:lnTo>
                    <a:pt x="88" y="10"/>
                  </a:lnTo>
                  <a:lnTo>
                    <a:pt x="51" y="0"/>
                  </a:lnTo>
                  <a:lnTo>
                    <a:pt x="0" y="4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98" name="Freeform 614"/>
            <p:cNvSpPr>
              <a:spLocks/>
            </p:cNvSpPr>
            <p:nvPr>
              <p:custDataLst>
                <p:tags r:id="rId492"/>
              </p:custDataLst>
            </p:nvPr>
          </p:nvSpPr>
          <p:spPr bwMode="auto">
            <a:xfrm>
              <a:off x="4730998" y="2954338"/>
              <a:ext cx="220663" cy="193675"/>
            </a:xfrm>
            <a:custGeom>
              <a:avLst/>
              <a:gdLst>
                <a:gd name="T0" fmla="*/ 0 w 151"/>
                <a:gd name="T1" fmla="*/ 2147483647 h 244"/>
                <a:gd name="T2" fmla="*/ 2147483647 w 151"/>
                <a:gd name="T3" fmla="*/ 2147483647 h 244"/>
                <a:gd name="T4" fmla="*/ 2147483647 w 151"/>
                <a:gd name="T5" fmla="*/ 2147483647 h 244"/>
                <a:gd name="T6" fmla="*/ 2147483647 w 151"/>
                <a:gd name="T7" fmla="*/ 2147483647 h 244"/>
                <a:gd name="T8" fmla="*/ 2147483647 w 151"/>
                <a:gd name="T9" fmla="*/ 2147483647 h 244"/>
                <a:gd name="T10" fmla="*/ 2147483647 w 151"/>
                <a:gd name="T11" fmla="*/ 2147483647 h 244"/>
                <a:gd name="T12" fmla="*/ 2147483647 w 151"/>
                <a:gd name="T13" fmla="*/ 2147483647 h 244"/>
                <a:gd name="T14" fmla="*/ 2147483647 w 151"/>
                <a:gd name="T15" fmla="*/ 2147483647 h 244"/>
                <a:gd name="T16" fmla="*/ 2147483647 w 151"/>
                <a:gd name="T17" fmla="*/ 2147483647 h 244"/>
                <a:gd name="T18" fmla="*/ 2147483647 w 151"/>
                <a:gd name="T19" fmla="*/ 0 h 244"/>
                <a:gd name="T20" fmla="*/ 0 w 151"/>
                <a:gd name="T21" fmla="*/ 2147483647 h 2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1" h="244">
                  <a:moveTo>
                    <a:pt x="0" y="45"/>
                  </a:moveTo>
                  <a:lnTo>
                    <a:pt x="7" y="179"/>
                  </a:lnTo>
                  <a:lnTo>
                    <a:pt x="88" y="235"/>
                  </a:lnTo>
                  <a:lnTo>
                    <a:pt x="125" y="244"/>
                  </a:lnTo>
                  <a:lnTo>
                    <a:pt x="151" y="179"/>
                  </a:lnTo>
                  <a:lnTo>
                    <a:pt x="138" y="110"/>
                  </a:lnTo>
                  <a:lnTo>
                    <a:pt x="151" y="89"/>
                  </a:lnTo>
                  <a:lnTo>
                    <a:pt x="145" y="33"/>
                  </a:lnTo>
                  <a:lnTo>
                    <a:pt x="88" y="10"/>
                  </a:lnTo>
                  <a:lnTo>
                    <a:pt x="51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499" name="Freeform 615"/>
            <p:cNvSpPr>
              <a:spLocks/>
            </p:cNvSpPr>
            <p:nvPr>
              <p:custDataLst>
                <p:tags r:id="rId493"/>
              </p:custDataLst>
            </p:nvPr>
          </p:nvSpPr>
          <p:spPr bwMode="auto">
            <a:xfrm>
              <a:off x="4730998" y="2954338"/>
              <a:ext cx="220663" cy="193675"/>
            </a:xfrm>
            <a:custGeom>
              <a:avLst/>
              <a:gdLst>
                <a:gd name="T0" fmla="*/ 0 w 151"/>
                <a:gd name="T1" fmla="*/ 2147483647 h 244"/>
                <a:gd name="T2" fmla="*/ 2147483647 w 151"/>
                <a:gd name="T3" fmla="*/ 2147483647 h 244"/>
                <a:gd name="T4" fmla="*/ 2147483647 w 151"/>
                <a:gd name="T5" fmla="*/ 2147483647 h 244"/>
                <a:gd name="T6" fmla="*/ 2147483647 w 151"/>
                <a:gd name="T7" fmla="*/ 2147483647 h 244"/>
                <a:gd name="T8" fmla="*/ 2147483647 w 151"/>
                <a:gd name="T9" fmla="*/ 2147483647 h 244"/>
                <a:gd name="T10" fmla="*/ 2147483647 w 151"/>
                <a:gd name="T11" fmla="*/ 2147483647 h 244"/>
                <a:gd name="T12" fmla="*/ 2147483647 w 151"/>
                <a:gd name="T13" fmla="*/ 2147483647 h 244"/>
                <a:gd name="T14" fmla="*/ 2147483647 w 151"/>
                <a:gd name="T15" fmla="*/ 2147483647 h 244"/>
                <a:gd name="T16" fmla="*/ 2147483647 w 151"/>
                <a:gd name="T17" fmla="*/ 2147483647 h 244"/>
                <a:gd name="T18" fmla="*/ 2147483647 w 151"/>
                <a:gd name="T19" fmla="*/ 0 h 244"/>
                <a:gd name="T20" fmla="*/ 0 w 151"/>
                <a:gd name="T21" fmla="*/ 2147483647 h 2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1" h="244">
                  <a:moveTo>
                    <a:pt x="0" y="45"/>
                  </a:moveTo>
                  <a:lnTo>
                    <a:pt x="7" y="179"/>
                  </a:lnTo>
                  <a:lnTo>
                    <a:pt x="88" y="235"/>
                  </a:lnTo>
                  <a:lnTo>
                    <a:pt x="125" y="244"/>
                  </a:lnTo>
                  <a:lnTo>
                    <a:pt x="151" y="179"/>
                  </a:lnTo>
                  <a:lnTo>
                    <a:pt x="138" y="110"/>
                  </a:lnTo>
                  <a:lnTo>
                    <a:pt x="151" y="89"/>
                  </a:lnTo>
                  <a:lnTo>
                    <a:pt x="145" y="33"/>
                  </a:lnTo>
                  <a:lnTo>
                    <a:pt x="88" y="10"/>
                  </a:lnTo>
                  <a:lnTo>
                    <a:pt x="51" y="0"/>
                  </a:lnTo>
                  <a:lnTo>
                    <a:pt x="0" y="45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00" name="Freeform 616"/>
            <p:cNvSpPr>
              <a:spLocks/>
            </p:cNvSpPr>
            <p:nvPr>
              <p:custDataLst>
                <p:tags r:id="rId494"/>
              </p:custDataLst>
            </p:nvPr>
          </p:nvSpPr>
          <p:spPr bwMode="auto">
            <a:xfrm>
              <a:off x="4200773" y="3378200"/>
              <a:ext cx="63500" cy="141288"/>
            </a:xfrm>
            <a:custGeom>
              <a:avLst/>
              <a:gdLst>
                <a:gd name="T0" fmla="*/ 0 w 44"/>
                <a:gd name="T1" fmla="*/ 2147483647 h 179"/>
                <a:gd name="T2" fmla="*/ 2147483647 w 44"/>
                <a:gd name="T3" fmla="*/ 0 h 179"/>
                <a:gd name="T4" fmla="*/ 2147483647 w 44"/>
                <a:gd name="T5" fmla="*/ 2147483647 h 179"/>
                <a:gd name="T6" fmla="*/ 2147483647 w 44"/>
                <a:gd name="T7" fmla="*/ 2147483647 h 179"/>
                <a:gd name="T8" fmla="*/ 2147483647 w 44"/>
                <a:gd name="T9" fmla="*/ 2147483647 h 179"/>
                <a:gd name="T10" fmla="*/ 2147483647 w 44"/>
                <a:gd name="T11" fmla="*/ 2147483647 h 179"/>
                <a:gd name="T12" fmla="*/ 2147483647 w 44"/>
                <a:gd name="T13" fmla="*/ 2147483647 h 179"/>
                <a:gd name="T14" fmla="*/ 0 w 44"/>
                <a:gd name="T15" fmla="*/ 2147483647 h 1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4" h="179">
                  <a:moveTo>
                    <a:pt x="0" y="114"/>
                  </a:moveTo>
                  <a:lnTo>
                    <a:pt x="6" y="0"/>
                  </a:lnTo>
                  <a:lnTo>
                    <a:pt x="44" y="12"/>
                  </a:lnTo>
                  <a:lnTo>
                    <a:pt x="31" y="79"/>
                  </a:lnTo>
                  <a:lnTo>
                    <a:pt x="31" y="167"/>
                  </a:lnTo>
                  <a:lnTo>
                    <a:pt x="6" y="179"/>
                  </a:lnTo>
                  <a:lnTo>
                    <a:pt x="13" y="123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501" name="Group 617"/>
            <p:cNvGrpSpPr>
              <a:grpSpLocks/>
            </p:cNvGrpSpPr>
            <p:nvPr>
              <p:custDataLst>
                <p:tags r:id="rId495"/>
              </p:custDataLst>
            </p:nvPr>
          </p:nvGrpSpPr>
          <p:grpSpPr bwMode="auto">
            <a:xfrm>
              <a:off x="4200773" y="3378200"/>
              <a:ext cx="63500" cy="141288"/>
              <a:chOff x="2801" y="1946"/>
              <a:chExt cx="44" cy="8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15" name="Freeform 618"/>
              <p:cNvSpPr>
                <a:spLocks/>
              </p:cNvSpPr>
              <p:nvPr/>
            </p:nvSpPr>
            <p:spPr bwMode="auto">
              <a:xfrm>
                <a:off x="2801" y="1946"/>
                <a:ext cx="44" cy="89"/>
              </a:xfrm>
              <a:custGeom>
                <a:avLst/>
                <a:gdLst>
                  <a:gd name="T0" fmla="*/ 0 w 44"/>
                  <a:gd name="T1" fmla="*/ 0 h 179"/>
                  <a:gd name="T2" fmla="*/ 6 w 44"/>
                  <a:gd name="T3" fmla="*/ 0 h 179"/>
                  <a:gd name="T4" fmla="*/ 44 w 44"/>
                  <a:gd name="T5" fmla="*/ 0 h 179"/>
                  <a:gd name="T6" fmla="*/ 31 w 44"/>
                  <a:gd name="T7" fmla="*/ 0 h 179"/>
                  <a:gd name="T8" fmla="*/ 31 w 44"/>
                  <a:gd name="T9" fmla="*/ 0 h 179"/>
                  <a:gd name="T10" fmla="*/ 6 w 44"/>
                  <a:gd name="T11" fmla="*/ 0 h 179"/>
                  <a:gd name="T12" fmla="*/ 13 w 44"/>
                  <a:gd name="T13" fmla="*/ 0 h 179"/>
                  <a:gd name="T14" fmla="*/ 0 w 44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179">
                    <a:moveTo>
                      <a:pt x="0" y="114"/>
                    </a:moveTo>
                    <a:lnTo>
                      <a:pt x="6" y="0"/>
                    </a:lnTo>
                    <a:lnTo>
                      <a:pt x="44" y="12"/>
                    </a:lnTo>
                    <a:lnTo>
                      <a:pt x="31" y="79"/>
                    </a:lnTo>
                    <a:lnTo>
                      <a:pt x="31" y="167"/>
                    </a:lnTo>
                    <a:lnTo>
                      <a:pt x="6" y="179"/>
                    </a:lnTo>
                    <a:lnTo>
                      <a:pt x="13" y="123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16" name="Freeform 619"/>
              <p:cNvSpPr>
                <a:spLocks/>
              </p:cNvSpPr>
              <p:nvPr/>
            </p:nvSpPr>
            <p:spPr bwMode="auto">
              <a:xfrm>
                <a:off x="2801" y="1946"/>
                <a:ext cx="44" cy="89"/>
              </a:xfrm>
              <a:custGeom>
                <a:avLst/>
                <a:gdLst>
                  <a:gd name="T0" fmla="*/ 0 w 44"/>
                  <a:gd name="T1" fmla="*/ 0 h 179"/>
                  <a:gd name="T2" fmla="*/ 6 w 44"/>
                  <a:gd name="T3" fmla="*/ 0 h 179"/>
                  <a:gd name="T4" fmla="*/ 44 w 44"/>
                  <a:gd name="T5" fmla="*/ 0 h 179"/>
                  <a:gd name="T6" fmla="*/ 31 w 44"/>
                  <a:gd name="T7" fmla="*/ 0 h 179"/>
                  <a:gd name="T8" fmla="*/ 31 w 44"/>
                  <a:gd name="T9" fmla="*/ 0 h 179"/>
                  <a:gd name="T10" fmla="*/ 6 w 44"/>
                  <a:gd name="T11" fmla="*/ 0 h 179"/>
                  <a:gd name="T12" fmla="*/ 13 w 44"/>
                  <a:gd name="T13" fmla="*/ 0 h 179"/>
                  <a:gd name="T14" fmla="*/ 0 w 44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179">
                    <a:moveTo>
                      <a:pt x="0" y="114"/>
                    </a:moveTo>
                    <a:lnTo>
                      <a:pt x="6" y="0"/>
                    </a:lnTo>
                    <a:lnTo>
                      <a:pt x="44" y="12"/>
                    </a:lnTo>
                    <a:lnTo>
                      <a:pt x="31" y="79"/>
                    </a:lnTo>
                    <a:lnTo>
                      <a:pt x="31" y="167"/>
                    </a:lnTo>
                    <a:lnTo>
                      <a:pt x="6" y="179"/>
                    </a:lnTo>
                    <a:lnTo>
                      <a:pt x="13" y="123"/>
                    </a:lnTo>
                    <a:lnTo>
                      <a:pt x="0" y="114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02" name="Freeform 620"/>
            <p:cNvSpPr>
              <a:spLocks/>
            </p:cNvSpPr>
            <p:nvPr>
              <p:custDataLst>
                <p:tags r:id="rId496"/>
              </p:custDataLst>
            </p:nvPr>
          </p:nvSpPr>
          <p:spPr bwMode="auto">
            <a:xfrm>
              <a:off x="4200773" y="3378200"/>
              <a:ext cx="63500" cy="141288"/>
            </a:xfrm>
            <a:custGeom>
              <a:avLst/>
              <a:gdLst>
                <a:gd name="T0" fmla="*/ 0 w 44"/>
                <a:gd name="T1" fmla="*/ 2147483647 h 179"/>
                <a:gd name="T2" fmla="*/ 2147483647 w 44"/>
                <a:gd name="T3" fmla="*/ 0 h 179"/>
                <a:gd name="T4" fmla="*/ 2147483647 w 44"/>
                <a:gd name="T5" fmla="*/ 2147483647 h 179"/>
                <a:gd name="T6" fmla="*/ 2147483647 w 44"/>
                <a:gd name="T7" fmla="*/ 2147483647 h 179"/>
                <a:gd name="T8" fmla="*/ 2147483647 w 44"/>
                <a:gd name="T9" fmla="*/ 2147483647 h 179"/>
                <a:gd name="T10" fmla="*/ 2147483647 w 44"/>
                <a:gd name="T11" fmla="*/ 2147483647 h 179"/>
                <a:gd name="T12" fmla="*/ 2147483647 w 44"/>
                <a:gd name="T13" fmla="*/ 2147483647 h 179"/>
                <a:gd name="T14" fmla="*/ 0 w 44"/>
                <a:gd name="T15" fmla="*/ 2147483647 h 1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4" h="179">
                  <a:moveTo>
                    <a:pt x="0" y="114"/>
                  </a:moveTo>
                  <a:lnTo>
                    <a:pt x="6" y="0"/>
                  </a:lnTo>
                  <a:lnTo>
                    <a:pt x="44" y="12"/>
                  </a:lnTo>
                  <a:lnTo>
                    <a:pt x="31" y="79"/>
                  </a:lnTo>
                  <a:lnTo>
                    <a:pt x="31" y="167"/>
                  </a:lnTo>
                  <a:lnTo>
                    <a:pt x="6" y="179"/>
                  </a:lnTo>
                  <a:lnTo>
                    <a:pt x="13" y="123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503" name="Group 621"/>
            <p:cNvGrpSpPr>
              <a:grpSpLocks/>
            </p:cNvGrpSpPr>
            <p:nvPr>
              <p:custDataLst>
                <p:tags r:id="rId497"/>
              </p:custDataLst>
            </p:nvPr>
          </p:nvGrpSpPr>
          <p:grpSpPr bwMode="auto">
            <a:xfrm>
              <a:off x="4200773" y="3378200"/>
              <a:ext cx="63500" cy="141288"/>
              <a:chOff x="2801" y="1946"/>
              <a:chExt cx="44" cy="89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013" name="Freeform 622"/>
              <p:cNvSpPr>
                <a:spLocks/>
              </p:cNvSpPr>
              <p:nvPr/>
            </p:nvSpPr>
            <p:spPr bwMode="auto">
              <a:xfrm>
                <a:off x="2801" y="1946"/>
                <a:ext cx="44" cy="89"/>
              </a:xfrm>
              <a:custGeom>
                <a:avLst/>
                <a:gdLst>
                  <a:gd name="T0" fmla="*/ 0 w 44"/>
                  <a:gd name="T1" fmla="*/ 0 h 179"/>
                  <a:gd name="T2" fmla="*/ 6 w 44"/>
                  <a:gd name="T3" fmla="*/ 0 h 179"/>
                  <a:gd name="T4" fmla="*/ 44 w 44"/>
                  <a:gd name="T5" fmla="*/ 0 h 179"/>
                  <a:gd name="T6" fmla="*/ 31 w 44"/>
                  <a:gd name="T7" fmla="*/ 0 h 179"/>
                  <a:gd name="T8" fmla="*/ 31 w 44"/>
                  <a:gd name="T9" fmla="*/ 0 h 179"/>
                  <a:gd name="T10" fmla="*/ 6 w 44"/>
                  <a:gd name="T11" fmla="*/ 0 h 179"/>
                  <a:gd name="T12" fmla="*/ 13 w 44"/>
                  <a:gd name="T13" fmla="*/ 0 h 179"/>
                  <a:gd name="T14" fmla="*/ 0 w 44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179">
                    <a:moveTo>
                      <a:pt x="0" y="114"/>
                    </a:moveTo>
                    <a:lnTo>
                      <a:pt x="6" y="0"/>
                    </a:lnTo>
                    <a:lnTo>
                      <a:pt x="44" y="12"/>
                    </a:lnTo>
                    <a:lnTo>
                      <a:pt x="31" y="79"/>
                    </a:lnTo>
                    <a:lnTo>
                      <a:pt x="31" y="167"/>
                    </a:lnTo>
                    <a:lnTo>
                      <a:pt x="6" y="179"/>
                    </a:lnTo>
                    <a:lnTo>
                      <a:pt x="13" y="123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14" name="Freeform 623"/>
              <p:cNvSpPr>
                <a:spLocks/>
              </p:cNvSpPr>
              <p:nvPr/>
            </p:nvSpPr>
            <p:spPr bwMode="auto">
              <a:xfrm>
                <a:off x="2801" y="1946"/>
                <a:ext cx="44" cy="89"/>
              </a:xfrm>
              <a:custGeom>
                <a:avLst/>
                <a:gdLst>
                  <a:gd name="T0" fmla="*/ 0 w 44"/>
                  <a:gd name="T1" fmla="*/ 0 h 179"/>
                  <a:gd name="T2" fmla="*/ 6 w 44"/>
                  <a:gd name="T3" fmla="*/ 0 h 179"/>
                  <a:gd name="T4" fmla="*/ 44 w 44"/>
                  <a:gd name="T5" fmla="*/ 0 h 179"/>
                  <a:gd name="T6" fmla="*/ 31 w 44"/>
                  <a:gd name="T7" fmla="*/ 0 h 179"/>
                  <a:gd name="T8" fmla="*/ 31 w 44"/>
                  <a:gd name="T9" fmla="*/ 0 h 179"/>
                  <a:gd name="T10" fmla="*/ 6 w 44"/>
                  <a:gd name="T11" fmla="*/ 0 h 179"/>
                  <a:gd name="T12" fmla="*/ 13 w 44"/>
                  <a:gd name="T13" fmla="*/ 0 h 179"/>
                  <a:gd name="T14" fmla="*/ 0 w 44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179">
                    <a:moveTo>
                      <a:pt x="0" y="114"/>
                    </a:moveTo>
                    <a:lnTo>
                      <a:pt x="6" y="0"/>
                    </a:lnTo>
                    <a:lnTo>
                      <a:pt x="44" y="12"/>
                    </a:lnTo>
                    <a:lnTo>
                      <a:pt x="31" y="79"/>
                    </a:lnTo>
                    <a:lnTo>
                      <a:pt x="31" y="167"/>
                    </a:lnTo>
                    <a:lnTo>
                      <a:pt x="6" y="179"/>
                    </a:lnTo>
                    <a:lnTo>
                      <a:pt x="13" y="123"/>
                    </a:lnTo>
                    <a:lnTo>
                      <a:pt x="0" y="114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04" name="Freeform 624"/>
            <p:cNvSpPr>
              <a:spLocks/>
            </p:cNvSpPr>
            <p:nvPr>
              <p:custDataLst>
                <p:tags r:id="rId498"/>
              </p:custDataLst>
            </p:nvPr>
          </p:nvSpPr>
          <p:spPr bwMode="auto">
            <a:xfrm>
              <a:off x="4869111" y="3175000"/>
              <a:ext cx="220662" cy="142875"/>
            </a:xfrm>
            <a:custGeom>
              <a:avLst/>
              <a:gdLst>
                <a:gd name="T0" fmla="*/ 0 w 150"/>
                <a:gd name="T1" fmla="*/ 2147483647 h 178"/>
                <a:gd name="T2" fmla="*/ 2147483647 w 150"/>
                <a:gd name="T3" fmla="*/ 2147483647 h 178"/>
                <a:gd name="T4" fmla="*/ 2147483647 w 150"/>
                <a:gd name="T5" fmla="*/ 2147483647 h 178"/>
                <a:gd name="T6" fmla="*/ 2147483647 w 150"/>
                <a:gd name="T7" fmla="*/ 2147483647 h 178"/>
                <a:gd name="T8" fmla="*/ 2147483647 w 150"/>
                <a:gd name="T9" fmla="*/ 2147483647 h 178"/>
                <a:gd name="T10" fmla="*/ 2147483647 w 150"/>
                <a:gd name="T11" fmla="*/ 2147483647 h 178"/>
                <a:gd name="T12" fmla="*/ 2147483647 w 150"/>
                <a:gd name="T13" fmla="*/ 0 h 178"/>
                <a:gd name="T14" fmla="*/ 2147483647 w 150"/>
                <a:gd name="T15" fmla="*/ 2147483647 h 178"/>
                <a:gd name="T16" fmla="*/ 0 w 150"/>
                <a:gd name="T17" fmla="*/ 2147483647 h 17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0" h="178">
                  <a:moveTo>
                    <a:pt x="0" y="88"/>
                  </a:moveTo>
                  <a:lnTo>
                    <a:pt x="37" y="155"/>
                  </a:lnTo>
                  <a:lnTo>
                    <a:pt x="131" y="178"/>
                  </a:lnTo>
                  <a:lnTo>
                    <a:pt x="150" y="123"/>
                  </a:lnTo>
                  <a:lnTo>
                    <a:pt x="125" y="111"/>
                  </a:lnTo>
                  <a:lnTo>
                    <a:pt x="117" y="54"/>
                  </a:lnTo>
                  <a:lnTo>
                    <a:pt x="99" y="0"/>
                  </a:lnTo>
                  <a:lnTo>
                    <a:pt x="37" y="9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05" name="Freeform 625"/>
            <p:cNvSpPr>
              <a:spLocks/>
            </p:cNvSpPr>
            <p:nvPr>
              <p:custDataLst>
                <p:tags r:id="rId499"/>
              </p:custDataLst>
            </p:nvPr>
          </p:nvSpPr>
          <p:spPr bwMode="auto">
            <a:xfrm>
              <a:off x="4869111" y="3175000"/>
              <a:ext cx="220662" cy="142875"/>
            </a:xfrm>
            <a:custGeom>
              <a:avLst/>
              <a:gdLst>
                <a:gd name="T0" fmla="*/ 0 w 150"/>
                <a:gd name="T1" fmla="*/ 2147483647 h 178"/>
                <a:gd name="T2" fmla="*/ 2147483647 w 150"/>
                <a:gd name="T3" fmla="*/ 2147483647 h 178"/>
                <a:gd name="T4" fmla="*/ 2147483647 w 150"/>
                <a:gd name="T5" fmla="*/ 2147483647 h 178"/>
                <a:gd name="T6" fmla="*/ 2147483647 w 150"/>
                <a:gd name="T7" fmla="*/ 2147483647 h 178"/>
                <a:gd name="T8" fmla="*/ 2147483647 w 150"/>
                <a:gd name="T9" fmla="*/ 2147483647 h 178"/>
                <a:gd name="T10" fmla="*/ 2147483647 w 150"/>
                <a:gd name="T11" fmla="*/ 2147483647 h 178"/>
                <a:gd name="T12" fmla="*/ 2147483647 w 150"/>
                <a:gd name="T13" fmla="*/ 0 h 178"/>
                <a:gd name="T14" fmla="*/ 2147483647 w 150"/>
                <a:gd name="T15" fmla="*/ 2147483647 h 178"/>
                <a:gd name="T16" fmla="*/ 0 w 150"/>
                <a:gd name="T17" fmla="*/ 2147483647 h 17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0" h="178">
                  <a:moveTo>
                    <a:pt x="0" y="88"/>
                  </a:moveTo>
                  <a:lnTo>
                    <a:pt x="37" y="155"/>
                  </a:lnTo>
                  <a:lnTo>
                    <a:pt x="131" y="178"/>
                  </a:lnTo>
                  <a:lnTo>
                    <a:pt x="150" y="123"/>
                  </a:lnTo>
                  <a:lnTo>
                    <a:pt x="125" y="111"/>
                  </a:lnTo>
                  <a:lnTo>
                    <a:pt x="117" y="54"/>
                  </a:lnTo>
                  <a:lnTo>
                    <a:pt x="99" y="0"/>
                  </a:lnTo>
                  <a:lnTo>
                    <a:pt x="37" y="9"/>
                  </a:lnTo>
                  <a:lnTo>
                    <a:pt x="0" y="8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06" name="Freeform 626"/>
            <p:cNvSpPr>
              <a:spLocks/>
            </p:cNvSpPr>
            <p:nvPr>
              <p:custDataLst>
                <p:tags r:id="rId500"/>
              </p:custDataLst>
            </p:nvPr>
          </p:nvSpPr>
          <p:spPr bwMode="auto">
            <a:xfrm>
              <a:off x="4869111" y="3175000"/>
              <a:ext cx="220662" cy="142875"/>
            </a:xfrm>
            <a:custGeom>
              <a:avLst/>
              <a:gdLst>
                <a:gd name="T0" fmla="*/ 0 w 150"/>
                <a:gd name="T1" fmla="*/ 2147483647 h 178"/>
                <a:gd name="T2" fmla="*/ 2147483647 w 150"/>
                <a:gd name="T3" fmla="*/ 2147483647 h 178"/>
                <a:gd name="T4" fmla="*/ 2147483647 w 150"/>
                <a:gd name="T5" fmla="*/ 2147483647 h 178"/>
                <a:gd name="T6" fmla="*/ 2147483647 w 150"/>
                <a:gd name="T7" fmla="*/ 2147483647 h 178"/>
                <a:gd name="T8" fmla="*/ 2147483647 w 150"/>
                <a:gd name="T9" fmla="*/ 2147483647 h 178"/>
                <a:gd name="T10" fmla="*/ 2147483647 w 150"/>
                <a:gd name="T11" fmla="*/ 2147483647 h 178"/>
                <a:gd name="T12" fmla="*/ 2147483647 w 150"/>
                <a:gd name="T13" fmla="*/ 0 h 178"/>
                <a:gd name="T14" fmla="*/ 2147483647 w 150"/>
                <a:gd name="T15" fmla="*/ 2147483647 h 178"/>
                <a:gd name="T16" fmla="*/ 0 w 150"/>
                <a:gd name="T17" fmla="*/ 2147483647 h 17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0" h="178">
                  <a:moveTo>
                    <a:pt x="0" y="88"/>
                  </a:moveTo>
                  <a:lnTo>
                    <a:pt x="37" y="155"/>
                  </a:lnTo>
                  <a:lnTo>
                    <a:pt x="131" y="178"/>
                  </a:lnTo>
                  <a:lnTo>
                    <a:pt x="150" y="123"/>
                  </a:lnTo>
                  <a:lnTo>
                    <a:pt x="125" y="111"/>
                  </a:lnTo>
                  <a:lnTo>
                    <a:pt x="117" y="54"/>
                  </a:lnTo>
                  <a:lnTo>
                    <a:pt x="99" y="0"/>
                  </a:lnTo>
                  <a:lnTo>
                    <a:pt x="37" y="9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07" name="Freeform 627"/>
            <p:cNvSpPr>
              <a:spLocks/>
            </p:cNvSpPr>
            <p:nvPr>
              <p:custDataLst>
                <p:tags r:id="rId501"/>
              </p:custDataLst>
            </p:nvPr>
          </p:nvSpPr>
          <p:spPr bwMode="auto">
            <a:xfrm>
              <a:off x="4869111" y="3175000"/>
              <a:ext cx="220662" cy="142875"/>
            </a:xfrm>
            <a:custGeom>
              <a:avLst/>
              <a:gdLst>
                <a:gd name="T0" fmla="*/ 0 w 150"/>
                <a:gd name="T1" fmla="*/ 2147483647 h 178"/>
                <a:gd name="T2" fmla="*/ 2147483647 w 150"/>
                <a:gd name="T3" fmla="*/ 2147483647 h 178"/>
                <a:gd name="T4" fmla="*/ 2147483647 w 150"/>
                <a:gd name="T5" fmla="*/ 2147483647 h 178"/>
                <a:gd name="T6" fmla="*/ 2147483647 w 150"/>
                <a:gd name="T7" fmla="*/ 2147483647 h 178"/>
                <a:gd name="T8" fmla="*/ 2147483647 w 150"/>
                <a:gd name="T9" fmla="*/ 2147483647 h 178"/>
                <a:gd name="T10" fmla="*/ 2147483647 w 150"/>
                <a:gd name="T11" fmla="*/ 2147483647 h 178"/>
                <a:gd name="T12" fmla="*/ 2147483647 w 150"/>
                <a:gd name="T13" fmla="*/ 0 h 178"/>
                <a:gd name="T14" fmla="*/ 2147483647 w 150"/>
                <a:gd name="T15" fmla="*/ 2147483647 h 178"/>
                <a:gd name="T16" fmla="*/ 0 w 150"/>
                <a:gd name="T17" fmla="*/ 2147483647 h 17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0" h="178">
                  <a:moveTo>
                    <a:pt x="0" y="88"/>
                  </a:moveTo>
                  <a:lnTo>
                    <a:pt x="37" y="155"/>
                  </a:lnTo>
                  <a:lnTo>
                    <a:pt x="131" y="178"/>
                  </a:lnTo>
                  <a:lnTo>
                    <a:pt x="150" y="123"/>
                  </a:lnTo>
                  <a:lnTo>
                    <a:pt x="125" y="111"/>
                  </a:lnTo>
                  <a:lnTo>
                    <a:pt x="117" y="54"/>
                  </a:lnTo>
                  <a:lnTo>
                    <a:pt x="99" y="0"/>
                  </a:lnTo>
                  <a:lnTo>
                    <a:pt x="37" y="9"/>
                  </a:lnTo>
                  <a:lnTo>
                    <a:pt x="0" y="88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08" name="Freeform 628"/>
            <p:cNvSpPr>
              <a:spLocks/>
            </p:cNvSpPr>
            <p:nvPr>
              <p:custDataLst>
                <p:tags r:id="rId502"/>
              </p:custDataLst>
            </p:nvPr>
          </p:nvSpPr>
          <p:spPr bwMode="auto">
            <a:xfrm>
              <a:off x="5199311" y="3652838"/>
              <a:ext cx="476250" cy="449262"/>
            </a:xfrm>
            <a:custGeom>
              <a:avLst/>
              <a:gdLst>
                <a:gd name="T0" fmla="*/ 0 w 325"/>
                <a:gd name="T1" fmla="*/ 2147483647 h 567"/>
                <a:gd name="T2" fmla="*/ 2147483647 w 325"/>
                <a:gd name="T3" fmla="*/ 2147483647 h 567"/>
                <a:gd name="T4" fmla="*/ 2147483647 w 325"/>
                <a:gd name="T5" fmla="*/ 2147483647 h 567"/>
                <a:gd name="T6" fmla="*/ 2147483647 w 325"/>
                <a:gd name="T7" fmla="*/ 2147483647 h 567"/>
                <a:gd name="T8" fmla="*/ 2147483647 w 325"/>
                <a:gd name="T9" fmla="*/ 2147483647 h 567"/>
                <a:gd name="T10" fmla="*/ 2147483647 w 325"/>
                <a:gd name="T11" fmla="*/ 2147483647 h 567"/>
                <a:gd name="T12" fmla="*/ 2147483647 w 325"/>
                <a:gd name="T13" fmla="*/ 0 h 567"/>
                <a:gd name="T14" fmla="*/ 2147483647 w 325"/>
                <a:gd name="T15" fmla="*/ 2147483647 h 567"/>
                <a:gd name="T16" fmla="*/ 2147483647 w 325"/>
                <a:gd name="T17" fmla="*/ 2147483647 h 567"/>
                <a:gd name="T18" fmla="*/ 2147483647 w 325"/>
                <a:gd name="T19" fmla="*/ 2147483647 h 567"/>
                <a:gd name="T20" fmla="*/ 2147483647 w 325"/>
                <a:gd name="T21" fmla="*/ 2147483647 h 567"/>
                <a:gd name="T22" fmla="*/ 2147483647 w 325"/>
                <a:gd name="T23" fmla="*/ 2147483647 h 567"/>
                <a:gd name="T24" fmla="*/ 2147483647 w 325"/>
                <a:gd name="T25" fmla="*/ 2147483647 h 567"/>
                <a:gd name="T26" fmla="*/ 2147483647 w 325"/>
                <a:gd name="T27" fmla="*/ 2147483647 h 567"/>
                <a:gd name="T28" fmla="*/ 2147483647 w 325"/>
                <a:gd name="T29" fmla="*/ 2147483647 h 567"/>
                <a:gd name="T30" fmla="*/ 2147483647 w 325"/>
                <a:gd name="T31" fmla="*/ 2147483647 h 567"/>
                <a:gd name="T32" fmla="*/ 2147483647 w 325"/>
                <a:gd name="T33" fmla="*/ 2147483647 h 567"/>
                <a:gd name="T34" fmla="*/ 2147483647 w 325"/>
                <a:gd name="T35" fmla="*/ 2147483647 h 567"/>
                <a:gd name="T36" fmla="*/ 2147483647 w 325"/>
                <a:gd name="T37" fmla="*/ 2147483647 h 567"/>
                <a:gd name="T38" fmla="*/ 2147483647 w 325"/>
                <a:gd name="T39" fmla="*/ 2147483647 h 567"/>
                <a:gd name="T40" fmla="*/ 2147483647 w 325"/>
                <a:gd name="T41" fmla="*/ 2147483647 h 567"/>
                <a:gd name="T42" fmla="*/ 2147483647 w 325"/>
                <a:gd name="T43" fmla="*/ 2147483647 h 567"/>
                <a:gd name="T44" fmla="*/ 2147483647 w 325"/>
                <a:gd name="T45" fmla="*/ 2147483647 h 567"/>
                <a:gd name="T46" fmla="*/ 2147483647 w 325"/>
                <a:gd name="T47" fmla="*/ 2147483647 h 567"/>
                <a:gd name="T48" fmla="*/ 2147483647 w 325"/>
                <a:gd name="T49" fmla="*/ 2147483647 h 567"/>
                <a:gd name="T50" fmla="*/ 2147483647 w 325"/>
                <a:gd name="T51" fmla="*/ 2147483647 h 567"/>
                <a:gd name="T52" fmla="*/ 2147483647 w 325"/>
                <a:gd name="T53" fmla="*/ 2147483647 h 567"/>
                <a:gd name="T54" fmla="*/ 2147483647 w 325"/>
                <a:gd name="T55" fmla="*/ 2147483647 h 567"/>
                <a:gd name="T56" fmla="*/ 0 w 325"/>
                <a:gd name="T57" fmla="*/ 2147483647 h 56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25" h="567">
                  <a:moveTo>
                    <a:pt x="0" y="157"/>
                  </a:moveTo>
                  <a:lnTo>
                    <a:pt x="6" y="100"/>
                  </a:lnTo>
                  <a:lnTo>
                    <a:pt x="25" y="113"/>
                  </a:lnTo>
                  <a:lnTo>
                    <a:pt x="43" y="79"/>
                  </a:lnTo>
                  <a:lnTo>
                    <a:pt x="51" y="67"/>
                  </a:lnTo>
                  <a:lnTo>
                    <a:pt x="37" y="23"/>
                  </a:lnTo>
                  <a:lnTo>
                    <a:pt x="69" y="0"/>
                  </a:lnTo>
                  <a:lnTo>
                    <a:pt x="138" y="67"/>
                  </a:lnTo>
                  <a:lnTo>
                    <a:pt x="138" y="88"/>
                  </a:lnTo>
                  <a:lnTo>
                    <a:pt x="156" y="113"/>
                  </a:lnTo>
                  <a:lnTo>
                    <a:pt x="169" y="123"/>
                  </a:lnTo>
                  <a:lnTo>
                    <a:pt x="187" y="113"/>
                  </a:lnTo>
                  <a:lnTo>
                    <a:pt x="212" y="134"/>
                  </a:lnTo>
                  <a:lnTo>
                    <a:pt x="250" y="255"/>
                  </a:lnTo>
                  <a:lnTo>
                    <a:pt x="256" y="267"/>
                  </a:lnTo>
                  <a:lnTo>
                    <a:pt x="269" y="325"/>
                  </a:lnTo>
                  <a:lnTo>
                    <a:pt x="319" y="334"/>
                  </a:lnTo>
                  <a:lnTo>
                    <a:pt x="325" y="355"/>
                  </a:lnTo>
                  <a:lnTo>
                    <a:pt x="312" y="423"/>
                  </a:lnTo>
                  <a:lnTo>
                    <a:pt x="269" y="457"/>
                  </a:lnTo>
                  <a:lnTo>
                    <a:pt x="219" y="478"/>
                  </a:lnTo>
                  <a:lnTo>
                    <a:pt x="181" y="567"/>
                  </a:lnTo>
                  <a:lnTo>
                    <a:pt x="181" y="536"/>
                  </a:lnTo>
                  <a:lnTo>
                    <a:pt x="150" y="513"/>
                  </a:lnTo>
                  <a:lnTo>
                    <a:pt x="125" y="536"/>
                  </a:lnTo>
                  <a:lnTo>
                    <a:pt x="94" y="434"/>
                  </a:lnTo>
                  <a:lnTo>
                    <a:pt x="75" y="399"/>
                  </a:lnTo>
                  <a:lnTo>
                    <a:pt x="56" y="290"/>
                  </a:lnTo>
                  <a:lnTo>
                    <a:pt x="0" y="15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09" name="Freeform 629"/>
            <p:cNvSpPr>
              <a:spLocks/>
            </p:cNvSpPr>
            <p:nvPr>
              <p:custDataLst>
                <p:tags r:id="rId503"/>
              </p:custDataLst>
            </p:nvPr>
          </p:nvSpPr>
          <p:spPr bwMode="auto">
            <a:xfrm>
              <a:off x="5199311" y="3652838"/>
              <a:ext cx="476250" cy="449262"/>
            </a:xfrm>
            <a:custGeom>
              <a:avLst/>
              <a:gdLst>
                <a:gd name="T0" fmla="*/ 0 w 325"/>
                <a:gd name="T1" fmla="*/ 2147483647 h 567"/>
                <a:gd name="T2" fmla="*/ 2147483647 w 325"/>
                <a:gd name="T3" fmla="*/ 2147483647 h 567"/>
                <a:gd name="T4" fmla="*/ 2147483647 w 325"/>
                <a:gd name="T5" fmla="*/ 2147483647 h 567"/>
                <a:gd name="T6" fmla="*/ 2147483647 w 325"/>
                <a:gd name="T7" fmla="*/ 2147483647 h 567"/>
                <a:gd name="T8" fmla="*/ 2147483647 w 325"/>
                <a:gd name="T9" fmla="*/ 2147483647 h 567"/>
                <a:gd name="T10" fmla="*/ 2147483647 w 325"/>
                <a:gd name="T11" fmla="*/ 2147483647 h 567"/>
                <a:gd name="T12" fmla="*/ 2147483647 w 325"/>
                <a:gd name="T13" fmla="*/ 0 h 567"/>
                <a:gd name="T14" fmla="*/ 2147483647 w 325"/>
                <a:gd name="T15" fmla="*/ 2147483647 h 567"/>
                <a:gd name="T16" fmla="*/ 2147483647 w 325"/>
                <a:gd name="T17" fmla="*/ 2147483647 h 567"/>
                <a:gd name="T18" fmla="*/ 2147483647 w 325"/>
                <a:gd name="T19" fmla="*/ 2147483647 h 567"/>
                <a:gd name="T20" fmla="*/ 2147483647 w 325"/>
                <a:gd name="T21" fmla="*/ 2147483647 h 567"/>
                <a:gd name="T22" fmla="*/ 2147483647 w 325"/>
                <a:gd name="T23" fmla="*/ 2147483647 h 567"/>
                <a:gd name="T24" fmla="*/ 2147483647 w 325"/>
                <a:gd name="T25" fmla="*/ 2147483647 h 567"/>
                <a:gd name="T26" fmla="*/ 2147483647 w 325"/>
                <a:gd name="T27" fmla="*/ 2147483647 h 567"/>
                <a:gd name="T28" fmla="*/ 2147483647 w 325"/>
                <a:gd name="T29" fmla="*/ 2147483647 h 567"/>
                <a:gd name="T30" fmla="*/ 2147483647 w 325"/>
                <a:gd name="T31" fmla="*/ 2147483647 h 567"/>
                <a:gd name="T32" fmla="*/ 2147483647 w 325"/>
                <a:gd name="T33" fmla="*/ 2147483647 h 567"/>
                <a:gd name="T34" fmla="*/ 2147483647 w 325"/>
                <a:gd name="T35" fmla="*/ 2147483647 h 567"/>
                <a:gd name="T36" fmla="*/ 2147483647 w 325"/>
                <a:gd name="T37" fmla="*/ 2147483647 h 567"/>
                <a:gd name="T38" fmla="*/ 2147483647 w 325"/>
                <a:gd name="T39" fmla="*/ 2147483647 h 567"/>
                <a:gd name="T40" fmla="*/ 2147483647 w 325"/>
                <a:gd name="T41" fmla="*/ 2147483647 h 567"/>
                <a:gd name="T42" fmla="*/ 2147483647 w 325"/>
                <a:gd name="T43" fmla="*/ 2147483647 h 567"/>
                <a:gd name="T44" fmla="*/ 2147483647 w 325"/>
                <a:gd name="T45" fmla="*/ 2147483647 h 567"/>
                <a:gd name="T46" fmla="*/ 2147483647 w 325"/>
                <a:gd name="T47" fmla="*/ 2147483647 h 567"/>
                <a:gd name="T48" fmla="*/ 2147483647 w 325"/>
                <a:gd name="T49" fmla="*/ 2147483647 h 567"/>
                <a:gd name="T50" fmla="*/ 2147483647 w 325"/>
                <a:gd name="T51" fmla="*/ 2147483647 h 567"/>
                <a:gd name="T52" fmla="*/ 2147483647 w 325"/>
                <a:gd name="T53" fmla="*/ 2147483647 h 567"/>
                <a:gd name="T54" fmla="*/ 2147483647 w 325"/>
                <a:gd name="T55" fmla="*/ 2147483647 h 567"/>
                <a:gd name="T56" fmla="*/ 0 w 325"/>
                <a:gd name="T57" fmla="*/ 2147483647 h 56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25" h="567">
                  <a:moveTo>
                    <a:pt x="0" y="157"/>
                  </a:moveTo>
                  <a:lnTo>
                    <a:pt x="6" y="100"/>
                  </a:lnTo>
                  <a:lnTo>
                    <a:pt x="25" y="113"/>
                  </a:lnTo>
                  <a:lnTo>
                    <a:pt x="43" y="79"/>
                  </a:lnTo>
                  <a:lnTo>
                    <a:pt x="51" y="67"/>
                  </a:lnTo>
                  <a:lnTo>
                    <a:pt x="37" y="23"/>
                  </a:lnTo>
                  <a:lnTo>
                    <a:pt x="69" y="0"/>
                  </a:lnTo>
                  <a:lnTo>
                    <a:pt x="138" y="67"/>
                  </a:lnTo>
                  <a:lnTo>
                    <a:pt x="138" y="88"/>
                  </a:lnTo>
                  <a:lnTo>
                    <a:pt x="156" y="113"/>
                  </a:lnTo>
                  <a:lnTo>
                    <a:pt x="169" y="123"/>
                  </a:lnTo>
                  <a:lnTo>
                    <a:pt x="187" y="113"/>
                  </a:lnTo>
                  <a:lnTo>
                    <a:pt x="212" y="134"/>
                  </a:lnTo>
                  <a:lnTo>
                    <a:pt x="250" y="255"/>
                  </a:lnTo>
                  <a:lnTo>
                    <a:pt x="256" y="267"/>
                  </a:lnTo>
                  <a:lnTo>
                    <a:pt x="269" y="325"/>
                  </a:lnTo>
                  <a:lnTo>
                    <a:pt x="319" y="334"/>
                  </a:lnTo>
                  <a:lnTo>
                    <a:pt x="325" y="355"/>
                  </a:lnTo>
                  <a:lnTo>
                    <a:pt x="312" y="423"/>
                  </a:lnTo>
                  <a:lnTo>
                    <a:pt x="269" y="457"/>
                  </a:lnTo>
                  <a:lnTo>
                    <a:pt x="219" y="478"/>
                  </a:lnTo>
                  <a:lnTo>
                    <a:pt x="181" y="567"/>
                  </a:lnTo>
                  <a:lnTo>
                    <a:pt x="181" y="536"/>
                  </a:lnTo>
                  <a:lnTo>
                    <a:pt x="150" y="513"/>
                  </a:lnTo>
                  <a:lnTo>
                    <a:pt x="125" y="536"/>
                  </a:lnTo>
                  <a:lnTo>
                    <a:pt x="94" y="434"/>
                  </a:lnTo>
                  <a:lnTo>
                    <a:pt x="75" y="399"/>
                  </a:lnTo>
                  <a:lnTo>
                    <a:pt x="56" y="290"/>
                  </a:lnTo>
                  <a:lnTo>
                    <a:pt x="0" y="15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10" name="Freeform 630"/>
            <p:cNvSpPr>
              <a:spLocks/>
            </p:cNvSpPr>
            <p:nvPr>
              <p:custDataLst>
                <p:tags r:id="rId504"/>
              </p:custDataLst>
            </p:nvPr>
          </p:nvSpPr>
          <p:spPr bwMode="auto">
            <a:xfrm>
              <a:off x="5199311" y="3652838"/>
              <a:ext cx="476250" cy="449262"/>
            </a:xfrm>
            <a:custGeom>
              <a:avLst/>
              <a:gdLst>
                <a:gd name="T0" fmla="*/ 0 w 325"/>
                <a:gd name="T1" fmla="*/ 2147483647 h 567"/>
                <a:gd name="T2" fmla="*/ 2147483647 w 325"/>
                <a:gd name="T3" fmla="*/ 2147483647 h 567"/>
                <a:gd name="T4" fmla="*/ 2147483647 w 325"/>
                <a:gd name="T5" fmla="*/ 2147483647 h 567"/>
                <a:gd name="T6" fmla="*/ 2147483647 w 325"/>
                <a:gd name="T7" fmla="*/ 2147483647 h 567"/>
                <a:gd name="T8" fmla="*/ 2147483647 w 325"/>
                <a:gd name="T9" fmla="*/ 2147483647 h 567"/>
                <a:gd name="T10" fmla="*/ 2147483647 w 325"/>
                <a:gd name="T11" fmla="*/ 2147483647 h 567"/>
                <a:gd name="T12" fmla="*/ 2147483647 w 325"/>
                <a:gd name="T13" fmla="*/ 0 h 567"/>
                <a:gd name="T14" fmla="*/ 2147483647 w 325"/>
                <a:gd name="T15" fmla="*/ 2147483647 h 567"/>
                <a:gd name="T16" fmla="*/ 2147483647 w 325"/>
                <a:gd name="T17" fmla="*/ 2147483647 h 567"/>
                <a:gd name="T18" fmla="*/ 2147483647 w 325"/>
                <a:gd name="T19" fmla="*/ 2147483647 h 567"/>
                <a:gd name="T20" fmla="*/ 2147483647 w 325"/>
                <a:gd name="T21" fmla="*/ 2147483647 h 567"/>
                <a:gd name="T22" fmla="*/ 2147483647 w 325"/>
                <a:gd name="T23" fmla="*/ 2147483647 h 567"/>
                <a:gd name="T24" fmla="*/ 2147483647 w 325"/>
                <a:gd name="T25" fmla="*/ 2147483647 h 567"/>
                <a:gd name="T26" fmla="*/ 2147483647 w 325"/>
                <a:gd name="T27" fmla="*/ 2147483647 h 567"/>
                <a:gd name="T28" fmla="*/ 2147483647 w 325"/>
                <a:gd name="T29" fmla="*/ 2147483647 h 567"/>
                <a:gd name="T30" fmla="*/ 2147483647 w 325"/>
                <a:gd name="T31" fmla="*/ 2147483647 h 567"/>
                <a:gd name="T32" fmla="*/ 2147483647 w 325"/>
                <a:gd name="T33" fmla="*/ 2147483647 h 567"/>
                <a:gd name="T34" fmla="*/ 2147483647 w 325"/>
                <a:gd name="T35" fmla="*/ 2147483647 h 567"/>
                <a:gd name="T36" fmla="*/ 2147483647 w 325"/>
                <a:gd name="T37" fmla="*/ 2147483647 h 567"/>
                <a:gd name="T38" fmla="*/ 2147483647 w 325"/>
                <a:gd name="T39" fmla="*/ 2147483647 h 567"/>
                <a:gd name="T40" fmla="*/ 2147483647 w 325"/>
                <a:gd name="T41" fmla="*/ 2147483647 h 567"/>
                <a:gd name="T42" fmla="*/ 2147483647 w 325"/>
                <a:gd name="T43" fmla="*/ 2147483647 h 567"/>
                <a:gd name="T44" fmla="*/ 2147483647 w 325"/>
                <a:gd name="T45" fmla="*/ 2147483647 h 567"/>
                <a:gd name="T46" fmla="*/ 2147483647 w 325"/>
                <a:gd name="T47" fmla="*/ 2147483647 h 567"/>
                <a:gd name="T48" fmla="*/ 2147483647 w 325"/>
                <a:gd name="T49" fmla="*/ 2147483647 h 567"/>
                <a:gd name="T50" fmla="*/ 2147483647 w 325"/>
                <a:gd name="T51" fmla="*/ 2147483647 h 567"/>
                <a:gd name="T52" fmla="*/ 2147483647 w 325"/>
                <a:gd name="T53" fmla="*/ 2147483647 h 567"/>
                <a:gd name="T54" fmla="*/ 2147483647 w 325"/>
                <a:gd name="T55" fmla="*/ 2147483647 h 567"/>
                <a:gd name="T56" fmla="*/ 0 w 325"/>
                <a:gd name="T57" fmla="*/ 2147483647 h 56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25" h="567">
                  <a:moveTo>
                    <a:pt x="0" y="157"/>
                  </a:moveTo>
                  <a:lnTo>
                    <a:pt x="6" y="100"/>
                  </a:lnTo>
                  <a:lnTo>
                    <a:pt x="25" y="113"/>
                  </a:lnTo>
                  <a:lnTo>
                    <a:pt x="43" y="79"/>
                  </a:lnTo>
                  <a:lnTo>
                    <a:pt x="51" y="67"/>
                  </a:lnTo>
                  <a:lnTo>
                    <a:pt x="37" y="23"/>
                  </a:lnTo>
                  <a:lnTo>
                    <a:pt x="69" y="0"/>
                  </a:lnTo>
                  <a:lnTo>
                    <a:pt x="138" y="67"/>
                  </a:lnTo>
                  <a:lnTo>
                    <a:pt x="138" y="88"/>
                  </a:lnTo>
                  <a:lnTo>
                    <a:pt x="156" y="113"/>
                  </a:lnTo>
                  <a:lnTo>
                    <a:pt x="169" y="123"/>
                  </a:lnTo>
                  <a:lnTo>
                    <a:pt x="187" y="113"/>
                  </a:lnTo>
                  <a:lnTo>
                    <a:pt x="212" y="134"/>
                  </a:lnTo>
                  <a:lnTo>
                    <a:pt x="250" y="255"/>
                  </a:lnTo>
                  <a:lnTo>
                    <a:pt x="256" y="267"/>
                  </a:lnTo>
                  <a:lnTo>
                    <a:pt x="269" y="325"/>
                  </a:lnTo>
                  <a:lnTo>
                    <a:pt x="319" y="334"/>
                  </a:lnTo>
                  <a:lnTo>
                    <a:pt x="325" y="355"/>
                  </a:lnTo>
                  <a:lnTo>
                    <a:pt x="312" y="423"/>
                  </a:lnTo>
                  <a:lnTo>
                    <a:pt x="269" y="457"/>
                  </a:lnTo>
                  <a:lnTo>
                    <a:pt x="219" y="478"/>
                  </a:lnTo>
                  <a:lnTo>
                    <a:pt x="181" y="567"/>
                  </a:lnTo>
                  <a:lnTo>
                    <a:pt x="181" y="536"/>
                  </a:lnTo>
                  <a:lnTo>
                    <a:pt x="150" y="513"/>
                  </a:lnTo>
                  <a:lnTo>
                    <a:pt x="125" y="536"/>
                  </a:lnTo>
                  <a:lnTo>
                    <a:pt x="94" y="434"/>
                  </a:lnTo>
                  <a:lnTo>
                    <a:pt x="75" y="399"/>
                  </a:lnTo>
                  <a:lnTo>
                    <a:pt x="56" y="290"/>
                  </a:lnTo>
                  <a:lnTo>
                    <a:pt x="0" y="15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11" name="Freeform 631"/>
            <p:cNvSpPr>
              <a:spLocks/>
            </p:cNvSpPr>
            <p:nvPr>
              <p:custDataLst>
                <p:tags r:id="rId505"/>
              </p:custDataLst>
            </p:nvPr>
          </p:nvSpPr>
          <p:spPr bwMode="auto">
            <a:xfrm>
              <a:off x="5199311" y="3652838"/>
              <a:ext cx="476250" cy="449262"/>
            </a:xfrm>
            <a:custGeom>
              <a:avLst/>
              <a:gdLst>
                <a:gd name="T0" fmla="*/ 0 w 325"/>
                <a:gd name="T1" fmla="*/ 2147483647 h 567"/>
                <a:gd name="T2" fmla="*/ 2147483647 w 325"/>
                <a:gd name="T3" fmla="*/ 2147483647 h 567"/>
                <a:gd name="T4" fmla="*/ 2147483647 w 325"/>
                <a:gd name="T5" fmla="*/ 2147483647 h 567"/>
                <a:gd name="T6" fmla="*/ 2147483647 w 325"/>
                <a:gd name="T7" fmla="*/ 2147483647 h 567"/>
                <a:gd name="T8" fmla="*/ 2147483647 w 325"/>
                <a:gd name="T9" fmla="*/ 2147483647 h 567"/>
                <a:gd name="T10" fmla="*/ 2147483647 w 325"/>
                <a:gd name="T11" fmla="*/ 2147483647 h 567"/>
                <a:gd name="T12" fmla="*/ 2147483647 w 325"/>
                <a:gd name="T13" fmla="*/ 0 h 567"/>
                <a:gd name="T14" fmla="*/ 2147483647 w 325"/>
                <a:gd name="T15" fmla="*/ 2147483647 h 567"/>
                <a:gd name="T16" fmla="*/ 2147483647 w 325"/>
                <a:gd name="T17" fmla="*/ 2147483647 h 567"/>
                <a:gd name="T18" fmla="*/ 2147483647 w 325"/>
                <a:gd name="T19" fmla="*/ 2147483647 h 567"/>
                <a:gd name="T20" fmla="*/ 2147483647 w 325"/>
                <a:gd name="T21" fmla="*/ 2147483647 h 567"/>
                <a:gd name="T22" fmla="*/ 2147483647 w 325"/>
                <a:gd name="T23" fmla="*/ 2147483647 h 567"/>
                <a:gd name="T24" fmla="*/ 2147483647 w 325"/>
                <a:gd name="T25" fmla="*/ 2147483647 h 567"/>
                <a:gd name="T26" fmla="*/ 2147483647 w 325"/>
                <a:gd name="T27" fmla="*/ 2147483647 h 567"/>
                <a:gd name="T28" fmla="*/ 2147483647 w 325"/>
                <a:gd name="T29" fmla="*/ 2147483647 h 567"/>
                <a:gd name="T30" fmla="*/ 2147483647 w 325"/>
                <a:gd name="T31" fmla="*/ 2147483647 h 567"/>
                <a:gd name="T32" fmla="*/ 2147483647 w 325"/>
                <a:gd name="T33" fmla="*/ 2147483647 h 567"/>
                <a:gd name="T34" fmla="*/ 2147483647 w 325"/>
                <a:gd name="T35" fmla="*/ 2147483647 h 567"/>
                <a:gd name="T36" fmla="*/ 2147483647 w 325"/>
                <a:gd name="T37" fmla="*/ 2147483647 h 567"/>
                <a:gd name="T38" fmla="*/ 2147483647 w 325"/>
                <a:gd name="T39" fmla="*/ 2147483647 h 567"/>
                <a:gd name="T40" fmla="*/ 2147483647 w 325"/>
                <a:gd name="T41" fmla="*/ 2147483647 h 567"/>
                <a:gd name="T42" fmla="*/ 2147483647 w 325"/>
                <a:gd name="T43" fmla="*/ 2147483647 h 567"/>
                <a:gd name="T44" fmla="*/ 2147483647 w 325"/>
                <a:gd name="T45" fmla="*/ 2147483647 h 567"/>
                <a:gd name="T46" fmla="*/ 2147483647 w 325"/>
                <a:gd name="T47" fmla="*/ 2147483647 h 567"/>
                <a:gd name="T48" fmla="*/ 2147483647 w 325"/>
                <a:gd name="T49" fmla="*/ 2147483647 h 567"/>
                <a:gd name="T50" fmla="*/ 2147483647 w 325"/>
                <a:gd name="T51" fmla="*/ 2147483647 h 567"/>
                <a:gd name="T52" fmla="*/ 2147483647 w 325"/>
                <a:gd name="T53" fmla="*/ 2147483647 h 567"/>
                <a:gd name="T54" fmla="*/ 2147483647 w 325"/>
                <a:gd name="T55" fmla="*/ 2147483647 h 567"/>
                <a:gd name="T56" fmla="*/ 0 w 325"/>
                <a:gd name="T57" fmla="*/ 2147483647 h 56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25" h="567">
                  <a:moveTo>
                    <a:pt x="0" y="157"/>
                  </a:moveTo>
                  <a:lnTo>
                    <a:pt x="6" y="100"/>
                  </a:lnTo>
                  <a:lnTo>
                    <a:pt x="25" y="113"/>
                  </a:lnTo>
                  <a:lnTo>
                    <a:pt x="43" y="79"/>
                  </a:lnTo>
                  <a:lnTo>
                    <a:pt x="51" y="67"/>
                  </a:lnTo>
                  <a:lnTo>
                    <a:pt x="37" y="23"/>
                  </a:lnTo>
                  <a:lnTo>
                    <a:pt x="69" y="0"/>
                  </a:lnTo>
                  <a:lnTo>
                    <a:pt x="138" y="67"/>
                  </a:lnTo>
                  <a:lnTo>
                    <a:pt x="138" y="88"/>
                  </a:lnTo>
                  <a:lnTo>
                    <a:pt x="156" y="113"/>
                  </a:lnTo>
                  <a:lnTo>
                    <a:pt x="169" y="123"/>
                  </a:lnTo>
                  <a:lnTo>
                    <a:pt x="187" y="113"/>
                  </a:lnTo>
                  <a:lnTo>
                    <a:pt x="212" y="134"/>
                  </a:lnTo>
                  <a:lnTo>
                    <a:pt x="250" y="255"/>
                  </a:lnTo>
                  <a:lnTo>
                    <a:pt x="256" y="267"/>
                  </a:lnTo>
                  <a:lnTo>
                    <a:pt x="269" y="325"/>
                  </a:lnTo>
                  <a:lnTo>
                    <a:pt x="319" y="334"/>
                  </a:lnTo>
                  <a:lnTo>
                    <a:pt x="325" y="355"/>
                  </a:lnTo>
                  <a:lnTo>
                    <a:pt x="312" y="423"/>
                  </a:lnTo>
                  <a:lnTo>
                    <a:pt x="269" y="457"/>
                  </a:lnTo>
                  <a:lnTo>
                    <a:pt x="219" y="478"/>
                  </a:lnTo>
                  <a:lnTo>
                    <a:pt x="181" y="567"/>
                  </a:lnTo>
                  <a:lnTo>
                    <a:pt x="181" y="536"/>
                  </a:lnTo>
                  <a:lnTo>
                    <a:pt x="150" y="513"/>
                  </a:lnTo>
                  <a:lnTo>
                    <a:pt x="125" y="536"/>
                  </a:lnTo>
                  <a:lnTo>
                    <a:pt x="94" y="434"/>
                  </a:lnTo>
                  <a:lnTo>
                    <a:pt x="75" y="399"/>
                  </a:lnTo>
                  <a:lnTo>
                    <a:pt x="56" y="290"/>
                  </a:lnTo>
                  <a:lnTo>
                    <a:pt x="0" y="15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12" name="Freeform 632"/>
            <p:cNvSpPr>
              <a:spLocks/>
            </p:cNvSpPr>
            <p:nvPr>
              <p:custDataLst>
                <p:tags r:id="rId506"/>
              </p:custDataLst>
            </p:nvPr>
          </p:nvSpPr>
          <p:spPr bwMode="auto">
            <a:xfrm>
              <a:off x="4850061" y="1973263"/>
              <a:ext cx="3897312" cy="1397000"/>
            </a:xfrm>
            <a:custGeom>
              <a:avLst/>
              <a:gdLst>
                <a:gd name="T0" fmla="*/ 2147483647 w 2659"/>
                <a:gd name="T1" fmla="*/ 2147483647 h 1761"/>
                <a:gd name="T2" fmla="*/ 2147483647 w 2659"/>
                <a:gd name="T3" fmla="*/ 2147483647 h 1761"/>
                <a:gd name="T4" fmla="*/ 2147483647 w 2659"/>
                <a:gd name="T5" fmla="*/ 2147483647 h 1761"/>
                <a:gd name="T6" fmla="*/ 2147483647 w 2659"/>
                <a:gd name="T7" fmla="*/ 2147483647 h 1761"/>
                <a:gd name="T8" fmla="*/ 2147483647 w 2659"/>
                <a:gd name="T9" fmla="*/ 2147483647 h 1761"/>
                <a:gd name="T10" fmla="*/ 2147483647 w 2659"/>
                <a:gd name="T11" fmla="*/ 2147483647 h 1761"/>
                <a:gd name="T12" fmla="*/ 2147483647 w 2659"/>
                <a:gd name="T13" fmla="*/ 2147483647 h 1761"/>
                <a:gd name="T14" fmla="*/ 2147483647 w 2659"/>
                <a:gd name="T15" fmla="*/ 2147483647 h 1761"/>
                <a:gd name="T16" fmla="*/ 2147483647 w 2659"/>
                <a:gd name="T17" fmla="*/ 2147483647 h 1761"/>
                <a:gd name="T18" fmla="*/ 2147483647 w 2659"/>
                <a:gd name="T19" fmla="*/ 2147483647 h 1761"/>
                <a:gd name="T20" fmla="*/ 2147483647 w 2659"/>
                <a:gd name="T21" fmla="*/ 2147483647 h 1761"/>
                <a:gd name="T22" fmla="*/ 2147483647 w 2659"/>
                <a:gd name="T23" fmla="*/ 2147483647 h 1761"/>
                <a:gd name="T24" fmla="*/ 2147483647 w 2659"/>
                <a:gd name="T25" fmla="*/ 2147483647 h 1761"/>
                <a:gd name="T26" fmla="*/ 2147483647 w 2659"/>
                <a:gd name="T27" fmla="*/ 2147483647 h 1761"/>
                <a:gd name="T28" fmla="*/ 2147483647 w 2659"/>
                <a:gd name="T29" fmla="*/ 2147483647 h 1761"/>
                <a:gd name="T30" fmla="*/ 2147483647 w 2659"/>
                <a:gd name="T31" fmla="*/ 2147483647 h 1761"/>
                <a:gd name="T32" fmla="*/ 2147483647 w 2659"/>
                <a:gd name="T33" fmla="*/ 2147483647 h 1761"/>
                <a:gd name="T34" fmla="*/ 2147483647 w 2659"/>
                <a:gd name="T35" fmla="*/ 2147483647 h 1761"/>
                <a:gd name="T36" fmla="*/ 2147483647 w 2659"/>
                <a:gd name="T37" fmla="*/ 2147483647 h 1761"/>
                <a:gd name="T38" fmla="*/ 2147483647 w 2659"/>
                <a:gd name="T39" fmla="*/ 2147483647 h 1761"/>
                <a:gd name="T40" fmla="*/ 2147483647 w 2659"/>
                <a:gd name="T41" fmla="*/ 2147483647 h 1761"/>
                <a:gd name="T42" fmla="*/ 2147483647 w 2659"/>
                <a:gd name="T43" fmla="*/ 2147483647 h 1761"/>
                <a:gd name="T44" fmla="*/ 2147483647 w 2659"/>
                <a:gd name="T45" fmla="*/ 2147483647 h 1761"/>
                <a:gd name="T46" fmla="*/ 2147483647 w 2659"/>
                <a:gd name="T47" fmla="*/ 2147483647 h 1761"/>
                <a:gd name="T48" fmla="*/ 2147483647 w 2659"/>
                <a:gd name="T49" fmla="*/ 2147483647 h 1761"/>
                <a:gd name="T50" fmla="*/ 2147483647 w 2659"/>
                <a:gd name="T51" fmla="*/ 2147483647 h 1761"/>
                <a:gd name="T52" fmla="*/ 2147483647 w 2659"/>
                <a:gd name="T53" fmla="*/ 2147483647 h 1761"/>
                <a:gd name="T54" fmla="*/ 2147483647 w 2659"/>
                <a:gd name="T55" fmla="*/ 2147483647 h 1761"/>
                <a:gd name="T56" fmla="*/ 2147483647 w 2659"/>
                <a:gd name="T57" fmla="*/ 2147483647 h 1761"/>
                <a:gd name="T58" fmla="*/ 2147483647 w 2659"/>
                <a:gd name="T59" fmla="*/ 2147483647 h 1761"/>
                <a:gd name="T60" fmla="*/ 2147483647 w 2659"/>
                <a:gd name="T61" fmla="*/ 2147483647 h 1761"/>
                <a:gd name="T62" fmla="*/ 2147483647 w 2659"/>
                <a:gd name="T63" fmla="*/ 2147483647 h 1761"/>
                <a:gd name="T64" fmla="*/ 2147483647 w 2659"/>
                <a:gd name="T65" fmla="*/ 2147483647 h 1761"/>
                <a:gd name="T66" fmla="*/ 2147483647 w 2659"/>
                <a:gd name="T67" fmla="*/ 2147483647 h 1761"/>
                <a:gd name="T68" fmla="*/ 2147483647 w 2659"/>
                <a:gd name="T69" fmla="*/ 2147483647 h 1761"/>
                <a:gd name="T70" fmla="*/ 2147483647 w 2659"/>
                <a:gd name="T71" fmla="*/ 2147483647 h 1761"/>
                <a:gd name="T72" fmla="*/ 2147483647 w 2659"/>
                <a:gd name="T73" fmla="*/ 2147483647 h 1761"/>
                <a:gd name="T74" fmla="*/ 2147483647 w 2659"/>
                <a:gd name="T75" fmla="*/ 2147483647 h 1761"/>
                <a:gd name="T76" fmla="*/ 2147483647 w 2659"/>
                <a:gd name="T77" fmla="*/ 2147483647 h 1761"/>
                <a:gd name="T78" fmla="*/ 2147483647 w 2659"/>
                <a:gd name="T79" fmla="*/ 2147483647 h 1761"/>
                <a:gd name="T80" fmla="*/ 2147483647 w 2659"/>
                <a:gd name="T81" fmla="*/ 2147483647 h 1761"/>
                <a:gd name="T82" fmla="*/ 2147483647 w 2659"/>
                <a:gd name="T83" fmla="*/ 2147483647 h 1761"/>
                <a:gd name="T84" fmla="*/ 2147483647 w 2659"/>
                <a:gd name="T85" fmla="*/ 2147483647 h 1761"/>
                <a:gd name="T86" fmla="*/ 2147483647 w 2659"/>
                <a:gd name="T87" fmla="*/ 2147483647 h 1761"/>
                <a:gd name="T88" fmla="*/ 2147483647 w 2659"/>
                <a:gd name="T89" fmla="*/ 2147483647 h 1761"/>
                <a:gd name="T90" fmla="*/ 2147483647 w 2659"/>
                <a:gd name="T91" fmla="*/ 2147483647 h 1761"/>
                <a:gd name="T92" fmla="*/ 2147483647 w 2659"/>
                <a:gd name="T93" fmla="*/ 2147483647 h 1761"/>
                <a:gd name="T94" fmla="*/ 2147483647 w 2659"/>
                <a:gd name="T95" fmla="*/ 2147483647 h 1761"/>
                <a:gd name="T96" fmla="*/ 2147483647 w 2659"/>
                <a:gd name="T97" fmla="*/ 2147483647 h 1761"/>
                <a:gd name="T98" fmla="*/ 2147483647 w 2659"/>
                <a:gd name="T99" fmla="*/ 2147483647 h 1761"/>
                <a:gd name="T100" fmla="*/ 2147483647 w 2659"/>
                <a:gd name="T101" fmla="*/ 2147483647 h 1761"/>
                <a:gd name="T102" fmla="*/ 2147483647 w 2659"/>
                <a:gd name="T103" fmla="*/ 2147483647 h 1761"/>
                <a:gd name="T104" fmla="*/ 2147483647 w 2659"/>
                <a:gd name="T105" fmla="*/ 2147483647 h 1761"/>
                <a:gd name="T106" fmla="*/ 2147483647 w 2659"/>
                <a:gd name="T107" fmla="*/ 2147483647 h 1761"/>
                <a:gd name="T108" fmla="*/ 2147483647 w 2659"/>
                <a:gd name="T109" fmla="*/ 2147483647 h 1761"/>
                <a:gd name="T110" fmla="*/ 2147483647 w 2659"/>
                <a:gd name="T111" fmla="*/ 2147483647 h 1761"/>
                <a:gd name="T112" fmla="*/ 2147483647 w 2659"/>
                <a:gd name="T113" fmla="*/ 2147483647 h 1761"/>
                <a:gd name="T114" fmla="*/ 2147483647 w 2659"/>
                <a:gd name="T115" fmla="*/ 2147483647 h 17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659" h="1761">
                  <a:moveTo>
                    <a:pt x="0" y="1248"/>
                  </a:moveTo>
                  <a:lnTo>
                    <a:pt x="25" y="1213"/>
                  </a:lnTo>
                  <a:lnTo>
                    <a:pt x="19" y="1225"/>
                  </a:lnTo>
                  <a:lnTo>
                    <a:pt x="25" y="1236"/>
                  </a:lnTo>
                  <a:lnTo>
                    <a:pt x="25" y="1148"/>
                  </a:lnTo>
                  <a:lnTo>
                    <a:pt x="32" y="1113"/>
                  </a:lnTo>
                  <a:lnTo>
                    <a:pt x="44" y="1104"/>
                  </a:lnTo>
                  <a:lnTo>
                    <a:pt x="75" y="1137"/>
                  </a:lnTo>
                  <a:lnTo>
                    <a:pt x="75" y="1069"/>
                  </a:lnTo>
                  <a:lnTo>
                    <a:pt x="69" y="1069"/>
                  </a:lnTo>
                  <a:lnTo>
                    <a:pt x="64" y="1037"/>
                  </a:lnTo>
                  <a:lnTo>
                    <a:pt x="170" y="992"/>
                  </a:lnTo>
                  <a:lnTo>
                    <a:pt x="144" y="981"/>
                  </a:lnTo>
                  <a:lnTo>
                    <a:pt x="144" y="967"/>
                  </a:lnTo>
                  <a:lnTo>
                    <a:pt x="125" y="967"/>
                  </a:lnTo>
                  <a:lnTo>
                    <a:pt x="189" y="870"/>
                  </a:lnTo>
                  <a:lnTo>
                    <a:pt x="163" y="758"/>
                  </a:lnTo>
                  <a:lnTo>
                    <a:pt x="170" y="701"/>
                  </a:lnTo>
                  <a:lnTo>
                    <a:pt x="151" y="647"/>
                  </a:lnTo>
                  <a:lnTo>
                    <a:pt x="163" y="612"/>
                  </a:lnTo>
                  <a:lnTo>
                    <a:pt x="144" y="568"/>
                  </a:lnTo>
                  <a:lnTo>
                    <a:pt x="151" y="533"/>
                  </a:lnTo>
                  <a:lnTo>
                    <a:pt x="175" y="489"/>
                  </a:lnTo>
                  <a:lnTo>
                    <a:pt x="194" y="489"/>
                  </a:lnTo>
                  <a:lnTo>
                    <a:pt x="213" y="503"/>
                  </a:lnTo>
                  <a:lnTo>
                    <a:pt x="194" y="503"/>
                  </a:lnTo>
                  <a:lnTo>
                    <a:pt x="213" y="524"/>
                  </a:lnTo>
                  <a:lnTo>
                    <a:pt x="257" y="524"/>
                  </a:lnTo>
                  <a:lnTo>
                    <a:pt x="338" y="612"/>
                  </a:lnTo>
                  <a:lnTo>
                    <a:pt x="338" y="656"/>
                  </a:lnTo>
                  <a:lnTo>
                    <a:pt x="308" y="691"/>
                  </a:lnTo>
                  <a:lnTo>
                    <a:pt x="194" y="647"/>
                  </a:lnTo>
                  <a:lnTo>
                    <a:pt x="239" y="701"/>
                  </a:lnTo>
                  <a:lnTo>
                    <a:pt x="239" y="779"/>
                  </a:lnTo>
                  <a:lnTo>
                    <a:pt x="281" y="814"/>
                  </a:lnTo>
                  <a:lnTo>
                    <a:pt x="295" y="802"/>
                  </a:lnTo>
                  <a:lnTo>
                    <a:pt x="289" y="779"/>
                  </a:lnTo>
                  <a:lnTo>
                    <a:pt x="269" y="770"/>
                  </a:lnTo>
                  <a:lnTo>
                    <a:pt x="276" y="747"/>
                  </a:lnTo>
                  <a:lnTo>
                    <a:pt x="295" y="770"/>
                  </a:lnTo>
                  <a:lnTo>
                    <a:pt x="338" y="779"/>
                  </a:lnTo>
                  <a:lnTo>
                    <a:pt x="313" y="724"/>
                  </a:lnTo>
                  <a:lnTo>
                    <a:pt x="358" y="668"/>
                  </a:lnTo>
                  <a:lnTo>
                    <a:pt x="388" y="701"/>
                  </a:lnTo>
                  <a:lnTo>
                    <a:pt x="382" y="578"/>
                  </a:lnTo>
                  <a:lnTo>
                    <a:pt x="376" y="556"/>
                  </a:lnTo>
                  <a:lnTo>
                    <a:pt x="419" y="578"/>
                  </a:lnTo>
                  <a:lnTo>
                    <a:pt x="425" y="601"/>
                  </a:lnTo>
                  <a:lnTo>
                    <a:pt x="395" y="624"/>
                  </a:lnTo>
                  <a:lnTo>
                    <a:pt x="425" y="656"/>
                  </a:lnTo>
                  <a:lnTo>
                    <a:pt x="445" y="612"/>
                  </a:lnTo>
                  <a:lnTo>
                    <a:pt x="539" y="533"/>
                  </a:lnTo>
                  <a:lnTo>
                    <a:pt x="551" y="533"/>
                  </a:lnTo>
                  <a:lnTo>
                    <a:pt x="539" y="547"/>
                  </a:lnTo>
                  <a:lnTo>
                    <a:pt x="551" y="578"/>
                  </a:lnTo>
                  <a:lnTo>
                    <a:pt x="613" y="533"/>
                  </a:lnTo>
                  <a:lnTo>
                    <a:pt x="632" y="568"/>
                  </a:lnTo>
                  <a:lnTo>
                    <a:pt x="644" y="547"/>
                  </a:lnTo>
                  <a:lnTo>
                    <a:pt x="639" y="503"/>
                  </a:lnTo>
                  <a:lnTo>
                    <a:pt x="644" y="489"/>
                  </a:lnTo>
                  <a:lnTo>
                    <a:pt x="695" y="512"/>
                  </a:lnTo>
                  <a:lnTo>
                    <a:pt x="764" y="578"/>
                  </a:lnTo>
                  <a:lnTo>
                    <a:pt x="777" y="547"/>
                  </a:lnTo>
                  <a:lnTo>
                    <a:pt x="758" y="512"/>
                  </a:lnTo>
                  <a:lnTo>
                    <a:pt x="739" y="503"/>
                  </a:lnTo>
                  <a:lnTo>
                    <a:pt x="745" y="445"/>
                  </a:lnTo>
                  <a:lnTo>
                    <a:pt x="732" y="434"/>
                  </a:lnTo>
                  <a:lnTo>
                    <a:pt x="739" y="411"/>
                  </a:lnTo>
                  <a:lnTo>
                    <a:pt x="764" y="380"/>
                  </a:lnTo>
                  <a:lnTo>
                    <a:pt x="777" y="311"/>
                  </a:lnTo>
                  <a:lnTo>
                    <a:pt x="814" y="311"/>
                  </a:lnTo>
                  <a:lnTo>
                    <a:pt x="827" y="311"/>
                  </a:lnTo>
                  <a:lnTo>
                    <a:pt x="814" y="389"/>
                  </a:lnTo>
                  <a:lnTo>
                    <a:pt x="827" y="424"/>
                  </a:lnTo>
                  <a:lnTo>
                    <a:pt x="827" y="533"/>
                  </a:lnTo>
                  <a:lnTo>
                    <a:pt x="838" y="568"/>
                  </a:lnTo>
                  <a:lnTo>
                    <a:pt x="838" y="612"/>
                  </a:lnTo>
                  <a:lnTo>
                    <a:pt x="807" y="635"/>
                  </a:lnTo>
                  <a:lnTo>
                    <a:pt x="819" y="647"/>
                  </a:lnTo>
                  <a:lnTo>
                    <a:pt x="783" y="656"/>
                  </a:lnTo>
                  <a:lnTo>
                    <a:pt x="819" y="691"/>
                  </a:lnTo>
                  <a:lnTo>
                    <a:pt x="857" y="612"/>
                  </a:lnTo>
                  <a:lnTo>
                    <a:pt x="857" y="556"/>
                  </a:lnTo>
                  <a:lnTo>
                    <a:pt x="870" y="547"/>
                  </a:lnTo>
                  <a:lnTo>
                    <a:pt x="888" y="533"/>
                  </a:lnTo>
                  <a:lnTo>
                    <a:pt x="902" y="568"/>
                  </a:lnTo>
                  <a:lnTo>
                    <a:pt x="902" y="601"/>
                  </a:lnTo>
                  <a:lnTo>
                    <a:pt x="926" y="612"/>
                  </a:lnTo>
                  <a:lnTo>
                    <a:pt x="907" y="601"/>
                  </a:lnTo>
                  <a:lnTo>
                    <a:pt x="914" y="578"/>
                  </a:lnTo>
                  <a:lnTo>
                    <a:pt x="907" y="547"/>
                  </a:lnTo>
                  <a:lnTo>
                    <a:pt x="845" y="524"/>
                  </a:lnTo>
                  <a:lnTo>
                    <a:pt x="857" y="445"/>
                  </a:lnTo>
                  <a:lnTo>
                    <a:pt x="838" y="389"/>
                  </a:lnTo>
                  <a:lnTo>
                    <a:pt x="864" y="345"/>
                  </a:lnTo>
                  <a:lnTo>
                    <a:pt x="864" y="311"/>
                  </a:lnTo>
                  <a:lnTo>
                    <a:pt x="876" y="334"/>
                  </a:lnTo>
                  <a:lnTo>
                    <a:pt x="870" y="401"/>
                  </a:lnTo>
                  <a:lnTo>
                    <a:pt x="876" y="411"/>
                  </a:lnTo>
                  <a:lnTo>
                    <a:pt x="920" y="424"/>
                  </a:lnTo>
                  <a:lnTo>
                    <a:pt x="883" y="366"/>
                  </a:lnTo>
                  <a:lnTo>
                    <a:pt x="907" y="380"/>
                  </a:lnTo>
                  <a:lnTo>
                    <a:pt x="902" y="357"/>
                  </a:lnTo>
                  <a:lnTo>
                    <a:pt x="920" y="345"/>
                  </a:lnTo>
                  <a:lnTo>
                    <a:pt x="994" y="389"/>
                  </a:lnTo>
                  <a:lnTo>
                    <a:pt x="983" y="411"/>
                  </a:lnTo>
                  <a:lnTo>
                    <a:pt x="976" y="457"/>
                  </a:lnTo>
                  <a:lnTo>
                    <a:pt x="994" y="480"/>
                  </a:lnTo>
                  <a:lnTo>
                    <a:pt x="1002" y="389"/>
                  </a:lnTo>
                  <a:lnTo>
                    <a:pt x="957" y="334"/>
                  </a:lnTo>
                  <a:lnTo>
                    <a:pt x="952" y="278"/>
                  </a:lnTo>
                  <a:lnTo>
                    <a:pt x="1044" y="245"/>
                  </a:lnTo>
                  <a:lnTo>
                    <a:pt x="1032" y="188"/>
                  </a:lnTo>
                  <a:lnTo>
                    <a:pt x="1044" y="201"/>
                  </a:lnTo>
                  <a:lnTo>
                    <a:pt x="1063" y="178"/>
                  </a:lnTo>
                  <a:lnTo>
                    <a:pt x="1052" y="178"/>
                  </a:lnTo>
                  <a:lnTo>
                    <a:pt x="1151" y="122"/>
                  </a:lnTo>
                  <a:lnTo>
                    <a:pt x="1146" y="111"/>
                  </a:lnTo>
                  <a:lnTo>
                    <a:pt x="1188" y="99"/>
                  </a:lnTo>
                  <a:lnTo>
                    <a:pt x="1188" y="122"/>
                  </a:lnTo>
                  <a:lnTo>
                    <a:pt x="1201" y="122"/>
                  </a:lnTo>
                  <a:lnTo>
                    <a:pt x="1233" y="99"/>
                  </a:lnTo>
                  <a:lnTo>
                    <a:pt x="1252" y="111"/>
                  </a:lnTo>
                  <a:lnTo>
                    <a:pt x="1233" y="90"/>
                  </a:lnTo>
                  <a:lnTo>
                    <a:pt x="1270" y="78"/>
                  </a:lnTo>
                  <a:lnTo>
                    <a:pt x="1277" y="44"/>
                  </a:lnTo>
                  <a:lnTo>
                    <a:pt x="1314" y="0"/>
                  </a:lnTo>
                  <a:lnTo>
                    <a:pt x="1352" y="34"/>
                  </a:lnTo>
                  <a:lnTo>
                    <a:pt x="1321" y="55"/>
                  </a:lnTo>
                  <a:lnTo>
                    <a:pt x="1371" y="55"/>
                  </a:lnTo>
                  <a:lnTo>
                    <a:pt x="1352" y="90"/>
                  </a:lnTo>
                  <a:lnTo>
                    <a:pt x="1427" y="65"/>
                  </a:lnTo>
                  <a:lnTo>
                    <a:pt x="1471" y="122"/>
                  </a:lnTo>
                  <a:lnTo>
                    <a:pt x="1463" y="144"/>
                  </a:lnTo>
                  <a:lnTo>
                    <a:pt x="1452" y="122"/>
                  </a:lnTo>
                  <a:lnTo>
                    <a:pt x="1471" y="144"/>
                  </a:lnTo>
                  <a:lnTo>
                    <a:pt x="1458" y="178"/>
                  </a:lnTo>
                  <a:lnTo>
                    <a:pt x="1314" y="334"/>
                  </a:lnTo>
                  <a:lnTo>
                    <a:pt x="1364" y="311"/>
                  </a:lnTo>
                  <a:lnTo>
                    <a:pt x="1352" y="290"/>
                  </a:lnTo>
                  <a:lnTo>
                    <a:pt x="1427" y="266"/>
                  </a:lnTo>
                  <a:lnTo>
                    <a:pt x="1402" y="266"/>
                  </a:lnTo>
                  <a:lnTo>
                    <a:pt x="1408" y="245"/>
                  </a:lnTo>
                  <a:lnTo>
                    <a:pt x="1452" y="266"/>
                  </a:lnTo>
                  <a:lnTo>
                    <a:pt x="1452" y="245"/>
                  </a:lnTo>
                  <a:lnTo>
                    <a:pt x="1463" y="290"/>
                  </a:lnTo>
                  <a:lnTo>
                    <a:pt x="1482" y="290"/>
                  </a:lnTo>
                  <a:lnTo>
                    <a:pt x="1463" y="278"/>
                  </a:lnTo>
                  <a:lnTo>
                    <a:pt x="1502" y="266"/>
                  </a:lnTo>
                  <a:lnTo>
                    <a:pt x="1546" y="278"/>
                  </a:lnTo>
                  <a:lnTo>
                    <a:pt x="1546" y="290"/>
                  </a:lnTo>
                  <a:lnTo>
                    <a:pt x="1583" y="311"/>
                  </a:lnTo>
                  <a:lnTo>
                    <a:pt x="1615" y="301"/>
                  </a:lnTo>
                  <a:lnTo>
                    <a:pt x="1615" y="257"/>
                  </a:lnTo>
                  <a:lnTo>
                    <a:pt x="1627" y="257"/>
                  </a:lnTo>
                  <a:lnTo>
                    <a:pt x="1715" y="301"/>
                  </a:lnTo>
                  <a:lnTo>
                    <a:pt x="1702" y="389"/>
                  </a:lnTo>
                  <a:lnTo>
                    <a:pt x="1740" y="445"/>
                  </a:lnTo>
                  <a:lnTo>
                    <a:pt x="1765" y="366"/>
                  </a:lnTo>
                  <a:lnTo>
                    <a:pt x="1776" y="401"/>
                  </a:lnTo>
                  <a:lnTo>
                    <a:pt x="1808" y="389"/>
                  </a:lnTo>
                  <a:lnTo>
                    <a:pt x="1845" y="411"/>
                  </a:lnTo>
                  <a:lnTo>
                    <a:pt x="1877" y="401"/>
                  </a:lnTo>
                  <a:lnTo>
                    <a:pt x="1877" y="366"/>
                  </a:lnTo>
                  <a:lnTo>
                    <a:pt x="1896" y="311"/>
                  </a:lnTo>
                  <a:lnTo>
                    <a:pt x="2027" y="357"/>
                  </a:lnTo>
                  <a:lnTo>
                    <a:pt x="2034" y="380"/>
                  </a:lnTo>
                  <a:lnTo>
                    <a:pt x="2015" y="389"/>
                  </a:lnTo>
                  <a:lnTo>
                    <a:pt x="2059" y="401"/>
                  </a:lnTo>
                  <a:lnTo>
                    <a:pt x="2071" y="434"/>
                  </a:lnTo>
                  <a:lnTo>
                    <a:pt x="2171" y="424"/>
                  </a:lnTo>
                  <a:lnTo>
                    <a:pt x="2190" y="457"/>
                  </a:lnTo>
                  <a:lnTo>
                    <a:pt x="2184" y="489"/>
                  </a:lnTo>
                  <a:lnTo>
                    <a:pt x="2209" y="512"/>
                  </a:lnTo>
                  <a:lnTo>
                    <a:pt x="2227" y="503"/>
                  </a:lnTo>
                  <a:lnTo>
                    <a:pt x="2296" y="512"/>
                  </a:lnTo>
                  <a:lnTo>
                    <a:pt x="2309" y="489"/>
                  </a:lnTo>
                  <a:lnTo>
                    <a:pt x="2321" y="524"/>
                  </a:lnTo>
                  <a:lnTo>
                    <a:pt x="2346" y="547"/>
                  </a:lnTo>
                  <a:lnTo>
                    <a:pt x="2359" y="533"/>
                  </a:lnTo>
                  <a:lnTo>
                    <a:pt x="2346" y="503"/>
                  </a:lnTo>
                  <a:lnTo>
                    <a:pt x="2353" y="480"/>
                  </a:lnTo>
                  <a:lnTo>
                    <a:pt x="2472" y="512"/>
                  </a:lnTo>
                  <a:lnTo>
                    <a:pt x="2553" y="612"/>
                  </a:lnTo>
                  <a:lnTo>
                    <a:pt x="2571" y="612"/>
                  </a:lnTo>
                  <a:lnTo>
                    <a:pt x="2590" y="679"/>
                  </a:lnTo>
                  <a:lnTo>
                    <a:pt x="2584" y="647"/>
                  </a:lnTo>
                  <a:lnTo>
                    <a:pt x="2596" y="635"/>
                  </a:lnTo>
                  <a:lnTo>
                    <a:pt x="2603" y="656"/>
                  </a:lnTo>
                  <a:lnTo>
                    <a:pt x="2629" y="647"/>
                  </a:lnTo>
                  <a:lnTo>
                    <a:pt x="2659" y="691"/>
                  </a:lnTo>
                  <a:lnTo>
                    <a:pt x="2615" y="735"/>
                  </a:lnTo>
                  <a:lnTo>
                    <a:pt x="2621" y="758"/>
                  </a:lnTo>
                  <a:lnTo>
                    <a:pt x="2609" y="770"/>
                  </a:lnTo>
                  <a:lnTo>
                    <a:pt x="2621" y="779"/>
                  </a:lnTo>
                  <a:lnTo>
                    <a:pt x="2590" y="779"/>
                  </a:lnTo>
                  <a:lnTo>
                    <a:pt x="2584" y="758"/>
                  </a:lnTo>
                  <a:lnTo>
                    <a:pt x="2571" y="770"/>
                  </a:lnTo>
                  <a:lnTo>
                    <a:pt x="2553" y="724"/>
                  </a:lnTo>
                  <a:lnTo>
                    <a:pt x="2521" y="724"/>
                  </a:lnTo>
                  <a:lnTo>
                    <a:pt x="2515" y="691"/>
                  </a:lnTo>
                  <a:lnTo>
                    <a:pt x="2521" y="679"/>
                  </a:lnTo>
                  <a:lnTo>
                    <a:pt x="2509" y="679"/>
                  </a:lnTo>
                  <a:lnTo>
                    <a:pt x="2503" y="691"/>
                  </a:lnTo>
                  <a:lnTo>
                    <a:pt x="2509" y="724"/>
                  </a:lnTo>
                  <a:lnTo>
                    <a:pt x="2503" y="747"/>
                  </a:lnTo>
                  <a:lnTo>
                    <a:pt x="2478" y="770"/>
                  </a:lnTo>
                  <a:lnTo>
                    <a:pt x="2459" y="770"/>
                  </a:lnTo>
                  <a:lnTo>
                    <a:pt x="2490" y="846"/>
                  </a:lnTo>
                  <a:lnTo>
                    <a:pt x="2484" y="879"/>
                  </a:lnTo>
                  <a:lnTo>
                    <a:pt x="2453" y="858"/>
                  </a:lnTo>
                  <a:lnTo>
                    <a:pt x="2453" y="870"/>
                  </a:lnTo>
                  <a:lnTo>
                    <a:pt x="2396" y="914"/>
                  </a:lnTo>
                  <a:lnTo>
                    <a:pt x="2346" y="1002"/>
                  </a:lnTo>
                  <a:lnTo>
                    <a:pt x="2314" y="967"/>
                  </a:lnTo>
                  <a:lnTo>
                    <a:pt x="2284" y="1002"/>
                  </a:lnTo>
                  <a:lnTo>
                    <a:pt x="2284" y="967"/>
                  </a:lnTo>
                  <a:lnTo>
                    <a:pt x="2265" y="1002"/>
                  </a:lnTo>
                  <a:lnTo>
                    <a:pt x="2245" y="1002"/>
                  </a:lnTo>
                  <a:lnTo>
                    <a:pt x="2221" y="1090"/>
                  </a:lnTo>
                  <a:lnTo>
                    <a:pt x="2240" y="1104"/>
                  </a:lnTo>
                  <a:lnTo>
                    <a:pt x="2234" y="1137"/>
                  </a:lnTo>
                  <a:lnTo>
                    <a:pt x="2240" y="1181"/>
                  </a:lnTo>
                  <a:lnTo>
                    <a:pt x="2221" y="1169"/>
                  </a:lnTo>
                  <a:lnTo>
                    <a:pt x="2215" y="1204"/>
                  </a:lnTo>
                  <a:lnTo>
                    <a:pt x="2221" y="1236"/>
                  </a:lnTo>
                  <a:lnTo>
                    <a:pt x="2184" y="1269"/>
                  </a:lnTo>
                  <a:lnTo>
                    <a:pt x="2190" y="1313"/>
                  </a:lnTo>
                  <a:lnTo>
                    <a:pt x="2165" y="1313"/>
                  </a:lnTo>
                  <a:lnTo>
                    <a:pt x="2158" y="1359"/>
                  </a:lnTo>
                  <a:lnTo>
                    <a:pt x="2140" y="1405"/>
                  </a:lnTo>
                  <a:lnTo>
                    <a:pt x="2121" y="1236"/>
                  </a:lnTo>
                  <a:lnTo>
                    <a:pt x="2121" y="1148"/>
                  </a:lnTo>
                  <a:lnTo>
                    <a:pt x="2140" y="1104"/>
                  </a:lnTo>
                  <a:lnTo>
                    <a:pt x="2165" y="1090"/>
                  </a:lnTo>
                  <a:lnTo>
                    <a:pt x="2221" y="981"/>
                  </a:lnTo>
                  <a:lnTo>
                    <a:pt x="2245" y="958"/>
                  </a:lnTo>
                  <a:lnTo>
                    <a:pt x="2252" y="893"/>
                  </a:lnTo>
                  <a:lnTo>
                    <a:pt x="2265" y="879"/>
                  </a:lnTo>
                  <a:lnTo>
                    <a:pt x="2245" y="870"/>
                  </a:lnTo>
                  <a:lnTo>
                    <a:pt x="2240" y="923"/>
                  </a:lnTo>
                  <a:lnTo>
                    <a:pt x="2190" y="967"/>
                  </a:lnTo>
                  <a:lnTo>
                    <a:pt x="2196" y="902"/>
                  </a:lnTo>
                  <a:lnTo>
                    <a:pt x="2146" y="914"/>
                  </a:lnTo>
                  <a:lnTo>
                    <a:pt x="2096" y="1002"/>
                  </a:lnTo>
                  <a:lnTo>
                    <a:pt x="2109" y="1037"/>
                  </a:lnTo>
                  <a:lnTo>
                    <a:pt x="2059" y="1046"/>
                  </a:lnTo>
                  <a:lnTo>
                    <a:pt x="2052" y="1037"/>
                  </a:lnTo>
                  <a:lnTo>
                    <a:pt x="2065" y="1037"/>
                  </a:lnTo>
                  <a:lnTo>
                    <a:pt x="2027" y="1014"/>
                  </a:lnTo>
                  <a:lnTo>
                    <a:pt x="2015" y="1037"/>
                  </a:lnTo>
                  <a:lnTo>
                    <a:pt x="1921" y="1037"/>
                  </a:lnTo>
                  <a:lnTo>
                    <a:pt x="1802" y="1236"/>
                  </a:lnTo>
                  <a:lnTo>
                    <a:pt x="1827" y="1248"/>
                  </a:lnTo>
                  <a:lnTo>
                    <a:pt x="1827" y="1282"/>
                  </a:lnTo>
                  <a:lnTo>
                    <a:pt x="1840" y="1259"/>
                  </a:lnTo>
                  <a:lnTo>
                    <a:pt x="1840" y="1292"/>
                  </a:lnTo>
                  <a:lnTo>
                    <a:pt x="1852" y="1269"/>
                  </a:lnTo>
                  <a:lnTo>
                    <a:pt x="1852" y="1292"/>
                  </a:lnTo>
                  <a:lnTo>
                    <a:pt x="1858" y="1259"/>
                  </a:lnTo>
                  <a:lnTo>
                    <a:pt x="1877" y="1259"/>
                  </a:lnTo>
                  <a:lnTo>
                    <a:pt x="1896" y="1304"/>
                  </a:lnTo>
                  <a:lnTo>
                    <a:pt x="1877" y="1304"/>
                  </a:lnTo>
                  <a:lnTo>
                    <a:pt x="1896" y="1327"/>
                  </a:lnTo>
                  <a:lnTo>
                    <a:pt x="1902" y="1348"/>
                  </a:lnTo>
                  <a:lnTo>
                    <a:pt x="1883" y="1415"/>
                  </a:lnTo>
                  <a:lnTo>
                    <a:pt x="1883" y="1503"/>
                  </a:lnTo>
                  <a:lnTo>
                    <a:pt x="1802" y="1705"/>
                  </a:lnTo>
                  <a:lnTo>
                    <a:pt x="1776" y="1738"/>
                  </a:lnTo>
                  <a:lnTo>
                    <a:pt x="1752" y="1705"/>
                  </a:lnTo>
                  <a:lnTo>
                    <a:pt x="1733" y="1749"/>
                  </a:lnTo>
                  <a:lnTo>
                    <a:pt x="1733" y="1738"/>
                  </a:lnTo>
                  <a:lnTo>
                    <a:pt x="1740" y="1705"/>
                  </a:lnTo>
                  <a:lnTo>
                    <a:pt x="1740" y="1661"/>
                  </a:lnTo>
                  <a:lnTo>
                    <a:pt x="1771" y="1638"/>
                  </a:lnTo>
                  <a:lnTo>
                    <a:pt x="1796" y="1503"/>
                  </a:lnTo>
                  <a:lnTo>
                    <a:pt x="1740" y="1538"/>
                  </a:lnTo>
                  <a:lnTo>
                    <a:pt x="1733" y="1480"/>
                  </a:lnTo>
                  <a:lnTo>
                    <a:pt x="1683" y="1459"/>
                  </a:lnTo>
                  <a:lnTo>
                    <a:pt x="1652" y="1313"/>
                  </a:lnTo>
                  <a:lnTo>
                    <a:pt x="1620" y="1292"/>
                  </a:lnTo>
                  <a:lnTo>
                    <a:pt x="1565" y="1327"/>
                  </a:lnTo>
                  <a:lnTo>
                    <a:pt x="1577" y="1359"/>
                  </a:lnTo>
                  <a:lnTo>
                    <a:pt x="1551" y="1436"/>
                  </a:lnTo>
                  <a:lnTo>
                    <a:pt x="1532" y="1459"/>
                  </a:lnTo>
                  <a:lnTo>
                    <a:pt x="1508" y="1450"/>
                  </a:lnTo>
                  <a:lnTo>
                    <a:pt x="1482" y="1436"/>
                  </a:lnTo>
                  <a:lnTo>
                    <a:pt x="1408" y="1471"/>
                  </a:lnTo>
                  <a:lnTo>
                    <a:pt x="1339" y="1415"/>
                  </a:lnTo>
                  <a:lnTo>
                    <a:pt x="1302" y="1427"/>
                  </a:lnTo>
                  <a:lnTo>
                    <a:pt x="1283" y="1382"/>
                  </a:lnTo>
                  <a:lnTo>
                    <a:pt x="1246" y="1348"/>
                  </a:lnTo>
                  <a:lnTo>
                    <a:pt x="1220" y="1382"/>
                  </a:lnTo>
                  <a:lnTo>
                    <a:pt x="1220" y="1436"/>
                  </a:lnTo>
                  <a:lnTo>
                    <a:pt x="1127" y="1415"/>
                  </a:lnTo>
                  <a:lnTo>
                    <a:pt x="1077" y="1471"/>
                  </a:lnTo>
                  <a:lnTo>
                    <a:pt x="1052" y="1494"/>
                  </a:lnTo>
                  <a:lnTo>
                    <a:pt x="1020" y="1450"/>
                  </a:lnTo>
                  <a:lnTo>
                    <a:pt x="994" y="1471"/>
                  </a:lnTo>
                  <a:lnTo>
                    <a:pt x="957" y="1450"/>
                  </a:lnTo>
                  <a:lnTo>
                    <a:pt x="944" y="1436"/>
                  </a:lnTo>
                  <a:lnTo>
                    <a:pt x="933" y="1392"/>
                  </a:lnTo>
                  <a:lnTo>
                    <a:pt x="907" y="1392"/>
                  </a:lnTo>
                  <a:lnTo>
                    <a:pt x="902" y="1405"/>
                  </a:lnTo>
                  <a:lnTo>
                    <a:pt x="883" y="1371"/>
                  </a:lnTo>
                  <a:lnTo>
                    <a:pt x="870" y="1371"/>
                  </a:lnTo>
                  <a:lnTo>
                    <a:pt x="864" y="1382"/>
                  </a:lnTo>
                  <a:lnTo>
                    <a:pt x="819" y="1313"/>
                  </a:lnTo>
                  <a:lnTo>
                    <a:pt x="807" y="1304"/>
                  </a:lnTo>
                  <a:lnTo>
                    <a:pt x="777" y="1248"/>
                  </a:lnTo>
                  <a:lnTo>
                    <a:pt x="751" y="1282"/>
                  </a:lnTo>
                  <a:lnTo>
                    <a:pt x="745" y="1259"/>
                  </a:lnTo>
                  <a:lnTo>
                    <a:pt x="701" y="1259"/>
                  </a:lnTo>
                  <a:lnTo>
                    <a:pt x="689" y="1213"/>
                  </a:lnTo>
                  <a:lnTo>
                    <a:pt x="663" y="1213"/>
                  </a:lnTo>
                  <a:lnTo>
                    <a:pt x="658" y="1236"/>
                  </a:lnTo>
                  <a:lnTo>
                    <a:pt x="632" y="1248"/>
                  </a:lnTo>
                  <a:lnTo>
                    <a:pt x="620" y="1236"/>
                  </a:lnTo>
                  <a:lnTo>
                    <a:pt x="613" y="1269"/>
                  </a:lnTo>
                  <a:lnTo>
                    <a:pt x="601" y="1259"/>
                  </a:lnTo>
                  <a:lnTo>
                    <a:pt x="570" y="1269"/>
                  </a:lnTo>
                  <a:lnTo>
                    <a:pt x="557" y="1259"/>
                  </a:lnTo>
                  <a:lnTo>
                    <a:pt x="557" y="1269"/>
                  </a:lnTo>
                  <a:lnTo>
                    <a:pt x="570" y="1304"/>
                  </a:lnTo>
                  <a:lnTo>
                    <a:pt x="563" y="1327"/>
                  </a:lnTo>
                  <a:lnTo>
                    <a:pt x="563" y="1359"/>
                  </a:lnTo>
                  <a:lnTo>
                    <a:pt x="583" y="1359"/>
                  </a:lnTo>
                  <a:lnTo>
                    <a:pt x="589" y="1382"/>
                  </a:lnTo>
                  <a:lnTo>
                    <a:pt x="583" y="1405"/>
                  </a:lnTo>
                  <a:lnTo>
                    <a:pt x="570" y="1392"/>
                  </a:lnTo>
                  <a:lnTo>
                    <a:pt x="557" y="1405"/>
                  </a:lnTo>
                  <a:lnTo>
                    <a:pt x="551" y="1392"/>
                  </a:lnTo>
                  <a:lnTo>
                    <a:pt x="544" y="1371"/>
                  </a:lnTo>
                  <a:lnTo>
                    <a:pt x="533" y="1382"/>
                  </a:lnTo>
                  <a:lnTo>
                    <a:pt x="520" y="1371"/>
                  </a:lnTo>
                  <a:lnTo>
                    <a:pt x="514" y="1392"/>
                  </a:lnTo>
                  <a:lnTo>
                    <a:pt x="494" y="1392"/>
                  </a:lnTo>
                  <a:lnTo>
                    <a:pt x="488" y="1371"/>
                  </a:lnTo>
                  <a:lnTo>
                    <a:pt x="438" y="1371"/>
                  </a:lnTo>
                  <a:lnTo>
                    <a:pt x="433" y="1382"/>
                  </a:lnTo>
                  <a:lnTo>
                    <a:pt x="425" y="1382"/>
                  </a:lnTo>
                  <a:lnTo>
                    <a:pt x="419" y="1405"/>
                  </a:lnTo>
                  <a:lnTo>
                    <a:pt x="419" y="1427"/>
                  </a:lnTo>
                  <a:lnTo>
                    <a:pt x="414" y="1427"/>
                  </a:lnTo>
                  <a:lnTo>
                    <a:pt x="407" y="1405"/>
                  </a:lnTo>
                  <a:lnTo>
                    <a:pt x="400" y="1480"/>
                  </a:lnTo>
                  <a:lnTo>
                    <a:pt x="407" y="1503"/>
                  </a:lnTo>
                  <a:lnTo>
                    <a:pt x="407" y="1515"/>
                  </a:lnTo>
                  <a:lnTo>
                    <a:pt x="419" y="1515"/>
                  </a:lnTo>
                  <a:lnTo>
                    <a:pt x="425" y="1503"/>
                  </a:lnTo>
                  <a:lnTo>
                    <a:pt x="438" y="1538"/>
                  </a:lnTo>
                  <a:lnTo>
                    <a:pt x="445" y="1559"/>
                  </a:lnTo>
                  <a:lnTo>
                    <a:pt x="451" y="1582"/>
                  </a:lnTo>
                  <a:lnTo>
                    <a:pt x="464" y="1582"/>
                  </a:lnTo>
                  <a:lnTo>
                    <a:pt x="445" y="1603"/>
                  </a:lnTo>
                  <a:lnTo>
                    <a:pt x="438" y="1594"/>
                  </a:lnTo>
                  <a:lnTo>
                    <a:pt x="425" y="1672"/>
                  </a:lnTo>
                  <a:lnTo>
                    <a:pt x="438" y="1682"/>
                  </a:lnTo>
                  <a:lnTo>
                    <a:pt x="451" y="1761"/>
                  </a:lnTo>
                  <a:lnTo>
                    <a:pt x="438" y="1749"/>
                  </a:lnTo>
                  <a:lnTo>
                    <a:pt x="433" y="1738"/>
                  </a:lnTo>
                  <a:lnTo>
                    <a:pt x="419" y="1738"/>
                  </a:lnTo>
                  <a:lnTo>
                    <a:pt x="407" y="1726"/>
                  </a:lnTo>
                  <a:lnTo>
                    <a:pt x="400" y="1726"/>
                  </a:lnTo>
                  <a:lnTo>
                    <a:pt x="395" y="1693"/>
                  </a:lnTo>
                  <a:lnTo>
                    <a:pt x="376" y="1717"/>
                  </a:lnTo>
                  <a:lnTo>
                    <a:pt x="364" y="1705"/>
                  </a:lnTo>
                  <a:lnTo>
                    <a:pt x="350" y="1693"/>
                  </a:lnTo>
                  <a:lnTo>
                    <a:pt x="326" y="1672"/>
                  </a:lnTo>
                  <a:lnTo>
                    <a:pt x="300" y="1672"/>
                  </a:lnTo>
                  <a:lnTo>
                    <a:pt x="276" y="1638"/>
                  </a:lnTo>
                  <a:lnTo>
                    <a:pt x="295" y="1594"/>
                  </a:lnTo>
                  <a:lnTo>
                    <a:pt x="300" y="1571"/>
                  </a:lnTo>
                  <a:lnTo>
                    <a:pt x="300" y="1538"/>
                  </a:lnTo>
                  <a:lnTo>
                    <a:pt x="300" y="1515"/>
                  </a:lnTo>
                  <a:lnTo>
                    <a:pt x="313" y="1515"/>
                  </a:lnTo>
                  <a:lnTo>
                    <a:pt x="308" y="1471"/>
                  </a:lnTo>
                  <a:lnTo>
                    <a:pt x="295" y="1459"/>
                  </a:lnTo>
                  <a:lnTo>
                    <a:pt x="281" y="1450"/>
                  </a:lnTo>
                  <a:lnTo>
                    <a:pt x="276" y="1450"/>
                  </a:lnTo>
                  <a:lnTo>
                    <a:pt x="250" y="1436"/>
                  </a:lnTo>
                  <a:lnTo>
                    <a:pt x="231" y="1405"/>
                  </a:lnTo>
                  <a:lnTo>
                    <a:pt x="220" y="1382"/>
                  </a:lnTo>
                  <a:lnTo>
                    <a:pt x="213" y="1348"/>
                  </a:lnTo>
                  <a:lnTo>
                    <a:pt x="194" y="1336"/>
                  </a:lnTo>
                  <a:lnTo>
                    <a:pt x="181" y="1348"/>
                  </a:lnTo>
                  <a:lnTo>
                    <a:pt x="175" y="1359"/>
                  </a:lnTo>
                  <a:lnTo>
                    <a:pt x="175" y="1348"/>
                  </a:lnTo>
                  <a:lnTo>
                    <a:pt x="163" y="1327"/>
                  </a:lnTo>
                  <a:lnTo>
                    <a:pt x="181" y="1327"/>
                  </a:lnTo>
                  <a:lnTo>
                    <a:pt x="181" y="1313"/>
                  </a:lnTo>
                  <a:lnTo>
                    <a:pt x="175" y="1304"/>
                  </a:lnTo>
                  <a:lnTo>
                    <a:pt x="175" y="1292"/>
                  </a:lnTo>
                  <a:lnTo>
                    <a:pt x="163" y="1248"/>
                  </a:lnTo>
                  <a:lnTo>
                    <a:pt x="151" y="1213"/>
                  </a:lnTo>
                  <a:lnTo>
                    <a:pt x="138" y="1213"/>
                  </a:lnTo>
                  <a:lnTo>
                    <a:pt x="120" y="1213"/>
                  </a:lnTo>
                  <a:lnTo>
                    <a:pt x="113" y="1204"/>
                  </a:lnTo>
                  <a:lnTo>
                    <a:pt x="101" y="1204"/>
                  </a:lnTo>
                  <a:lnTo>
                    <a:pt x="94" y="1204"/>
                  </a:lnTo>
                  <a:lnTo>
                    <a:pt x="88" y="1213"/>
                  </a:lnTo>
                  <a:lnTo>
                    <a:pt x="82" y="1236"/>
                  </a:lnTo>
                  <a:lnTo>
                    <a:pt x="75" y="1259"/>
                  </a:lnTo>
                  <a:lnTo>
                    <a:pt x="69" y="1292"/>
                  </a:lnTo>
                  <a:lnTo>
                    <a:pt x="64" y="1282"/>
                  </a:lnTo>
                  <a:lnTo>
                    <a:pt x="64" y="1269"/>
                  </a:lnTo>
                  <a:lnTo>
                    <a:pt x="0" y="124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13" name="Freeform 633"/>
            <p:cNvSpPr>
              <a:spLocks/>
            </p:cNvSpPr>
            <p:nvPr>
              <p:custDataLst>
                <p:tags r:id="rId507"/>
              </p:custDataLst>
            </p:nvPr>
          </p:nvSpPr>
          <p:spPr bwMode="auto">
            <a:xfrm>
              <a:off x="4850061" y="1973263"/>
              <a:ext cx="3897312" cy="1397000"/>
            </a:xfrm>
            <a:custGeom>
              <a:avLst/>
              <a:gdLst>
                <a:gd name="T0" fmla="*/ 2147483647 w 2659"/>
                <a:gd name="T1" fmla="*/ 2147483647 h 1761"/>
                <a:gd name="T2" fmla="*/ 2147483647 w 2659"/>
                <a:gd name="T3" fmla="*/ 2147483647 h 1761"/>
                <a:gd name="T4" fmla="*/ 2147483647 w 2659"/>
                <a:gd name="T5" fmla="*/ 2147483647 h 1761"/>
                <a:gd name="T6" fmla="*/ 2147483647 w 2659"/>
                <a:gd name="T7" fmla="*/ 2147483647 h 1761"/>
                <a:gd name="T8" fmla="*/ 2147483647 w 2659"/>
                <a:gd name="T9" fmla="*/ 2147483647 h 1761"/>
                <a:gd name="T10" fmla="*/ 2147483647 w 2659"/>
                <a:gd name="T11" fmla="*/ 2147483647 h 1761"/>
                <a:gd name="T12" fmla="*/ 2147483647 w 2659"/>
                <a:gd name="T13" fmla="*/ 2147483647 h 1761"/>
                <a:gd name="T14" fmla="*/ 2147483647 w 2659"/>
                <a:gd name="T15" fmla="*/ 2147483647 h 1761"/>
                <a:gd name="T16" fmla="*/ 2147483647 w 2659"/>
                <a:gd name="T17" fmla="*/ 2147483647 h 1761"/>
                <a:gd name="T18" fmla="*/ 2147483647 w 2659"/>
                <a:gd name="T19" fmla="*/ 2147483647 h 1761"/>
                <a:gd name="T20" fmla="*/ 2147483647 w 2659"/>
                <a:gd name="T21" fmla="*/ 2147483647 h 1761"/>
                <a:gd name="T22" fmla="*/ 2147483647 w 2659"/>
                <a:gd name="T23" fmla="*/ 2147483647 h 1761"/>
                <a:gd name="T24" fmla="*/ 2147483647 w 2659"/>
                <a:gd name="T25" fmla="*/ 2147483647 h 1761"/>
                <a:gd name="T26" fmla="*/ 2147483647 w 2659"/>
                <a:gd name="T27" fmla="*/ 2147483647 h 1761"/>
                <a:gd name="T28" fmla="*/ 2147483647 w 2659"/>
                <a:gd name="T29" fmla="*/ 2147483647 h 1761"/>
                <a:gd name="T30" fmla="*/ 2147483647 w 2659"/>
                <a:gd name="T31" fmla="*/ 2147483647 h 1761"/>
                <a:gd name="T32" fmla="*/ 2147483647 w 2659"/>
                <a:gd name="T33" fmla="*/ 2147483647 h 1761"/>
                <a:gd name="T34" fmla="*/ 2147483647 w 2659"/>
                <a:gd name="T35" fmla="*/ 2147483647 h 1761"/>
                <a:gd name="T36" fmla="*/ 2147483647 w 2659"/>
                <a:gd name="T37" fmla="*/ 2147483647 h 1761"/>
                <a:gd name="T38" fmla="*/ 2147483647 w 2659"/>
                <a:gd name="T39" fmla="*/ 2147483647 h 1761"/>
                <a:gd name="T40" fmla="*/ 2147483647 w 2659"/>
                <a:gd name="T41" fmla="*/ 2147483647 h 1761"/>
                <a:gd name="T42" fmla="*/ 2147483647 w 2659"/>
                <a:gd name="T43" fmla="*/ 2147483647 h 1761"/>
                <a:gd name="T44" fmla="*/ 2147483647 w 2659"/>
                <a:gd name="T45" fmla="*/ 2147483647 h 1761"/>
                <a:gd name="T46" fmla="*/ 2147483647 w 2659"/>
                <a:gd name="T47" fmla="*/ 2147483647 h 1761"/>
                <a:gd name="T48" fmla="*/ 2147483647 w 2659"/>
                <a:gd name="T49" fmla="*/ 2147483647 h 1761"/>
                <a:gd name="T50" fmla="*/ 2147483647 w 2659"/>
                <a:gd name="T51" fmla="*/ 2147483647 h 1761"/>
                <a:gd name="T52" fmla="*/ 2147483647 w 2659"/>
                <a:gd name="T53" fmla="*/ 2147483647 h 1761"/>
                <a:gd name="T54" fmla="*/ 2147483647 w 2659"/>
                <a:gd name="T55" fmla="*/ 2147483647 h 1761"/>
                <a:gd name="T56" fmla="*/ 2147483647 w 2659"/>
                <a:gd name="T57" fmla="*/ 2147483647 h 1761"/>
                <a:gd name="T58" fmla="*/ 2147483647 w 2659"/>
                <a:gd name="T59" fmla="*/ 2147483647 h 1761"/>
                <a:gd name="T60" fmla="*/ 2147483647 w 2659"/>
                <a:gd name="T61" fmla="*/ 2147483647 h 1761"/>
                <a:gd name="T62" fmla="*/ 2147483647 w 2659"/>
                <a:gd name="T63" fmla="*/ 2147483647 h 1761"/>
                <a:gd name="T64" fmla="*/ 2147483647 w 2659"/>
                <a:gd name="T65" fmla="*/ 2147483647 h 1761"/>
                <a:gd name="T66" fmla="*/ 2147483647 w 2659"/>
                <a:gd name="T67" fmla="*/ 2147483647 h 1761"/>
                <a:gd name="T68" fmla="*/ 2147483647 w 2659"/>
                <a:gd name="T69" fmla="*/ 2147483647 h 1761"/>
                <a:gd name="T70" fmla="*/ 2147483647 w 2659"/>
                <a:gd name="T71" fmla="*/ 2147483647 h 1761"/>
                <a:gd name="T72" fmla="*/ 2147483647 w 2659"/>
                <a:gd name="T73" fmla="*/ 2147483647 h 1761"/>
                <a:gd name="T74" fmla="*/ 2147483647 w 2659"/>
                <a:gd name="T75" fmla="*/ 2147483647 h 1761"/>
                <a:gd name="T76" fmla="*/ 2147483647 w 2659"/>
                <a:gd name="T77" fmla="*/ 2147483647 h 1761"/>
                <a:gd name="T78" fmla="*/ 2147483647 w 2659"/>
                <a:gd name="T79" fmla="*/ 2147483647 h 1761"/>
                <a:gd name="T80" fmla="*/ 2147483647 w 2659"/>
                <a:gd name="T81" fmla="*/ 2147483647 h 1761"/>
                <a:gd name="T82" fmla="*/ 2147483647 w 2659"/>
                <a:gd name="T83" fmla="*/ 2147483647 h 1761"/>
                <a:gd name="T84" fmla="*/ 2147483647 w 2659"/>
                <a:gd name="T85" fmla="*/ 2147483647 h 1761"/>
                <a:gd name="T86" fmla="*/ 2147483647 w 2659"/>
                <a:gd name="T87" fmla="*/ 2147483647 h 1761"/>
                <a:gd name="T88" fmla="*/ 2147483647 w 2659"/>
                <a:gd name="T89" fmla="*/ 2147483647 h 1761"/>
                <a:gd name="T90" fmla="*/ 2147483647 w 2659"/>
                <a:gd name="T91" fmla="*/ 2147483647 h 1761"/>
                <a:gd name="T92" fmla="*/ 2147483647 w 2659"/>
                <a:gd name="T93" fmla="*/ 2147483647 h 1761"/>
                <a:gd name="T94" fmla="*/ 2147483647 w 2659"/>
                <a:gd name="T95" fmla="*/ 2147483647 h 1761"/>
                <a:gd name="T96" fmla="*/ 2147483647 w 2659"/>
                <a:gd name="T97" fmla="*/ 2147483647 h 1761"/>
                <a:gd name="T98" fmla="*/ 2147483647 w 2659"/>
                <a:gd name="T99" fmla="*/ 2147483647 h 1761"/>
                <a:gd name="T100" fmla="*/ 2147483647 w 2659"/>
                <a:gd name="T101" fmla="*/ 2147483647 h 1761"/>
                <a:gd name="T102" fmla="*/ 2147483647 w 2659"/>
                <a:gd name="T103" fmla="*/ 2147483647 h 1761"/>
                <a:gd name="T104" fmla="*/ 2147483647 w 2659"/>
                <a:gd name="T105" fmla="*/ 2147483647 h 1761"/>
                <a:gd name="T106" fmla="*/ 2147483647 w 2659"/>
                <a:gd name="T107" fmla="*/ 2147483647 h 1761"/>
                <a:gd name="T108" fmla="*/ 2147483647 w 2659"/>
                <a:gd name="T109" fmla="*/ 2147483647 h 1761"/>
                <a:gd name="T110" fmla="*/ 2147483647 w 2659"/>
                <a:gd name="T111" fmla="*/ 2147483647 h 1761"/>
                <a:gd name="T112" fmla="*/ 2147483647 w 2659"/>
                <a:gd name="T113" fmla="*/ 2147483647 h 1761"/>
                <a:gd name="T114" fmla="*/ 2147483647 w 2659"/>
                <a:gd name="T115" fmla="*/ 2147483647 h 17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659" h="1761">
                  <a:moveTo>
                    <a:pt x="0" y="1248"/>
                  </a:moveTo>
                  <a:lnTo>
                    <a:pt x="25" y="1213"/>
                  </a:lnTo>
                  <a:lnTo>
                    <a:pt x="19" y="1225"/>
                  </a:lnTo>
                  <a:lnTo>
                    <a:pt x="25" y="1236"/>
                  </a:lnTo>
                  <a:lnTo>
                    <a:pt x="25" y="1148"/>
                  </a:lnTo>
                  <a:lnTo>
                    <a:pt x="32" y="1113"/>
                  </a:lnTo>
                  <a:lnTo>
                    <a:pt x="44" y="1104"/>
                  </a:lnTo>
                  <a:lnTo>
                    <a:pt x="75" y="1137"/>
                  </a:lnTo>
                  <a:lnTo>
                    <a:pt x="75" y="1069"/>
                  </a:lnTo>
                  <a:lnTo>
                    <a:pt x="69" y="1069"/>
                  </a:lnTo>
                  <a:lnTo>
                    <a:pt x="64" y="1037"/>
                  </a:lnTo>
                  <a:lnTo>
                    <a:pt x="170" y="992"/>
                  </a:lnTo>
                  <a:lnTo>
                    <a:pt x="144" y="981"/>
                  </a:lnTo>
                  <a:lnTo>
                    <a:pt x="144" y="967"/>
                  </a:lnTo>
                  <a:lnTo>
                    <a:pt x="125" y="967"/>
                  </a:lnTo>
                  <a:lnTo>
                    <a:pt x="189" y="870"/>
                  </a:lnTo>
                  <a:lnTo>
                    <a:pt x="163" y="758"/>
                  </a:lnTo>
                  <a:lnTo>
                    <a:pt x="170" y="701"/>
                  </a:lnTo>
                  <a:lnTo>
                    <a:pt x="151" y="647"/>
                  </a:lnTo>
                  <a:lnTo>
                    <a:pt x="163" y="612"/>
                  </a:lnTo>
                  <a:lnTo>
                    <a:pt x="144" y="568"/>
                  </a:lnTo>
                  <a:lnTo>
                    <a:pt x="151" y="533"/>
                  </a:lnTo>
                  <a:lnTo>
                    <a:pt x="175" y="489"/>
                  </a:lnTo>
                  <a:lnTo>
                    <a:pt x="194" y="489"/>
                  </a:lnTo>
                  <a:lnTo>
                    <a:pt x="213" y="503"/>
                  </a:lnTo>
                  <a:lnTo>
                    <a:pt x="194" y="503"/>
                  </a:lnTo>
                  <a:lnTo>
                    <a:pt x="213" y="524"/>
                  </a:lnTo>
                  <a:lnTo>
                    <a:pt x="257" y="524"/>
                  </a:lnTo>
                  <a:lnTo>
                    <a:pt x="338" y="612"/>
                  </a:lnTo>
                  <a:lnTo>
                    <a:pt x="338" y="656"/>
                  </a:lnTo>
                  <a:lnTo>
                    <a:pt x="308" y="691"/>
                  </a:lnTo>
                  <a:lnTo>
                    <a:pt x="194" y="647"/>
                  </a:lnTo>
                  <a:lnTo>
                    <a:pt x="239" y="701"/>
                  </a:lnTo>
                  <a:lnTo>
                    <a:pt x="239" y="779"/>
                  </a:lnTo>
                  <a:lnTo>
                    <a:pt x="281" y="814"/>
                  </a:lnTo>
                  <a:lnTo>
                    <a:pt x="295" y="802"/>
                  </a:lnTo>
                  <a:lnTo>
                    <a:pt x="289" y="779"/>
                  </a:lnTo>
                  <a:lnTo>
                    <a:pt x="269" y="770"/>
                  </a:lnTo>
                  <a:lnTo>
                    <a:pt x="276" y="747"/>
                  </a:lnTo>
                  <a:lnTo>
                    <a:pt x="295" y="770"/>
                  </a:lnTo>
                  <a:lnTo>
                    <a:pt x="338" y="779"/>
                  </a:lnTo>
                  <a:lnTo>
                    <a:pt x="313" y="724"/>
                  </a:lnTo>
                  <a:lnTo>
                    <a:pt x="358" y="668"/>
                  </a:lnTo>
                  <a:lnTo>
                    <a:pt x="388" y="701"/>
                  </a:lnTo>
                  <a:lnTo>
                    <a:pt x="382" y="578"/>
                  </a:lnTo>
                  <a:lnTo>
                    <a:pt x="376" y="556"/>
                  </a:lnTo>
                  <a:lnTo>
                    <a:pt x="419" y="578"/>
                  </a:lnTo>
                  <a:lnTo>
                    <a:pt x="425" y="601"/>
                  </a:lnTo>
                  <a:lnTo>
                    <a:pt x="395" y="624"/>
                  </a:lnTo>
                  <a:lnTo>
                    <a:pt x="425" y="656"/>
                  </a:lnTo>
                  <a:lnTo>
                    <a:pt x="445" y="612"/>
                  </a:lnTo>
                  <a:lnTo>
                    <a:pt x="539" y="533"/>
                  </a:lnTo>
                  <a:lnTo>
                    <a:pt x="551" y="533"/>
                  </a:lnTo>
                  <a:lnTo>
                    <a:pt x="539" y="547"/>
                  </a:lnTo>
                  <a:lnTo>
                    <a:pt x="551" y="578"/>
                  </a:lnTo>
                  <a:lnTo>
                    <a:pt x="613" y="533"/>
                  </a:lnTo>
                  <a:lnTo>
                    <a:pt x="632" y="568"/>
                  </a:lnTo>
                  <a:lnTo>
                    <a:pt x="644" y="547"/>
                  </a:lnTo>
                  <a:lnTo>
                    <a:pt x="639" y="503"/>
                  </a:lnTo>
                  <a:lnTo>
                    <a:pt x="644" y="489"/>
                  </a:lnTo>
                  <a:lnTo>
                    <a:pt x="695" y="512"/>
                  </a:lnTo>
                  <a:lnTo>
                    <a:pt x="764" y="578"/>
                  </a:lnTo>
                  <a:lnTo>
                    <a:pt x="777" y="547"/>
                  </a:lnTo>
                  <a:lnTo>
                    <a:pt x="758" y="512"/>
                  </a:lnTo>
                  <a:lnTo>
                    <a:pt x="739" y="503"/>
                  </a:lnTo>
                  <a:lnTo>
                    <a:pt x="745" y="445"/>
                  </a:lnTo>
                  <a:lnTo>
                    <a:pt x="732" y="434"/>
                  </a:lnTo>
                  <a:lnTo>
                    <a:pt x="739" y="411"/>
                  </a:lnTo>
                  <a:lnTo>
                    <a:pt x="764" y="380"/>
                  </a:lnTo>
                  <a:lnTo>
                    <a:pt x="777" y="311"/>
                  </a:lnTo>
                  <a:lnTo>
                    <a:pt x="814" y="311"/>
                  </a:lnTo>
                  <a:lnTo>
                    <a:pt x="827" y="311"/>
                  </a:lnTo>
                  <a:lnTo>
                    <a:pt x="814" y="389"/>
                  </a:lnTo>
                  <a:lnTo>
                    <a:pt x="827" y="424"/>
                  </a:lnTo>
                  <a:lnTo>
                    <a:pt x="827" y="533"/>
                  </a:lnTo>
                  <a:lnTo>
                    <a:pt x="838" y="568"/>
                  </a:lnTo>
                  <a:lnTo>
                    <a:pt x="838" y="612"/>
                  </a:lnTo>
                  <a:lnTo>
                    <a:pt x="807" y="635"/>
                  </a:lnTo>
                  <a:lnTo>
                    <a:pt x="819" y="647"/>
                  </a:lnTo>
                  <a:lnTo>
                    <a:pt x="783" y="656"/>
                  </a:lnTo>
                  <a:lnTo>
                    <a:pt x="819" y="691"/>
                  </a:lnTo>
                  <a:lnTo>
                    <a:pt x="857" y="612"/>
                  </a:lnTo>
                  <a:lnTo>
                    <a:pt x="857" y="556"/>
                  </a:lnTo>
                  <a:lnTo>
                    <a:pt x="870" y="547"/>
                  </a:lnTo>
                  <a:lnTo>
                    <a:pt x="888" y="533"/>
                  </a:lnTo>
                  <a:lnTo>
                    <a:pt x="902" y="568"/>
                  </a:lnTo>
                  <a:lnTo>
                    <a:pt x="902" y="601"/>
                  </a:lnTo>
                  <a:lnTo>
                    <a:pt x="926" y="612"/>
                  </a:lnTo>
                  <a:lnTo>
                    <a:pt x="907" y="601"/>
                  </a:lnTo>
                  <a:lnTo>
                    <a:pt x="914" y="578"/>
                  </a:lnTo>
                  <a:lnTo>
                    <a:pt x="907" y="547"/>
                  </a:lnTo>
                  <a:lnTo>
                    <a:pt x="845" y="524"/>
                  </a:lnTo>
                  <a:lnTo>
                    <a:pt x="857" y="445"/>
                  </a:lnTo>
                  <a:lnTo>
                    <a:pt x="838" y="389"/>
                  </a:lnTo>
                  <a:lnTo>
                    <a:pt x="864" y="345"/>
                  </a:lnTo>
                  <a:lnTo>
                    <a:pt x="864" y="311"/>
                  </a:lnTo>
                  <a:lnTo>
                    <a:pt x="876" y="334"/>
                  </a:lnTo>
                  <a:lnTo>
                    <a:pt x="870" y="401"/>
                  </a:lnTo>
                  <a:lnTo>
                    <a:pt x="876" y="411"/>
                  </a:lnTo>
                  <a:lnTo>
                    <a:pt x="920" y="424"/>
                  </a:lnTo>
                  <a:lnTo>
                    <a:pt x="883" y="366"/>
                  </a:lnTo>
                  <a:lnTo>
                    <a:pt x="907" y="380"/>
                  </a:lnTo>
                  <a:lnTo>
                    <a:pt x="902" y="357"/>
                  </a:lnTo>
                  <a:lnTo>
                    <a:pt x="920" y="345"/>
                  </a:lnTo>
                  <a:lnTo>
                    <a:pt x="994" y="389"/>
                  </a:lnTo>
                  <a:lnTo>
                    <a:pt x="983" y="411"/>
                  </a:lnTo>
                  <a:lnTo>
                    <a:pt x="976" y="457"/>
                  </a:lnTo>
                  <a:lnTo>
                    <a:pt x="994" y="480"/>
                  </a:lnTo>
                  <a:lnTo>
                    <a:pt x="1002" y="389"/>
                  </a:lnTo>
                  <a:lnTo>
                    <a:pt x="957" y="334"/>
                  </a:lnTo>
                  <a:lnTo>
                    <a:pt x="952" y="278"/>
                  </a:lnTo>
                  <a:lnTo>
                    <a:pt x="1044" y="245"/>
                  </a:lnTo>
                  <a:lnTo>
                    <a:pt x="1032" y="188"/>
                  </a:lnTo>
                  <a:lnTo>
                    <a:pt x="1044" y="201"/>
                  </a:lnTo>
                  <a:lnTo>
                    <a:pt x="1063" y="178"/>
                  </a:lnTo>
                  <a:lnTo>
                    <a:pt x="1052" y="178"/>
                  </a:lnTo>
                  <a:lnTo>
                    <a:pt x="1151" y="122"/>
                  </a:lnTo>
                  <a:lnTo>
                    <a:pt x="1146" y="111"/>
                  </a:lnTo>
                  <a:lnTo>
                    <a:pt x="1188" y="99"/>
                  </a:lnTo>
                  <a:lnTo>
                    <a:pt x="1188" y="122"/>
                  </a:lnTo>
                  <a:lnTo>
                    <a:pt x="1201" y="122"/>
                  </a:lnTo>
                  <a:lnTo>
                    <a:pt x="1233" y="99"/>
                  </a:lnTo>
                  <a:lnTo>
                    <a:pt x="1252" y="111"/>
                  </a:lnTo>
                  <a:lnTo>
                    <a:pt x="1233" y="90"/>
                  </a:lnTo>
                  <a:lnTo>
                    <a:pt x="1270" y="78"/>
                  </a:lnTo>
                  <a:lnTo>
                    <a:pt x="1277" y="44"/>
                  </a:lnTo>
                  <a:lnTo>
                    <a:pt x="1314" y="0"/>
                  </a:lnTo>
                  <a:lnTo>
                    <a:pt x="1352" y="34"/>
                  </a:lnTo>
                  <a:lnTo>
                    <a:pt x="1321" y="55"/>
                  </a:lnTo>
                  <a:lnTo>
                    <a:pt x="1371" y="55"/>
                  </a:lnTo>
                  <a:lnTo>
                    <a:pt x="1352" y="90"/>
                  </a:lnTo>
                  <a:lnTo>
                    <a:pt x="1427" y="65"/>
                  </a:lnTo>
                  <a:lnTo>
                    <a:pt x="1471" y="122"/>
                  </a:lnTo>
                  <a:lnTo>
                    <a:pt x="1463" y="144"/>
                  </a:lnTo>
                  <a:lnTo>
                    <a:pt x="1452" y="122"/>
                  </a:lnTo>
                  <a:lnTo>
                    <a:pt x="1471" y="144"/>
                  </a:lnTo>
                  <a:lnTo>
                    <a:pt x="1458" y="178"/>
                  </a:lnTo>
                  <a:lnTo>
                    <a:pt x="1314" y="334"/>
                  </a:lnTo>
                  <a:lnTo>
                    <a:pt x="1364" y="311"/>
                  </a:lnTo>
                  <a:lnTo>
                    <a:pt x="1352" y="290"/>
                  </a:lnTo>
                  <a:lnTo>
                    <a:pt x="1427" y="266"/>
                  </a:lnTo>
                  <a:lnTo>
                    <a:pt x="1402" y="266"/>
                  </a:lnTo>
                  <a:lnTo>
                    <a:pt x="1408" y="245"/>
                  </a:lnTo>
                  <a:lnTo>
                    <a:pt x="1452" y="266"/>
                  </a:lnTo>
                  <a:lnTo>
                    <a:pt x="1452" y="245"/>
                  </a:lnTo>
                  <a:lnTo>
                    <a:pt x="1463" y="290"/>
                  </a:lnTo>
                  <a:lnTo>
                    <a:pt x="1482" y="290"/>
                  </a:lnTo>
                  <a:lnTo>
                    <a:pt x="1463" y="278"/>
                  </a:lnTo>
                  <a:lnTo>
                    <a:pt x="1502" y="266"/>
                  </a:lnTo>
                  <a:lnTo>
                    <a:pt x="1546" y="278"/>
                  </a:lnTo>
                  <a:lnTo>
                    <a:pt x="1546" y="290"/>
                  </a:lnTo>
                  <a:lnTo>
                    <a:pt x="1583" y="311"/>
                  </a:lnTo>
                  <a:lnTo>
                    <a:pt x="1615" y="301"/>
                  </a:lnTo>
                  <a:lnTo>
                    <a:pt x="1615" y="257"/>
                  </a:lnTo>
                  <a:lnTo>
                    <a:pt x="1627" y="257"/>
                  </a:lnTo>
                  <a:lnTo>
                    <a:pt x="1715" y="301"/>
                  </a:lnTo>
                  <a:lnTo>
                    <a:pt x="1702" y="389"/>
                  </a:lnTo>
                  <a:lnTo>
                    <a:pt x="1740" y="445"/>
                  </a:lnTo>
                  <a:lnTo>
                    <a:pt x="1765" y="366"/>
                  </a:lnTo>
                  <a:lnTo>
                    <a:pt x="1776" y="401"/>
                  </a:lnTo>
                  <a:lnTo>
                    <a:pt x="1808" y="389"/>
                  </a:lnTo>
                  <a:lnTo>
                    <a:pt x="1845" y="411"/>
                  </a:lnTo>
                  <a:lnTo>
                    <a:pt x="1877" y="401"/>
                  </a:lnTo>
                  <a:lnTo>
                    <a:pt x="1877" y="366"/>
                  </a:lnTo>
                  <a:lnTo>
                    <a:pt x="1896" y="311"/>
                  </a:lnTo>
                  <a:lnTo>
                    <a:pt x="2027" y="357"/>
                  </a:lnTo>
                  <a:lnTo>
                    <a:pt x="2034" y="380"/>
                  </a:lnTo>
                  <a:lnTo>
                    <a:pt x="2015" y="389"/>
                  </a:lnTo>
                  <a:lnTo>
                    <a:pt x="2059" y="401"/>
                  </a:lnTo>
                  <a:lnTo>
                    <a:pt x="2071" y="434"/>
                  </a:lnTo>
                  <a:lnTo>
                    <a:pt x="2171" y="424"/>
                  </a:lnTo>
                  <a:lnTo>
                    <a:pt x="2190" y="457"/>
                  </a:lnTo>
                  <a:lnTo>
                    <a:pt x="2184" y="489"/>
                  </a:lnTo>
                  <a:lnTo>
                    <a:pt x="2209" y="512"/>
                  </a:lnTo>
                  <a:lnTo>
                    <a:pt x="2227" y="503"/>
                  </a:lnTo>
                  <a:lnTo>
                    <a:pt x="2296" y="512"/>
                  </a:lnTo>
                  <a:lnTo>
                    <a:pt x="2309" y="489"/>
                  </a:lnTo>
                  <a:lnTo>
                    <a:pt x="2321" y="524"/>
                  </a:lnTo>
                  <a:lnTo>
                    <a:pt x="2346" y="547"/>
                  </a:lnTo>
                  <a:lnTo>
                    <a:pt x="2359" y="533"/>
                  </a:lnTo>
                  <a:lnTo>
                    <a:pt x="2346" y="503"/>
                  </a:lnTo>
                  <a:lnTo>
                    <a:pt x="2353" y="480"/>
                  </a:lnTo>
                  <a:lnTo>
                    <a:pt x="2472" y="512"/>
                  </a:lnTo>
                  <a:lnTo>
                    <a:pt x="2553" y="612"/>
                  </a:lnTo>
                  <a:lnTo>
                    <a:pt x="2571" y="612"/>
                  </a:lnTo>
                  <a:lnTo>
                    <a:pt x="2590" y="679"/>
                  </a:lnTo>
                  <a:lnTo>
                    <a:pt x="2584" y="647"/>
                  </a:lnTo>
                  <a:lnTo>
                    <a:pt x="2596" y="635"/>
                  </a:lnTo>
                  <a:lnTo>
                    <a:pt x="2603" y="656"/>
                  </a:lnTo>
                  <a:lnTo>
                    <a:pt x="2629" y="647"/>
                  </a:lnTo>
                  <a:lnTo>
                    <a:pt x="2659" y="691"/>
                  </a:lnTo>
                  <a:lnTo>
                    <a:pt x="2615" y="735"/>
                  </a:lnTo>
                  <a:lnTo>
                    <a:pt x="2621" y="758"/>
                  </a:lnTo>
                  <a:lnTo>
                    <a:pt x="2609" y="770"/>
                  </a:lnTo>
                  <a:lnTo>
                    <a:pt x="2621" y="779"/>
                  </a:lnTo>
                  <a:lnTo>
                    <a:pt x="2590" y="779"/>
                  </a:lnTo>
                  <a:lnTo>
                    <a:pt x="2584" y="758"/>
                  </a:lnTo>
                  <a:lnTo>
                    <a:pt x="2571" y="770"/>
                  </a:lnTo>
                  <a:lnTo>
                    <a:pt x="2553" y="724"/>
                  </a:lnTo>
                  <a:lnTo>
                    <a:pt x="2521" y="724"/>
                  </a:lnTo>
                  <a:lnTo>
                    <a:pt x="2515" y="691"/>
                  </a:lnTo>
                  <a:lnTo>
                    <a:pt x="2521" y="679"/>
                  </a:lnTo>
                  <a:lnTo>
                    <a:pt x="2509" y="679"/>
                  </a:lnTo>
                  <a:lnTo>
                    <a:pt x="2503" y="691"/>
                  </a:lnTo>
                  <a:lnTo>
                    <a:pt x="2509" y="724"/>
                  </a:lnTo>
                  <a:lnTo>
                    <a:pt x="2503" y="747"/>
                  </a:lnTo>
                  <a:lnTo>
                    <a:pt x="2478" y="770"/>
                  </a:lnTo>
                  <a:lnTo>
                    <a:pt x="2459" y="770"/>
                  </a:lnTo>
                  <a:lnTo>
                    <a:pt x="2490" y="846"/>
                  </a:lnTo>
                  <a:lnTo>
                    <a:pt x="2484" y="879"/>
                  </a:lnTo>
                  <a:lnTo>
                    <a:pt x="2453" y="858"/>
                  </a:lnTo>
                  <a:lnTo>
                    <a:pt x="2453" y="870"/>
                  </a:lnTo>
                  <a:lnTo>
                    <a:pt x="2396" y="914"/>
                  </a:lnTo>
                  <a:lnTo>
                    <a:pt x="2346" y="1002"/>
                  </a:lnTo>
                  <a:lnTo>
                    <a:pt x="2314" y="967"/>
                  </a:lnTo>
                  <a:lnTo>
                    <a:pt x="2284" y="1002"/>
                  </a:lnTo>
                  <a:lnTo>
                    <a:pt x="2284" y="967"/>
                  </a:lnTo>
                  <a:lnTo>
                    <a:pt x="2265" y="1002"/>
                  </a:lnTo>
                  <a:lnTo>
                    <a:pt x="2245" y="1002"/>
                  </a:lnTo>
                  <a:lnTo>
                    <a:pt x="2221" y="1090"/>
                  </a:lnTo>
                  <a:lnTo>
                    <a:pt x="2240" y="1104"/>
                  </a:lnTo>
                  <a:lnTo>
                    <a:pt x="2234" y="1137"/>
                  </a:lnTo>
                  <a:lnTo>
                    <a:pt x="2240" y="1181"/>
                  </a:lnTo>
                  <a:lnTo>
                    <a:pt x="2221" y="1169"/>
                  </a:lnTo>
                  <a:lnTo>
                    <a:pt x="2215" y="1204"/>
                  </a:lnTo>
                  <a:lnTo>
                    <a:pt x="2221" y="1236"/>
                  </a:lnTo>
                  <a:lnTo>
                    <a:pt x="2184" y="1269"/>
                  </a:lnTo>
                  <a:lnTo>
                    <a:pt x="2190" y="1313"/>
                  </a:lnTo>
                  <a:lnTo>
                    <a:pt x="2165" y="1313"/>
                  </a:lnTo>
                  <a:lnTo>
                    <a:pt x="2158" y="1359"/>
                  </a:lnTo>
                  <a:lnTo>
                    <a:pt x="2140" y="1405"/>
                  </a:lnTo>
                  <a:lnTo>
                    <a:pt x="2121" y="1236"/>
                  </a:lnTo>
                  <a:lnTo>
                    <a:pt x="2121" y="1148"/>
                  </a:lnTo>
                  <a:lnTo>
                    <a:pt x="2140" y="1104"/>
                  </a:lnTo>
                  <a:lnTo>
                    <a:pt x="2165" y="1090"/>
                  </a:lnTo>
                  <a:lnTo>
                    <a:pt x="2221" y="981"/>
                  </a:lnTo>
                  <a:lnTo>
                    <a:pt x="2245" y="958"/>
                  </a:lnTo>
                  <a:lnTo>
                    <a:pt x="2252" y="893"/>
                  </a:lnTo>
                  <a:lnTo>
                    <a:pt x="2265" y="879"/>
                  </a:lnTo>
                  <a:lnTo>
                    <a:pt x="2245" y="870"/>
                  </a:lnTo>
                  <a:lnTo>
                    <a:pt x="2240" y="923"/>
                  </a:lnTo>
                  <a:lnTo>
                    <a:pt x="2190" y="967"/>
                  </a:lnTo>
                  <a:lnTo>
                    <a:pt x="2196" y="902"/>
                  </a:lnTo>
                  <a:lnTo>
                    <a:pt x="2146" y="914"/>
                  </a:lnTo>
                  <a:lnTo>
                    <a:pt x="2096" y="1002"/>
                  </a:lnTo>
                  <a:lnTo>
                    <a:pt x="2109" y="1037"/>
                  </a:lnTo>
                  <a:lnTo>
                    <a:pt x="2059" y="1046"/>
                  </a:lnTo>
                  <a:lnTo>
                    <a:pt x="2052" y="1037"/>
                  </a:lnTo>
                  <a:lnTo>
                    <a:pt x="2065" y="1037"/>
                  </a:lnTo>
                  <a:lnTo>
                    <a:pt x="2027" y="1014"/>
                  </a:lnTo>
                  <a:lnTo>
                    <a:pt x="2015" y="1037"/>
                  </a:lnTo>
                  <a:lnTo>
                    <a:pt x="1921" y="1037"/>
                  </a:lnTo>
                  <a:lnTo>
                    <a:pt x="1802" y="1236"/>
                  </a:lnTo>
                  <a:lnTo>
                    <a:pt x="1827" y="1248"/>
                  </a:lnTo>
                  <a:lnTo>
                    <a:pt x="1827" y="1282"/>
                  </a:lnTo>
                  <a:lnTo>
                    <a:pt x="1840" y="1259"/>
                  </a:lnTo>
                  <a:lnTo>
                    <a:pt x="1840" y="1292"/>
                  </a:lnTo>
                  <a:lnTo>
                    <a:pt x="1852" y="1269"/>
                  </a:lnTo>
                  <a:lnTo>
                    <a:pt x="1852" y="1292"/>
                  </a:lnTo>
                  <a:lnTo>
                    <a:pt x="1858" y="1259"/>
                  </a:lnTo>
                  <a:lnTo>
                    <a:pt x="1877" y="1259"/>
                  </a:lnTo>
                  <a:lnTo>
                    <a:pt x="1896" y="1304"/>
                  </a:lnTo>
                  <a:lnTo>
                    <a:pt x="1877" y="1304"/>
                  </a:lnTo>
                  <a:lnTo>
                    <a:pt x="1896" y="1327"/>
                  </a:lnTo>
                  <a:lnTo>
                    <a:pt x="1902" y="1348"/>
                  </a:lnTo>
                  <a:lnTo>
                    <a:pt x="1883" y="1415"/>
                  </a:lnTo>
                  <a:lnTo>
                    <a:pt x="1883" y="1503"/>
                  </a:lnTo>
                  <a:lnTo>
                    <a:pt x="1802" y="1705"/>
                  </a:lnTo>
                  <a:lnTo>
                    <a:pt x="1776" y="1738"/>
                  </a:lnTo>
                  <a:lnTo>
                    <a:pt x="1752" y="1705"/>
                  </a:lnTo>
                  <a:lnTo>
                    <a:pt x="1733" y="1749"/>
                  </a:lnTo>
                  <a:lnTo>
                    <a:pt x="1733" y="1738"/>
                  </a:lnTo>
                  <a:lnTo>
                    <a:pt x="1740" y="1705"/>
                  </a:lnTo>
                  <a:lnTo>
                    <a:pt x="1740" y="1661"/>
                  </a:lnTo>
                  <a:lnTo>
                    <a:pt x="1771" y="1638"/>
                  </a:lnTo>
                  <a:lnTo>
                    <a:pt x="1796" y="1503"/>
                  </a:lnTo>
                  <a:lnTo>
                    <a:pt x="1740" y="1538"/>
                  </a:lnTo>
                  <a:lnTo>
                    <a:pt x="1733" y="1480"/>
                  </a:lnTo>
                  <a:lnTo>
                    <a:pt x="1683" y="1459"/>
                  </a:lnTo>
                  <a:lnTo>
                    <a:pt x="1652" y="1313"/>
                  </a:lnTo>
                  <a:lnTo>
                    <a:pt x="1620" y="1292"/>
                  </a:lnTo>
                  <a:lnTo>
                    <a:pt x="1565" y="1327"/>
                  </a:lnTo>
                  <a:lnTo>
                    <a:pt x="1577" y="1359"/>
                  </a:lnTo>
                  <a:lnTo>
                    <a:pt x="1551" y="1436"/>
                  </a:lnTo>
                  <a:lnTo>
                    <a:pt x="1532" y="1459"/>
                  </a:lnTo>
                  <a:lnTo>
                    <a:pt x="1508" y="1450"/>
                  </a:lnTo>
                  <a:lnTo>
                    <a:pt x="1482" y="1436"/>
                  </a:lnTo>
                  <a:lnTo>
                    <a:pt x="1408" y="1471"/>
                  </a:lnTo>
                  <a:lnTo>
                    <a:pt x="1339" y="1415"/>
                  </a:lnTo>
                  <a:lnTo>
                    <a:pt x="1302" y="1427"/>
                  </a:lnTo>
                  <a:lnTo>
                    <a:pt x="1283" y="1382"/>
                  </a:lnTo>
                  <a:lnTo>
                    <a:pt x="1246" y="1348"/>
                  </a:lnTo>
                  <a:lnTo>
                    <a:pt x="1220" y="1382"/>
                  </a:lnTo>
                  <a:lnTo>
                    <a:pt x="1220" y="1436"/>
                  </a:lnTo>
                  <a:lnTo>
                    <a:pt x="1127" y="1415"/>
                  </a:lnTo>
                  <a:lnTo>
                    <a:pt x="1077" y="1471"/>
                  </a:lnTo>
                  <a:lnTo>
                    <a:pt x="1052" y="1494"/>
                  </a:lnTo>
                  <a:lnTo>
                    <a:pt x="1020" y="1450"/>
                  </a:lnTo>
                  <a:lnTo>
                    <a:pt x="994" y="1471"/>
                  </a:lnTo>
                  <a:lnTo>
                    <a:pt x="957" y="1450"/>
                  </a:lnTo>
                  <a:lnTo>
                    <a:pt x="944" y="1436"/>
                  </a:lnTo>
                  <a:lnTo>
                    <a:pt x="933" y="1392"/>
                  </a:lnTo>
                  <a:lnTo>
                    <a:pt x="907" y="1392"/>
                  </a:lnTo>
                  <a:lnTo>
                    <a:pt x="902" y="1405"/>
                  </a:lnTo>
                  <a:lnTo>
                    <a:pt x="883" y="1371"/>
                  </a:lnTo>
                  <a:lnTo>
                    <a:pt x="870" y="1371"/>
                  </a:lnTo>
                  <a:lnTo>
                    <a:pt x="864" y="1382"/>
                  </a:lnTo>
                  <a:lnTo>
                    <a:pt x="819" y="1313"/>
                  </a:lnTo>
                  <a:lnTo>
                    <a:pt x="807" y="1304"/>
                  </a:lnTo>
                  <a:lnTo>
                    <a:pt x="777" y="1248"/>
                  </a:lnTo>
                  <a:lnTo>
                    <a:pt x="751" y="1282"/>
                  </a:lnTo>
                  <a:lnTo>
                    <a:pt x="745" y="1259"/>
                  </a:lnTo>
                  <a:lnTo>
                    <a:pt x="701" y="1259"/>
                  </a:lnTo>
                  <a:lnTo>
                    <a:pt x="689" y="1213"/>
                  </a:lnTo>
                  <a:lnTo>
                    <a:pt x="663" y="1213"/>
                  </a:lnTo>
                  <a:lnTo>
                    <a:pt x="658" y="1236"/>
                  </a:lnTo>
                  <a:lnTo>
                    <a:pt x="632" y="1248"/>
                  </a:lnTo>
                  <a:lnTo>
                    <a:pt x="620" y="1236"/>
                  </a:lnTo>
                  <a:lnTo>
                    <a:pt x="613" y="1269"/>
                  </a:lnTo>
                  <a:lnTo>
                    <a:pt x="601" y="1259"/>
                  </a:lnTo>
                  <a:lnTo>
                    <a:pt x="570" y="1269"/>
                  </a:lnTo>
                  <a:lnTo>
                    <a:pt x="557" y="1259"/>
                  </a:lnTo>
                  <a:lnTo>
                    <a:pt x="557" y="1269"/>
                  </a:lnTo>
                  <a:lnTo>
                    <a:pt x="570" y="1304"/>
                  </a:lnTo>
                  <a:lnTo>
                    <a:pt x="563" y="1327"/>
                  </a:lnTo>
                  <a:lnTo>
                    <a:pt x="563" y="1359"/>
                  </a:lnTo>
                  <a:lnTo>
                    <a:pt x="583" y="1359"/>
                  </a:lnTo>
                  <a:lnTo>
                    <a:pt x="589" y="1382"/>
                  </a:lnTo>
                  <a:lnTo>
                    <a:pt x="583" y="1405"/>
                  </a:lnTo>
                  <a:lnTo>
                    <a:pt x="570" y="1392"/>
                  </a:lnTo>
                  <a:lnTo>
                    <a:pt x="557" y="1405"/>
                  </a:lnTo>
                  <a:lnTo>
                    <a:pt x="551" y="1392"/>
                  </a:lnTo>
                  <a:lnTo>
                    <a:pt x="544" y="1371"/>
                  </a:lnTo>
                  <a:lnTo>
                    <a:pt x="533" y="1382"/>
                  </a:lnTo>
                  <a:lnTo>
                    <a:pt x="520" y="1371"/>
                  </a:lnTo>
                  <a:lnTo>
                    <a:pt x="514" y="1392"/>
                  </a:lnTo>
                  <a:lnTo>
                    <a:pt x="494" y="1392"/>
                  </a:lnTo>
                  <a:lnTo>
                    <a:pt x="488" y="1371"/>
                  </a:lnTo>
                  <a:lnTo>
                    <a:pt x="438" y="1371"/>
                  </a:lnTo>
                  <a:lnTo>
                    <a:pt x="433" y="1382"/>
                  </a:lnTo>
                  <a:lnTo>
                    <a:pt x="425" y="1382"/>
                  </a:lnTo>
                  <a:lnTo>
                    <a:pt x="419" y="1405"/>
                  </a:lnTo>
                  <a:lnTo>
                    <a:pt x="419" y="1427"/>
                  </a:lnTo>
                  <a:lnTo>
                    <a:pt x="414" y="1427"/>
                  </a:lnTo>
                  <a:lnTo>
                    <a:pt x="407" y="1405"/>
                  </a:lnTo>
                  <a:lnTo>
                    <a:pt x="400" y="1480"/>
                  </a:lnTo>
                  <a:lnTo>
                    <a:pt x="407" y="1503"/>
                  </a:lnTo>
                  <a:lnTo>
                    <a:pt x="407" y="1515"/>
                  </a:lnTo>
                  <a:lnTo>
                    <a:pt x="419" y="1515"/>
                  </a:lnTo>
                  <a:lnTo>
                    <a:pt x="425" y="1503"/>
                  </a:lnTo>
                  <a:lnTo>
                    <a:pt x="438" y="1538"/>
                  </a:lnTo>
                  <a:lnTo>
                    <a:pt x="445" y="1559"/>
                  </a:lnTo>
                  <a:lnTo>
                    <a:pt x="451" y="1582"/>
                  </a:lnTo>
                  <a:lnTo>
                    <a:pt x="464" y="1582"/>
                  </a:lnTo>
                  <a:lnTo>
                    <a:pt x="445" y="1603"/>
                  </a:lnTo>
                  <a:lnTo>
                    <a:pt x="438" y="1594"/>
                  </a:lnTo>
                  <a:lnTo>
                    <a:pt x="425" y="1672"/>
                  </a:lnTo>
                  <a:lnTo>
                    <a:pt x="438" y="1682"/>
                  </a:lnTo>
                  <a:lnTo>
                    <a:pt x="451" y="1761"/>
                  </a:lnTo>
                  <a:lnTo>
                    <a:pt x="438" y="1749"/>
                  </a:lnTo>
                  <a:lnTo>
                    <a:pt x="433" y="1738"/>
                  </a:lnTo>
                  <a:lnTo>
                    <a:pt x="419" y="1738"/>
                  </a:lnTo>
                  <a:lnTo>
                    <a:pt x="407" y="1726"/>
                  </a:lnTo>
                  <a:lnTo>
                    <a:pt x="400" y="1726"/>
                  </a:lnTo>
                  <a:lnTo>
                    <a:pt x="395" y="1693"/>
                  </a:lnTo>
                  <a:lnTo>
                    <a:pt x="376" y="1717"/>
                  </a:lnTo>
                  <a:lnTo>
                    <a:pt x="364" y="1705"/>
                  </a:lnTo>
                  <a:lnTo>
                    <a:pt x="350" y="1693"/>
                  </a:lnTo>
                  <a:lnTo>
                    <a:pt x="326" y="1672"/>
                  </a:lnTo>
                  <a:lnTo>
                    <a:pt x="300" y="1672"/>
                  </a:lnTo>
                  <a:lnTo>
                    <a:pt x="276" y="1638"/>
                  </a:lnTo>
                  <a:lnTo>
                    <a:pt x="295" y="1594"/>
                  </a:lnTo>
                  <a:lnTo>
                    <a:pt x="300" y="1571"/>
                  </a:lnTo>
                  <a:lnTo>
                    <a:pt x="300" y="1538"/>
                  </a:lnTo>
                  <a:lnTo>
                    <a:pt x="300" y="1515"/>
                  </a:lnTo>
                  <a:lnTo>
                    <a:pt x="313" y="1515"/>
                  </a:lnTo>
                  <a:lnTo>
                    <a:pt x="308" y="1471"/>
                  </a:lnTo>
                  <a:lnTo>
                    <a:pt x="295" y="1459"/>
                  </a:lnTo>
                  <a:lnTo>
                    <a:pt x="281" y="1450"/>
                  </a:lnTo>
                  <a:lnTo>
                    <a:pt x="276" y="1450"/>
                  </a:lnTo>
                  <a:lnTo>
                    <a:pt x="250" y="1436"/>
                  </a:lnTo>
                  <a:lnTo>
                    <a:pt x="231" y="1405"/>
                  </a:lnTo>
                  <a:lnTo>
                    <a:pt x="220" y="1382"/>
                  </a:lnTo>
                  <a:lnTo>
                    <a:pt x="213" y="1348"/>
                  </a:lnTo>
                  <a:lnTo>
                    <a:pt x="194" y="1336"/>
                  </a:lnTo>
                  <a:lnTo>
                    <a:pt x="181" y="1348"/>
                  </a:lnTo>
                  <a:lnTo>
                    <a:pt x="175" y="1359"/>
                  </a:lnTo>
                  <a:lnTo>
                    <a:pt x="175" y="1348"/>
                  </a:lnTo>
                  <a:lnTo>
                    <a:pt x="163" y="1327"/>
                  </a:lnTo>
                  <a:lnTo>
                    <a:pt x="181" y="1327"/>
                  </a:lnTo>
                  <a:lnTo>
                    <a:pt x="181" y="1313"/>
                  </a:lnTo>
                  <a:lnTo>
                    <a:pt x="175" y="1304"/>
                  </a:lnTo>
                  <a:lnTo>
                    <a:pt x="175" y="1292"/>
                  </a:lnTo>
                  <a:lnTo>
                    <a:pt x="163" y="1248"/>
                  </a:lnTo>
                  <a:lnTo>
                    <a:pt x="151" y="1213"/>
                  </a:lnTo>
                  <a:lnTo>
                    <a:pt x="138" y="1213"/>
                  </a:lnTo>
                  <a:lnTo>
                    <a:pt x="120" y="1213"/>
                  </a:lnTo>
                  <a:lnTo>
                    <a:pt x="113" y="1204"/>
                  </a:lnTo>
                  <a:lnTo>
                    <a:pt x="101" y="1204"/>
                  </a:lnTo>
                  <a:lnTo>
                    <a:pt x="94" y="1204"/>
                  </a:lnTo>
                  <a:lnTo>
                    <a:pt x="88" y="1213"/>
                  </a:lnTo>
                  <a:lnTo>
                    <a:pt x="82" y="1236"/>
                  </a:lnTo>
                  <a:lnTo>
                    <a:pt x="75" y="1259"/>
                  </a:lnTo>
                  <a:lnTo>
                    <a:pt x="69" y="1292"/>
                  </a:lnTo>
                  <a:lnTo>
                    <a:pt x="64" y="1282"/>
                  </a:lnTo>
                  <a:lnTo>
                    <a:pt x="64" y="1269"/>
                  </a:lnTo>
                  <a:lnTo>
                    <a:pt x="0" y="124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14" name="Freeform 634"/>
            <p:cNvSpPr>
              <a:spLocks/>
            </p:cNvSpPr>
            <p:nvPr>
              <p:custDataLst>
                <p:tags r:id="rId508"/>
              </p:custDataLst>
            </p:nvPr>
          </p:nvSpPr>
          <p:spPr bwMode="auto">
            <a:xfrm>
              <a:off x="4850061" y="1973263"/>
              <a:ext cx="3897312" cy="1397000"/>
            </a:xfrm>
            <a:custGeom>
              <a:avLst/>
              <a:gdLst>
                <a:gd name="T0" fmla="*/ 2147483647 w 2659"/>
                <a:gd name="T1" fmla="*/ 2147483647 h 1761"/>
                <a:gd name="T2" fmla="*/ 2147483647 w 2659"/>
                <a:gd name="T3" fmla="*/ 2147483647 h 1761"/>
                <a:gd name="T4" fmla="*/ 2147483647 w 2659"/>
                <a:gd name="T5" fmla="*/ 2147483647 h 1761"/>
                <a:gd name="T6" fmla="*/ 2147483647 w 2659"/>
                <a:gd name="T7" fmla="*/ 2147483647 h 1761"/>
                <a:gd name="T8" fmla="*/ 2147483647 w 2659"/>
                <a:gd name="T9" fmla="*/ 2147483647 h 1761"/>
                <a:gd name="T10" fmla="*/ 2147483647 w 2659"/>
                <a:gd name="T11" fmla="*/ 2147483647 h 1761"/>
                <a:gd name="T12" fmla="*/ 2147483647 w 2659"/>
                <a:gd name="T13" fmla="*/ 2147483647 h 1761"/>
                <a:gd name="T14" fmla="*/ 2147483647 w 2659"/>
                <a:gd name="T15" fmla="*/ 2147483647 h 1761"/>
                <a:gd name="T16" fmla="*/ 2147483647 w 2659"/>
                <a:gd name="T17" fmla="*/ 2147483647 h 1761"/>
                <a:gd name="T18" fmla="*/ 2147483647 w 2659"/>
                <a:gd name="T19" fmla="*/ 2147483647 h 1761"/>
                <a:gd name="T20" fmla="*/ 2147483647 w 2659"/>
                <a:gd name="T21" fmla="*/ 2147483647 h 1761"/>
                <a:gd name="T22" fmla="*/ 2147483647 w 2659"/>
                <a:gd name="T23" fmla="*/ 2147483647 h 1761"/>
                <a:gd name="T24" fmla="*/ 2147483647 w 2659"/>
                <a:gd name="T25" fmla="*/ 2147483647 h 1761"/>
                <a:gd name="T26" fmla="*/ 2147483647 w 2659"/>
                <a:gd name="T27" fmla="*/ 2147483647 h 1761"/>
                <a:gd name="T28" fmla="*/ 2147483647 w 2659"/>
                <a:gd name="T29" fmla="*/ 2147483647 h 1761"/>
                <a:gd name="T30" fmla="*/ 2147483647 w 2659"/>
                <a:gd name="T31" fmla="*/ 2147483647 h 1761"/>
                <a:gd name="T32" fmla="*/ 2147483647 w 2659"/>
                <a:gd name="T33" fmla="*/ 2147483647 h 1761"/>
                <a:gd name="T34" fmla="*/ 2147483647 w 2659"/>
                <a:gd name="T35" fmla="*/ 2147483647 h 1761"/>
                <a:gd name="T36" fmla="*/ 2147483647 w 2659"/>
                <a:gd name="T37" fmla="*/ 2147483647 h 1761"/>
                <a:gd name="T38" fmla="*/ 2147483647 w 2659"/>
                <a:gd name="T39" fmla="*/ 2147483647 h 1761"/>
                <a:gd name="T40" fmla="*/ 2147483647 w 2659"/>
                <a:gd name="T41" fmla="*/ 2147483647 h 1761"/>
                <a:gd name="T42" fmla="*/ 2147483647 w 2659"/>
                <a:gd name="T43" fmla="*/ 2147483647 h 1761"/>
                <a:gd name="T44" fmla="*/ 2147483647 w 2659"/>
                <a:gd name="T45" fmla="*/ 2147483647 h 1761"/>
                <a:gd name="T46" fmla="*/ 2147483647 w 2659"/>
                <a:gd name="T47" fmla="*/ 2147483647 h 1761"/>
                <a:gd name="T48" fmla="*/ 2147483647 w 2659"/>
                <a:gd name="T49" fmla="*/ 2147483647 h 1761"/>
                <a:gd name="T50" fmla="*/ 2147483647 w 2659"/>
                <a:gd name="T51" fmla="*/ 2147483647 h 1761"/>
                <a:gd name="T52" fmla="*/ 2147483647 w 2659"/>
                <a:gd name="T53" fmla="*/ 2147483647 h 1761"/>
                <a:gd name="T54" fmla="*/ 2147483647 w 2659"/>
                <a:gd name="T55" fmla="*/ 2147483647 h 1761"/>
                <a:gd name="T56" fmla="*/ 2147483647 w 2659"/>
                <a:gd name="T57" fmla="*/ 2147483647 h 1761"/>
                <a:gd name="T58" fmla="*/ 2147483647 w 2659"/>
                <a:gd name="T59" fmla="*/ 2147483647 h 1761"/>
                <a:gd name="T60" fmla="*/ 2147483647 w 2659"/>
                <a:gd name="T61" fmla="*/ 2147483647 h 1761"/>
                <a:gd name="T62" fmla="*/ 2147483647 w 2659"/>
                <a:gd name="T63" fmla="*/ 2147483647 h 1761"/>
                <a:gd name="T64" fmla="*/ 2147483647 w 2659"/>
                <a:gd name="T65" fmla="*/ 2147483647 h 1761"/>
                <a:gd name="T66" fmla="*/ 2147483647 w 2659"/>
                <a:gd name="T67" fmla="*/ 2147483647 h 1761"/>
                <a:gd name="T68" fmla="*/ 2147483647 w 2659"/>
                <a:gd name="T69" fmla="*/ 2147483647 h 1761"/>
                <a:gd name="T70" fmla="*/ 2147483647 w 2659"/>
                <a:gd name="T71" fmla="*/ 2147483647 h 1761"/>
                <a:gd name="T72" fmla="*/ 2147483647 w 2659"/>
                <a:gd name="T73" fmla="*/ 2147483647 h 1761"/>
                <a:gd name="T74" fmla="*/ 2147483647 w 2659"/>
                <a:gd name="T75" fmla="*/ 2147483647 h 1761"/>
                <a:gd name="T76" fmla="*/ 2147483647 w 2659"/>
                <a:gd name="T77" fmla="*/ 2147483647 h 1761"/>
                <a:gd name="T78" fmla="*/ 2147483647 w 2659"/>
                <a:gd name="T79" fmla="*/ 2147483647 h 1761"/>
                <a:gd name="T80" fmla="*/ 2147483647 w 2659"/>
                <a:gd name="T81" fmla="*/ 2147483647 h 1761"/>
                <a:gd name="T82" fmla="*/ 2147483647 w 2659"/>
                <a:gd name="T83" fmla="*/ 2147483647 h 1761"/>
                <a:gd name="T84" fmla="*/ 2147483647 w 2659"/>
                <a:gd name="T85" fmla="*/ 2147483647 h 1761"/>
                <a:gd name="T86" fmla="*/ 2147483647 w 2659"/>
                <a:gd name="T87" fmla="*/ 2147483647 h 1761"/>
                <a:gd name="T88" fmla="*/ 2147483647 w 2659"/>
                <a:gd name="T89" fmla="*/ 2147483647 h 1761"/>
                <a:gd name="T90" fmla="*/ 2147483647 w 2659"/>
                <a:gd name="T91" fmla="*/ 2147483647 h 1761"/>
                <a:gd name="T92" fmla="*/ 2147483647 w 2659"/>
                <a:gd name="T93" fmla="*/ 2147483647 h 1761"/>
                <a:gd name="T94" fmla="*/ 2147483647 w 2659"/>
                <a:gd name="T95" fmla="*/ 2147483647 h 1761"/>
                <a:gd name="T96" fmla="*/ 2147483647 w 2659"/>
                <a:gd name="T97" fmla="*/ 2147483647 h 1761"/>
                <a:gd name="T98" fmla="*/ 2147483647 w 2659"/>
                <a:gd name="T99" fmla="*/ 2147483647 h 1761"/>
                <a:gd name="T100" fmla="*/ 2147483647 w 2659"/>
                <a:gd name="T101" fmla="*/ 2147483647 h 1761"/>
                <a:gd name="T102" fmla="*/ 2147483647 w 2659"/>
                <a:gd name="T103" fmla="*/ 2147483647 h 1761"/>
                <a:gd name="T104" fmla="*/ 2147483647 w 2659"/>
                <a:gd name="T105" fmla="*/ 2147483647 h 1761"/>
                <a:gd name="T106" fmla="*/ 2147483647 w 2659"/>
                <a:gd name="T107" fmla="*/ 2147483647 h 1761"/>
                <a:gd name="T108" fmla="*/ 2147483647 w 2659"/>
                <a:gd name="T109" fmla="*/ 2147483647 h 1761"/>
                <a:gd name="T110" fmla="*/ 2147483647 w 2659"/>
                <a:gd name="T111" fmla="*/ 2147483647 h 1761"/>
                <a:gd name="T112" fmla="*/ 2147483647 w 2659"/>
                <a:gd name="T113" fmla="*/ 2147483647 h 1761"/>
                <a:gd name="T114" fmla="*/ 2147483647 w 2659"/>
                <a:gd name="T115" fmla="*/ 2147483647 h 17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659" h="1761">
                  <a:moveTo>
                    <a:pt x="0" y="1248"/>
                  </a:moveTo>
                  <a:lnTo>
                    <a:pt x="25" y="1213"/>
                  </a:lnTo>
                  <a:lnTo>
                    <a:pt x="19" y="1225"/>
                  </a:lnTo>
                  <a:lnTo>
                    <a:pt x="25" y="1236"/>
                  </a:lnTo>
                  <a:lnTo>
                    <a:pt x="25" y="1148"/>
                  </a:lnTo>
                  <a:lnTo>
                    <a:pt x="32" y="1113"/>
                  </a:lnTo>
                  <a:lnTo>
                    <a:pt x="44" y="1104"/>
                  </a:lnTo>
                  <a:lnTo>
                    <a:pt x="75" y="1137"/>
                  </a:lnTo>
                  <a:lnTo>
                    <a:pt x="75" y="1069"/>
                  </a:lnTo>
                  <a:lnTo>
                    <a:pt x="69" y="1069"/>
                  </a:lnTo>
                  <a:lnTo>
                    <a:pt x="64" y="1037"/>
                  </a:lnTo>
                  <a:lnTo>
                    <a:pt x="170" y="992"/>
                  </a:lnTo>
                  <a:lnTo>
                    <a:pt x="144" y="981"/>
                  </a:lnTo>
                  <a:lnTo>
                    <a:pt x="144" y="967"/>
                  </a:lnTo>
                  <a:lnTo>
                    <a:pt x="125" y="967"/>
                  </a:lnTo>
                  <a:lnTo>
                    <a:pt x="189" y="870"/>
                  </a:lnTo>
                  <a:lnTo>
                    <a:pt x="163" y="758"/>
                  </a:lnTo>
                  <a:lnTo>
                    <a:pt x="170" y="701"/>
                  </a:lnTo>
                  <a:lnTo>
                    <a:pt x="151" y="647"/>
                  </a:lnTo>
                  <a:lnTo>
                    <a:pt x="163" y="612"/>
                  </a:lnTo>
                  <a:lnTo>
                    <a:pt x="144" y="568"/>
                  </a:lnTo>
                  <a:lnTo>
                    <a:pt x="151" y="533"/>
                  </a:lnTo>
                  <a:lnTo>
                    <a:pt x="175" y="489"/>
                  </a:lnTo>
                  <a:lnTo>
                    <a:pt x="194" y="489"/>
                  </a:lnTo>
                  <a:lnTo>
                    <a:pt x="213" y="503"/>
                  </a:lnTo>
                  <a:lnTo>
                    <a:pt x="194" y="503"/>
                  </a:lnTo>
                  <a:lnTo>
                    <a:pt x="213" y="524"/>
                  </a:lnTo>
                  <a:lnTo>
                    <a:pt x="257" y="524"/>
                  </a:lnTo>
                  <a:lnTo>
                    <a:pt x="338" y="612"/>
                  </a:lnTo>
                  <a:lnTo>
                    <a:pt x="338" y="656"/>
                  </a:lnTo>
                  <a:lnTo>
                    <a:pt x="308" y="691"/>
                  </a:lnTo>
                  <a:lnTo>
                    <a:pt x="194" y="647"/>
                  </a:lnTo>
                  <a:lnTo>
                    <a:pt x="239" y="701"/>
                  </a:lnTo>
                  <a:lnTo>
                    <a:pt x="239" y="779"/>
                  </a:lnTo>
                  <a:lnTo>
                    <a:pt x="281" y="814"/>
                  </a:lnTo>
                  <a:lnTo>
                    <a:pt x="295" y="802"/>
                  </a:lnTo>
                  <a:lnTo>
                    <a:pt x="289" y="779"/>
                  </a:lnTo>
                  <a:lnTo>
                    <a:pt x="269" y="770"/>
                  </a:lnTo>
                  <a:lnTo>
                    <a:pt x="276" y="747"/>
                  </a:lnTo>
                  <a:lnTo>
                    <a:pt x="295" y="770"/>
                  </a:lnTo>
                  <a:lnTo>
                    <a:pt x="338" y="779"/>
                  </a:lnTo>
                  <a:lnTo>
                    <a:pt x="313" y="724"/>
                  </a:lnTo>
                  <a:lnTo>
                    <a:pt x="358" y="668"/>
                  </a:lnTo>
                  <a:lnTo>
                    <a:pt x="388" y="701"/>
                  </a:lnTo>
                  <a:lnTo>
                    <a:pt x="382" y="578"/>
                  </a:lnTo>
                  <a:lnTo>
                    <a:pt x="376" y="556"/>
                  </a:lnTo>
                  <a:lnTo>
                    <a:pt x="419" y="578"/>
                  </a:lnTo>
                  <a:lnTo>
                    <a:pt x="425" y="601"/>
                  </a:lnTo>
                  <a:lnTo>
                    <a:pt x="395" y="624"/>
                  </a:lnTo>
                  <a:lnTo>
                    <a:pt x="425" y="656"/>
                  </a:lnTo>
                  <a:lnTo>
                    <a:pt x="445" y="612"/>
                  </a:lnTo>
                  <a:lnTo>
                    <a:pt x="539" y="533"/>
                  </a:lnTo>
                  <a:lnTo>
                    <a:pt x="551" y="533"/>
                  </a:lnTo>
                  <a:lnTo>
                    <a:pt x="539" y="547"/>
                  </a:lnTo>
                  <a:lnTo>
                    <a:pt x="551" y="578"/>
                  </a:lnTo>
                  <a:lnTo>
                    <a:pt x="613" y="533"/>
                  </a:lnTo>
                  <a:lnTo>
                    <a:pt x="632" y="568"/>
                  </a:lnTo>
                  <a:lnTo>
                    <a:pt x="644" y="547"/>
                  </a:lnTo>
                  <a:lnTo>
                    <a:pt x="639" y="503"/>
                  </a:lnTo>
                  <a:lnTo>
                    <a:pt x="644" y="489"/>
                  </a:lnTo>
                  <a:lnTo>
                    <a:pt x="695" y="512"/>
                  </a:lnTo>
                  <a:lnTo>
                    <a:pt x="764" y="578"/>
                  </a:lnTo>
                  <a:lnTo>
                    <a:pt x="777" y="547"/>
                  </a:lnTo>
                  <a:lnTo>
                    <a:pt x="758" y="512"/>
                  </a:lnTo>
                  <a:lnTo>
                    <a:pt x="739" y="503"/>
                  </a:lnTo>
                  <a:lnTo>
                    <a:pt x="745" y="445"/>
                  </a:lnTo>
                  <a:lnTo>
                    <a:pt x="732" y="434"/>
                  </a:lnTo>
                  <a:lnTo>
                    <a:pt x="739" y="411"/>
                  </a:lnTo>
                  <a:lnTo>
                    <a:pt x="764" y="380"/>
                  </a:lnTo>
                  <a:lnTo>
                    <a:pt x="777" y="311"/>
                  </a:lnTo>
                  <a:lnTo>
                    <a:pt x="814" y="311"/>
                  </a:lnTo>
                  <a:lnTo>
                    <a:pt x="827" y="311"/>
                  </a:lnTo>
                  <a:lnTo>
                    <a:pt x="814" y="389"/>
                  </a:lnTo>
                  <a:lnTo>
                    <a:pt x="827" y="424"/>
                  </a:lnTo>
                  <a:lnTo>
                    <a:pt x="827" y="533"/>
                  </a:lnTo>
                  <a:lnTo>
                    <a:pt x="838" y="568"/>
                  </a:lnTo>
                  <a:lnTo>
                    <a:pt x="838" y="612"/>
                  </a:lnTo>
                  <a:lnTo>
                    <a:pt x="807" y="635"/>
                  </a:lnTo>
                  <a:lnTo>
                    <a:pt x="819" y="647"/>
                  </a:lnTo>
                  <a:lnTo>
                    <a:pt x="783" y="656"/>
                  </a:lnTo>
                  <a:lnTo>
                    <a:pt x="819" y="691"/>
                  </a:lnTo>
                  <a:lnTo>
                    <a:pt x="857" y="612"/>
                  </a:lnTo>
                  <a:lnTo>
                    <a:pt x="857" y="556"/>
                  </a:lnTo>
                  <a:lnTo>
                    <a:pt x="870" y="547"/>
                  </a:lnTo>
                  <a:lnTo>
                    <a:pt x="888" y="533"/>
                  </a:lnTo>
                  <a:lnTo>
                    <a:pt x="902" y="568"/>
                  </a:lnTo>
                  <a:lnTo>
                    <a:pt x="902" y="601"/>
                  </a:lnTo>
                  <a:lnTo>
                    <a:pt x="926" y="612"/>
                  </a:lnTo>
                  <a:lnTo>
                    <a:pt x="907" y="601"/>
                  </a:lnTo>
                  <a:lnTo>
                    <a:pt x="914" y="578"/>
                  </a:lnTo>
                  <a:lnTo>
                    <a:pt x="907" y="547"/>
                  </a:lnTo>
                  <a:lnTo>
                    <a:pt x="845" y="524"/>
                  </a:lnTo>
                  <a:lnTo>
                    <a:pt x="857" y="445"/>
                  </a:lnTo>
                  <a:lnTo>
                    <a:pt x="838" y="389"/>
                  </a:lnTo>
                  <a:lnTo>
                    <a:pt x="864" y="345"/>
                  </a:lnTo>
                  <a:lnTo>
                    <a:pt x="864" y="311"/>
                  </a:lnTo>
                  <a:lnTo>
                    <a:pt x="876" y="334"/>
                  </a:lnTo>
                  <a:lnTo>
                    <a:pt x="870" y="401"/>
                  </a:lnTo>
                  <a:lnTo>
                    <a:pt x="876" y="411"/>
                  </a:lnTo>
                  <a:lnTo>
                    <a:pt x="920" y="424"/>
                  </a:lnTo>
                  <a:lnTo>
                    <a:pt x="883" y="366"/>
                  </a:lnTo>
                  <a:lnTo>
                    <a:pt x="907" y="380"/>
                  </a:lnTo>
                  <a:lnTo>
                    <a:pt x="902" y="357"/>
                  </a:lnTo>
                  <a:lnTo>
                    <a:pt x="920" y="345"/>
                  </a:lnTo>
                  <a:lnTo>
                    <a:pt x="994" y="389"/>
                  </a:lnTo>
                  <a:lnTo>
                    <a:pt x="983" y="411"/>
                  </a:lnTo>
                  <a:lnTo>
                    <a:pt x="976" y="457"/>
                  </a:lnTo>
                  <a:lnTo>
                    <a:pt x="994" y="480"/>
                  </a:lnTo>
                  <a:lnTo>
                    <a:pt x="1002" y="389"/>
                  </a:lnTo>
                  <a:lnTo>
                    <a:pt x="957" y="334"/>
                  </a:lnTo>
                  <a:lnTo>
                    <a:pt x="952" y="278"/>
                  </a:lnTo>
                  <a:lnTo>
                    <a:pt x="1044" y="245"/>
                  </a:lnTo>
                  <a:lnTo>
                    <a:pt x="1032" y="188"/>
                  </a:lnTo>
                  <a:lnTo>
                    <a:pt x="1044" y="201"/>
                  </a:lnTo>
                  <a:lnTo>
                    <a:pt x="1063" y="178"/>
                  </a:lnTo>
                  <a:lnTo>
                    <a:pt x="1052" y="178"/>
                  </a:lnTo>
                  <a:lnTo>
                    <a:pt x="1151" y="122"/>
                  </a:lnTo>
                  <a:lnTo>
                    <a:pt x="1146" y="111"/>
                  </a:lnTo>
                  <a:lnTo>
                    <a:pt x="1188" y="99"/>
                  </a:lnTo>
                  <a:lnTo>
                    <a:pt x="1188" y="122"/>
                  </a:lnTo>
                  <a:lnTo>
                    <a:pt x="1201" y="122"/>
                  </a:lnTo>
                  <a:lnTo>
                    <a:pt x="1233" y="99"/>
                  </a:lnTo>
                  <a:lnTo>
                    <a:pt x="1252" y="111"/>
                  </a:lnTo>
                  <a:lnTo>
                    <a:pt x="1233" y="90"/>
                  </a:lnTo>
                  <a:lnTo>
                    <a:pt x="1270" y="78"/>
                  </a:lnTo>
                  <a:lnTo>
                    <a:pt x="1277" y="44"/>
                  </a:lnTo>
                  <a:lnTo>
                    <a:pt x="1314" y="0"/>
                  </a:lnTo>
                  <a:lnTo>
                    <a:pt x="1352" y="34"/>
                  </a:lnTo>
                  <a:lnTo>
                    <a:pt x="1321" y="55"/>
                  </a:lnTo>
                  <a:lnTo>
                    <a:pt x="1371" y="55"/>
                  </a:lnTo>
                  <a:lnTo>
                    <a:pt x="1352" y="90"/>
                  </a:lnTo>
                  <a:lnTo>
                    <a:pt x="1427" y="65"/>
                  </a:lnTo>
                  <a:lnTo>
                    <a:pt x="1471" y="122"/>
                  </a:lnTo>
                  <a:lnTo>
                    <a:pt x="1463" y="144"/>
                  </a:lnTo>
                  <a:lnTo>
                    <a:pt x="1452" y="122"/>
                  </a:lnTo>
                  <a:lnTo>
                    <a:pt x="1471" y="144"/>
                  </a:lnTo>
                  <a:lnTo>
                    <a:pt x="1458" y="178"/>
                  </a:lnTo>
                  <a:lnTo>
                    <a:pt x="1314" y="334"/>
                  </a:lnTo>
                  <a:lnTo>
                    <a:pt x="1364" y="311"/>
                  </a:lnTo>
                  <a:lnTo>
                    <a:pt x="1352" y="290"/>
                  </a:lnTo>
                  <a:lnTo>
                    <a:pt x="1427" y="266"/>
                  </a:lnTo>
                  <a:lnTo>
                    <a:pt x="1402" y="266"/>
                  </a:lnTo>
                  <a:lnTo>
                    <a:pt x="1408" y="245"/>
                  </a:lnTo>
                  <a:lnTo>
                    <a:pt x="1452" y="266"/>
                  </a:lnTo>
                  <a:lnTo>
                    <a:pt x="1452" y="245"/>
                  </a:lnTo>
                  <a:lnTo>
                    <a:pt x="1463" y="290"/>
                  </a:lnTo>
                  <a:lnTo>
                    <a:pt x="1482" y="290"/>
                  </a:lnTo>
                  <a:lnTo>
                    <a:pt x="1463" y="278"/>
                  </a:lnTo>
                  <a:lnTo>
                    <a:pt x="1502" y="266"/>
                  </a:lnTo>
                  <a:lnTo>
                    <a:pt x="1546" y="278"/>
                  </a:lnTo>
                  <a:lnTo>
                    <a:pt x="1546" y="290"/>
                  </a:lnTo>
                  <a:lnTo>
                    <a:pt x="1583" y="311"/>
                  </a:lnTo>
                  <a:lnTo>
                    <a:pt x="1615" y="301"/>
                  </a:lnTo>
                  <a:lnTo>
                    <a:pt x="1615" y="257"/>
                  </a:lnTo>
                  <a:lnTo>
                    <a:pt x="1627" y="257"/>
                  </a:lnTo>
                  <a:lnTo>
                    <a:pt x="1715" y="301"/>
                  </a:lnTo>
                  <a:lnTo>
                    <a:pt x="1702" y="389"/>
                  </a:lnTo>
                  <a:lnTo>
                    <a:pt x="1740" y="445"/>
                  </a:lnTo>
                  <a:lnTo>
                    <a:pt x="1765" y="366"/>
                  </a:lnTo>
                  <a:lnTo>
                    <a:pt x="1776" y="401"/>
                  </a:lnTo>
                  <a:lnTo>
                    <a:pt x="1808" y="389"/>
                  </a:lnTo>
                  <a:lnTo>
                    <a:pt x="1845" y="411"/>
                  </a:lnTo>
                  <a:lnTo>
                    <a:pt x="1877" y="401"/>
                  </a:lnTo>
                  <a:lnTo>
                    <a:pt x="1877" y="366"/>
                  </a:lnTo>
                  <a:lnTo>
                    <a:pt x="1896" y="311"/>
                  </a:lnTo>
                  <a:lnTo>
                    <a:pt x="2027" y="357"/>
                  </a:lnTo>
                  <a:lnTo>
                    <a:pt x="2034" y="380"/>
                  </a:lnTo>
                  <a:lnTo>
                    <a:pt x="2015" y="389"/>
                  </a:lnTo>
                  <a:lnTo>
                    <a:pt x="2059" y="401"/>
                  </a:lnTo>
                  <a:lnTo>
                    <a:pt x="2071" y="434"/>
                  </a:lnTo>
                  <a:lnTo>
                    <a:pt x="2171" y="424"/>
                  </a:lnTo>
                  <a:lnTo>
                    <a:pt x="2190" y="457"/>
                  </a:lnTo>
                  <a:lnTo>
                    <a:pt x="2184" y="489"/>
                  </a:lnTo>
                  <a:lnTo>
                    <a:pt x="2209" y="512"/>
                  </a:lnTo>
                  <a:lnTo>
                    <a:pt x="2227" y="503"/>
                  </a:lnTo>
                  <a:lnTo>
                    <a:pt x="2296" y="512"/>
                  </a:lnTo>
                  <a:lnTo>
                    <a:pt x="2309" y="489"/>
                  </a:lnTo>
                  <a:lnTo>
                    <a:pt x="2321" y="524"/>
                  </a:lnTo>
                  <a:lnTo>
                    <a:pt x="2346" y="547"/>
                  </a:lnTo>
                  <a:lnTo>
                    <a:pt x="2359" y="533"/>
                  </a:lnTo>
                  <a:lnTo>
                    <a:pt x="2346" y="503"/>
                  </a:lnTo>
                  <a:lnTo>
                    <a:pt x="2353" y="480"/>
                  </a:lnTo>
                  <a:lnTo>
                    <a:pt x="2472" y="512"/>
                  </a:lnTo>
                  <a:lnTo>
                    <a:pt x="2553" y="612"/>
                  </a:lnTo>
                  <a:lnTo>
                    <a:pt x="2571" y="612"/>
                  </a:lnTo>
                  <a:lnTo>
                    <a:pt x="2590" y="679"/>
                  </a:lnTo>
                  <a:lnTo>
                    <a:pt x="2584" y="647"/>
                  </a:lnTo>
                  <a:lnTo>
                    <a:pt x="2596" y="635"/>
                  </a:lnTo>
                  <a:lnTo>
                    <a:pt x="2603" y="656"/>
                  </a:lnTo>
                  <a:lnTo>
                    <a:pt x="2629" y="647"/>
                  </a:lnTo>
                  <a:lnTo>
                    <a:pt x="2659" y="691"/>
                  </a:lnTo>
                  <a:lnTo>
                    <a:pt x="2615" y="735"/>
                  </a:lnTo>
                  <a:lnTo>
                    <a:pt x="2621" y="758"/>
                  </a:lnTo>
                  <a:lnTo>
                    <a:pt x="2609" y="770"/>
                  </a:lnTo>
                  <a:lnTo>
                    <a:pt x="2621" y="779"/>
                  </a:lnTo>
                  <a:lnTo>
                    <a:pt x="2590" y="779"/>
                  </a:lnTo>
                  <a:lnTo>
                    <a:pt x="2584" y="758"/>
                  </a:lnTo>
                  <a:lnTo>
                    <a:pt x="2571" y="770"/>
                  </a:lnTo>
                  <a:lnTo>
                    <a:pt x="2553" y="724"/>
                  </a:lnTo>
                  <a:lnTo>
                    <a:pt x="2521" y="724"/>
                  </a:lnTo>
                  <a:lnTo>
                    <a:pt x="2515" y="691"/>
                  </a:lnTo>
                  <a:lnTo>
                    <a:pt x="2521" y="679"/>
                  </a:lnTo>
                  <a:lnTo>
                    <a:pt x="2509" y="679"/>
                  </a:lnTo>
                  <a:lnTo>
                    <a:pt x="2503" y="691"/>
                  </a:lnTo>
                  <a:lnTo>
                    <a:pt x="2509" y="724"/>
                  </a:lnTo>
                  <a:lnTo>
                    <a:pt x="2503" y="747"/>
                  </a:lnTo>
                  <a:lnTo>
                    <a:pt x="2478" y="770"/>
                  </a:lnTo>
                  <a:lnTo>
                    <a:pt x="2459" y="770"/>
                  </a:lnTo>
                  <a:lnTo>
                    <a:pt x="2490" y="846"/>
                  </a:lnTo>
                  <a:lnTo>
                    <a:pt x="2484" y="879"/>
                  </a:lnTo>
                  <a:lnTo>
                    <a:pt x="2453" y="858"/>
                  </a:lnTo>
                  <a:lnTo>
                    <a:pt x="2453" y="870"/>
                  </a:lnTo>
                  <a:lnTo>
                    <a:pt x="2396" y="914"/>
                  </a:lnTo>
                  <a:lnTo>
                    <a:pt x="2346" y="1002"/>
                  </a:lnTo>
                  <a:lnTo>
                    <a:pt x="2314" y="967"/>
                  </a:lnTo>
                  <a:lnTo>
                    <a:pt x="2284" y="1002"/>
                  </a:lnTo>
                  <a:lnTo>
                    <a:pt x="2284" y="967"/>
                  </a:lnTo>
                  <a:lnTo>
                    <a:pt x="2265" y="1002"/>
                  </a:lnTo>
                  <a:lnTo>
                    <a:pt x="2245" y="1002"/>
                  </a:lnTo>
                  <a:lnTo>
                    <a:pt x="2221" y="1090"/>
                  </a:lnTo>
                  <a:lnTo>
                    <a:pt x="2240" y="1104"/>
                  </a:lnTo>
                  <a:lnTo>
                    <a:pt x="2234" y="1137"/>
                  </a:lnTo>
                  <a:lnTo>
                    <a:pt x="2240" y="1181"/>
                  </a:lnTo>
                  <a:lnTo>
                    <a:pt x="2221" y="1169"/>
                  </a:lnTo>
                  <a:lnTo>
                    <a:pt x="2215" y="1204"/>
                  </a:lnTo>
                  <a:lnTo>
                    <a:pt x="2221" y="1236"/>
                  </a:lnTo>
                  <a:lnTo>
                    <a:pt x="2184" y="1269"/>
                  </a:lnTo>
                  <a:lnTo>
                    <a:pt x="2190" y="1313"/>
                  </a:lnTo>
                  <a:lnTo>
                    <a:pt x="2165" y="1313"/>
                  </a:lnTo>
                  <a:lnTo>
                    <a:pt x="2158" y="1359"/>
                  </a:lnTo>
                  <a:lnTo>
                    <a:pt x="2140" y="1405"/>
                  </a:lnTo>
                  <a:lnTo>
                    <a:pt x="2121" y="1236"/>
                  </a:lnTo>
                  <a:lnTo>
                    <a:pt x="2121" y="1148"/>
                  </a:lnTo>
                  <a:lnTo>
                    <a:pt x="2140" y="1104"/>
                  </a:lnTo>
                  <a:lnTo>
                    <a:pt x="2165" y="1090"/>
                  </a:lnTo>
                  <a:lnTo>
                    <a:pt x="2221" y="981"/>
                  </a:lnTo>
                  <a:lnTo>
                    <a:pt x="2245" y="958"/>
                  </a:lnTo>
                  <a:lnTo>
                    <a:pt x="2252" y="893"/>
                  </a:lnTo>
                  <a:lnTo>
                    <a:pt x="2265" y="879"/>
                  </a:lnTo>
                  <a:lnTo>
                    <a:pt x="2245" y="870"/>
                  </a:lnTo>
                  <a:lnTo>
                    <a:pt x="2240" y="923"/>
                  </a:lnTo>
                  <a:lnTo>
                    <a:pt x="2190" y="967"/>
                  </a:lnTo>
                  <a:lnTo>
                    <a:pt x="2196" y="902"/>
                  </a:lnTo>
                  <a:lnTo>
                    <a:pt x="2146" y="914"/>
                  </a:lnTo>
                  <a:lnTo>
                    <a:pt x="2096" y="1002"/>
                  </a:lnTo>
                  <a:lnTo>
                    <a:pt x="2109" y="1037"/>
                  </a:lnTo>
                  <a:lnTo>
                    <a:pt x="2059" y="1046"/>
                  </a:lnTo>
                  <a:lnTo>
                    <a:pt x="2052" y="1037"/>
                  </a:lnTo>
                  <a:lnTo>
                    <a:pt x="2065" y="1037"/>
                  </a:lnTo>
                  <a:lnTo>
                    <a:pt x="2027" y="1014"/>
                  </a:lnTo>
                  <a:lnTo>
                    <a:pt x="2015" y="1037"/>
                  </a:lnTo>
                  <a:lnTo>
                    <a:pt x="1921" y="1037"/>
                  </a:lnTo>
                  <a:lnTo>
                    <a:pt x="1802" y="1236"/>
                  </a:lnTo>
                  <a:lnTo>
                    <a:pt x="1827" y="1248"/>
                  </a:lnTo>
                  <a:lnTo>
                    <a:pt x="1827" y="1282"/>
                  </a:lnTo>
                  <a:lnTo>
                    <a:pt x="1840" y="1259"/>
                  </a:lnTo>
                  <a:lnTo>
                    <a:pt x="1840" y="1292"/>
                  </a:lnTo>
                  <a:lnTo>
                    <a:pt x="1852" y="1269"/>
                  </a:lnTo>
                  <a:lnTo>
                    <a:pt x="1852" y="1292"/>
                  </a:lnTo>
                  <a:lnTo>
                    <a:pt x="1858" y="1259"/>
                  </a:lnTo>
                  <a:lnTo>
                    <a:pt x="1877" y="1259"/>
                  </a:lnTo>
                  <a:lnTo>
                    <a:pt x="1896" y="1304"/>
                  </a:lnTo>
                  <a:lnTo>
                    <a:pt x="1877" y="1304"/>
                  </a:lnTo>
                  <a:lnTo>
                    <a:pt x="1896" y="1327"/>
                  </a:lnTo>
                  <a:lnTo>
                    <a:pt x="1902" y="1348"/>
                  </a:lnTo>
                  <a:lnTo>
                    <a:pt x="1883" y="1415"/>
                  </a:lnTo>
                  <a:lnTo>
                    <a:pt x="1883" y="1503"/>
                  </a:lnTo>
                  <a:lnTo>
                    <a:pt x="1802" y="1705"/>
                  </a:lnTo>
                  <a:lnTo>
                    <a:pt x="1776" y="1738"/>
                  </a:lnTo>
                  <a:lnTo>
                    <a:pt x="1752" y="1705"/>
                  </a:lnTo>
                  <a:lnTo>
                    <a:pt x="1733" y="1749"/>
                  </a:lnTo>
                  <a:lnTo>
                    <a:pt x="1733" y="1738"/>
                  </a:lnTo>
                  <a:lnTo>
                    <a:pt x="1740" y="1705"/>
                  </a:lnTo>
                  <a:lnTo>
                    <a:pt x="1740" y="1661"/>
                  </a:lnTo>
                  <a:lnTo>
                    <a:pt x="1771" y="1638"/>
                  </a:lnTo>
                  <a:lnTo>
                    <a:pt x="1796" y="1503"/>
                  </a:lnTo>
                  <a:lnTo>
                    <a:pt x="1740" y="1538"/>
                  </a:lnTo>
                  <a:lnTo>
                    <a:pt x="1733" y="1480"/>
                  </a:lnTo>
                  <a:lnTo>
                    <a:pt x="1683" y="1459"/>
                  </a:lnTo>
                  <a:lnTo>
                    <a:pt x="1652" y="1313"/>
                  </a:lnTo>
                  <a:lnTo>
                    <a:pt x="1620" y="1292"/>
                  </a:lnTo>
                  <a:lnTo>
                    <a:pt x="1565" y="1327"/>
                  </a:lnTo>
                  <a:lnTo>
                    <a:pt x="1577" y="1359"/>
                  </a:lnTo>
                  <a:lnTo>
                    <a:pt x="1551" y="1436"/>
                  </a:lnTo>
                  <a:lnTo>
                    <a:pt x="1532" y="1459"/>
                  </a:lnTo>
                  <a:lnTo>
                    <a:pt x="1508" y="1450"/>
                  </a:lnTo>
                  <a:lnTo>
                    <a:pt x="1482" y="1436"/>
                  </a:lnTo>
                  <a:lnTo>
                    <a:pt x="1408" y="1471"/>
                  </a:lnTo>
                  <a:lnTo>
                    <a:pt x="1339" y="1415"/>
                  </a:lnTo>
                  <a:lnTo>
                    <a:pt x="1302" y="1427"/>
                  </a:lnTo>
                  <a:lnTo>
                    <a:pt x="1283" y="1382"/>
                  </a:lnTo>
                  <a:lnTo>
                    <a:pt x="1246" y="1348"/>
                  </a:lnTo>
                  <a:lnTo>
                    <a:pt x="1220" y="1382"/>
                  </a:lnTo>
                  <a:lnTo>
                    <a:pt x="1220" y="1436"/>
                  </a:lnTo>
                  <a:lnTo>
                    <a:pt x="1127" y="1415"/>
                  </a:lnTo>
                  <a:lnTo>
                    <a:pt x="1077" y="1471"/>
                  </a:lnTo>
                  <a:lnTo>
                    <a:pt x="1052" y="1494"/>
                  </a:lnTo>
                  <a:lnTo>
                    <a:pt x="1020" y="1450"/>
                  </a:lnTo>
                  <a:lnTo>
                    <a:pt x="994" y="1471"/>
                  </a:lnTo>
                  <a:lnTo>
                    <a:pt x="957" y="1450"/>
                  </a:lnTo>
                  <a:lnTo>
                    <a:pt x="944" y="1436"/>
                  </a:lnTo>
                  <a:lnTo>
                    <a:pt x="933" y="1392"/>
                  </a:lnTo>
                  <a:lnTo>
                    <a:pt x="907" y="1392"/>
                  </a:lnTo>
                  <a:lnTo>
                    <a:pt x="902" y="1405"/>
                  </a:lnTo>
                  <a:lnTo>
                    <a:pt x="883" y="1371"/>
                  </a:lnTo>
                  <a:lnTo>
                    <a:pt x="870" y="1371"/>
                  </a:lnTo>
                  <a:lnTo>
                    <a:pt x="864" y="1382"/>
                  </a:lnTo>
                  <a:lnTo>
                    <a:pt x="819" y="1313"/>
                  </a:lnTo>
                  <a:lnTo>
                    <a:pt x="807" y="1304"/>
                  </a:lnTo>
                  <a:lnTo>
                    <a:pt x="777" y="1248"/>
                  </a:lnTo>
                  <a:lnTo>
                    <a:pt x="751" y="1282"/>
                  </a:lnTo>
                  <a:lnTo>
                    <a:pt x="745" y="1259"/>
                  </a:lnTo>
                  <a:lnTo>
                    <a:pt x="701" y="1259"/>
                  </a:lnTo>
                  <a:lnTo>
                    <a:pt x="689" y="1213"/>
                  </a:lnTo>
                  <a:lnTo>
                    <a:pt x="663" y="1213"/>
                  </a:lnTo>
                  <a:lnTo>
                    <a:pt x="658" y="1236"/>
                  </a:lnTo>
                  <a:lnTo>
                    <a:pt x="632" y="1248"/>
                  </a:lnTo>
                  <a:lnTo>
                    <a:pt x="620" y="1236"/>
                  </a:lnTo>
                  <a:lnTo>
                    <a:pt x="613" y="1269"/>
                  </a:lnTo>
                  <a:lnTo>
                    <a:pt x="601" y="1259"/>
                  </a:lnTo>
                  <a:lnTo>
                    <a:pt x="570" y="1269"/>
                  </a:lnTo>
                  <a:lnTo>
                    <a:pt x="557" y="1259"/>
                  </a:lnTo>
                  <a:lnTo>
                    <a:pt x="557" y="1269"/>
                  </a:lnTo>
                  <a:lnTo>
                    <a:pt x="570" y="1304"/>
                  </a:lnTo>
                  <a:lnTo>
                    <a:pt x="563" y="1327"/>
                  </a:lnTo>
                  <a:lnTo>
                    <a:pt x="563" y="1359"/>
                  </a:lnTo>
                  <a:lnTo>
                    <a:pt x="583" y="1359"/>
                  </a:lnTo>
                  <a:lnTo>
                    <a:pt x="589" y="1382"/>
                  </a:lnTo>
                  <a:lnTo>
                    <a:pt x="583" y="1405"/>
                  </a:lnTo>
                  <a:lnTo>
                    <a:pt x="570" y="1392"/>
                  </a:lnTo>
                  <a:lnTo>
                    <a:pt x="557" y="1405"/>
                  </a:lnTo>
                  <a:lnTo>
                    <a:pt x="551" y="1392"/>
                  </a:lnTo>
                  <a:lnTo>
                    <a:pt x="544" y="1371"/>
                  </a:lnTo>
                  <a:lnTo>
                    <a:pt x="533" y="1382"/>
                  </a:lnTo>
                  <a:lnTo>
                    <a:pt x="520" y="1371"/>
                  </a:lnTo>
                  <a:lnTo>
                    <a:pt x="514" y="1392"/>
                  </a:lnTo>
                  <a:lnTo>
                    <a:pt x="494" y="1392"/>
                  </a:lnTo>
                  <a:lnTo>
                    <a:pt x="488" y="1371"/>
                  </a:lnTo>
                  <a:lnTo>
                    <a:pt x="438" y="1371"/>
                  </a:lnTo>
                  <a:lnTo>
                    <a:pt x="433" y="1382"/>
                  </a:lnTo>
                  <a:lnTo>
                    <a:pt x="425" y="1382"/>
                  </a:lnTo>
                  <a:lnTo>
                    <a:pt x="419" y="1405"/>
                  </a:lnTo>
                  <a:lnTo>
                    <a:pt x="419" y="1427"/>
                  </a:lnTo>
                  <a:lnTo>
                    <a:pt x="414" y="1427"/>
                  </a:lnTo>
                  <a:lnTo>
                    <a:pt x="407" y="1405"/>
                  </a:lnTo>
                  <a:lnTo>
                    <a:pt x="400" y="1480"/>
                  </a:lnTo>
                  <a:lnTo>
                    <a:pt x="407" y="1503"/>
                  </a:lnTo>
                  <a:lnTo>
                    <a:pt x="407" y="1515"/>
                  </a:lnTo>
                  <a:lnTo>
                    <a:pt x="419" y="1515"/>
                  </a:lnTo>
                  <a:lnTo>
                    <a:pt x="425" y="1503"/>
                  </a:lnTo>
                  <a:lnTo>
                    <a:pt x="438" y="1538"/>
                  </a:lnTo>
                  <a:lnTo>
                    <a:pt x="445" y="1559"/>
                  </a:lnTo>
                  <a:lnTo>
                    <a:pt x="451" y="1582"/>
                  </a:lnTo>
                  <a:lnTo>
                    <a:pt x="464" y="1582"/>
                  </a:lnTo>
                  <a:lnTo>
                    <a:pt x="445" y="1603"/>
                  </a:lnTo>
                  <a:lnTo>
                    <a:pt x="438" y="1594"/>
                  </a:lnTo>
                  <a:lnTo>
                    <a:pt x="425" y="1672"/>
                  </a:lnTo>
                  <a:lnTo>
                    <a:pt x="438" y="1682"/>
                  </a:lnTo>
                  <a:lnTo>
                    <a:pt x="451" y="1761"/>
                  </a:lnTo>
                  <a:lnTo>
                    <a:pt x="438" y="1749"/>
                  </a:lnTo>
                  <a:lnTo>
                    <a:pt x="433" y="1738"/>
                  </a:lnTo>
                  <a:lnTo>
                    <a:pt x="419" y="1738"/>
                  </a:lnTo>
                  <a:lnTo>
                    <a:pt x="407" y="1726"/>
                  </a:lnTo>
                  <a:lnTo>
                    <a:pt x="400" y="1726"/>
                  </a:lnTo>
                  <a:lnTo>
                    <a:pt x="395" y="1693"/>
                  </a:lnTo>
                  <a:lnTo>
                    <a:pt x="376" y="1717"/>
                  </a:lnTo>
                  <a:lnTo>
                    <a:pt x="364" y="1705"/>
                  </a:lnTo>
                  <a:lnTo>
                    <a:pt x="350" y="1693"/>
                  </a:lnTo>
                  <a:lnTo>
                    <a:pt x="326" y="1672"/>
                  </a:lnTo>
                  <a:lnTo>
                    <a:pt x="300" y="1672"/>
                  </a:lnTo>
                  <a:lnTo>
                    <a:pt x="276" y="1638"/>
                  </a:lnTo>
                  <a:lnTo>
                    <a:pt x="295" y="1594"/>
                  </a:lnTo>
                  <a:lnTo>
                    <a:pt x="300" y="1571"/>
                  </a:lnTo>
                  <a:lnTo>
                    <a:pt x="300" y="1538"/>
                  </a:lnTo>
                  <a:lnTo>
                    <a:pt x="300" y="1515"/>
                  </a:lnTo>
                  <a:lnTo>
                    <a:pt x="313" y="1515"/>
                  </a:lnTo>
                  <a:lnTo>
                    <a:pt x="308" y="1471"/>
                  </a:lnTo>
                  <a:lnTo>
                    <a:pt x="295" y="1459"/>
                  </a:lnTo>
                  <a:lnTo>
                    <a:pt x="281" y="1450"/>
                  </a:lnTo>
                  <a:lnTo>
                    <a:pt x="276" y="1450"/>
                  </a:lnTo>
                  <a:lnTo>
                    <a:pt x="250" y="1436"/>
                  </a:lnTo>
                  <a:lnTo>
                    <a:pt x="231" y="1405"/>
                  </a:lnTo>
                  <a:lnTo>
                    <a:pt x="220" y="1382"/>
                  </a:lnTo>
                  <a:lnTo>
                    <a:pt x="213" y="1348"/>
                  </a:lnTo>
                  <a:lnTo>
                    <a:pt x="194" y="1336"/>
                  </a:lnTo>
                  <a:lnTo>
                    <a:pt x="181" y="1348"/>
                  </a:lnTo>
                  <a:lnTo>
                    <a:pt x="175" y="1359"/>
                  </a:lnTo>
                  <a:lnTo>
                    <a:pt x="175" y="1348"/>
                  </a:lnTo>
                  <a:lnTo>
                    <a:pt x="163" y="1327"/>
                  </a:lnTo>
                  <a:lnTo>
                    <a:pt x="181" y="1327"/>
                  </a:lnTo>
                  <a:lnTo>
                    <a:pt x="181" y="1313"/>
                  </a:lnTo>
                  <a:lnTo>
                    <a:pt x="175" y="1304"/>
                  </a:lnTo>
                  <a:lnTo>
                    <a:pt x="175" y="1292"/>
                  </a:lnTo>
                  <a:lnTo>
                    <a:pt x="163" y="1248"/>
                  </a:lnTo>
                  <a:lnTo>
                    <a:pt x="151" y="1213"/>
                  </a:lnTo>
                  <a:lnTo>
                    <a:pt x="138" y="1213"/>
                  </a:lnTo>
                  <a:lnTo>
                    <a:pt x="120" y="1213"/>
                  </a:lnTo>
                  <a:lnTo>
                    <a:pt x="113" y="1204"/>
                  </a:lnTo>
                  <a:lnTo>
                    <a:pt x="101" y="1204"/>
                  </a:lnTo>
                  <a:lnTo>
                    <a:pt x="94" y="1204"/>
                  </a:lnTo>
                  <a:lnTo>
                    <a:pt x="88" y="1213"/>
                  </a:lnTo>
                  <a:lnTo>
                    <a:pt x="82" y="1236"/>
                  </a:lnTo>
                  <a:lnTo>
                    <a:pt x="75" y="1259"/>
                  </a:lnTo>
                  <a:lnTo>
                    <a:pt x="69" y="1292"/>
                  </a:lnTo>
                  <a:lnTo>
                    <a:pt x="64" y="1282"/>
                  </a:lnTo>
                  <a:lnTo>
                    <a:pt x="64" y="1269"/>
                  </a:lnTo>
                  <a:lnTo>
                    <a:pt x="0" y="124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15" name="Freeform 635"/>
            <p:cNvSpPr>
              <a:spLocks/>
            </p:cNvSpPr>
            <p:nvPr>
              <p:custDataLst>
                <p:tags r:id="rId509"/>
              </p:custDataLst>
            </p:nvPr>
          </p:nvSpPr>
          <p:spPr bwMode="auto">
            <a:xfrm>
              <a:off x="4850061" y="1973263"/>
              <a:ext cx="3897312" cy="1397000"/>
            </a:xfrm>
            <a:custGeom>
              <a:avLst/>
              <a:gdLst>
                <a:gd name="T0" fmla="*/ 2147483647 w 2659"/>
                <a:gd name="T1" fmla="*/ 2147483647 h 1761"/>
                <a:gd name="T2" fmla="*/ 2147483647 w 2659"/>
                <a:gd name="T3" fmla="*/ 2147483647 h 1761"/>
                <a:gd name="T4" fmla="*/ 2147483647 w 2659"/>
                <a:gd name="T5" fmla="*/ 2147483647 h 1761"/>
                <a:gd name="T6" fmla="*/ 2147483647 w 2659"/>
                <a:gd name="T7" fmla="*/ 2147483647 h 1761"/>
                <a:gd name="T8" fmla="*/ 2147483647 w 2659"/>
                <a:gd name="T9" fmla="*/ 2147483647 h 1761"/>
                <a:gd name="T10" fmla="*/ 2147483647 w 2659"/>
                <a:gd name="T11" fmla="*/ 2147483647 h 1761"/>
                <a:gd name="T12" fmla="*/ 2147483647 w 2659"/>
                <a:gd name="T13" fmla="*/ 2147483647 h 1761"/>
                <a:gd name="T14" fmla="*/ 2147483647 w 2659"/>
                <a:gd name="T15" fmla="*/ 2147483647 h 1761"/>
                <a:gd name="T16" fmla="*/ 2147483647 w 2659"/>
                <a:gd name="T17" fmla="*/ 2147483647 h 1761"/>
                <a:gd name="T18" fmla="*/ 2147483647 w 2659"/>
                <a:gd name="T19" fmla="*/ 2147483647 h 1761"/>
                <a:gd name="T20" fmla="*/ 2147483647 w 2659"/>
                <a:gd name="T21" fmla="*/ 2147483647 h 1761"/>
                <a:gd name="T22" fmla="*/ 2147483647 w 2659"/>
                <a:gd name="T23" fmla="*/ 2147483647 h 1761"/>
                <a:gd name="T24" fmla="*/ 2147483647 w 2659"/>
                <a:gd name="T25" fmla="*/ 2147483647 h 1761"/>
                <a:gd name="T26" fmla="*/ 2147483647 w 2659"/>
                <a:gd name="T27" fmla="*/ 2147483647 h 1761"/>
                <a:gd name="T28" fmla="*/ 2147483647 w 2659"/>
                <a:gd name="T29" fmla="*/ 2147483647 h 1761"/>
                <a:gd name="T30" fmla="*/ 2147483647 w 2659"/>
                <a:gd name="T31" fmla="*/ 2147483647 h 1761"/>
                <a:gd name="T32" fmla="*/ 2147483647 w 2659"/>
                <a:gd name="T33" fmla="*/ 2147483647 h 1761"/>
                <a:gd name="T34" fmla="*/ 2147483647 w 2659"/>
                <a:gd name="T35" fmla="*/ 2147483647 h 1761"/>
                <a:gd name="T36" fmla="*/ 2147483647 w 2659"/>
                <a:gd name="T37" fmla="*/ 2147483647 h 1761"/>
                <a:gd name="T38" fmla="*/ 2147483647 w 2659"/>
                <a:gd name="T39" fmla="*/ 2147483647 h 1761"/>
                <a:gd name="T40" fmla="*/ 2147483647 w 2659"/>
                <a:gd name="T41" fmla="*/ 2147483647 h 1761"/>
                <a:gd name="T42" fmla="*/ 2147483647 w 2659"/>
                <a:gd name="T43" fmla="*/ 2147483647 h 1761"/>
                <a:gd name="T44" fmla="*/ 2147483647 w 2659"/>
                <a:gd name="T45" fmla="*/ 2147483647 h 1761"/>
                <a:gd name="T46" fmla="*/ 2147483647 w 2659"/>
                <a:gd name="T47" fmla="*/ 2147483647 h 1761"/>
                <a:gd name="T48" fmla="*/ 2147483647 w 2659"/>
                <a:gd name="T49" fmla="*/ 2147483647 h 1761"/>
                <a:gd name="T50" fmla="*/ 2147483647 w 2659"/>
                <a:gd name="T51" fmla="*/ 2147483647 h 1761"/>
                <a:gd name="T52" fmla="*/ 2147483647 w 2659"/>
                <a:gd name="T53" fmla="*/ 2147483647 h 1761"/>
                <a:gd name="T54" fmla="*/ 2147483647 w 2659"/>
                <a:gd name="T55" fmla="*/ 2147483647 h 1761"/>
                <a:gd name="T56" fmla="*/ 2147483647 w 2659"/>
                <a:gd name="T57" fmla="*/ 2147483647 h 1761"/>
                <a:gd name="T58" fmla="*/ 2147483647 w 2659"/>
                <a:gd name="T59" fmla="*/ 2147483647 h 1761"/>
                <a:gd name="T60" fmla="*/ 2147483647 w 2659"/>
                <a:gd name="T61" fmla="*/ 2147483647 h 1761"/>
                <a:gd name="T62" fmla="*/ 2147483647 w 2659"/>
                <a:gd name="T63" fmla="*/ 2147483647 h 1761"/>
                <a:gd name="T64" fmla="*/ 2147483647 w 2659"/>
                <a:gd name="T65" fmla="*/ 2147483647 h 1761"/>
                <a:gd name="T66" fmla="*/ 2147483647 w 2659"/>
                <a:gd name="T67" fmla="*/ 2147483647 h 1761"/>
                <a:gd name="T68" fmla="*/ 2147483647 w 2659"/>
                <a:gd name="T69" fmla="*/ 2147483647 h 1761"/>
                <a:gd name="T70" fmla="*/ 2147483647 w 2659"/>
                <a:gd name="T71" fmla="*/ 2147483647 h 1761"/>
                <a:gd name="T72" fmla="*/ 2147483647 w 2659"/>
                <a:gd name="T73" fmla="*/ 2147483647 h 1761"/>
                <a:gd name="T74" fmla="*/ 2147483647 w 2659"/>
                <a:gd name="T75" fmla="*/ 2147483647 h 1761"/>
                <a:gd name="T76" fmla="*/ 2147483647 w 2659"/>
                <a:gd name="T77" fmla="*/ 2147483647 h 1761"/>
                <a:gd name="T78" fmla="*/ 2147483647 w 2659"/>
                <a:gd name="T79" fmla="*/ 2147483647 h 1761"/>
                <a:gd name="T80" fmla="*/ 2147483647 w 2659"/>
                <a:gd name="T81" fmla="*/ 2147483647 h 1761"/>
                <a:gd name="T82" fmla="*/ 2147483647 w 2659"/>
                <a:gd name="T83" fmla="*/ 2147483647 h 1761"/>
                <a:gd name="T84" fmla="*/ 2147483647 w 2659"/>
                <a:gd name="T85" fmla="*/ 2147483647 h 1761"/>
                <a:gd name="T86" fmla="*/ 2147483647 w 2659"/>
                <a:gd name="T87" fmla="*/ 2147483647 h 1761"/>
                <a:gd name="T88" fmla="*/ 2147483647 w 2659"/>
                <a:gd name="T89" fmla="*/ 2147483647 h 1761"/>
                <a:gd name="T90" fmla="*/ 2147483647 w 2659"/>
                <a:gd name="T91" fmla="*/ 2147483647 h 1761"/>
                <a:gd name="T92" fmla="*/ 2147483647 w 2659"/>
                <a:gd name="T93" fmla="*/ 2147483647 h 1761"/>
                <a:gd name="T94" fmla="*/ 2147483647 w 2659"/>
                <a:gd name="T95" fmla="*/ 2147483647 h 1761"/>
                <a:gd name="T96" fmla="*/ 2147483647 w 2659"/>
                <a:gd name="T97" fmla="*/ 2147483647 h 1761"/>
                <a:gd name="T98" fmla="*/ 2147483647 w 2659"/>
                <a:gd name="T99" fmla="*/ 2147483647 h 1761"/>
                <a:gd name="T100" fmla="*/ 2147483647 w 2659"/>
                <a:gd name="T101" fmla="*/ 2147483647 h 1761"/>
                <a:gd name="T102" fmla="*/ 2147483647 w 2659"/>
                <a:gd name="T103" fmla="*/ 2147483647 h 1761"/>
                <a:gd name="T104" fmla="*/ 2147483647 w 2659"/>
                <a:gd name="T105" fmla="*/ 2147483647 h 1761"/>
                <a:gd name="T106" fmla="*/ 2147483647 w 2659"/>
                <a:gd name="T107" fmla="*/ 2147483647 h 1761"/>
                <a:gd name="T108" fmla="*/ 2147483647 w 2659"/>
                <a:gd name="T109" fmla="*/ 2147483647 h 1761"/>
                <a:gd name="T110" fmla="*/ 2147483647 w 2659"/>
                <a:gd name="T111" fmla="*/ 2147483647 h 1761"/>
                <a:gd name="T112" fmla="*/ 2147483647 w 2659"/>
                <a:gd name="T113" fmla="*/ 2147483647 h 1761"/>
                <a:gd name="T114" fmla="*/ 2147483647 w 2659"/>
                <a:gd name="T115" fmla="*/ 2147483647 h 17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659" h="1761">
                  <a:moveTo>
                    <a:pt x="0" y="1248"/>
                  </a:moveTo>
                  <a:lnTo>
                    <a:pt x="25" y="1213"/>
                  </a:lnTo>
                  <a:lnTo>
                    <a:pt x="19" y="1225"/>
                  </a:lnTo>
                  <a:lnTo>
                    <a:pt x="25" y="1236"/>
                  </a:lnTo>
                  <a:lnTo>
                    <a:pt x="25" y="1148"/>
                  </a:lnTo>
                  <a:lnTo>
                    <a:pt x="32" y="1113"/>
                  </a:lnTo>
                  <a:lnTo>
                    <a:pt x="44" y="1104"/>
                  </a:lnTo>
                  <a:lnTo>
                    <a:pt x="75" y="1137"/>
                  </a:lnTo>
                  <a:lnTo>
                    <a:pt x="75" y="1069"/>
                  </a:lnTo>
                  <a:lnTo>
                    <a:pt x="69" y="1069"/>
                  </a:lnTo>
                  <a:lnTo>
                    <a:pt x="64" y="1037"/>
                  </a:lnTo>
                  <a:lnTo>
                    <a:pt x="170" y="992"/>
                  </a:lnTo>
                  <a:lnTo>
                    <a:pt x="144" y="981"/>
                  </a:lnTo>
                  <a:lnTo>
                    <a:pt x="144" y="967"/>
                  </a:lnTo>
                  <a:lnTo>
                    <a:pt x="125" y="967"/>
                  </a:lnTo>
                  <a:lnTo>
                    <a:pt x="189" y="870"/>
                  </a:lnTo>
                  <a:lnTo>
                    <a:pt x="163" y="758"/>
                  </a:lnTo>
                  <a:lnTo>
                    <a:pt x="170" y="701"/>
                  </a:lnTo>
                  <a:lnTo>
                    <a:pt x="151" y="647"/>
                  </a:lnTo>
                  <a:lnTo>
                    <a:pt x="163" y="612"/>
                  </a:lnTo>
                  <a:lnTo>
                    <a:pt x="144" y="568"/>
                  </a:lnTo>
                  <a:lnTo>
                    <a:pt x="151" y="533"/>
                  </a:lnTo>
                  <a:lnTo>
                    <a:pt x="175" y="489"/>
                  </a:lnTo>
                  <a:lnTo>
                    <a:pt x="194" y="489"/>
                  </a:lnTo>
                  <a:lnTo>
                    <a:pt x="213" y="503"/>
                  </a:lnTo>
                  <a:lnTo>
                    <a:pt x="194" y="503"/>
                  </a:lnTo>
                  <a:lnTo>
                    <a:pt x="213" y="524"/>
                  </a:lnTo>
                  <a:lnTo>
                    <a:pt x="257" y="524"/>
                  </a:lnTo>
                  <a:lnTo>
                    <a:pt x="338" y="612"/>
                  </a:lnTo>
                  <a:lnTo>
                    <a:pt x="338" y="656"/>
                  </a:lnTo>
                  <a:lnTo>
                    <a:pt x="308" y="691"/>
                  </a:lnTo>
                  <a:lnTo>
                    <a:pt x="194" y="647"/>
                  </a:lnTo>
                  <a:lnTo>
                    <a:pt x="239" y="701"/>
                  </a:lnTo>
                  <a:lnTo>
                    <a:pt x="239" y="779"/>
                  </a:lnTo>
                  <a:lnTo>
                    <a:pt x="281" y="814"/>
                  </a:lnTo>
                  <a:lnTo>
                    <a:pt x="295" y="802"/>
                  </a:lnTo>
                  <a:lnTo>
                    <a:pt x="289" y="779"/>
                  </a:lnTo>
                  <a:lnTo>
                    <a:pt x="269" y="770"/>
                  </a:lnTo>
                  <a:lnTo>
                    <a:pt x="276" y="747"/>
                  </a:lnTo>
                  <a:lnTo>
                    <a:pt x="295" y="770"/>
                  </a:lnTo>
                  <a:lnTo>
                    <a:pt x="338" y="779"/>
                  </a:lnTo>
                  <a:lnTo>
                    <a:pt x="313" y="724"/>
                  </a:lnTo>
                  <a:lnTo>
                    <a:pt x="358" y="668"/>
                  </a:lnTo>
                  <a:lnTo>
                    <a:pt x="388" y="701"/>
                  </a:lnTo>
                  <a:lnTo>
                    <a:pt x="382" y="578"/>
                  </a:lnTo>
                  <a:lnTo>
                    <a:pt x="376" y="556"/>
                  </a:lnTo>
                  <a:lnTo>
                    <a:pt x="419" y="578"/>
                  </a:lnTo>
                  <a:lnTo>
                    <a:pt x="425" y="601"/>
                  </a:lnTo>
                  <a:lnTo>
                    <a:pt x="395" y="624"/>
                  </a:lnTo>
                  <a:lnTo>
                    <a:pt x="425" y="656"/>
                  </a:lnTo>
                  <a:lnTo>
                    <a:pt x="445" y="612"/>
                  </a:lnTo>
                  <a:lnTo>
                    <a:pt x="539" y="533"/>
                  </a:lnTo>
                  <a:lnTo>
                    <a:pt x="551" y="533"/>
                  </a:lnTo>
                  <a:lnTo>
                    <a:pt x="539" y="547"/>
                  </a:lnTo>
                  <a:lnTo>
                    <a:pt x="551" y="578"/>
                  </a:lnTo>
                  <a:lnTo>
                    <a:pt x="613" y="533"/>
                  </a:lnTo>
                  <a:lnTo>
                    <a:pt x="632" y="568"/>
                  </a:lnTo>
                  <a:lnTo>
                    <a:pt x="644" y="547"/>
                  </a:lnTo>
                  <a:lnTo>
                    <a:pt x="639" y="503"/>
                  </a:lnTo>
                  <a:lnTo>
                    <a:pt x="644" y="489"/>
                  </a:lnTo>
                  <a:lnTo>
                    <a:pt x="695" y="512"/>
                  </a:lnTo>
                  <a:lnTo>
                    <a:pt x="764" y="578"/>
                  </a:lnTo>
                  <a:lnTo>
                    <a:pt x="777" y="547"/>
                  </a:lnTo>
                  <a:lnTo>
                    <a:pt x="758" y="512"/>
                  </a:lnTo>
                  <a:lnTo>
                    <a:pt x="739" y="503"/>
                  </a:lnTo>
                  <a:lnTo>
                    <a:pt x="745" y="445"/>
                  </a:lnTo>
                  <a:lnTo>
                    <a:pt x="732" y="434"/>
                  </a:lnTo>
                  <a:lnTo>
                    <a:pt x="739" y="411"/>
                  </a:lnTo>
                  <a:lnTo>
                    <a:pt x="764" y="380"/>
                  </a:lnTo>
                  <a:lnTo>
                    <a:pt x="777" y="311"/>
                  </a:lnTo>
                  <a:lnTo>
                    <a:pt x="814" y="311"/>
                  </a:lnTo>
                  <a:lnTo>
                    <a:pt x="827" y="311"/>
                  </a:lnTo>
                  <a:lnTo>
                    <a:pt x="814" y="389"/>
                  </a:lnTo>
                  <a:lnTo>
                    <a:pt x="827" y="424"/>
                  </a:lnTo>
                  <a:lnTo>
                    <a:pt x="827" y="533"/>
                  </a:lnTo>
                  <a:lnTo>
                    <a:pt x="838" y="568"/>
                  </a:lnTo>
                  <a:lnTo>
                    <a:pt x="838" y="612"/>
                  </a:lnTo>
                  <a:lnTo>
                    <a:pt x="807" y="635"/>
                  </a:lnTo>
                  <a:lnTo>
                    <a:pt x="819" y="647"/>
                  </a:lnTo>
                  <a:lnTo>
                    <a:pt x="783" y="656"/>
                  </a:lnTo>
                  <a:lnTo>
                    <a:pt x="819" y="691"/>
                  </a:lnTo>
                  <a:lnTo>
                    <a:pt x="857" y="612"/>
                  </a:lnTo>
                  <a:lnTo>
                    <a:pt x="857" y="556"/>
                  </a:lnTo>
                  <a:lnTo>
                    <a:pt x="870" y="547"/>
                  </a:lnTo>
                  <a:lnTo>
                    <a:pt x="888" y="533"/>
                  </a:lnTo>
                  <a:lnTo>
                    <a:pt x="902" y="568"/>
                  </a:lnTo>
                  <a:lnTo>
                    <a:pt x="902" y="601"/>
                  </a:lnTo>
                  <a:lnTo>
                    <a:pt x="926" y="612"/>
                  </a:lnTo>
                  <a:lnTo>
                    <a:pt x="907" y="601"/>
                  </a:lnTo>
                  <a:lnTo>
                    <a:pt x="914" y="578"/>
                  </a:lnTo>
                  <a:lnTo>
                    <a:pt x="907" y="547"/>
                  </a:lnTo>
                  <a:lnTo>
                    <a:pt x="845" y="524"/>
                  </a:lnTo>
                  <a:lnTo>
                    <a:pt x="857" y="445"/>
                  </a:lnTo>
                  <a:lnTo>
                    <a:pt x="838" y="389"/>
                  </a:lnTo>
                  <a:lnTo>
                    <a:pt x="864" y="345"/>
                  </a:lnTo>
                  <a:lnTo>
                    <a:pt x="864" y="311"/>
                  </a:lnTo>
                  <a:lnTo>
                    <a:pt x="876" y="334"/>
                  </a:lnTo>
                  <a:lnTo>
                    <a:pt x="870" y="401"/>
                  </a:lnTo>
                  <a:lnTo>
                    <a:pt x="876" y="411"/>
                  </a:lnTo>
                  <a:lnTo>
                    <a:pt x="920" y="424"/>
                  </a:lnTo>
                  <a:lnTo>
                    <a:pt x="883" y="366"/>
                  </a:lnTo>
                  <a:lnTo>
                    <a:pt x="907" y="380"/>
                  </a:lnTo>
                  <a:lnTo>
                    <a:pt x="902" y="357"/>
                  </a:lnTo>
                  <a:lnTo>
                    <a:pt x="920" y="345"/>
                  </a:lnTo>
                  <a:lnTo>
                    <a:pt x="994" y="389"/>
                  </a:lnTo>
                  <a:lnTo>
                    <a:pt x="983" y="411"/>
                  </a:lnTo>
                  <a:lnTo>
                    <a:pt x="976" y="457"/>
                  </a:lnTo>
                  <a:lnTo>
                    <a:pt x="994" y="480"/>
                  </a:lnTo>
                  <a:lnTo>
                    <a:pt x="1002" y="389"/>
                  </a:lnTo>
                  <a:lnTo>
                    <a:pt x="957" y="334"/>
                  </a:lnTo>
                  <a:lnTo>
                    <a:pt x="952" y="278"/>
                  </a:lnTo>
                  <a:lnTo>
                    <a:pt x="1044" y="245"/>
                  </a:lnTo>
                  <a:lnTo>
                    <a:pt x="1032" y="188"/>
                  </a:lnTo>
                  <a:lnTo>
                    <a:pt x="1044" y="201"/>
                  </a:lnTo>
                  <a:lnTo>
                    <a:pt x="1063" y="178"/>
                  </a:lnTo>
                  <a:lnTo>
                    <a:pt x="1052" y="178"/>
                  </a:lnTo>
                  <a:lnTo>
                    <a:pt x="1151" y="122"/>
                  </a:lnTo>
                  <a:lnTo>
                    <a:pt x="1146" y="111"/>
                  </a:lnTo>
                  <a:lnTo>
                    <a:pt x="1188" y="99"/>
                  </a:lnTo>
                  <a:lnTo>
                    <a:pt x="1188" y="122"/>
                  </a:lnTo>
                  <a:lnTo>
                    <a:pt x="1201" y="122"/>
                  </a:lnTo>
                  <a:lnTo>
                    <a:pt x="1233" y="99"/>
                  </a:lnTo>
                  <a:lnTo>
                    <a:pt x="1252" y="111"/>
                  </a:lnTo>
                  <a:lnTo>
                    <a:pt x="1233" y="90"/>
                  </a:lnTo>
                  <a:lnTo>
                    <a:pt x="1270" y="78"/>
                  </a:lnTo>
                  <a:lnTo>
                    <a:pt x="1277" y="44"/>
                  </a:lnTo>
                  <a:lnTo>
                    <a:pt x="1314" y="0"/>
                  </a:lnTo>
                  <a:lnTo>
                    <a:pt x="1352" y="34"/>
                  </a:lnTo>
                  <a:lnTo>
                    <a:pt x="1321" y="55"/>
                  </a:lnTo>
                  <a:lnTo>
                    <a:pt x="1371" y="55"/>
                  </a:lnTo>
                  <a:lnTo>
                    <a:pt x="1352" y="90"/>
                  </a:lnTo>
                  <a:lnTo>
                    <a:pt x="1427" y="65"/>
                  </a:lnTo>
                  <a:lnTo>
                    <a:pt x="1471" y="122"/>
                  </a:lnTo>
                  <a:lnTo>
                    <a:pt x="1463" y="144"/>
                  </a:lnTo>
                  <a:lnTo>
                    <a:pt x="1452" y="122"/>
                  </a:lnTo>
                  <a:lnTo>
                    <a:pt x="1471" y="144"/>
                  </a:lnTo>
                  <a:lnTo>
                    <a:pt x="1458" y="178"/>
                  </a:lnTo>
                  <a:lnTo>
                    <a:pt x="1314" y="334"/>
                  </a:lnTo>
                  <a:lnTo>
                    <a:pt x="1364" y="311"/>
                  </a:lnTo>
                  <a:lnTo>
                    <a:pt x="1352" y="290"/>
                  </a:lnTo>
                  <a:lnTo>
                    <a:pt x="1427" y="266"/>
                  </a:lnTo>
                  <a:lnTo>
                    <a:pt x="1402" y="266"/>
                  </a:lnTo>
                  <a:lnTo>
                    <a:pt x="1408" y="245"/>
                  </a:lnTo>
                  <a:lnTo>
                    <a:pt x="1452" y="266"/>
                  </a:lnTo>
                  <a:lnTo>
                    <a:pt x="1452" y="245"/>
                  </a:lnTo>
                  <a:lnTo>
                    <a:pt x="1463" y="290"/>
                  </a:lnTo>
                  <a:lnTo>
                    <a:pt x="1482" y="290"/>
                  </a:lnTo>
                  <a:lnTo>
                    <a:pt x="1463" y="278"/>
                  </a:lnTo>
                  <a:lnTo>
                    <a:pt x="1502" y="266"/>
                  </a:lnTo>
                  <a:lnTo>
                    <a:pt x="1546" y="278"/>
                  </a:lnTo>
                  <a:lnTo>
                    <a:pt x="1546" y="290"/>
                  </a:lnTo>
                  <a:lnTo>
                    <a:pt x="1583" y="311"/>
                  </a:lnTo>
                  <a:lnTo>
                    <a:pt x="1615" y="301"/>
                  </a:lnTo>
                  <a:lnTo>
                    <a:pt x="1615" y="257"/>
                  </a:lnTo>
                  <a:lnTo>
                    <a:pt x="1627" y="257"/>
                  </a:lnTo>
                  <a:lnTo>
                    <a:pt x="1715" y="301"/>
                  </a:lnTo>
                  <a:lnTo>
                    <a:pt x="1702" y="389"/>
                  </a:lnTo>
                  <a:lnTo>
                    <a:pt x="1740" y="445"/>
                  </a:lnTo>
                  <a:lnTo>
                    <a:pt x="1765" y="366"/>
                  </a:lnTo>
                  <a:lnTo>
                    <a:pt x="1776" y="401"/>
                  </a:lnTo>
                  <a:lnTo>
                    <a:pt x="1808" y="389"/>
                  </a:lnTo>
                  <a:lnTo>
                    <a:pt x="1845" y="411"/>
                  </a:lnTo>
                  <a:lnTo>
                    <a:pt x="1877" y="401"/>
                  </a:lnTo>
                  <a:lnTo>
                    <a:pt x="1877" y="366"/>
                  </a:lnTo>
                  <a:lnTo>
                    <a:pt x="1896" y="311"/>
                  </a:lnTo>
                  <a:lnTo>
                    <a:pt x="2027" y="357"/>
                  </a:lnTo>
                  <a:lnTo>
                    <a:pt x="2034" y="380"/>
                  </a:lnTo>
                  <a:lnTo>
                    <a:pt x="2015" y="389"/>
                  </a:lnTo>
                  <a:lnTo>
                    <a:pt x="2059" y="401"/>
                  </a:lnTo>
                  <a:lnTo>
                    <a:pt x="2071" y="434"/>
                  </a:lnTo>
                  <a:lnTo>
                    <a:pt x="2171" y="424"/>
                  </a:lnTo>
                  <a:lnTo>
                    <a:pt x="2190" y="457"/>
                  </a:lnTo>
                  <a:lnTo>
                    <a:pt x="2184" y="489"/>
                  </a:lnTo>
                  <a:lnTo>
                    <a:pt x="2209" y="512"/>
                  </a:lnTo>
                  <a:lnTo>
                    <a:pt x="2227" y="503"/>
                  </a:lnTo>
                  <a:lnTo>
                    <a:pt x="2296" y="512"/>
                  </a:lnTo>
                  <a:lnTo>
                    <a:pt x="2309" y="489"/>
                  </a:lnTo>
                  <a:lnTo>
                    <a:pt x="2321" y="524"/>
                  </a:lnTo>
                  <a:lnTo>
                    <a:pt x="2346" y="547"/>
                  </a:lnTo>
                  <a:lnTo>
                    <a:pt x="2359" y="533"/>
                  </a:lnTo>
                  <a:lnTo>
                    <a:pt x="2346" y="503"/>
                  </a:lnTo>
                  <a:lnTo>
                    <a:pt x="2353" y="480"/>
                  </a:lnTo>
                  <a:lnTo>
                    <a:pt x="2472" y="512"/>
                  </a:lnTo>
                  <a:lnTo>
                    <a:pt x="2553" y="612"/>
                  </a:lnTo>
                  <a:lnTo>
                    <a:pt x="2571" y="612"/>
                  </a:lnTo>
                  <a:lnTo>
                    <a:pt x="2590" y="679"/>
                  </a:lnTo>
                  <a:lnTo>
                    <a:pt x="2584" y="647"/>
                  </a:lnTo>
                  <a:lnTo>
                    <a:pt x="2596" y="635"/>
                  </a:lnTo>
                  <a:lnTo>
                    <a:pt x="2603" y="656"/>
                  </a:lnTo>
                  <a:lnTo>
                    <a:pt x="2629" y="647"/>
                  </a:lnTo>
                  <a:lnTo>
                    <a:pt x="2659" y="691"/>
                  </a:lnTo>
                  <a:lnTo>
                    <a:pt x="2615" y="735"/>
                  </a:lnTo>
                  <a:lnTo>
                    <a:pt x="2621" y="758"/>
                  </a:lnTo>
                  <a:lnTo>
                    <a:pt x="2609" y="770"/>
                  </a:lnTo>
                  <a:lnTo>
                    <a:pt x="2621" y="779"/>
                  </a:lnTo>
                  <a:lnTo>
                    <a:pt x="2590" y="779"/>
                  </a:lnTo>
                  <a:lnTo>
                    <a:pt x="2584" y="758"/>
                  </a:lnTo>
                  <a:lnTo>
                    <a:pt x="2571" y="770"/>
                  </a:lnTo>
                  <a:lnTo>
                    <a:pt x="2553" y="724"/>
                  </a:lnTo>
                  <a:lnTo>
                    <a:pt x="2521" y="724"/>
                  </a:lnTo>
                  <a:lnTo>
                    <a:pt x="2515" y="691"/>
                  </a:lnTo>
                  <a:lnTo>
                    <a:pt x="2521" y="679"/>
                  </a:lnTo>
                  <a:lnTo>
                    <a:pt x="2509" y="679"/>
                  </a:lnTo>
                  <a:lnTo>
                    <a:pt x="2503" y="691"/>
                  </a:lnTo>
                  <a:lnTo>
                    <a:pt x="2509" y="724"/>
                  </a:lnTo>
                  <a:lnTo>
                    <a:pt x="2503" y="747"/>
                  </a:lnTo>
                  <a:lnTo>
                    <a:pt x="2478" y="770"/>
                  </a:lnTo>
                  <a:lnTo>
                    <a:pt x="2459" y="770"/>
                  </a:lnTo>
                  <a:lnTo>
                    <a:pt x="2490" y="846"/>
                  </a:lnTo>
                  <a:lnTo>
                    <a:pt x="2484" y="879"/>
                  </a:lnTo>
                  <a:lnTo>
                    <a:pt x="2453" y="858"/>
                  </a:lnTo>
                  <a:lnTo>
                    <a:pt x="2453" y="870"/>
                  </a:lnTo>
                  <a:lnTo>
                    <a:pt x="2396" y="914"/>
                  </a:lnTo>
                  <a:lnTo>
                    <a:pt x="2346" y="1002"/>
                  </a:lnTo>
                  <a:lnTo>
                    <a:pt x="2314" y="967"/>
                  </a:lnTo>
                  <a:lnTo>
                    <a:pt x="2284" y="1002"/>
                  </a:lnTo>
                  <a:lnTo>
                    <a:pt x="2284" y="967"/>
                  </a:lnTo>
                  <a:lnTo>
                    <a:pt x="2265" y="1002"/>
                  </a:lnTo>
                  <a:lnTo>
                    <a:pt x="2245" y="1002"/>
                  </a:lnTo>
                  <a:lnTo>
                    <a:pt x="2221" y="1090"/>
                  </a:lnTo>
                  <a:lnTo>
                    <a:pt x="2240" y="1104"/>
                  </a:lnTo>
                  <a:lnTo>
                    <a:pt x="2234" y="1137"/>
                  </a:lnTo>
                  <a:lnTo>
                    <a:pt x="2240" y="1181"/>
                  </a:lnTo>
                  <a:lnTo>
                    <a:pt x="2221" y="1169"/>
                  </a:lnTo>
                  <a:lnTo>
                    <a:pt x="2215" y="1204"/>
                  </a:lnTo>
                  <a:lnTo>
                    <a:pt x="2221" y="1236"/>
                  </a:lnTo>
                  <a:lnTo>
                    <a:pt x="2184" y="1269"/>
                  </a:lnTo>
                  <a:lnTo>
                    <a:pt x="2190" y="1313"/>
                  </a:lnTo>
                  <a:lnTo>
                    <a:pt x="2165" y="1313"/>
                  </a:lnTo>
                  <a:lnTo>
                    <a:pt x="2158" y="1359"/>
                  </a:lnTo>
                  <a:lnTo>
                    <a:pt x="2140" y="1405"/>
                  </a:lnTo>
                  <a:lnTo>
                    <a:pt x="2121" y="1236"/>
                  </a:lnTo>
                  <a:lnTo>
                    <a:pt x="2121" y="1148"/>
                  </a:lnTo>
                  <a:lnTo>
                    <a:pt x="2140" y="1104"/>
                  </a:lnTo>
                  <a:lnTo>
                    <a:pt x="2165" y="1090"/>
                  </a:lnTo>
                  <a:lnTo>
                    <a:pt x="2221" y="981"/>
                  </a:lnTo>
                  <a:lnTo>
                    <a:pt x="2245" y="958"/>
                  </a:lnTo>
                  <a:lnTo>
                    <a:pt x="2252" y="893"/>
                  </a:lnTo>
                  <a:lnTo>
                    <a:pt x="2265" y="879"/>
                  </a:lnTo>
                  <a:lnTo>
                    <a:pt x="2245" y="870"/>
                  </a:lnTo>
                  <a:lnTo>
                    <a:pt x="2240" y="923"/>
                  </a:lnTo>
                  <a:lnTo>
                    <a:pt x="2190" y="967"/>
                  </a:lnTo>
                  <a:lnTo>
                    <a:pt x="2196" y="902"/>
                  </a:lnTo>
                  <a:lnTo>
                    <a:pt x="2146" y="914"/>
                  </a:lnTo>
                  <a:lnTo>
                    <a:pt x="2096" y="1002"/>
                  </a:lnTo>
                  <a:lnTo>
                    <a:pt x="2109" y="1037"/>
                  </a:lnTo>
                  <a:lnTo>
                    <a:pt x="2059" y="1046"/>
                  </a:lnTo>
                  <a:lnTo>
                    <a:pt x="2052" y="1037"/>
                  </a:lnTo>
                  <a:lnTo>
                    <a:pt x="2065" y="1037"/>
                  </a:lnTo>
                  <a:lnTo>
                    <a:pt x="2027" y="1014"/>
                  </a:lnTo>
                  <a:lnTo>
                    <a:pt x="2015" y="1037"/>
                  </a:lnTo>
                  <a:lnTo>
                    <a:pt x="1921" y="1037"/>
                  </a:lnTo>
                  <a:lnTo>
                    <a:pt x="1802" y="1236"/>
                  </a:lnTo>
                  <a:lnTo>
                    <a:pt x="1827" y="1248"/>
                  </a:lnTo>
                  <a:lnTo>
                    <a:pt x="1827" y="1282"/>
                  </a:lnTo>
                  <a:lnTo>
                    <a:pt x="1840" y="1259"/>
                  </a:lnTo>
                  <a:lnTo>
                    <a:pt x="1840" y="1292"/>
                  </a:lnTo>
                  <a:lnTo>
                    <a:pt x="1852" y="1269"/>
                  </a:lnTo>
                  <a:lnTo>
                    <a:pt x="1852" y="1292"/>
                  </a:lnTo>
                  <a:lnTo>
                    <a:pt x="1858" y="1259"/>
                  </a:lnTo>
                  <a:lnTo>
                    <a:pt x="1877" y="1259"/>
                  </a:lnTo>
                  <a:lnTo>
                    <a:pt x="1896" y="1304"/>
                  </a:lnTo>
                  <a:lnTo>
                    <a:pt x="1877" y="1304"/>
                  </a:lnTo>
                  <a:lnTo>
                    <a:pt x="1896" y="1327"/>
                  </a:lnTo>
                  <a:lnTo>
                    <a:pt x="1902" y="1348"/>
                  </a:lnTo>
                  <a:lnTo>
                    <a:pt x="1883" y="1415"/>
                  </a:lnTo>
                  <a:lnTo>
                    <a:pt x="1883" y="1503"/>
                  </a:lnTo>
                  <a:lnTo>
                    <a:pt x="1802" y="1705"/>
                  </a:lnTo>
                  <a:lnTo>
                    <a:pt x="1776" y="1738"/>
                  </a:lnTo>
                  <a:lnTo>
                    <a:pt x="1752" y="1705"/>
                  </a:lnTo>
                  <a:lnTo>
                    <a:pt x="1733" y="1749"/>
                  </a:lnTo>
                  <a:lnTo>
                    <a:pt x="1733" y="1738"/>
                  </a:lnTo>
                  <a:lnTo>
                    <a:pt x="1740" y="1705"/>
                  </a:lnTo>
                  <a:lnTo>
                    <a:pt x="1740" y="1661"/>
                  </a:lnTo>
                  <a:lnTo>
                    <a:pt x="1771" y="1638"/>
                  </a:lnTo>
                  <a:lnTo>
                    <a:pt x="1796" y="1503"/>
                  </a:lnTo>
                  <a:lnTo>
                    <a:pt x="1740" y="1538"/>
                  </a:lnTo>
                  <a:lnTo>
                    <a:pt x="1733" y="1480"/>
                  </a:lnTo>
                  <a:lnTo>
                    <a:pt x="1683" y="1459"/>
                  </a:lnTo>
                  <a:lnTo>
                    <a:pt x="1652" y="1313"/>
                  </a:lnTo>
                  <a:lnTo>
                    <a:pt x="1620" y="1292"/>
                  </a:lnTo>
                  <a:lnTo>
                    <a:pt x="1565" y="1327"/>
                  </a:lnTo>
                  <a:lnTo>
                    <a:pt x="1577" y="1359"/>
                  </a:lnTo>
                  <a:lnTo>
                    <a:pt x="1551" y="1436"/>
                  </a:lnTo>
                  <a:lnTo>
                    <a:pt x="1532" y="1459"/>
                  </a:lnTo>
                  <a:lnTo>
                    <a:pt x="1508" y="1450"/>
                  </a:lnTo>
                  <a:lnTo>
                    <a:pt x="1482" y="1436"/>
                  </a:lnTo>
                  <a:lnTo>
                    <a:pt x="1408" y="1471"/>
                  </a:lnTo>
                  <a:lnTo>
                    <a:pt x="1339" y="1415"/>
                  </a:lnTo>
                  <a:lnTo>
                    <a:pt x="1302" y="1427"/>
                  </a:lnTo>
                  <a:lnTo>
                    <a:pt x="1283" y="1382"/>
                  </a:lnTo>
                  <a:lnTo>
                    <a:pt x="1246" y="1348"/>
                  </a:lnTo>
                  <a:lnTo>
                    <a:pt x="1220" y="1382"/>
                  </a:lnTo>
                  <a:lnTo>
                    <a:pt x="1220" y="1436"/>
                  </a:lnTo>
                  <a:lnTo>
                    <a:pt x="1127" y="1415"/>
                  </a:lnTo>
                  <a:lnTo>
                    <a:pt x="1077" y="1471"/>
                  </a:lnTo>
                  <a:lnTo>
                    <a:pt x="1052" y="1494"/>
                  </a:lnTo>
                  <a:lnTo>
                    <a:pt x="1020" y="1450"/>
                  </a:lnTo>
                  <a:lnTo>
                    <a:pt x="994" y="1471"/>
                  </a:lnTo>
                  <a:lnTo>
                    <a:pt x="957" y="1450"/>
                  </a:lnTo>
                  <a:lnTo>
                    <a:pt x="944" y="1436"/>
                  </a:lnTo>
                  <a:lnTo>
                    <a:pt x="933" y="1392"/>
                  </a:lnTo>
                  <a:lnTo>
                    <a:pt x="907" y="1392"/>
                  </a:lnTo>
                  <a:lnTo>
                    <a:pt x="902" y="1405"/>
                  </a:lnTo>
                  <a:lnTo>
                    <a:pt x="883" y="1371"/>
                  </a:lnTo>
                  <a:lnTo>
                    <a:pt x="870" y="1371"/>
                  </a:lnTo>
                  <a:lnTo>
                    <a:pt x="864" y="1382"/>
                  </a:lnTo>
                  <a:lnTo>
                    <a:pt x="819" y="1313"/>
                  </a:lnTo>
                  <a:lnTo>
                    <a:pt x="807" y="1304"/>
                  </a:lnTo>
                  <a:lnTo>
                    <a:pt x="777" y="1248"/>
                  </a:lnTo>
                  <a:lnTo>
                    <a:pt x="751" y="1282"/>
                  </a:lnTo>
                  <a:lnTo>
                    <a:pt x="745" y="1259"/>
                  </a:lnTo>
                  <a:lnTo>
                    <a:pt x="701" y="1259"/>
                  </a:lnTo>
                  <a:lnTo>
                    <a:pt x="689" y="1213"/>
                  </a:lnTo>
                  <a:lnTo>
                    <a:pt x="663" y="1213"/>
                  </a:lnTo>
                  <a:lnTo>
                    <a:pt x="658" y="1236"/>
                  </a:lnTo>
                  <a:lnTo>
                    <a:pt x="632" y="1248"/>
                  </a:lnTo>
                  <a:lnTo>
                    <a:pt x="620" y="1236"/>
                  </a:lnTo>
                  <a:lnTo>
                    <a:pt x="613" y="1269"/>
                  </a:lnTo>
                  <a:lnTo>
                    <a:pt x="601" y="1259"/>
                  </a:lnTo>
                  <a:lnTo>
                    <a:pt x="570" y="1269"/>
                  </a:lnTo>
                  <a:lnTo>
                    <a:pt x="557" y="1259"/>
                  </a:lnTo>
                  <a:lnTo>
                    <a:pt x="557" y="1269"/>
                  </a:lnTo>
                  <a:lnTo>
                    <a:pt x="570" y="1304"/>
                  </a:lnTo>
                  <a:lnTo>
                    <a:pt x="563" y="1327"/>
                  </a:lnTo>
                  <a:lnTo>
                    <a:pt x="563" y="1359"/>
                  </a:lnTo>
                  <a:lnTo>
                    <a:pt x="583" y="1359"/>
                  </a:lnTo>
                  <a:lnTo>
                    <a:pt x="589" y="1382"/>
                  </a:lnTo>
                  <a:lnTo>
                    <a:pt x="583" y="1405"/>
                  </a:lnTo>
                  <a:lnTo>
                    <a:pt x="570" y="1392"/>
                  </a:lnTo>
                  <a:lnTo>
                    <a:pt x="557" y="1405"/>
                  </a:lnTo>
                  <a:lnTo>
                    <a:pt x="551" y="1392"/>
                  </a:lnTo>
                  <a:lnTo>
                    <a:pt x="544" y="1371"/>
                  </a:lnTo>
                  <a:lnTo>
                    <a:pt x="533" y="1382"/>
                  </a:lnTo>
                  <a:lnTo>
                    <a:pt x="520" y="1371"/>
                  </a:lnTo>
                  <a:lnTo>
                    <a:pt x="514" y="1392"/>
                  </a:lnTo>
                  <a:lnTo>
                    <a:pt x="494" y="1392"/>
                  </a:lnTo>
                  <a:lnTo>
                    <a:pt x="488" y="1371"/>
                  </a:lnTo>
                  <a:lnTo>
                    <a:pt x="438" y="1371"/>
                  </a:lnTo>
                  <a:lnTo>
                    <a:pt x="433" y="1382"/>
                  </a:lnTo>
                  <a:lnTo>
                    <a:pt x="425" y="1382"/>
                  </a:lnTo>
                  <a:lnTo>
                    <a:pt x="419" y="1405"/>
                  </a:lnTo>
                  <a:lnTo>
                    <a:pt x="419" y="1427"/>
                  </a:lnTo>
                  <a:lnTo>
                    <a:pt x="414" y="1427"/>
                  </a:lnTo>
                  <a:lnTo>
                    <a:pt x="407" y="1405"/>
                  </a:lnTo>
                  <a:lnTo>
                    <a:pt x="400" y="1480"/>
                  </a:lnTo>
                  <a:lnTo>
                    <a:pt x="407" y="1503"/>
                  </a:lnTo>
                  <a:lnTo>
                    <a:pt x="407" y="1515"/>
                  </a:lnTo>
                  <a:lnTo>
                    <a:pt x="419" y="1515"/>
                  </a:lnTo>
                  <a:lnTo>
                    <a:pt x="425" y="1503"/>
                  </a:lnTo>
                  <a:lnTo>
                    <a:pt x="438" y="1538"/>
                  </a:lnTo>
                  <a:lnTo>
                    <a:pt x="445" y="1559"/>
                  </a:lnTo>
                  <a:lnTo>
                    <a:pt x="451" y="1582"/>
                  </a:lnTo>
                  <a:lnTo>
                    <a:pt x="464" y="1582"/>
                  </a:lnTo>
                  <a:lnTo>
                    <a:pt x="445" y="1603"/>
                  </a:lnTo>
                  <a:lnTo>
                    <a:pt x="438" y="1594"/>
                  </a:lnTo>
                  <a:lnTo>
                    <a:pt x="425" y="1672"/>
                  </a:lnTo>
                  <a:lnTo>
                    <a:pt x="438" y="1682"/>
                  </a:lnTo>
                  <a:lnTo>
                    <a:pt x="451" y="1761"/>
                  </a:lnTo>
                  <a:lnTo>
                    <a:pt x="438" y="1749"/>
                  </a:lnTo>
                  <a:lnTo>
                    <a:pt x="433" y="1738"/>
                  </a:lnTo>
                  <a:lnTo>
                    <a:pt x="419" y="1738"/>
                  </a:lnTo>
                  <a:lnTo>
                    <a:pt x="407" y="1726"/>
                  </a:lnTo>
                  <a:lnTo>
                    <a:pt x="400" y="1726"/>
                  </a:lnTo>
                  <a:lnTo>
                    <a:pt x="395" y="1693"/>
                  </a:lnTo>
                  <a:lnTo>
                    <a:pt x="376" y="1717"/>
                  </a:lnTo>
                  <a:lnTo>
                    <a:pt x="364" y="1705"/>
                  </a:lnTo>
                  <a:lnTo>
                    <a:pt x="350" y="1693"/>
                  </a:lnTo>
                  <a:lnTo>
                    <a:pt x="326" y="1672"/>
                  </a:lnTo>
                  <a:lnTo>
                    <a:pt x="300" y="1672"/>
                  </a:lnTo>
                  <a:lnTo>
                    <a:pt x="276" y="1638"/>
                  </a:lnTo>
                  <a:lnTo>
                    <a:pt x="295" y="1594"/>
                  </a:lnTo>
                  <a:lnTo>
                    <a:pt x="300" y="1571"/>
                  </a:lnTo>
                  <a:lnTo>
                    <a:pt x="300" y="1538"/>
                  </a:lnTo>
                  <a:lnTo>
                    <a:pt x="300" y="1515"/>
                  </a:lnTo>
                  <a:lnTo>
                    <a:pt x="313" y="1515"/>
                  </a:lnTo>
                  <a:lnTo>
                    <a:pt x="308" y="1471"/>
                  </a:lnTo>
                  <a:lnTo>
                    <a:pt x="295" y="1459"/>
                  </a:lnTo>
                  <a:lnTo>
                    <a:pt x="281" y="1450"/>
                  </a:lnTo>
                  <a:lnTo>
                    <a:pt x="276" y="1450"/>
                  </a:lnTo>
                  <a:lnTo>
                    <a:pt x="250" y="1436"/>
                  </a:lnTo>
                  <a:lnTo>
                    <a:pt x="231" y="1405"/>
                  </a:lnTo>
                  <a:lnTo>
                    <a:pt x="220" y="1382"/>
                  </a:lnTo>
                  <a:lnTo>
                    <a:pt x="213" y="1348"/>
                  </a:lnTo>
                  <a:lnTo>
                    <a:pt x="194" y="1336"/>
                  </a:lnTo>
                  <a:lnTo>
                    <a:pt x="181" y="1348"/>
                  </a:lnTo>
                  <a:lnTo>
                    <a:pt x="175" y="1359"/>
                  </a:lnTo>
                  <a:lnTo>
                    <a:pt x="175" y="1348"/>
                  </a:lnTo>
                  <a:lnTo>
                    <a:pt x="163" y="1327"/>
                  </a:lnTo>
                  <a:lnTo>
                    <a:pt x="181" y="1327"/>
                  </a:lnTo>
                  <a:lnTo>
                    <a:pt x="181" y="1313"/>
                  </a:lnTo>
                  <a:lnTo>
                    <a:pt x="175" y="1304"/>
                  </a:lnTo>
                  <a:lnTo>
                    <a:pt x="175" y="1292"/>
                  </a:lnTo>
                  <a:lnTo>
                    <a:pt x="163" y="1248"/>
                  </a:lnTo>
                  <a:lnTo>
                    <a:pt x="151" y="1213"/>
                  </a:lnTo>
                  <a:lnTo>
                    <a:pt x="138" y="1213"/>
                  </a:lnTo>
                  <a:lnTo>
                    <a:pt x="120" y="1213"/>
                  </a:lnTo>
                  <a:lnTo>
                    <a:pt x="113" y="1204"/>
                  </a:lnTo>
                  <a:lnTo>
                    <a:pt x="101" y="1204"/>
                  </a:lnTo>
                  <a:lnTo>
                    <a:pt x="94" y="1204"/>
                  </a:lnTo>
                  <a:lnTo>
                    <a:pt x="88" y="1213"/>
                  </a:lnTo>
                  <a:lnTo>
                    <a:pt x="82" y="1236"/>
                  </a:lnTo>
                  <a:lnTo>
                    <a:pt x="75" y="1259"/>
                  </a:lnTo>
                  <a:lnTo>
                    <a:pt x="69" y="1292"/>
                  </a:lnTo>
                  <a:lnTo>
                    <a:pt x="64" y="1282"/>
                  </a:lnTo>
                  <a:lnTo>
                    <a:pt x="64" y="1269"/>
                  </a:lnTo>
                  <a:lnTo>
                    <a:pt x="0" y="124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16" name="Freeform 636"/>
            <p:cNvSpPr>
              <a:spLocks/>
            </p:cNvSpPr>
            <p:nvPr>
              <p:custDataLst>
                <p:tags r:id="rId510"/>
              </p:custDataLst>
            </p:nvPr>
          </p:nvSpPr>
          <p:spPr bwMode="auto">
            <a:xfrm>
              <a:off x="5464423" y="1797050"/>
              <a:ext cx="119063" cy="52388"/>
            </a:xfrm>
            <a:custGeom>
              <a:avLst/>
              <a:gdLst>
                <a:gd name="T0" fmla="*/ 0 w 81"/>
                <a:gd name="T1" fmla="*/ 2147483647 h 65"/>
                <a:gd name="T2" fmla="*/ 2147483647 w 81"/>
                <a:gd name="T3" fmla="*/ 2147483647 h 65"/>
                <a:gd name="T4" fmla="*/ 2147483647 w 81"/>
                <a:gd name="T5" fmla="*/ 2147483647 h 65"/>
                <a:gd name="T6" fmla="*/ 2147483647 w 81"/>
                <a:gd name="T7" fmla="*/ 0 h 65"/>
                <a:gd name="T8" fmla="*/ 2147483647 w 81"/>
                <a:gd name="T9" fmla="*/ 0 h 65"/>
                <a:gd name="T10" fmla="*/ 2147483647 w 81"/>
                <a:gd name="T11" fmla="*/ 2147483647 h 65"/>
                <a:gd name="T12" fmla="*/ 2147483647 w 81"/>
                <a:gd name="T13" fmla="*/ 2147483647 h 65"/>
                <a:gd name="T14" fmla="*/ 2147483647 w 81"/>
                <a:gd name="T15" fmla="*/ 2147483647 h 65"/>
                <a:gd name="T16" fmla="*/ 2147483647 w 81"/>
                <a:gd name="T17" fmla="*/ 2147483647 h 65"/>
                <a:gd name="T18" fmla="*/ 2147483647 w 81"/>
                <a:gd name="T19" fmla="*/ 2147483647 h 65"/>
                <a:gd name="T20" fmla="*/ 0 w 81"/>
                <a:gd name="T21" fmla="*/ 2147483647 h 6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65">
                  <a:moveTo>
                    <a:pt x="0" y="44"/>
                  </a:moveTo>
                  <a:lnTo>
                    <a:pt x="19" y="30"/>
                  </a:lnTo>
                  <a:lnTo>
                    <a:pt x="6" y="9"/>
                  </a:lnTo>
                  <a:lnTo>
                    <a:pt x="63" y="0"/>
                  </a:lnTo>
                  <a:lnTo>
                    <a:pt x="75" y="0"/>
                  </a:lnTo>
                  <a:lnTo>
                    <a:pt x="63" y="9"/>
                  </a:lnTo>
                  <a:lnTo>
                    <a:pt x="81" y="9"/>
                  </a:lnTo>
                  <a:lnTo>
                    <a:pt x="31" y="53"/>
                  </a:lnTo>
                  <a:lnTo>
                    <a:pt x="19" y="65"/>
                  </a:lnTo>
                  <a:lnTo>
                    <a:pt x="19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17" name="Freeform 637"/>
            <p:cNvSpPr>
              <a:spLocks/>
            </p:cNvSpPr>
            <p:nvPr>
              <p:custDataLst>
                <p:tags r:id="rId511"/>
              </p:custDataLst>
            </p:nvPr>
          </p:nvSpPr>
          <p:spPr bwMode="auto">
            <a:xfrm>
              <a:off x="5464423" y="1797050"/>
              <a:ext cx="119063" cy="52388"/>
            </a:xfrm>
            <a:custGeom>
              <a:avLst/>
              <a:gdLst>
                <a:gd name="T0" fmla="*/ 0 w 81"/>
                <a:gd name="T1" fmla="*/ 2147483647 h 65"/>
                <a:gd name="T2" fmla="*/ 2147483647 w 81"/>
                <a:gd name="T3" fmla="*/ 2147483647 h 65"/>
                <a:gd name="T4" fmla="*/ 2147483647 w 81"/>
                <a:gd name="T5" fmla="*/ 2147483647 h 65"/>
                <a:gd name="T6" fmla="*/ 2147483647 w 81"/>
                <a:gd name="T7" fmla="*/ 0 h 65"/>
                <a:gd name="T8" fmla="*/ 2147483647 w 81"/>
                <a:gd name="T9" fmla="*/ 0 h 65"/>
                <a:gd name="T10" fmla="*/ 2147483647 w 81"/>
                <a:gd name="T11" fmla="*/ 2147483647 h 65"/>
                <a:gd name="T12" fmla="*/ 2147483647 w 81"/>
                <a:gd name="T13" fmla="*/ 2147483647 h 65"/>
                <a:gd name="T14" fmla="*/ 2147483647 w 81"/>
                <a:gd name="T15" fmla="*/ 2147483647 h 65"/>
                <a:gd name="T16" fmla="*/ 2147483647 w 81"/>
                <a:gd name="T17" fmla="*/ 2147483647 h 65"/>
                <a:gd name="T18" fmla="*/ 2147483647 w 81"/>
                <a:gd name="T19" fmla="*/ 2147483647 h 65"/>
                <a:gd name="T20" fmla="*/ 0 w 81"/>
                <a:gd name="T21" fmla="*/ 2147483647 h 6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65">
                  <a:moveTo>
                    <a:pt x="0" y="44"/>
                  </a:moveTo>
                  <a:lnTo>
                    <a:pt x="19" y="30"/>
                  </a:lnTo>
                  <a:lnTo>
                    <a:pt x="6" y="9"/>
                  </a:lnTo>
                  <a:lnTo>
                    <a:pt x="63" y="0"/>
                  </a:lnTo>
                  <a:lnTo>
                    <a:pt x="75" y="0"/>
                  </a:lnTo>
                  <a:lnTo>
                    <a:pt x="63" y="9"/>
                  </a:lnTo>
                  <a:lnTo>
                    <a:pt x="81" y="9"/>
                  </a:lnTo>
                  <a:lnTo>
                    <a:pt x="31" y="53"/>
                  </a:lnTo>
                  <a:lnTo>
                    <a:pt x="19" y="65"/>
                  </a:lnTo>
                  <a:lnTo>
                    <a:pt x="19" y="44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18" name="Freeform 638"/>
            <p:cNvSpPr>
              <a:spLocks/>
            </p:cNvSpPr>
            <p:nvPr>
              <p:custDataLst>
                <p:tags r:id="rId512"/>
              </p:custDataLst>
            </p:nvPr>
          </p:nvSpPr>
          <p:spPr bwMode="auto">
            <a:xfrm>
              <a:off x="5464423" y="1797050"/>
              <a:ext cx="119063" cy="52388"/>
            </a:xfrm>
            <a:custGeom>
              <a:avLst/>
              <a:gdLst>
                <a:gd name="T0" fmla="*/ 0 w 81"/>
                <a:gd name="T1" fmla="*/ 2147483647 h 65"/>
                <a:gd name="T2" fmla="*/ 2147483647 w 81"/>
                <a:gd name="T3" fmla="*/ 2147483647 h 65"/>
                <a:gd name="T4" fmla="*/ 2147483647 w 81"/>
                <a:gd name="T5" fmla="*/ 2147483647 h 65"/>
                <a:gd name="T6" fmla="*/ 2147483647 w 81"/>
                <a:gd name="T7" fmla="*/ 0 h 65"/>
                <a:gd name="T8" fmla="*/ 2147483647 w 81"/>
                <a:gd name="T9" fmla="*/ 0 h 65"/>
                <a:gd name="T10" fmla="*/ 2147483647 w 81"/>
                <a:gd name="T11" fmla="*/ 2147483647 h 65"/>
                <a:gd name="T12" fmla="*/ 2147483647 w 81"/>
                <a:gd name="T13" fmla="*/ 2147483647 h 65"/>
                <a:gd name="T14" fmla="*/ 2147483647 w 81"/>
                <a:gd name="T15" fmla="*/ 2147483647 h 65"/>
                <a:gd name="T16" fmla="*/ 2147483647 w 81"/>
                <a:gd name="T17" fmla="*/ 2147483647 h 65"/>
                <a:gd name="T18" fmla="*/ 2147483647 w 81"/>
                <a:gd name="T19" fmla="*/ 2147483647 h 65"/>
                <a:gd name="T20" fmla="*/ 0 w 81"/>
                <a:gd name="T21" fmla="*/ 2147483647 h 6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65">
                  <a:moveTo>
                    <a:pt x="0" y="44"/>
                  </a:moveTo>
                  <a:lnTo>
                    <a:pt x="19" y="30"/>
                  </a:lnTo>
                  <a:lnTo>
                    <a:pt x="6" y="9"/>
                  </a:lnTo>
                  <a:lnTo>
                    <a:pt x="63" y="0"/>
                  </a:lnTo>
                  <a:lnTo>
                    <a:pt x="75" y="0"/>
                  </a:lnTo>
                  <a:lnTo>
                    <a:pt x="63" y="9"/>
                  </a:lnTo>
                  <a:lnTo>
                    <a:pt x="81" y="9"/>
                  </a:lnTo>
                  <a:lnTo>
                    <a:pt x="31" y="53"/>
                  </a:lnTo>
                  <a:lnTo>
                    <a:pt x="19" y="65"/>
                  </a:lnTo>
                  <a:lnTo>
                    <a:pt x="19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19" name="Freeform 639"/>
            <p:cNvSpPr>
              <a:spLocks/>
            </p:cNvSpPr>
            <p:nvPr>
              <p:custDataLst>
                <p:tags r:id="rId513"/>
              </p:custDataLst>
            </p:nvPr>
          </p:nvSpPr>
          <p:spPr bwMode="auto">
            <a:xfrm>
              <a:off x="5464423" y="1797050"/>
              <a:ext cx="119063" cy="52388"/>
            </a:xfrm>
            <a:custGeom>
              <a:avLst/>
              <a:gdLst>
                <a:gd name="T0" fmla="*/ 0 w 81"/>
                <a:gd name="T1" fmla="*/ 2147483647 h 65"/>
                <a:gd name="T2" fmla="*/ 2147483647 w 81"/>
                <a:gd name="T3" fmla="*/ 2147483647 h 65"/>
                <a:gd name="T4" fmla="*/ 2147483647 w 81"/>
                <a:gd name="T5" fmla="*/ 2147483647 h 65"/>
                <a:gd name="T6" fmla="*/ 2147483647 w 81"/>
                <a:gd name="T7" fmla="*/ 0 h 65"/>
                <a:gd name="T8" fmla="*/ 2147483647 w 81"/>
                <a:gd name="T9" fmla="*/ 0 h 65"/>
                <a:gd name="T10" fmla="*/ 2147483647 w 81"/>
                <a:gd name="T11" fmla="*/ 2147483647 h 65"/>
                <a:gd name="T12" fmla="*/ 2147483647 w 81"/>
                <a:gd name="T13" fmla="*/ 2147483647 h 65"/>
                <a:gd name="T14" fmla="*/ 2147483647 w 81"/>
                <a:gd name="T15" fmla="*/ 2147483647 h 65"/>
                <a:gd name="T16" fmla="*/ 2147483647 w 81"/>
                <a:gd name="T17" fmla="*/ 2147483647 h 65"/>
                <a:gd name="T18" fmla="*/ 2147483647 w 81"/>
                <a:gd name="T19" fmla="*/ 2147483647 h 65"/>
                <a:gd name="T20" fmla="*/ 0 w 81"/>
                <a:gd name="T21" fmla="*/ 2147483647 h 6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65">
                  <a:moveTo>
                    <a:pt x="0" y="44"/>
                  </a:moveTo>
                  <a:lnTo>
                    <a:pt x="19" y="30"/>
                  </a:lnTo>
                  <a:lnTo>
                    <a:pt x="6" y="9"/>
                  </a:lnTo>
                  <a:lnTo>
                    <a:pt x="63" y="0"/>
                  </a:lnTo>
                  <a:lnTo>
                    <a:pt x="75" y="0"/>
                  </a:lnTo>
                  <a:lnTo>
                    <a:pt x="63" y="9"/>
                  </a:lnTo>
                  <a:lnTo>
                    <a:pt x="81" y="9"/>
                  </a:lnTo>
                  <a:lnTo>
                    <a:pt x="31" y="53"/>
                  </a:lnTo>
                  <a:lnTo>
                    <a:pt x="19" y="65"/>
                  </a:lnTo>
                  <a:lnTo>
                    <a:pt x="19" y="44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20" name="Freeform 640"/>
            <p:cNvSpPr>
              <a:spLocks/>
            </p:cNvSpPr>
            <p:nvPr>
              <p:custDataLst>
                <p:tags r:id="rId514"/>
              </p:custDataLst>
            </p:nvPr>
          </p:nvSpPr>
          <p:spPr bwMode="auto">
            <a:xfrm>
              <a:off x="5510461" y="2379663"/>
              <a:ext cx="34925" cy="26987"/>
            </a:xfrm>
            <a:custGeom>
              <a:avLst/>
              <a:gdLst>
                <a:gd name="T0" fmla="*/ 0 w 24"/>
                <a:gd name="T1" fmla="*/ 2147483647 h 35"/>
                <a:gd name="T2" fmla="*/ 2147483647 w 24"/>
                <a:gd name="T3" fmla="*/ 0 h 35"/>
                <a:gd name="T4" fmla="*/ 2147483647 w 24"/>
                <a:gd name="T5" fmla="*/ 2147483647 h 35"/>
                <a:gd name="T6" fmla="*/ 0 w 2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35">
                  <a:moveTo>
                    <a:pt x="0" y="35"/>
                  </a:moveTo>
                  <a:lnTo>
                    <a:pt x="7" y="0"/>
                  </a:lnTo>
                  <a:lnTo>
                    <a:pt x="24" y="21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21" name="Freeform 641"/>
            <p:cNvSpPr>
              <a:spLocks/>
            </p:cNvSpPr>
            <p:nvPr>
              <p:custDataLst>
                <p:tags r:id="rId515"/>
              </p:custDataLst>
            </p:nvPr>
          </p:nvSpPr>
          <p:spPr bwMode="auto">
            <a:xfrm>
              <a:off x="5510461" y="2379663"/>
              <a:ext cx="34925" cy="26987"/>
            </a:xfrm>
            <a:custGeom>
              <a:avLst/>
              <a:gdLst>
                <a:gd name="T0" fmla="*/ 0 w 24"/>
                <a:gd name="T1" fmla="*/ 2147483647 h 35"/>
                <a:gd name="T2" fmla="*/ 2147483647 w 24"/>
                <a:gd name="T3" fmla="*/ 0 h 35"/>
                <a:gd name="T4" fmla="*/ 2147483647 w 24"/>
                <a:gd name="T5" fmla="*/ 2147483647 h 35"/>
                <a:gd name="T6" fmla="*/ 0 w 2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35">
                  <a:moveTo>
                    <a:pt x="0" y="35"/>
                  </a:moveTo>
                  <a:lnTo>
                    <a:pt x="7" y="0"/>
                  </a:lnTo>
                  <a:lnTo>
                    <a:pt x="24" y="21"/>
                  </a:lnTo>
                  <a:lnTo>
                    <a:pt x="0" y="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22" name="Freeform 642"/>
            <p:cNvSpPr>
              <a:spLocks/>
            </p:cNvSpPr>
            <p:nvPr>
              <p:custDataLst>
                <p:tags r:id="rId516"/>
              </p:custDataLst>
            </p:nvPr>
          </p:nvSpPr>
          <p:spPr bwMode="auto">
            <a:xfrm>
              <a:off x="5510461" y="2379663"/>
              <a:ext cx="34925" cy="26987"/>
            </a:xfrm>
            <a:custGeom>
              <a:avLst/>
              <a:gdLst>
                <a:gd name="T0" fmla="*/ 0 w 24"/>
                <a:gd name="T1" fmla="*/ 2147483647 h 35"/>
                <a:gd name="T2" fmla="*/ 2147483647 w 24"/>
                <a:gd name="T3" fmla="*/ 0 h 35"/>
                <a:gd name="T4" fmla="*/ 2147483647 w 24"/>
                <a:gd name="T5" fmla="*/ 2147483647 h 35"/>
                <a:gd name="T6" fmla="*/ 0 w 2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35">
                  <a:moveTo>
                    <a:pt x="0" y="35"/>
                  </a:moveTo>
                  <a:lnTo>
                    <a:pt x="7" y="0"/>
                  </a:lnTo>
                  <a:lnTo>
                    <a:pt x="24" y="21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23" name="Freeform 643"/>
            <p:cNvSpPr>
              <a:spLocks/>
            </p:cNvSpPr>
            <p:nvPr>
              <p:custDataLst>
                <p:tags r:id="rId517"/>
              </p:custDataLst>
            </p:nvPr>
          </p:nvSpPr>
          <p:spPr bwMode="auto">
            <a:xfrm>
              <a:off x="5510461" y="2379663"/>
              <a:ext cx="34925" cy="26987"/>
            </a:xfrm>
            <a:custGeom>
              <a:avLst/>
              <a:gdLst>
                <a:gd name="T0" fmla="*/ 0 w 24"/>
                <a:gd name="T1" fmla="*/ 2147483647 h 35"/>
                <a:gd name="T2" fmla="*/ 2147483647 w 24"/>
                <a:gd name="T3" fmla="*/ 0 h 35"/>
                <a:gd name="T4" fmla="*/ 2147483647 w 24"/>
                <a:gd name="T5" fmla="*/ 2147483647 h 35"/>
                <a:gd name="T6" fmla="*/ 0 w 2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35">
                  <a:moveTo>
                    <a:pt x="0" y="35"/>
                  </a:moveTo>
                  <a:lnTo>
                    <a:pt x="7" y="0"/>
                  </a:lnTo>
                  <a:lnTo>
                    <a:pt x="24" y="21"/>
                  </a:lnTo>
                  <a:lnTo>
                    <a:pt x="0" y="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24" name="Freeform 644"/>
            <p:cNvSpPr>
              <a:spLocks/>
            </p:cNvSpPr>
            <p:nvPr>
              <p:custDataLst>
                <p:tags r:id="rId518"/>
              </p:custDataLst>
            </p:nvPr>
          </p:nvSpPr>
          <p:spPr bwMode="auto">
            <a:xfrm>
              <a:off x="5583486" y="2203450"/>
              <a:ext cx="138112" cy="114300"/>
            </a:xfrm>
            <a:custGeom>
              <a:avLst/>
              <a:gdLst>
                <a:gd name="T0" fmla="*/ 0 w 94"/>
                <a:gd name="T1" fmla="*/ 2147483647 h 144"/>
                <a:gd name="T2" fmla="*/ 2147483647 w 94"/>
                <a:gd name="T3" fmla="*/ 2147483647 h 144"/>
                <a:gd name="T4" fmla="*/ 2147483647 w 94"/>
                <a:gd name="T5" fmla="*/ 2147483647 h 144"/>
                <a:gd name="T6" fmla="*/ 2147483647 w 94"/>
                <a:gd name="T7" fmla="*/ 2147483647 h 144"/>
                <a:gd name="T8" fmla="*/ 2147483647 w 94"/>
                <a:gd name="T9" fmla="*/ 2147483647 h 144"/>
                <a:gd name="T10" fmla="*/ 2147483647 w 94"/>
                <a:gd name="T11" fmla="*/ 2147483647 h 144"/>
                <a:gd name="T12" fmla="*/ 2147483647 w 94"/>
                <a:gd name="T13" fmla="*/ 2147483647 h 144"/>
                <a:gd name="T14" fmla="*/ 2147483647 w 94"/>
                <a:gd name="T15" fmla="*/ 2147483647 h 144"/>
                <a:gd name="T16" fmla="*/ 2147483647 w 94"/>
                <a:gd name="T17" fmla="*/ 2147483647 h 144"/>
                <a:gd name="T18" fmla="*/ 2147483647 w 94"/>
                <a:gd name="T19" fmla="*/ 2147483647 h 144"/>
                <a:gd name="T20" fmla="*/ 2147483647 w 94"/>
                <a:gd name="T21" fmla="*/ 0 h 144"/>
                <a:gd name="T22" fmla="*/ 2147483647 w 94"/>
                <a:gd name="T23" fmla="*/ 2147483647 h 144"/>
                <a:gd name="T24" fmla="*/ 2147483647 w 94"/>
                <a:gd name="T25" fmla="*/ 2147483647 h 144"/>
                <a:gd name="T26" fmla="*/ 0 w 94"/>
                <a:gd name="T27" fmla="*/ 2147483647 h 14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4" h="144">
                  <a:moveTo>
                    <a:pt x="0" y="76"/>
                  </a:moveTo>
                  <a:lnTo>
                    <a:pt x="7" y="111"/>
                  </a:lnTo>
                  <a:lnTo>
                    <a:pt x="19" y="99"/>
                  </a:lnTo>
                  <a:lnTo>
                    <a:pt x="32" y="111"/>
                  </a:lnTo>
                  <a:lnTo>
                    <a:pt x="38" y="111"/>
                  </a:lnTo>
                  <a:lnTo>
                    <a:pt x="38" y="144"/>
                  </a:lnTo>
                  <a:lnTo>
                    <a:pt x="94" y="144"/>
                  </a:lnTo>
                  <a:lnTo>
                    <a:pt x="69" y="121"/>
                  </a:lnTo>
                  <a:lnTo>
                    <a:pt x="57" y="76"/>
                  </a:lnTo>
                  <a:lnTo>
                    <a:pt x="63" y="32"/>
                  </a:lnTo>
                  <a:lnTo>
                    <a:pt x="75" y="0"/>
                  </a:lnTo>
                  <a:lnTo>
                    <a:pt x="25" y="11"/>
                  </a:lnTo>
                  <a:lnTo>
                    <a:pt x="14" y="76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25" name="Freeform 645"/>
            <p:cNvSpPr>
              <a:spLocks/>
            </p:cNvSpPr>
            <p:nvPr>
              <p:custDataLst>
                <p:tags r:id="rId519"/>
              </p:custDataLst>
            </p:nvPr>
          </p:nvSpPr>
          <p:spPr bwMode="auto">
            <a:xfrm>
              <a:off x="5583486" y="2203450"/>
              <a:ext cx="138112" cy="114300"/>
            </a:xfrm>
            <a:custGeom>
              <a:avLst/>
              <a:gdLst>
                <a:gd name="T0" fmla="*/ 0 w 94"/>
                <a:gd name="T1" fmla="*/ 2147483647 h 144"/>
                <a:gd name="T2" fmla="*/ 2147483647 w 94"/>
                <a:gd name="T3" fmla="*/ 2147483647 h 144"/>
                <a:gd name="T4" fmla="*/ 2147483647 w 94"/>
                <a:gd name="T5" fmla="*/ 2147483647 h 144"/>
                <a:gd name="T6" fmla="*/ 2147483647 w 94"/>
                <a:gd name="T7" fmla="*/ 2147483647 h 144"/>
                <a:gd name="T8" fmla="*/ 2147483647 w 94"/>
                <a:gd name="T9" fmla="*/ 2147483647 h 144"/>
                <a:gd name="T10" fmla="*/ 2147483647 w 94"/>
                <a:gd name="T11" fmla="*/ 2147483647 h 144"/>
                <a:gd name="T12" fmla="*/ 2147483647 w 94"/>
                <a:gd name="T13" fmla="*/ 2147483647 h 144"/>
                <a:gd name="T14" fmla="*/ 2147483647 w 94"/>
                <a:gd name="T15" fmla="*/ 2147483647 h 144"/>
                <a:gd name="T16" fmla="*/ 2147483647 w 94"/>
                <a:gd name="T17" fmla="*/ 2147483647 h 144"/>
                <a:gd name="T18" fmla="*/ 2147483647 w 94"/>
                <a:gd name="T19" fmla="*/ 2147483647 h 144"/>
                <a:gd name="T20" fmla="*/ 2147483647 w 94"/>
                <a:gd name="T21" fmla="*/ 0 h 144"/>
                <a:gd name="T22" fmla="*/ 2147483647 w 94"/>
                <a:gd name="T23" fmla="*/ 2147483647 h 144"/>
                <a:gd name="T24" fmla="*/ 2147483647 w 94"/>
                <a:gd name="T25" fmla="*/ 2147483647 h 144"/>
                <a:gd name="T26" fmla="*/ 0 w 94"/>
                <a:gd name="T27" fmla="*/ 2147483647 h 14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4" h="144">
                  <a:moveTo>
                    <a:pt x="0" y="76"/>
                  </a:moveTo>
                  <a:lnTo>
                    <a:pt x="7" y="111"/>
                  </a:lnTo>
                  <a:lnTo>
                    <a:pt x="19" y="99"/>
                  </a:lnTo>
                  <a:lnTo>
                    <a:pt x="32" y="111"/>
                  </a:lnTo>
                  <a:lnTo>
                    <a:pt x="38" y="111"/>
                  </a:lnTo>
                  <a:lnTo>
                    <a:pt x="38" y="144"/>
                  </a:lnTo>
                  <a:lnTo>
                    <a:pt x="94" y="144"/>
                  </a:lnTo>
                  <a:lnTo>
                    <a:pt x="69" y="121"/>
                  </a:lnTo>
                  <a:lnTo>
                    <a:pt x="57" y="76"/>
                  </a:lnTo>
                  <a:lnTo>
                    <a:pt x="63" y="32"/>
                  </a:lnTo>
                  <a:lnTo>
                    <a:pt x="75" y="0"/>
                  </a:lnTo>
                  <a:lnTo>
                    <a:pt x="25" y="11"/>
                  </a:lnTo>
                  <a:lnTo>
                    <a:pt x="14" y="76"/>
                  </a:lnTo>
                  <a:lnTo>
                    <a:pt x="0" y="7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26" name="Freeform 646"/>
            <p:cNvSpPr>
              <a:spLocks/>
            </p:cNvSpPr>
            <p:nvPr>
              <p:custDataLst>
                <p:tags r:id="rId520"/>
              </p:custDataLst>
            </p:nvPr>
          </p:nvSpPr>
          <p:spPr bwMode="auto">
            <a:xfrm>
              <a:off x="5583486" y="2203450"/>
              <a:ext cx="138112" cy="114300"/>
            </a:xfrm>
            <a:custGeom>
              <a:avLst/>
              <a:gdLst>
                <a:gd name="T0" fmla="*/ 0 w 94"/>
                <a:gd name="T1" fmla="*/ 2147483647 h 144"/>
                <a:gd name="T2" fmla="*/ 2147483647 w 94"/>
                <a:gd name="T3" fmla="*/ 2147483647 h 144"/>
                <a:gd name="T4" fmla="*/ 2147483647 w 94"/>
                <a:gd name="T5" fmla="*/ 2147483647 h 144"/>
                <a:gd name="T6" fmla="*/ 2147483647 w 94"/>
                <a:gd name="T7" fmla="*/ 2147483647 h 144"/>
                <a:gd name="T8" fmla="*/ 2147483647 w 94"/>
                <a:gd name="T9" fmla="*/ 2147483647 h 144"/>
                <a:gd name="T10" fmla="*/ 2147483647 w 94"/>
                <a:gd name="T11" fmla="*/ 2147483647 h 144"/>
                <a:gd name="T12" fmla="*/ 2147483647 w 94"/>
                <a:gd name="T13" fmla="*/ 2147483647 h 144"/>
                <a:gd name="T14" fmla="*/ 2147483647 w 94"/>
                <a:gd name="T15" fmla="*/ 2147483647 h 144"/>
                <a:gd name="T16" fmla="*/ 2147483647 w 94"/>
                <a:gd name="T17" fmla="*/ 2147483647 h 144"/>
                <a:gd name="T18" fmla="*/ 2147483647 w 94"/>
                <a:gd name="T19" fmla="*/ 2147483647 h 144"/>
                <a:gd name="T20" fmla="*/ 2147483647 w 94"/>
                <a:gd name="T21" fmla="*/ 0 h 144"/>
                <a:gd name="T22" fmla="*/ 2147483647 w 94"/>
                <a:gd name="T23" fmla="*/ 2147483647 h 144"/>
                <a:gd name="T24" fmla="*/ 2147483647 w 94"/>
                <a:gd name="T25" fmla="*/ 2147483647 h 144"/>
                <a:gd name="T26" fmla="*/ 0 w 94"/>
                <a:gd name="T27" fmla="*/ 2147483647 h 14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4" h="144">
                  <a:moveTo>
                    <a:pt x="0" y="76"/>
                  </a:moveTo>
                  <a:lnTo>
                    <a:pt x="7" y="111"/>
                  </a:lnTo>
                  <a:lnTo>
                    <a:pt x="19" y="99"/>
                  </a:lnTo>
                  <a:lnTo>
                    <a:pt x="32" y="111"/>
                  </a:lnTo>
                  <a:lnTo>
                    <a:pt x="38" y="111"/>
                  </a:lnTo>
                  <a:lnTo>
                    <a:pt x="38" y="144"/>
                  </a:lnTo>
                  <a:lnTo>
                    <a:pt x="94" y="144"/>
                  </a:lnTo>
                  <a:lnTo>
                    <a:pt x="69" y="121"/>
                  </a:lnTo>
                  <a:lnTo>
                    <a:pt x="57" y="76"/>
                  </a:lnTo>
                  <a:lnTo>
                    <a:pt x="63" y="32"/>
                  </a:lnTo>
                  <a:lnTo>
                    <a:pt x="75" y="0"/>
                  </a:lnTo>
                  <a:lnTo>
                    <a:pt x="25" y="11"/>
                  </a:lnTo>
                  <a:lnTo>
                    <a:pt x="14" y="76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27" name="Freeform 647"/>
            <p:cNvSpPr>
              <a:spLocks/>
            </p:cNvSpPr>
            <p:nvPr>
              <p:custDataLst>
                <p:tags r:id="rId521"/>
              </p:custDataLst>
            </p:nvPr>
          </p:nvSpPr>
          <p:spPr bwMode="auto">
            <a:xfrm>
              <a:off x="5583486" y="2203450"/>
              <a:ext cx="138112" cy="114300"/>
            </a:xfrm>
            <a:custGeom>
              <a:avLst/>
              <a:gdLst>
                <a:gd name="T0" fmla="*/ 0 w 94"/>
                <a:gd name="T1" fmla="*/ 2147483647 h 144"/>
                <a:gd name="T2" fmla="*/ 2147483647 w 94"/>
                <a:gd name="T3" fmla="*/ 2147483647 h 144"/>
                <a:gd name="T4" fmla="*/ 2147483647 w 94"/>
                <a:gd name="T5" fmla="*/ 2147483647 h 144"/>
                <a:gd name="T6" fmla="*/ 2147483647 w 94"/>
                <a:gd name="T7" fmla="*/ 2147483647 h 144"/>
                <a:gd name="T8" fmla="*/ 2147483647 w 94"/>
                <a:gd name="T9" fmla="*/ 2147483647 h 144"/>
                <a:gd name="T10" fmla="*/ 2147483647 w 94"/>
                <a:gd name="T11" fmla="*/ 2147483647 h 144"/>
                <a:gd name="T12" fmla="*/ 2147483647 w 94"/>
                <a:gd name="T13" fmla="*/ 2147483647 h 144"/>
                <a:gd name="T14" fmla="*/ 2147483647 w 94"/>
                <a:gd name="T15" fmla="*/ 2147483647 h 144"/>
                <a:gd name="T16" fmla="*/ 2147483647 w 94"/>
                <a:gd name="T17" fmla="*/ 2147483647 h 144"/>
                <a:gd name="T18" fmla="*/ 2147483647 w 94"/>
                <a:gd name="T19" fmla="*/ 2147483647 h 144"/>
                <a:gd name="T20" fmla="*/ 2147483647 w 94"/>
                <a:gd name="T21" fmla="*/ 0 h 144"/>
                <a:gd name="T22" fmla="*/ 2147483647 w 94"/>
                <a:gd name="T23" fmla="*/ 2147483647 h 144"/>
                <a:gd name="T24" fmla="*/ 2147483647 w 94"/>
                <a:gd name="T25" fmla="*/ 2147483647 h 144"/>
                <a:gd name="T26" fmla="*/ 0 w 94"/>
                <a:gd name="T27" fmla="*/ 2147483647 h 14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4" h="144">
                  <a:moveTo>
                    <a:pt x="0" y="76"/>
                  </a:moveTo>
                  <a:lnTo>
                    <a:pt x="7" y="111"/>
                  </a:lnTo>
                  <a:lnTo>
                    <a:pt x="19" y="99"/>
                  </a:lnTo>
                  <a:lnTo>
                    <a:pt x="32" y="111"/>
                  </a:lnTo>
                  <a:lnTo>
                    <a:pt x="38" y="111"/>
                  </a:lnTo>
                  <a:lnTo>
                    <a:pt x="38" y="144"/>
                  </a:lnTo>
                  <a:lnTo>
                    <a:pt x="94" y="144"/>
                  </a:lnTo>
                  <a:lnTo>
                    <a:pt x="69" y="121"/>
                  </a:lnTo>
                  <a:lnTo>
                    <a:pt x="57" y="76"/>
                  </a:lnTo>
                  <a:lnTo>
                    <a:pt x="63" y="32"/>
                  </a:lnTo>
                  <a:lnTo>
                    <a:pt x="75" y="0"/>
                  </a:lnTo>
                  <a:lnTo>
                    <a:pt x="25" y="11"/>
                  </a:lnTo>
                  <a:lnTo>
                    <a:pt x="14" y="76"/>
                  </a:lnTo>
                  <a:lnTo>
                    <a:pt x="0" y="7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28" name="Freeform 648"/>
            <p:cNvSpPr>
              <a:spLocks/>
            </p:cNvSpPr>
            <p:nvPr>
              <p:custDataLst>
                <p:tags r:id="rId522"/>
              </p:custDataLst>
            </p:nvPr>
          </p:nvSpPr>
          <p:spPr bwMode="auto">
            <a:xfrm>
              <a:off x="5629523" y="2017713"/>
              <a:ext cx="360363" cy="185737"/>
            </a:xfrm>
            <a:custGeom>
              <a:avLst/>
              <a:gdLst>
                <a:gd name="T0" fmla="*/ 0 w 245"/>
                <a:gd name="T1" fmla="*/ 2147483647 h 235"/>
                <a:gd name="T2" fmla="*/ 2147483647 w 245"/>
                <a:gd name="T3" fmla="*/ 2147483647 h 235"/>
                <a:gd name="T4" fmla="*/ 2147483647 w 245"/>
                <a:gd name="T5" fmla="*/ 2147483647 h 235"/>
                <a:gd name="T6" fmla="*/ 2147483647 w 245"/>
                <a:gd name="T7" fmla="*/ 2147483647 h 235"/>
                <a:gd name="T8" fmla="*/ 2147483647 w 245"/>
                <a:gd name="T9" fmla="*/ 2147483647 h 235"/>
                <a:gd name="T10" fmla="*/ 2147483647 w 245"/>
                <a:gd name="T11" fmla="*/ 2147483647 h 235"/>
                <a:gd name="T12" fmla="*/ 2147483647 w 245"/>
                <a:gd name="T13" fmla="*/ 2147483647 h 235"/>
                <a:gd name="T14" fmla="*/ 2147483647 w 245"/>
                <a:gd name="T15" fmla="*/ 2147483647 h 235"/>
                <a:gd name="T16" fmla="*/ 2147483647 w 245"/>
                <a:gd name="T17" fmla="*/ 2147483647 h 235"/>
                <a:gd name="T18" fmla="*/ 2147483647 w 245"/>
                <a:gd name="T19" fmla="*/ 2147483647 h 235"/>
                <a:gd name="T20" fmla="*/ 2147483647 w 245"/>
                <a:gd name="T21" fmla="*/ 2147483647 h 235"/>
                <a:gd name="T22" fmla="*/ 2147483647 w 245"/>
                <a:gd name="T23" fmla="*/ 2147483647 h 235"/>
                <a:gd name="T24" fmla="*/ 2147483647 w 245"/>
                <a:gd name="T25" fmla="*/ 2147483647 h 235"/>
                <a:gd name="T26" fmla="*/ 2147483647 w 245"/>
                <a:gd name="T27" fmla="*/ 2147483647 h 235"/>
                <a:gd name="T28" fmla="*/ 2147483647 w 245"/>
                <a:gd name="T29" fmla="*/ 2147483647 h 235"/>
                <a:gd name="T30" fmla="*/ 2147483647 w 245"/>
                <a:gd name="T31" fmla="*/ 2147483647 h 235"/>
                <a:gd name="T32" fmla="*/ 2147483647 w 245"/>
                <a:gd name="T33" fmla="*/ 2147483647 h 235"/>
                <a:gd name="T34" fmla="*/ 2147483647 w 245"/>
                <a:gd name="T35" fmla="*/ 2147483647 h 235"/>
                <a:gd name="T36" fmla="*/ 2147483647 w 245"/>
                <a:gd name="T37" fmla="*/ 0 h 235"/>
                <a:gd name="T38" fmla="*/ 2147483647 w 245"/>
                <a:gd name="T39" fmla="*/ 2147483647 h 235"/>
                <a:gd name="T40" fmla="*/ 2147483647 w 245"/>
                <a:gd name="T41" fmla="*/ 2147483647 h 235"/>
                <a:gd name="T42" fmla="*/ 2147483647 w 245"/>
                <a:gd name="T43" fmla="*/ 2147483647 h 235"/>
                <a:gd name="T44" fmla="*/ 2147483647 w 245"/>
                <a:gd name="T45" fmla="*/ 2147483647 h 235"/>
                <a:gd name="T46" fmla="*/ 2147483647 w 245"/>
                <a:gd name="T47" fmla="*/ 2147483647 h 235"/>
                <a:gd name="T48" fmla="*/ 2147483647 w 245"/>
                <a:gd name="T49" fmla="*/ 2147483647 h 235"/>
                <a:gd name="T50" fmla="*/ 2147483647 w 245"/>
                <a:gd name="T51" fmla="*/ 2147483647 h 235"/>
                <a:gd name="T52" fmla="*/ 2147483647 w 245"/>
                <a:gd name="T53" fmla="*/ 2147483647 h 235"/>
                <a:gd name="T54" fmla="*/ 2147483647 w 245"/>
                <a:gd name="T55" fmla="*/ 2147483647 h 235"/>
                <a:gd name="T56" fmla="*/ 2147483647 w 245"/>
                <a:gd name="T57" fmla="*/ 2147483647 h 235"/>
                <a:gd name="T58" fmla="*/ 0 w 245"/>
                <a:gd name="T59" fmla="*/ 2147483647 h 2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45" h="235">
                  <a:moveTo>
                    <a:pt x="0" y="202"/>
                  </a:moveTo>
                  <a:lnTo>
                    <a:pt x="25" y="211"/>
                  </a:lnTo>
                  <a:lnTo>
                    <a:pt x="12" y="235"/>
                  </a:lnTo>
                  <a:lnTo>
                    <a:pt x="51" y="235"/>
                  </a:lnTo>
                  <a:lnTo>
                    <a:pt x="51" y="211"/>
                  </a:lnTo>
                  <a:lnTo>
                    <a:pt x="62" y="211"/>
                  </a:lnTo>
                  <a:lnTo>
                    <a:pt x="51" y="202"/>
                  </a:lnTo>
                  <a:lnTo>
                    <a:pt x="69" y="202"/>
                  </a:lnTo>
                  <a:lnTo>
                    <a:pt x="62" y="167"/>
                  </a:lnTo>
                  <a:lnTo>
                    <a:pt x="69" y="190"/>
                  </a:lnTo>
                  <a:lnTo>
                    <a:pt x="81" y="167"/>
                  </a:lnTo>
                  <a:lnTo>
                    <a:pt x="75" y="158"/>
                  </a:lnTo>
                  <a:lnTo>
                    <a:pt x="100" y="158"/>
                  </a:lnTo>
                  <a:lnTo>
                    <a:pt x="93" y="146"/>
                  </a:lnTo>
                  <a:lnTo>
                    <a:pt x="107" y="146"/>
                  </a:lnTo>
                  <a:lnTo>
                    <a:pt x="112" y="123"/>
                  </a:lnTo>
                  <a:lnTo>
                    <a:pt x="232" y="44"/>
                  </a:lnTo>
                  <a:lnTo>
                    <a:pt x="245" y="23"/>
                  </a:lnTo>
                  <a:lnTo>
                    <a:pt x="219" y="0"/>
                  </a:lnTo>
                  <a:lnTo>
                    <a:pt x="169" y="44"/>
                  </a:lnTo>
                  <a:lnTo>
                    <a:pt x="118" y="44"/>
                  </a:lnTo>
                  <a:lnTo>
                    <a:pt x="62" y="114"/>
                  </a:lnTo>
                  <a:lnTo>
                    <a:pt x="31" y="114"/>
                  </a:lnTo>
                  <a:lnTo>
                    <a:pt x="31" y="146"/>
                  </a:lnTo>
                  <a:lnTo>
                    <a:pt x="51" y="146"/>
                  </a:lnTo>
                  <a:lnTo>
                    <a:pt x="31" y="146"/>
                  </a:lnTo>
                  <a:lnTo>
                    <a:pt x="37" y="158"/>
                  </a:lnTo>
                  <a:lnTo>
                    <a:pt x="25" y="167"/>
                  </a:lnTo>
                  <a:lnTo>
                    <a:pt x="37" y="19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29" name="Freeform 649"/>
            <p:cNvSpPr>
              <a:spLocks/>
            </p:cNvSpPr>
            <p:nvPr>
              <p:custDataLst>
                <p:tags r:id="rId523"/>
              </p:custDataLst>
            </p:nvPr>
          </p:nvSpPr>
          <p:spPr bwMode="auto">
            <a:xfrm>
              <a:off x="5629523" y="2017713"/>
              <a:ext cx="360363" cy="185737"/>
            </a:xfrm>
            <a:custGeom>
              <a:avLst/>
              <a:gdLst>
                <a:gd name="T0" fmla="*/ 0 w 245"/>
                <a:gd name="T1" fmla="*/ 2147483647 h 235"/>
                <a:gd name="T2" fmla="*/ 2147483647 w 245"/>
                <a:gd name="T3" fmla="*/ 2147483647 h 235"/>
                <a:gd name="T4" fmla="*/ 2147483647 w 245"/>
                <a:gd name="T5" fmla="*/ 2147483647 h 235"/>
                <a:gd name="T6" fmla="*/ 2147483647 w 245"/>
                <a:gd name="T7" fmla="*/ 2147483647 h 235"/>
                <a:gd name="T8" fmla="*/ 2147483647 w 245"/>
                <a:gd name="T9" fmla="*/ 2147483647 h 235"/>
                <a:gd name="T10" fmla="*/ 2147483647 w 245"/>
                <a:gd name="T11" fmla="*/ 2147483647 h 235"/>
                <a:gd name="T12" fmla="*/ 2147483647 w 245"/>
                <a:gd name="T13" fmla="*/ 2147483647 h 235"/>
                <a:gd name="T14" fmla="*/ 2147483647 w 245"/>
                <a:gd name="T15" fmla="*/ 2147483647 h 235"/>
                <a:gd name="T16" fmla="*/ 2147483647 w 245"/>
                <a:gd name="T17" fmla="*/ 2147483647 h 235"/>
                <a:gd name="T18" fmla="*/ 2147483647 w 245"/>
                <a:gd name="T19" fmla="*/ 2147483647 h 235"/>
                <a:gd name="T20" fmla="*/ 2147483647 w 245"/>
                <a:gd name="T21" fmla="*/ 2147483647 h 235"/>
                <a:gd name="T22" fmla="*/ 2147483647 w 245"/>
                <a:gd name="T23" fmla="*/ 2147483647 h 235"/>
                <a:gd name="T24" fmla="*/ 2147483647 w 245"/>
                <a:gd name="T25" fmla="*/ 2147483647 h 235"/>
                <a:gd name="T26" fmla="*/ 2147483647 w 245"/>
                <a:gd name="T27" fmla="*/ 2147483647 h 235"/>
                <a:gd name="T28" fmla="*/ 2147483647 w 245"/>
                <a:gd name="T29" fmla="*/ 2147483647 h 235"/>
                <a:gd name="T30" fmla="*/ 2147483647 w 245"/>
                <a:gd name="T31" fmla="*/ 2147483647 h 235"/>
                <a:gd name="T32" fmla="*/ 2147483647 w 245"/>
                <a:gd name="T33" fmla="*/ 2147483647 h 235"/>
                <a:gd name="T34" fmla="*/ 2147483647 w 245"/>
                <a:gd name="T35" fmla="*/ 2147483647 h 235"/>
                <a:gd name="T36" fmla="*/ 2147483647 w 245"/>
                <a:gd name="T37" fmla="*/ 0 h 235"/>
                <a:gd name="T38" fmla="*/ 2147483647 w 245"/>
                <a:gd name="T39" fmla="*/ 2147483647 h 235"/>
                <a:gd name="T40" fmla="*/ 2147483647 w 245"/>
                <a:gd name="T41" fmla="*/ 2147483647 h 235"/>
                <a:gd name="T42" fmla="*/ 2147483647 w 245"/>
                <a:gd name="T43" fmla="*/ 2147483647 h 235"/>
                <a:gd name="T44" fmla="*/ 2147483647 w 245"/>
                <a:gd name="T45" fmla="*/ 2147483647 h 235"/>
                <a:gd name="T46" fmla="*/ 2147483647 w 245"/>
                <a:gd name="T47" fmla="*/ 2147483647 h 235"/>
                <a:gd name="T48" fmla="*/ 2147483647 w 245"/>
                <a:gd name="T49" fmla="*/ 2147483647 h 235"/>
                <a:gd name="T50" fmla="*/ 2147483647 w 245"/>
                <a:gd name="T51" fmla="*/ 2147483647 h 235"/>
                <a:gd name="T52" fmla="*/ 2147483647 w 245"/>
                <a:gd name="T53" fmla="*/ 2147483647 h 235"/>
                <a:gd name="T54" fmla="*/ 2147483647 w 245"/>
                <a:gd name="T55" fmla="*/ 2147483647 h 235"/>
                <a:gd name="T56" fmla="*/ 2147483647 w 245"/>
                <a:gd name="T57" fmla="*/ 2147483647 h 235"/>
                <a:gd name="T58" fmla="*/ 0 w 245"/>
                <a:gd name="T59" fmla="*/ 2147483647 h 2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45" h="235">
                  <a:moveTo>
                    <a:pt x="0" y="202"/>
                  </a:moveTo>
                  <a:lnTo>
                    <a:pt x="25" y="211"/>
                  </a:lnTo>
                  <a:lnTo>
                    <a:pt x="12" y="235"/>
                  </a:lnTo>
                  <a:lnTo>
                    <a:pt x="51" y="235"/>
                  </a:lnTo>
                  <a:lnTo>
                    <a:pt x="51" y="211"/>
                  </a:lnTo>
                  <a:lnTo>
                    <a:pt x="62" y="211"/>
                  </a:lnTo>
                  <a:lnTo>
                    <a:pt x="51" y="202"/>
                  </a:lnTo>
                  <a:lnTo>
                    <a:pt x="69" y="202"/>
                  </a:lnTo>
                  <a:lnTo>
                    <a:pt x="62" y="167"/>
                  </a:lnTo>
                  <a:lnTo>
                    <a:pt x="69" y="190"/>
                  </a:lnTo>
                  <a:lnTo>
                    <a:pt x="81" y="167"/>
                  </a:lnTo>
                  <a:lnTo>
                    <a:pt x="75" y="158"/>
                  </a:lnTo>
                  <a:lnTo>
                    <a:pt x="100" y="158"/>
                  </a:lnTo>
                  <a:lnTo>
                    <a:pt x="93" y="146"/>
                  </a:lnTo>
                  <a:lnTo>
                    <a:pt x="107" y="146"/>
                  </a:lnTo>
                  <a:lnTo>
                    <a:pt x="112" y="123"/>
                  </a:lnTo>
                  <a:lnTo>
                    <a:pt x="232" y="44"/>
                  </a:lnTo>
                  <a:lnTo>
                    <a:pt x="245" y="23"/>
                  </a:lnTo>
                  <a:lnTo>
                    <a:pt x="219" y="0"/>
                  </a:lnTo>
                  <a:lnTo>
                    <a:pt x="169" y="44"/>
                  </a:lnTo>
                  <a:lnTo>
                    <a:pt x="118" y="44"/>
                  </a:lnTo>
                  <a:lnTo>
                    <a:pt x="62" y="114"/>
                  </a:lnTo>
                  <a:lnTo>
                    <a:pt x="31" y="114"/>
                  </a:lnTo>
                  <a:lnTo>
                    <a:pt x="31" y="146"/>
                  </a:lnTo>
                  <a:lnTo>
                    <a:pt x="51" y="146"/>
                  </a:lnTo>
                  <a:lnTo>
                    <a:pt x="31" y="146"/>
                  </a:lnTo>
                  <a:lnTo>
                    <a:pt x="37" y="158"/>
                  </a:lnTo>
                  <a:lnTo>
                    <a:pt x="25" y="167"/>
                  </a:lnTo>
                  <a:lnTo>
                    <a:pt x="37" y="190"/>
                  </a:lnTo>
                  <a:lnTo>
                    <a:pt x="0" y="20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30" name="Freeform 650"/>
            <p:cNvSpPr>
              <a:spLocks/>
            </p:cNvSpPr>
            <p:nvPr>
              <p:custDataLst>
                <p:tags r:id="rId524"/>
              </p:custDataLst>
            </p:nvPr>
          </p:nvSpPr>
          <p:spPr bwMode="auto">
            <a:xfrm>
              <a:off x="5629523" y="2017713"/>
              <a:ext cx="360363" cy="185737"/>
            </a:xfrm>
            <a:custGeom>
              <a:avLst/>
              <a:gdLst>
                <a:gd name="T0" fmla="*/ 0 w 245"/>
                <a:gd name="T1" fmla="*/ 2147483647 h 235"/>
                <a:gd name="T2" fmla="*/ 2147483647 w 245"/>
                <a:gd name="T3" fmla="*/ 2147483647 h 235"/>
                <a:gd name="T4" fmla="*/ 2147483647 w 245"/>
                <a:gd name="T5" fmla="*/ 2147483647 h 235"/>
                <a:gd name="T6" fmla="*/ 2147483647 w 245"/>
                <a:gd name="T7" fmla="*/ 2147483647 h 235"/>
                <a:gd name="T8" fmla="*/ 2147483647 w 245"/>
                <a:gd name="T9" fmla="*/ 2147483647 h 235"/>
                <a:gd name="T10" fmla="*/ 2147483647 w 245"/>
                <a:gd name="T11" fmla="*/ 2147483647 h 235"/>
                <a:gd name="T12" fmla="*/ 2147483647 w 245"/>
                <a:gd name="T13" fmla="*/ 2147483647 h 235"/>
                <a:gd name="T14" fmla="*/ 2147483647 w 245"/>
                <a:gd name="T15" fmla="*/ 2147483647 h 235"/>
                <a:gd name="T16" fmla="*/ 2147483647 w 245"/>
                <a:gd name="T17" fmla="*/ 2147483647 h 235"/>
                <a:gd name="T18" fmla="*/ 2147483647 w 245"/>
                <a:gd name="T19" fmla="*/ 2147483647 h 235"/>
                <a:gd name="T20" fmla="*/ 2147483647 w 245"/>
                <a:gd name="T21" fmla="*/ 2147483647 h 235"/>
                <a:gd name="T22" fmla="*/ 2147483647 w 245"/>
                <a:gd name="T23" fmla="*/ 2147483647 h 235"/>
                <a:gd name="T24" fmla="*/ 2147483647 w 245"/>
                <a:gd name="T25" fmla="*/ 2147483647 h 235"/>
                <a:gd name="T26" fmla="*/ 2147483647 w 245"/>
                <a:gd name="T27" fmla="*/ 2147483647 h 235"/>
                <a:gd name="T28" fmla="*/ 2147483647 w 245"/>
                <a:gd name="T29" fmla="*/ 2147483647 h 235"/>
                <a:gd name="T30" fmla="*/ 2147483647 w 245"/>
                <a:gd name="T31" fmla="*/ 2147483647 h 235"/>
                <a:gd name="T32" fmla="*/ 2147483647 w 245"/>
                <a:gd name="T33" fmla="*/ 2147483647 h 235"/>
                <a:gd name="T34" fmla="*/ 2147483647 w 245"/>
                <a:gd name="T35" fmla="*/ 2147483647 h 235"/>
                <a:gd name="T36" fmla="*/ 2147483647 w 245"/>
                <a:gd name="T37" fmla="*/ 0 h 235"/>
                <a:gd name="T38" fmla="*/ 2147483647 w 245"/>
                <a:gd name="T39" fmla="*/ 2147483647 h 235"/>
                <a:gd name="T40" fmla="*/ 2147483647 w 245"/>
                <a:gd name="T41" fmla="*/ 2147483647 h 235"/>
                <a:gd name="T42" fmla="*/ 2147483647 w 245"/>
                <a:gd name="T43" fmla="*/ 2147483647 h 235"/>
                <a:gd name="T44" fmla="*/ 2147483647 w 245"/>
                <a:gd name="T45" fmla="*/ 2147483647 h 235"/>
                <a:gd name="T46" fmla="*/ 2147483647 w 245"/>
                <a:gd name="T47" fmla="*/ 2147483647 h 235"/>
                <a:gd name="T48" fmla="*/ 2147483647 w 245"/>
                <a:gd name="T49" fmla="*/ 2147483647 h 235"/>
                <a:gd name="T50" fmla="*/ 2147483647 w 245"/>
                <a:gd name="T51" fmla="*/ 2147483647 h 235"/>
                <a:gd name="T52" fmla="*/ 2147483647 w 245"/>
                <a:gd name="T53" fmla="*/ 2147483647 h 235"/>
                <a:gd name="T54" fmla="*/ 2147483647 w 245"/>
                <a:gd name="T55" fmla="*/ 2147483647 h 235"/>
                <a:gd name="T56" fmla="*/ 2147483647 w 245"/>
                <a:gd name="T57" fmla="*/ 2147483647 h 235"/>
                <a:gd name="T58" fmla="*/ 0 w 245"/>
                <a:gd name="T59" fmla="*/ 2147483647 h 2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45" h="235">
                  <a:moveTo>
                    <a:pt x="0" y="202"/>
                  </a:moveTo>
                  <a:lnTo>
                    <a:pt x="25" y="211"/>
                  </a:lnTo>
                  <a:lnTo>
                    <a:pt x="12" y="235"/>
                  </a:lnTo>
                  <a:lnTo>
                    <a:pt x="51" y="235"/>
                  </a:lnTo>
                  <a:lnTo>
                    <a:pt x="51" y="211"/>
                  </a:lnTo>
                  <a:lnTo>
                    <a:pt x="62" y="211"/>
                  </a:lnTo>
                  <a:lnTo>
                    <a:pt x="51" y="202"/>
                  </a:lnTo>
                  <a:lnTo>
                    <a:pt x="69" y="202"/>
                  </a:lnTo>
                  <a:lnTo>
                    <a:pt x="62" y="167"/>
                  </a:lnTo>
                  <a:lnTo>
                    <a:pt x="69" y="190"/>
                  </a:lnTo>
                  <a:lnTo>
                    <a:pt x="81" y="167"/>
                  </a:lnTo>
                  <a:lnTo>
                    <a:pt x="75" y="158"/>
                  </a:lnTo>
                  <a:lnTo>
                    <a:pt x="100" y="158"/>
                  </a:lnTo>
                  <a:lnTo>
                    <a:pt x="93" y="146"/>
                  </a:lnTo>
                  <a:lnTo>
                    <a:pt x="107" y="146"/>
                  </a:lnTo>
                  <a:lnTo>
                    <a:pt x="112" y="123"/>
                  </a:lnTo>
                  <a:lnTo>
                    <a:pt x="232" y="44"/>
                  </a:lnTo>
                  <a:lnTo>
                    <a:pt x="245" y="23"/>
                  </a:lnTo>
                  <a:lnTo>
                    <a:pt x="219" y="0"/>
                  </a:lnTo>
                  <a:lnTo>
                    <a:pt x="169" y="44"/>
                  </a:lnTo>
                  <a:lnTo>
                    <a:pt x="118" y="44"/>
                  </a:lnTo>
                  <a:lnTo>
                    <a:pt x="62" y="114"/>
                  </a:lnTo>
                  <a:lnTo>
                    <a:pt x="31" y="114"/>
                  </a:lnTo>
                  <a:lnTo>
                    <a:pt x="31" y="146"/>
                  </a:lnTo>
                  <a:lnTo>
                    <a:pt x="51" y="146"/>
                  </a:lnTo>
                  <a:lnTo>
                    <a:pt x="31" y="146"/>
                  </a:lnTo>
                  <a:lnTo>
                    <a:pt x="37" y="158"/>
                  </a:lnTo>
                  <a:lnTo>
                    <a:pt x="25" y="167"/>
                  </a:lnTo>
                  <a:lnTo>
                    <a:pt x="37" y="19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31" name="Freeform 651"/>
            <p:cNvSpPr>
              <a:spLocks/>
            </p:cNvSpPr>
            <p:nvPr>
              <p:custDataLst>
                <p:tags r:id="rId525"/>
              </p:custDataLst>
            </p:nvPr>
          </p:nvSpPr>
          <p:spPr bwMode="auto">
            <a:xfrm>
              <a:off x="5629523" y="2017713"/>
              <a:ext cx="360363" cy="185737"/>
            </a:xfrm>
            <a:custGeom>
              <a:avLst/>
              <a:gdLst>
                <a:gd name="T0" fmla="*/ 0 w 245"/>
                <a:gd name="T1" fmla="*/ 2147483647 h 235"/>
                <a:gd name="T2" fmla="*/ 2147483647 w 245"/>
                <a:gd name="T3" fmla="*/ 2147483647 h 235"/>
                <a:gd name="T4" fmla="*/ 2147483647 w 245"/>
                <a:gd name="T5" fmla="*/ 2147483647 h 235"/>
                <a:gd name="T6" fmla="*/ 2147483647 w 245"/>
                <a:gd name="T7" fmla="*/ 2147483647 h 235"/>
                <a:gd name="T8" fmla="*/ 2147483647 w 245"/>
                <a:gd name="T9" fmla="*/ 2147483647 h 235"/>
                <a:gd name="T10" fmla="*/ 2147483647 w 245"/>
                <a:gd name="T11" fmla="*/ 2147483647 h 235"/>
                <a:gd name="T12" fmla="*/ 2147483647 w 245"/>
                <a:gd name="T13" fmla="*/ 2147483647 h 235"/>
                <a:gd name="T14" fmla="*/ 2147483647 w 245"/>
                <a:gd name="T15" fmla="*/ 2147483647 h 235"/>
                <a:gd name="T16" fmla="*/ 2147483647 w 245"/>
                <a:gd name="T17" fmla="*/ 2147483647 h 235"/>
                <a:gd name="T18" fmla="*/ 2147483647 w 245"/>
                <a:gd name="T19" fmla="*/ 2147483647 h 235"/>
                <a:gd name="T20" fmla="*/ 2147483647 w 245"/>
                <a:gd name="T21" fmla="*/ 2147483647 h 235"/>
                <a:gd name="T22" fmla="*/ 2147483647 w 245"/>
                <a:gd name="T23" fmla="*/ 2147483647 h 235"/>
                <a:gd name="T24" fmla="*/ 2147483647 w 245"/>
                <a:gd name="T25" fmla="*/ 2147483647 h 235"/>
                <a:gd name="T26" fmla="*/ 2147483647 w 245"/>
                <a:gd name="T27" fmla="*/ 2147483647 h 235"/>
                <a:gd name="T28" fmla="*/ 2147483647 w 245"/>
                <a:gd name="T29" fmla="*/ 2147483647 h 235"/>
                <a:gd name="T30" fmla="*/ 2147483647 w 245"/>
                <a:gd name="T31" fmla="*/ 2147483647 h 235"/>
                <a:gd name="T32" fmla="*/ 2147483647 w 245"/>
                <a:gd name="T33" fmla="*/ 2147483647 h 235"/>
                <a:gd name="T34" fmla="*/ 2147483647 w 245"/>
                <a:gd name="T35" fmla="*/ 2147483647 h 235"/>
                <a:gd name="T36" fmla="*/ 2147483647 w 245"/>
                <a:gd name="T37" fmla="*/ 0 h 235"/>
                <a:gd name="T38" fmla="*/ 2147483647 w 245"/>
                <a:gd name="T39" fmla="*/ 2147483647 h 235"/>
                <a:gd name="T40" fmla="*/ 2147483647 w 245"/>
                <a:gd name="T41" fmla="*/ 2147483647 h 235"/>
                <a:gd name="T42" fmla="*/ 2147483647 w 245"/>
                <a:gd name="T43" fmla="*/ 2147483647 h 235"/>
                <a:gd name="T44" fmla="*/ 2147483647 w 245"/>
                <a:gd name="T45" fmla="*/ 2147483647 h 235"/>
                <a:gd name="T46" fmla="*/ 2147483647 w 245"/>
                <a:gd name="T47" fmla="*/ 2147483647 h 235"/>
                <a:gd name="T48" fmla="*/ 2147483647 w 245"/>
                <a:gd name="T49" fmla="*/ 2147483647 h 235"/>
                <a:gd name="T50" fmla="*/ 2147483647 w 245"/>
                <a:gd name="T51" fmla="*/ 2147483647 h 235"/>
                <a:gd name="T52" fmla="*/ 2147483647 w 245"/>
                <a:gd name="T53" fmla="*/ 2147483647 h 235"/>
                <a:gd name="T54" fmla="*/ 2147483647 w 245"/>
                <a:gd name="T55" fmla="*/ 2147483647 h 235"/>
                <a:gd name="T56" fmla="*/ 2147483647 w 245"/>
                <a:gd name="T57" fmla="*/ 2147483647 h 235"/>
                <a:gd name="T58" fmla="*/ 0 w 245"/>
                <a:gd name="T59" fmla="*/ 2147483647 h 2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45" h="235">
                  <a:moveTo>
                    <a:pt x="0" y="202"/>
                  </a:moveTo>
                  <a:lnTo>
                    <a:pt x="25" y="211"/>
                  </a:lnTo>
                  <a:lnTo>
                    <a:pt x="12" y="235"/>
                  </a:lnTo>
                  <a:lnTo>
                    <a:pt x="51" y="235"/>
                  </a:lnTo>
                  <a:lnTo>
                    <a:pt x="51" y="211"/>
                  </a:lnTo>
                  <a:lnTo>
                    <a:pt x="62" y="211"/>
                  </a:lnTo>
                  <a:lnTo>
                    <a:pt x="51" y="202"/>
                  </a:lnTo>
                  <a:lnTo>
                    <a:pt x="69" y="202"/>
                  </a:lnTo>
                  <a:lnTo>
                    <a:pt x="62" y="167"/>
                  </a:lnTo>
                  <a:lnTo>
                    <a:pt x="69" y="190"/>
                  </a:lnTo>
                  <a:lnTo>
                    <a:pt x="81" y="167"/>
                  </a:lnTo>
                  <a:lnTo>
                    <a:pt x="75" y="158"/>
                  </a:lnTo>
                  <a:lnTo>
                    <a:pt x="100" y="158"/>
                  </a:lnTo>
                  <a:lnTo>
                    <a:pt x="93" y="146"/>
                  </a:lnTo>
                  <a:lnTo>
                    <a:pt x="107" y="146"/>
                  </a:lnTo>
                  <a:lnTo>
                    <a:pt x="112" y="123"/>
                  </a:lnTo>
                  <a:lnTo>
                    <a:pt x="232" y="44"/>
                  </a:lnTo>
                  <a:lnTo>
                    <a:pt x="245" y="23"/>
                  </a:lnTo>
                  <a:lnTo>
                    <a:pt x="219" y="0"/>
                  </a:lnTo>
                  <a:lnTo>
                    <a:pt x="169" y="44"/>
                  </a:lnTo>
                  <a:lnTo>
                    <a:pt x="118" y="44"/>
                  </a:lnTo>
                  <a:lnTo>
                    <a:pt x="62" y="114"/>
                  </a:lnTo>
                  <a:lnTo>
                    <a:pt x="31" y="114"/>
                  </a:lnTo>
                  <a:lnTo>
                    <a:pt x="31" y="146"/>
                  </a:lnTo>
                  <a:lnTo>
                    <a:pt x="51" y="146"/>
                  </a:lnTo>
                  <a:lnTo>
                    <a:pt x="31" y="146"/>
                  </a:lnTo>
                  <a:lnTo>
                    <a:pt x="37" y="158"/>
                  </a:lnTo>
                  <a:lnTo>
                    <a:pt x="25" y="167"/>
                  </a:lnTo>
                  <a:lnTo>
                    <a:pt x="37" y="190"/>
                  </a:lnTo>
                  <a:lnTo>
                    <a:pt x="0" y="20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32" name="Freeform 652"/>
            <p:cNvSpPr>
              <a:spLocks/>
            </p:cNvSpPr>
            <p:nvPr>
              <p:custDataLst>
                <p:tags r:id="rId526"/>
              </p:custDataLst>
            </p:nvPr>
          </p:nvSpPr>
          <p:spPr bwMode="auto">
            <a:xfrm>
              <a:off x="5832723" y="1762125"/>
              <a:ext cx="63500" cy="42863"/>
            </a:xfrm>
            <a:custGeom>
              <a:avLst/>
              <a:gdLst>
                <a:gd name="T0" fmla="*/ 0 w 43"/>
                <a:gd name="T1" fmla="*/ 2147483647 h 54"/>
                <a:gd name="T2" fmla="*/ 2147483647 w 43"/>
                <a:gd name="T3" fmla="*/ 2147483647 h 54"/>
                <a:gd name="T4" fmla="*/ 2147483647 w 43"/>
                <a:gd name="T5" fmla="*/ 2147483647 h 54"/>
                <a:gd name="T6" fmla="*/ 2147483647 w 43"/>
                <a:gd name="T7" fmla="*/ 0 h 54"/>
                <a:gd name="T8" fmla="*/ 0 w 43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4">
                  <a:moveTo>
                    <a:pt x="0" y="31"/>
                  </a:moveTo>
                  <a:lnTo>
                    <a:pt x="12" y="54"/>
                  </a:lnTo>
                  <a:lnTo>
                    <a:pt x="43" y="31"/>
                  </a:lnTo>
                  <a:lnTo>
                    <a:pt x="2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33" name="Freeform 653"/>
            <p:cNvSpPr>
              <a:spLocks/>
            </p:cNvSpPr>
            <p:nvPr>
              <p:custDataLst>
                <p:tags r:id="rId527"/>
              </p:custDataLst>
            </p:nvPr>
          </p:nvSpPr>
          <p:spPr bwMode="auto">
            <a:xfrm>
              <a:off x="5832723" y="1762125"/>
              <a:ext cx="63500" cy="42863"/>
            </a:xfrm>
            <a:custGeom>
              <a:avLst/>
              <a:gdLst>
                <a:gd name="T0" fmla="*/ 0 w 43"/>
                <a:gd name="T1" fmla="*/ 2147483647 h 54"/>
                <a:gd name="T2" fmla="*/ 2147483647 w 43"/>
                <a:gd name="T3" fmla="*/ 2147483647 h 54"/>
                <a:gd name="T4" fmla="*/ 2147483647 w 43"/>
                <a:gd name="T5" fmla="*/ 2147483647 h 54"/>
                <a:gd name="T6" fmla="*/ 2147483647 w 43"/>
                <a:gd name="T7" fmla="*/ 0 h 54"/>
                <a:gd name="T8" fmla="*/ 0 w 43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4">
                  <a:moveTo>
                    <a:pt x="0" y="31"/>
                  </a:moveTo>
                  <a:lnTo>
                    <a:pt x="12" y="54"/>
                  </a:lnTo>
                  <a:lnTo>
                    <a:pt x="43" y="31"/>
                  </a:lnTo>
                  <a:lnTo>
                    <a:pt x="24" y="0"/>
                  </a:lnTo>
                  <a:lnTo>
                    <a:pt x="0" y="3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34" name="Freeform 654"/>
            <p:cNvSpPr>
              <a:spLocks/>
            </p:cNvSpPr>
            <p:nvPr>
              <p:custDataLst>
                <p:tags r:id="rId528"/>
              </p:custDataLst>
            </p:nvPr>
          </p:nvSpPr>
          <p:spPr bwMode="auto">
            <a:xfrm>
              <a:off x="5832723" y="1762125"/>
              <a:ext cx="63500" cy="42863"/>
            </a:xfrm>
            <a:custGeom>
              <a:avLst/>
              <a:gdLst>
                <a:gd name="T0" fmla="*/ 0 w 43"/>
                <a:gd name="T1" fmla="*/ 2147483647 h 54"/>
                <a:gd name="T2" fmla="*/ 2147483647 w 43"/>
                <a:gd name="T3" fmla="*/ 2147483647 h 54"/>
                <a:gd name="T4" fmla="*/ 2147483647 w 43"/>
                <a:gd name="T5" fmla="*/ 2147483647 h 54"/>
                <a:gd name="T6" fmla="*/ 2147483647 w 43"/>
                <a:gd name="T7" fmla="*/ 0 h 54"/>
                <a:gd name="T8" fmla="*/ 0 w 43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4">
                  <a:moveTo>
                    <a:pt x="0" y="31"/>
                  </a:moveTo>
                  <a:lnTo>
                    <a:pt x="12" y="54"/>
                  </a:lnTo>
                  <a:lnTo>
                    <a:pt x="43" y="31"/>
                  </a:lnTo>
                  <a:lnTo>
                    <a:pt x="2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35" name="Freeform 655"/>
            <p:cNvSpPr>
              <a:spLocks/>
            </p:cNvSpPr>
            <p:nvPr>
              <p:custDataLst>
                <p:tags r:id="rId529"/>
              </p:custDataLst>
            </p:nvPr>
          </p:nvSpPr>
          <p:spPr bwMode="auto">
            <a:xfrm>
              <a:off x="5832723" y="1762125"/>
              <a:ext cx="63500" cy="42863"/>
            </a:xfrm>
            <a:custGeom>
              <a:avLst/>
              <a:gdLst>
                <a:gd name="T0" fmla="*/ 0 w 43"/>
                <a:gd name="T1" fmla="*/ 2147483647 h 54"/>
                <a:gd name="T2" fmla="*/ 2147483647 w 43"/>
                <a:gd name="T3" fmla="*/ 2147483647 h 54"/>
                <a:gd name="T4" fmla="*/ 2147483647 w 43"/>
                <a:gd name="T5" fmla="*/ 2147483647 h 54"/>
                <a:gd name="T6" fmla="*/ 2147483647 w 43"/>
                <a:gd name="T7" fmla="*/ 0 h 54"/>
                <a:gd name="T8" fmla="*/ 0 w 43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4">
                  <a:moveTo>
                    <a:pt x="0" y="31"/>
                  </a:moveTo>
                  <a:lnTo>
                    <a:pt x="12" y="54"/>
                  </a:lnTo>
                  <a:lnTo>
                    <a:pt x="43" y="31"/>
                  </a:lnTo>
                  <a:lnTo>
                    <a:pt x="24" y="0"/>
                  </a:lnTo>
                  <a:lnTo>
                    <a:pt x="0" y="3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36" name="Freeform 656"/>
            <p:cNvSpPr>
              <a:spLocks/>
            </p:cNvSpPr>
            <p:nvPr>
              <p:custDataLst>
                <p:tags r:id="rId530"/>
              </p:custDataLst>
            </p:nvPr>
          </p:nvSpPr>
          <p:spPr bwMode="auto">
            <a:xfrm>
              <a:off x="6482011" y="1841500"/>
              <a:ext cx="63500" cy="26988"/>
            </a:xfrm>
            <a:custGeom>
              <a:avLst/>
              <a:gdLst>
                <a:gd name="T0" fmla="*/ 0 w 44"/>
                <a:gd name="T1" fmla="*/ 0 h 35"/>
                <a:gd name="T2" fmla="*/ 2147483647 w 44"/>
                <a:gd name="T3" fmla="*/ 2147483647 h 35"/>
                <a:gd name="T4" fmla="*/ 2147483647 w 44"/>
                <a:gd name="T5" fmla="*/ 2147483647 h 35"/>
                <a:gd name="T6" fmla="*/ 2147483647 w 44"/>
                <a:gd name="T7" fmla="*/ 2147483647 h 35"/>
                <a:gd name="T8" fmla="*/ 2147483647 w 44"/>
                <a:gd name="T9" fmla="*/ 2147483647 h 35"/>
                <a:gd name="T10" fmla="*/ 0 w 44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5">
                  <a:moveTo>
                    <a:pt x="0" y="0"/>
                  </a:moveTo>
                  <a:lnTo>
                    <a:pt x="19" y="23"/>
                  </a:lnTo>
                  <a:lnTo>
                    <a:pt x="13" y="35"/>
                  </a:lnTo>
                  <a:lnTo>
                    <a:pt x="32" y="35"/>
                  </a:lnTo>
                  <a:lnTo>
                    <a:pt x="44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37" name="Freeform 657"/>
            <p:cNvSpPr>
              <a:spLocks/>
            </p:cNvSpPr>
            <p:nvPr>
              <p:custDataLst>
                <p:tags r:id="rId531"/>
              </p:custDataLst>
            </p:nvPr>
          </p:nvSpPr>
          <p:spPr bwMode="auto">
            <a:xfrm>
              <a:off x="6482011" y="1841500"/>
              <a:ext cx="63500" cy="26988"/>
            </a:xfrm>
            <a:custGeom>
              <a:avLst/>
              <a:gdLst>
                <a:gd name="T0" fmla="*/ 0 w 44"/>
                <a:gd name="T1" fmla="*/ 0 h 35"/>
                <a:gd name="T2" fmla="*/ 2147483647 w 44"/>
                <a:gd name="T3" fmla="*/ 2147483647 h 35"/>
                <a:gd name="T4" fmla="*/ 2147483647 w 44"/>
                <a:gd name="T5" fmla="*/ 2147483647 h 35"/>
                <a:gd name="T6" fmla="*/ 2147483647 w 44"/>
                <a:gd name="T7" fmla="*/ 2147483647 h 35"/>
                <a:gd name="T8" fmla="*/ 2147483647 w 44"/>
                <a:gd name="T9" fmla="*/ 2147483647 h 35"/>
                <a:gd name="T10" fmla="*/ 0 w 44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5">
                  <a:moveTo>
                    <a:pt x="0" y="0"/>
                  </a:moveTo>
                  <a:lnTo>
                    <a:pt x="19" y="23"/>
                  </a:lnTo>
                  <a:lnTo>
                    <a:pt x="13" y="35"/>
                  </a:lnTo>
                  <a:lnTo>
                    <a:pt x="32" y="35"/>
                  </a:lnTo>
                  <a:lnTo>
                    <a:pt x="44" y="1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38" name="Freeform 658"/>
            <p:cNvSpPr>
              <a:spLocks/>
            </p:cNvSpPr>
            <p:nvPr>
              <p:custDataLst>
                <p:tags r:id="rId532"/>
              </p:custDataLst>
            </p:nvPr>
          </p:nvSpPr>
          <p:spPr bwMode="auto">
            <a:xfrm>
              <a:off x="6482011" y="1841500"/>
              <a:ext cx="63500" cy="26988"/>
            </a:xfrm>
            <a:custGeom>
              <a:avLst/>
              <a:gdLst>
                <a:gd name="T0" fmla="*/ 0 w 44"/>
                <a:gd name="T1" fmla="*/ 0 h 35"/>
                <a:gd name="T2" fmla="*/ 2147483647 w 44"/>
                <a:gd name="T3" fmla="*/ 2147483647 h 35"/>
                <a:gd name="T4" fmla="*/ 2147483647 w 44"/>
                <a:gd name="T5" fmla="*/ 2147483647 h 35"/>
                <a:gd name="T6" fmla="*/ 2147483647 w 44"/>
                <a:gd name="T7" fmla="*/ 2147483647 h 35"/>
                <a:gd name="T8" fmla="*/ 2147483647 w 44"/>
                <a:gd name="T9" fmla="*/ 2147483647 h 35"/>
                <a:gd name="T10" fmla="*/ 0 w 44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5">
                  <a:moveTo>
                    <a:pt x="0" y="0"/>
                  </a:moveTo>
                  <a:lnTo>
                    <a:pt x="19" y="23"/>
                  </a:lnTo>
                  <a:lnTo>
                    <a:pt x="13" y="35"/>
                  </a:lnTo>
                  <a:lnTo>
                    <a:pt x="32" y="35"/>
                  </a:lnTo>
                  <a:lnTo>
                    <a:pt x="44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39" name="Freeform 659"/>
            <p:cNvSpPr>
              <a:spLocks/>
            </p:cNvSpPr>
            <p:nvPr>
              <p:custDataLst>
                <p:tags r:id="rId533"/>
              </p:custDataLst>
            </p:nvPr>
          </p:nvSpPr>
          <p:spPr bwMode="auto">
            <a:xfrm>
              <a:off x="6482011" y="1841500"/>
              <a:ext cx="63500" cy="26988"/>
            </a:xfrm>
            <a:custGeom>
              <a:avLst/>
              <a:gdLst>
                <a:gd name="T0" fmla="*/ 0 w 44"/>
                <a:gd name="T1" fmla="*/ 0 h 35"/>
                <a:gd name="T2" fmla="*/ 2147483647 w 44"/>
                <a:gd name="T3" fmla="*/ 2147483647 h 35"/>
                <a:gd name="T4" fmla="*/ 2147483647 w 44"/>
                <a:gd name="T5" fmla="*/ 2147483647 h 35"/>
                <a:gd name="T6" fmla="*/ 2147483647 w 44"/>
                <a:gd name="T7" fmla="*/ 2147483647 h 35"/>
                <a:gd name="T8" fmla="*/ 2147483647 w 44"/>
                <a:gd name="T9" fmla="*/ 2147483647 h 35"/>
                <a:gd name="T10" fmla="*/ 0 w 44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5">
                  <a:moveTo>
                    <a:pt x="0" y="0"/>
                  </a:moveTo>
                  <a:lnTo>
                    <a:pt x="19" y="23"/>
                  </a:lnTo>
                  <a:lnTo>
                    <a:pt x="13" y="35"/>
                  </a:lnTo>
                  <a:lnTo>
                    <a:pt x="32" y="35"/>
                  </a:lnTo>
                  <a:lnTo>
                    <a:pt x="44" y="1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40" name="Freeform 660"/>
            <p:cNvSpPr>
              <a:spLocks/>
            </p:cNvSpPr>
            <p:nvPr>
              <p:custDataLst>
                <p:tags r:id="rId534"/>
              </p:custDataLst>
            </p:nvPr>
          </p:nvSpPr>
          <p:spPr bwMode="auto">
            <a:xfrm>
              <a:off x="6493123" y="1770063"/>
              <a:ext cx="144463" cy="71437"/>
            </a:xfrm>
            <a:custGeom>
              <a:avLst/>
              <a:gdLst>
                <a:gd name="T0" fmla="*/ 0 w 98"/>
                <a:gd name="T1" fmla="*/ 2147483647 h 90"/>
                <a:gd name="T2" fmla="*/ 2147483647 w 98"/>
                <a:gd name="T3" fmla="*/ 2147483647 h 90"/>
                <a:gd name="T4" fmla="*/ 2147483647 w 98"/>
                <a:gd name="T5" fmla="*/ 0 h 90"/>
                <a:gd name="T6" fmla="*/ 2147483647 w 98"/>
                <a:gd name="T7" fmla="*/ 2147483647 h 90"/>
                <a:gd name="T8" fmla="*/ 2147483647 w 98"/>
                <a:gd name="T9" fmla="*/ 2147483647 h 90"/>
                <a:gd name="T10" fmla="*/ 2147483647 w 98"/>
                <a:gd name="T11" fmla="*/ 2147483647 h 90"/>
                <a:gd name="T12" fmla="*/ 2147483647 w 98"/>
                <a:gd name="T13" fmla="*/ 2147483647 h 90"/>
                <a:gd name="T14" fmla="*/ 0 w 98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8" h="90">
                  <a:moveTo>
                    <a:pt x="0" y="79"/>
                  </a:moveTo>
                  <a:lnTo>
                    <a:pt x="24" y="35"/>
                  </a:lnTo>
                  <a:lnTo>
                    <a:pt x="61" y="0"/>
                  </a:lnTo>
                  <a:lnTo>
                    <a:pt x="98" y="44"/>
                  </a:lnTo>
                  <a:lnTo>
                    <a:pt x="86" y="56"/>
                  </a:lnTo>
                  <a:lnTo>
                    <a:pt x="92" y="79"/>
                  </a:lnTo>
                  <a:lnTo>
                    <a:pt x="36" y="9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41" name="Freeform 661"/>
            <p:cNvSpPr>
              <a:spLocks/>
            </p:cNvSpPr>
            <p:nvPr>
              <p:custDataLst>
                <p:tags r:id="rId535"/>
              </p:custDataLst>
            </p:nvPr>
          </p:nvSpPr>
          <p:spPr bwMode="auto">
            <a:xfrm>
              <a:off x="6493123" y="1770063"/>
              <a:ext cx="144463" cy="71437"/>
            </a:xfrm>
            <a:custGeom>
              <a:avLst/>
              <a:gdLst>
                <a:gd name="T0" fmla="*/ 0 w 98"/>
                <a:gd name="T1" fmla="*/ 2147483647 h 90"/>
                <a:gd name="T2" fmla="*/ 2147483647 w 98"/>
                <a:gd name="T3" fmla="*/ 2147483647 h 90"/>
                <a:gd name="T4" fmla="*/ 2147483647 w 98"/>
                <a:gd name="T5" fmla="*/ 0 h 90"/>
                <a:gd name="T6" fmla="*/ 2147483647 w 98"/>
                <a:gd name="T7" fmla="*/ 2147483647 h 90"/>
                <a:gd name="T8" fmla="*/ 2147483647 w 98"/>
                <a:gd name="T9" fmla="*/ 2147483647 h 90"/>
                <a:gd name="T10" fmla="*/ 2147483647 w 98"/>
                <a:gd name="T11" fmla="*/ 2147483647 h 90"/>
                <a:gd name="T12" fmla="*/ 2147483647 w 98"/>
                <a:gd name="T13" fmla="*/ 2147483647 h 90"/>
                <a:gd name="T14" fmla="*/ 0 w 98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8" h="90">
                  <a:moveTo>
                    <a:pt x="0" y="79"/>
                  </a:moveTo>
                  <a:lnTo>
                    <a:pt x="24" y="35"/>
                  </a:lnTo>
                  <a:lnTo>
                    <a:pt x="61" y="0"/>
                  </a:lnTo>
                  <a:lnTo>
                    <a:pt x="98" y="44"/>
                  </a:lnTo>
                  <a:lnTo>
                    <a:pt x="86" y="56"/>
                  </a:lnTo>
                  <a:lnTo>
                    <a:pt x="92" y="79"/>
                  </a:lnTo>
                  <a:lnTo>
                    <a:pt x="36" y="90"/>
                  </a:lnTo>
                  <a:lnTo>
                    <a:pt x="0" y="7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42" name="Freeform 662"/>
            <p:cNvSpPr>
              <a:spLocks/>
            </p:cNvSpPr>
            <p:nvPr>
              <p:custDataLst>
                <p:tags r:id="rId536"/>
              </p:custDataLst>
            </p:nvPr>
          </p:nvSpPr>
          <p:spPr bwMode="auto">
            <a:xfrm>
              <a:off x="6493123" y="1770063"/>
              <a:ext cx="144463" cy="71437"/>
            </a:xfrm>
            <a:custGeom>
              <a:avLst/>
              <a:gdLst>
                <a:gd name="T0" fmla="*/ 0 w 98"/>
                <a:gd name="T1" fmla="*/ 2147483647 h 90"/>
                <a:gd name="T2" fmla="*/ 2147483647 w 98"/>
                <a:gd name="T3" fmla="*/ 2147483647 h 90"/>
                <a:gd name="T4" fmla="*/ 2147483647 w 98"/>
                <a:gd name="T5" fmla="*/ 0 h 90"/>
                <a:gd name="T6" fmla="*/ 2147483647 w 98"/>
                <a:gd name="T7" fmla="*/ 2147483647 h 90"/>
                <a:gd name="T8" fmla="*/ 2147483647 w 98"/>
                <a:gd name="T9" fmla="*/ 2147483647 h 90"/>
                <a:gd name="T10" fmla="*/ 2147483647 w 98"/>
                <a:gd name="T11" fmla="*/ 2147483647 h 90"/>
                <a:gd name="T12" fmla="*/ 2147483647 w 98"/>
                <a:gd name="T13" fmla="*/ 2147483647 h 90"/>
                <a:gd name="T14" fmla="*/ 0 w 98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8" h="90">
                  <a:moveTo>
                    <a:pt x="0" y="79"/>
                  </a:moveTo>
                  <a:lnTo>
                    <a:pt x="24" y="35"/>
                  </a:lnTo>
                  <a:lnTo>
                    <a:pt x="61" y="0"/>
                  </a:lnTo>
                  <a:lnTo>
                    <a:pt x="98" y="44"/>
                  </a:lnTo>
                  <a:lnTo>
                    <a:pt x="86" y="56"/>
                  </a:lnTo>
                  <a:lnTo>
                    <a:pt x="92" y="79"/>
                  </a:lnTo>
                  <a:lnTo>
                    <a:pt x="36" y="9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43" name="Freeform 663"/>
            <p:cNvSpPr>
              <a:spLocks/>
            </p:cNvSpPr>
            <p:nvPr>
              <p:custDataLst>
                <p:tags r:id="rId537"/>
              </p:custDataLst>
            </p:nvPr>
          </p:nvSpPr>
          <p:spPr bwMode="auto">
            <a:xfrm>
              <a:off x="6493123" y="1770063"/>
              <a:ext cx="144463" cy="71437"/>
            </a:xfrm>
            <a:custGeom>
              <a:avLst/>
              <a:gdLst>
                <a:gd name="T0" fmla="*/ 0 w 98"/>
                <a:gd name="T1" fmla="*/ 2147483647 h 90"/>
                <a:gd name="T2" fmla="*/ 2147483647 w 98"/>
                <a:gd name="T3" fmla="*/ 2147483647 h 90"/>
                <a:gd name="T4" fmla="*/ 2147483647 w 98"/>
                <a:gd name="T5" fmla="*/ 0 h 90"/>
                <a:gd name="T6" fmla="*/ 2147483647 w 98"/>
                <a:gd name="T7" fmla="*/ 2147483647 h 90"/>
                <a:gd name="T8" fmla="*/ 2147483647 w 98"/>
                <a:gd name="T9" fmla="*/ 2147483647 h 90"/>
                <a:gd name="T10" fmla="*/ 2147483647 w 98"/>
                <a:gd name="T11" fmla="*/ 2147483647 h 90"/>
                <a:gd name="T12" fmla="*/ 2147483647 w 98"/>
                <a:gd name="T13" fmla="*/ 2147483647 h 90"/>
                <a:gd name="T14" fmla="*/ 0 w 98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8" h="90">
                  <a:moveTo>
                    <a:pt x="0" y="79"/>
                  </a:moveTo>
                  <a:lnTo>
                    <a:pt x="24" y="35"/>
                  </a:lnTo>
                  <a:lnTo>
                    <a:pt x="61" y="0"/>
                  </a:lnTo>
                  <a:lnTo>
                    <a:pt x="98" y="44"/>
                  </a:lnTo>
                  <a:lnTo>
                    <a:pt x="86" y="56"/>
                  </a:lnTo>
                  <a:lnTo>
                    <a:pt x="92" y="79"/>
                  </a:lnTo>
                  <a:lnTo>
                    <a:pt x="36" y="90"/>
                  </a:lnTo>
                  <a:lnTo>
                    <a:pt x="0" y="7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44" name="Freeform 664"/>
            <p:cNvSpPr>
              <a:spLocks/>
            </p:cNvSpPr>
            <p:nvPr>
              <p:custDataLst>
                <p:tags r:id="rId538"/>
              </p:custDataLst>
            </p:nvPr>
          </p:nvSpPr>
          <p:spPr bwMode="auto">
            <a:xfrm>
              <a:off x="6529636" y="1830388"/>
              <a:ext cx="155575" cy="88900"/>
            </a:xfrm>
            <a:custGeom>
              <a:avLst/>
              <a:gdLst>
                <a:gd name="T0" fmla="*/ 0 w 106"/>
                <a:gd name="T1" fmla="*/ 2147483647 h 111"/>
                <a:gd name="T2" fmla="*/ 2147483647 w 106"/>
                <a:gd name="T3" fmla="*/ 2147483647 h 111"/>
                <a:gd name="T4" fmla="*/ 2147483647 w 106"/>
                <a:gd name="T5" fmla="*/ 2147483647 h 111"/>
                <a:gd name="T6" fmla="*/ 2147483647 w 106"/>
                <a:gd name="T7" fmla="*/ 2147483647 h 111"/>
                <a:gd name="T8" fmla="*/ 2147483647 w 106"/>
                <a:gd name="T9" fmla="*/ 2147483647 h 111"/>
                <a:gd name="T10" fmla="*/ 2147483647 w 106"/>
                <a:gd name="T11" fmla="*/ 2147483647 h 111"/>
                <a:gd name="T12" fmla="*/ 2147483647 w 106"/>
                <a:gd name="T13" fmla="*/ 2147483647 h 111"/>
                <a:gd name="T14" fmla="*/ 2147483647 w 106"/>
                <a:gd name="T15" fmla="*/ 2147483647 h 111"/>
                <a:gd name="T16" fmla="*/ 2147483647 w 106"/>
                <a:gd name="T17" fmla="*/ 2147483647 h 111"/>
                <a:gd name="T18" fmla="*/ 2147483647 w 106"/>
                <a:gd name="T19" fmla="*/ 2147483647 h 111"/>
                <a:gd name="T20" fmla="*/ 2147483647 w 106"/>
                <a:gd name="T21" fmla="*/ 2147483647 h 111"/>
                <a:gd name="T22" fmla="*/ 2147483647 w 106"/>
                <a:gd name="T23" fmla="*/ 2147483647 h 111"/>
                <a:gd name="T24" fmla="*/ 2147483647 w 106"/>
                <a:gd name="T25" fmla="*/ 0 h 111"/>
                <a:gd name="T26" fmla="*/ 2147483647 w 106"/>
                <a:gd name="T27" fmla="*/ 2147483647 h 111"/>
                <a:gd name="T28" fmla="*/ 0 w 106"/>
                <a:gd name="T29" fmla="*/ 2147483647 h 1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6" h="111">
                  <a:moveTo>
                    <a:pt x="0" y="46"/>
                  </a:moveTo>
                  <a:lnTo>
                    <a:pt x="18" y="56"/>
                  </a:lnTo>
                  <a:lnTo>
                    <a:pt x="31" y="90"/>
                  </a:lnTo>
                  <a:lnTo>
                    <a:pt x="42" y="79"/>
                  </a:lnTo>
                  <a:lnTo>
                    <a:pt x="87" y="111"/>
                  </a:lnTo>
                  <a:lnTo>
                    <a:pt x="106" y="100"/>
                  </a:lnTo>
                  <a:lnTo>
                    <a:pt x="92" y="67"/>
                  </a:lnTo>
                  <a:lnTo>
                    <a:pt x="100" y="79"/>
                  </a:lnTo>
                  <a:lnTo>
                    <a:pt x="106" y="34"/>
                  </a:lnTo>
                  <a:lnTo>
                    <a:pt x="87" y="11"/>
                  </a:lnTo>
                  <a:lnTo>
                    <a:pt x="62" y="46"/>
                  </a:lnTo>
                  <a:lnTo>
                    <a:pt x="81" y="23"/>
                  </a:lnTo>
                  <a:lnTo>
                    <a:pt x="68" y="0"/>
                  </a:lnTo>
                  <a:lnTo>
                    <a:pt x="31" y="11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45" name="Freeform 665"/>
            <p:cNvSpPr>
              <a:spLocks/>
            </p:cNvSpPr>
            <p:nvPr>
              <p:custDataLst>
                <p:tags r:id="rId539"/>
              </p:custDataLst>
            </p:nvPr>
          </p:nvSpPr>
          <p:spPr bwMode="auto">
            <a:xfrm>
              <a:off x="6529636" y="1830388"/>
              <a:ext cx="155575" cy="88900"/>
            </a:xfrm>
            <a:custGeom>
              <a:avLst/>
              <a:gdLst>
                <a:gd name="T0" fmla="*/ 0 w 106"/>
                <a:gd name="T1" fmla="*/ 2147483647 h 111"/>
                <a:gd name="T2" fmla="*/ 2147483647 w 106"/>
                <a:gd name="T3" fmla="*/ 2147483647 h 111"/>
                <a:gd name="T4" fmla="*/ 2147483647 w 106"/>
                <a:gd name="T5" fmla="*/ 2147483647 h 111"/>
                <a:gd name="T6" fmla="*/ 2147483647 w 106"/>
                <a:gd name="T7" fmla="*/ 2147483647 h 111"/>
                <a:gd name="T8" fmla="*/ 2147483647 w 106"/>
                <a:gd name="T9" fmla="*/ 2147483647 h 111"/>
                <a:gd name="T10" fmla="*/ 2147483647 w 106"/>
                <a:gd name="T11" fmla="*/ 2147483647 h 111"/>
                <a:gd name="T12" fmla="*/ 2147483647 w 106"/>
                <a:gd name="T13" fmla="*/ 2147483647 h 111"/>
                <a:gd name="T14" fmla="*/ 2147483647 w 106"/>
                <a:gd name="T15" fmla="*/ 2147483647 h 111"/>
                <a:gd name="T16" fmla="*/ 2147483647 w 106"/>
                <a:gd name="T17" fmla="*/ 2147483647 h 111"/>
                <a:gd name="T18" fmla="*/ 2147483647 w 106"/>
                <a:gd name="T19" fmla="*/ 2147483647 h 111"/>
                <a:gd name="T20" fmla="*/ 2147483647 w 106"/>
                <a:gd name="T21" fmla="*/ 2147483647 h 111"/>
                <a:gd name="T22" fmla="*/ 2147483647 w 106"/>
                <a:gd name="T23" fmla="*/ 2147483647 h 111"/>
                <a:gd name="T24" fmla="*/ 2147483647 w 106"/>
                <a:gd name="T25" fmla="*/ 0 h 111"/>
                <a:gd name="T26" fmla="*/ 2147483647 w 106"/>
                <a:gd name="T27" fmla="*/ 2147483647 h 111"/>
                <a:gd name="T28" fmla="*/ 0 w 106"/>
                <a:gd name="T29" fmla="*/ 2147483647 h 1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6" h="111">
                  <a:moveTo>
                    <a:pt x="0" y="46"/>
                  </a:moveTo>
                  <a:lnTo>
                    <a:pt x="18" y="56"/>
                  </a:lnTo>
                  <a:lnTo>
                    <a:pt x="31" y="90"/>
                  </a:lnTo>
                  <a:lnTo>
                    <a:pt x="42" y="79"/>
                  </a:lnTo>
                  <a:lnTo>
                    <a:pt x="87" y="111"/>
                  </a:lnTo>
                  <a:lnTo>
                    <a:pt x="106" y="100"/>
                  </a:lnTo>
                  <a:lnTo>
                    <a:pt x="92" y="67"/>
                  </a:lnTo>
                  <a:lnTo>
                    <a:pt x="100" y="79"/>
                  </a:lnTo>
                  <a:lnTo>
                    <a:pt x="106" y="34"/>
                  </a:lnTo>
                  <a:lnTo>
                    <a:pt x="87" y="11"/>
                  </a:lnTo>
                  <a:lnTo>
                    <a:pt x="62" y="46"/>
                  </a:lnTo>
                  <a:lnTo>
                    <a:pt x="81" y="23"/>
                  </a:lnTo>
                  <a:lnTo>
                    <a:pt x="68" y="0"/>
                  </a:lnTo>
                  <a:lnTo>
                    <a:pt x="31" y="11"/>
                  </a:lnTo>
                  <a:lnTo>
                    <a:pt x="0" y="4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46" name="Freeform 666"/>
            <p:cNvSpPr>
              <a:spLocks/>
            </p:cNvSpPr>
            <p:nvPr>
              <p:custDataLst>
                <p:tags r:id="rId540"/>
              </p:custDataLst>
            </p:nvPr>
          </p:nvSpPr>
          <p:spPr bwMode="auto">
            <a:xfrm>
              <a:off x="6529636" y="1830388"/>
              <a:ext cx="155575" cy="88900"/>
            </a:xfrm>
            <a:custGeom>
              <a:avLst/>
              <a:gdLst>
                <a:gd name="T0" fmla="*/ 0 w 106"/>
                <a:gd name="T1" fmla="*/ 2147483647 h 111"/>
                <a:gd name="T2" fmla="*/ 2147483647 w 106"/>
                <a:gd name="T3" fmla="*/ 2147483647 h 111"/>
                <a:gd name="T4" fmla="*/ 2147483647 w 106"/>
                <a:gd name="T5" fmla="*/ 2147483647 h 111"/>
                <a:gd name="T6" fmla="*/ 2147483647 w 106"/>
                <a:gd name="T7" fmla="*/ 2147483647 h 111"/>
                <a:gd name="T8" fmla="*/ 2147483647 w 106"/>
                <a:gd name="T9" fmla="*/ 2147483647 h 111"/>
                <a:gd name="T10" fmla="*/ 2147483647 w 106"/>
                <a:gd name="T11" fmla="*/ 2147483647 h 111"/>
                <a:gd name="T12" fmla="*/ 2147483647 w 106"/>
                <a:gd name="T13" fmla="*/ 2147483647 h 111"/>
                <a:gd name="T14" fmla="*/ 2147483647 w 106"/>
                <a:gd name="T15" fmla="*/ 2147483647 h 111"/>
                <a:gd name="T16" fmla="*/ 2147483647 w 106"/>
                <a:gd name="T17" fmla="*/ 2147483647 h 111"/>
                <a:gd name="T18" fmla="*/ 2147483647 w 106"/>
                <a:gd name="T19" fmla="*/ 2147483647 h 111"/>
                <a:gd name="T20" fmla="*/ 2147483647 w 106"/>
                <a:gd name="T21" fmla="*/ 2147483647 h 111"/>
                <a:gd name="T22" fmla="*/ 2147483647 w 106"/>
                <a:gd name="T23" fmla="*/ 2147483647 h 111"/>
                <a:gd name="T24" fmla="*/ 2147483647 w 106"/>
                <a:gd name="T25" fmla="*/ 0 h 111"/>
                <a:gd name="T26" fmla="*/ 2147483647 w 106"/>
                <a:gd name="T27" fmla="*/ 2147483647 h 111"/>
                <a:gd name="T28" fmla="*/ 0 w 106"/>
                <a:gd name="T29" fmla="*/ 2147483647 h 1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6" h="111">
                  <a:moveTo>
                    <a:pt x="0" y="46"/>
                  </a:moveTo>
                  <a:lnTo>
                    <a:pt x="18" y="56"/>
                  </a:lnTo>
                  <a:lnTo>
                    <a:pt x="31" y="90"/>
                  </a:lnTo>
                  <a:lnTo>
                    <a:pt x="42" y="79"/>
                  </a:lnTo>
                  <a:lnTo>
                    <a:pt x="87" y="111"/>
                  </a:lnTo>
                  <a:lnTo>
                    <a:pt x="106" y="100"/>
                  </a:lnTo>
                  <a:lnTo>
                    <a:pt x="92" y="67"/>
                  </a:lnTo>
                  <a:lnTo>
                    <a:pt x="100" y="79"/>
                  </a:lnTo>
                  <a:lnTo>
                    <a:pt x="106" y="34"/>
                  </a:lnTo>
                  <a:lnTo>
                    <a:pt x="87" y="11"/>
                  </a:lnTo>
                  <a:lnTo>
                    <a:pt x="62" y="46"/>
                  </a:lnTo>
                  <a:lnTo>
                    <a:pt x="81" y="23"/>
                  </a:lnTo>
                  <a:lnTo>
                    <a:pt x="68" y="0"/>
                  </a:lnTo>
                  <a:lnTo>
                    <a:pt x="31" y="11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47" name="Freeform 667"/>
            <p:cNvSpPr>
              <a:spLocks/>
            </p:cNvSpPr>
            <p:nvPr>
              <p:custDataLst>
                <p:tags r:id="rId541"/>
              </p:custDataLst>
            </p:nvPr>
          </p:nvSpPr>
          <p:spPr bwMode="auto">
            <a:xfrm>
              <a:off x="6529636" y="1830388"/>
              <a:ext cx="155575" cy="88900"/>
            </a:xfrm>
            <a:custGeom>
              <a:avLst/>
              <a:gdLst>
                <a:gd name="T0" fmla="*/ 0 w 106"/>
                <a:gd name="T1" fmla="*/ 2147483647 h 111"/>
                <a:gd name="T2" fmla="*/ 2147483647 w 106"/>
                <a:gd name="T3" fmla="*/ 2147483647 h 111"/>
                <a:gd name="T4" fmla="*/ 2147483647 w 106"/>
                <a:gd name="T5" fmla="*/ 2147483647 h 111"/>
                <a:gd name="T6" fmla="*/ 2147483647 w 106"/>
                <a:gd name="T7" fmla="*/ 2147483647 h 111"/>
                <a:gd name="T8" fmla="*/ 2147483647 w 106"/>
                <a:gd name="T9" fmla="*/ 2147483647 h 111"/>
                <a:gd name="T10" fmla="*/ 2147483647 w 106"/>
                <a:gd name="T11" fmla="*/ 2147483647 h 111"/>
                <a:gd name="T12" fmla="*/ 2147483647 w 106"/>
                <a:gd name="T13" fmla="*/ 2147483647 h 111"/>
                <a:gd name="T14" fmla="*/ 2147483647 w 106"/>
                <a:gd name="T15" fmla="*/ 2147483647 h 111"/>
                <a:gd name="T16" fmla="*/ 2147483647 w 106"/>
                <a:gd name="T17" fmla="*/ 2147483647 h 111"/>
                <a:gd name="T18" fmla="*/ 2147483647 w 106"/>
                <a:gd name="T19" fmla="*/ 2147483647 h 111"/>
                <a:gd name="T20" fmla="*/ 2147483647 w 106"/>
                <a:gd name="T21" fmla="*/ 2147483647 h 111"/>
                <a:gd name="T22" fmla="*/ 2147483647 w 106"/>
                <a:gd name="T23" fmla="*/ 2147483647 h 111"/>
                <a:gd name="T24" fmla="*/ 2147483647 w 106"/>
                <a:gd name="T25" fmla="*/ 0 h 111"/>
                <a:gd name="T26" fmla="*/ 2147483647 w 106"/>
                <a:gd name="T27" fmla="*/ 2147483647 h 111"/>
                <a:gd name="T28" fmla="*/ 0 w 106"/>
                <a:gd name="T29" fmla="*/ 2147483647 h 1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6" h="111">
                  <a:moveTo>
                    <a:pt x="0" y="46"/>
                  </a:moveTo>
                  <a:lnTo>
                    <a:pt x="18" y="56"/>
                  </a:lnTo>
                  <a:lnTo>
                    <a:pt x="31" y="90"/>
                  </a:lnTo>
                  <a:lnTo>
                    <a:pt x="42" y="79"/>
                  </a:lnTo>
                  <a:lnTo>
                    <a:pt x="87" y="111"/>
                  </a:lnTo>
                  <a:lnTo>
                    <a:pt x="106" y="100"/>
                  </a:lnTo>
                  <a:lnTo>
                    <a:pt x="92" y="67"/>
                  </a:lnTo>
                  <a:lnTo>
                    <a:pt x="100" y="79"/>
                  </a:lnTo>
                  <a:lnTo>
                    <a:pt x="106" y="34"/>
                  </a:lnTo>
                  <a:lnTo>
                    <a:pt x="87" y="11"/>
                  </a:lnTo>
                  <a:lnTo>
                    <a:pt x="62" y="46"/>
                  </a:lnTo>
                  <a:lnTo>
                    <a:pt x="81" y="23"/>
                  </a:lnTo>
                  <a:lnTo>
                    <a:pt x="68" y="0"/>
                  </a:lnTo>
                  <a:lnTo>
                    <a:pt x="31" y="11"/>
                  </a:lnTo>
                  <a:lnTo>
                    <a:pt x="0" y="4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48" name="Freeform 668"/>
            <p:cNvSpPr>
              <a:spLocks/>
            </p:cNvSpPr>
            <p:nvPr>
              <p:custDataLst>
                <p:tags r:id="rId542"/>
              </p:custDataLst>
            </p:nvPr>
          </p:nvSpPr>
          <p:spPr bwMode="auto">
            <a:xfrm>
              <a:off x="6675686" y="1876425"/>
              <a:ext cx="134937" cy="79375"/>
            </a:xfrm>
            <a:custGeom>
              <a:avLst/>
              <a:gdLst>
                <a:gd name="T0" fmla="*/ 0 w 93"/>
                <a:gd name="T1" fmla="*/ 2147483647 h 99"/>
                <a:gd name="T2" fmla="*/ 2147483647 w 93"/>
                <a:gd name="T3" fmla="*/ 2147483647 h 99"/>
                <a:gd name="T4" fmla="*/ 2147483647 w 93"/>
                <a:gd name="T5" fmla="*/ 2147483647 h 99"/>
                <a:gd name="T6" fmla="*/ 2147483647 w 93"/>
                <a:gd name="T7" fmla="*/ 2147483647 h 99"/>
                <a:gd name="T8" fmla="*/ 2147483647 w 93"/>
                <a:gd name="T9" fmla="*/ 2147483647 h 99"/>
                <a:gd name="T10" fmla="*/ 2147483647 w 93"/>
                <a:gd name="T11" fmla="*/ 2147483647 h 99"/>
                <a:gd name="T12" fmla="*/ 2147483647 w 93"/>
                <a:gd name="T13" fmla="*/ 2147483647 h 99"/>
                <a:gd name="T14" fmla="*/ 2147483647 w 93"/>
                <a:gd name="T15" fmla="*/ 0 h 99"/>
                <a:gd name="T16" fmla="*/ 2147483647 w 93"/>
                <a:gd name="T17" fmla="*/ 2147483647 h 99"/>
                <a:gd name="T18" fmla="*/ 0 w 93"/>
                <a:gd name="T19" fmla="*/ 2147483647 h 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3" h="99">
                  <a:moveTo>
                    <a:pt x="0" y="88"/>
                  </a:moveTo>
                  <a:lnTo>
                    <a:pt x="6" y="99"/>
                  </a:lnTo>
                  <a:lnTo>
                    <a:pt x="87" y="78"/>
                  </a:lnTo>
                  <a:lnTo>
                    <a:pt x="93" y="55"/>
                  </a:lnTo>
                  <a:lnTo>
                    <a:pt x="75" y="23"/>
                  </a:lnTo>
                  <a:lnTo>
                    <a:pt x="56" y="32"/>
                  </a:lnTo>
                  <a:lnTo>
                    <a:pt x="56" y="9"/>
                  </a:lnTo>
                  <a:lnTo>
                    <a:pt x="50" y="0"/>
                  </a:lnTo>
                  <a:lnTo>
                    <a:pt x="12" y="7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49" name="Freeform 669"/>
            <p:cNvSpPr>
              <a:spLocks/>
            </p:cNvSpPr>
            <p:nvPr>
              <p:custDataLst>
                <p:tags r:id="rId543"/>
              </p:custDataLst>
            </p:nvPr>
          </p:nvSpPr>
          <p:spPr bwMode="auto">
            <a:xfrm>
              <a:off x="6675686" y="1876425"/>
              <a:ext cx="134937" cy="79375"/>
            </a:xfrm>
            <a:custGeom>
              <a:avLst/>
              <a:gdLst>
                <a:gd name="T0" fmla="*/ 0 w 93"/>
                <a:gd name="T1" fmla="*/ 2147483647 h 99"/>
                <a:gd name="T2" fmla="*/ 2147483647 w 93"/>
                <a:gd name="T3" fmla="*/ 2147483647 h 99"/>
                <a:gd name="T4" fmla="*/ 2147483647 w 93"/>
                <a:gd name="T5" fmla="*/ 2147483647 h 99"/>
                <a:gd name="T6" fmla="*/ 2147483647 w 93"/>
                <a:gd name="T7" fmla="*/ 2147483647 h 99"/>
                <a:gd name="T8" fmla="*/ 2147483647 w 93"/>
                <a:gd name="T9" fmla="*/ 2147483647 h 99"/>
                <a:gd name="T10" fmla="*/ 2147483647 w 93"/>
                <a:gd name="T11" fmla="*/ 2147483647 h 99"/>
                <a:gd name="T12" fmla="*/ 2147483647 w 93"/>
                <a:gd name="T13" fmla="*/ 2147483647 h 99"/>
                <a:gd name="T14" fmla="*/ 2147483647 w 93"/>
                <a:gd name="T15" fmla="*/ 0 h 99"/>
                <a:gd name="T16" fmla="*/ 2147483647 w 93"/>
                <a:gd name="T17" fmla="*/ 2147483647 h 99"/>
                <a:gd name="T18" fmla="*/ 0 w 93"/>
                <a:gd name="T19" fmla="*/ 2147483647 h 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3" h="99">
                  <a:moveTo>
                    <a:pt x="0" y="88"/>
                  </a:moveTo>
                  <a:lnTo>
                    <a:pt x="6" y="99"/>
                  </a:lnTo>
                  <a:lnTo>
                    <a:pt x="87" y="78"/>
                  </a:lnTo>
                  <a:lnTo>
                    <a:pt x="93" y="55"/>
                  </a:lnTo>
                  <a:lnTo>
                    <a:pt x="75" y="23"/>
                  </a:lnTo>
                  <a:lnTo>
                    <a:pt x="56" y="32"/>
                  </a:lnTo>
                  <a:lnTo>
                    <a:pt x="56" y="9"/>
                  </a:lnTo>
                  <a:lnTo>
                    <a:pt x="50" y="0"/>
                  </a:lnTo>
                  <a:lnTo>
                    <a:pt x="12" y="78"/>
                  </a:lnTo>
                  <a:lnTo>
                    <a:pt x="0" y="8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50" name="Freeform 670"/>
            <p:cNvSpPr>
              <a:spLocks/>
            </p:cNvSpPr>
            <p:nvPr>
              <p:custDataLst>
                <p:tags r:id="rId544"/>
              </p:custDataLst>
            </p:nvPr>
          </p:nvSpPr>
          <p:spPr bwMode="auto">
            <a:xfrm>
              <a:off x="6675686" y="1876425"/>
              <a:ext cx="134937" cy="79375"/>
            </a:xfrm>
            <a:custGeom>
              <a:avLst/>
              <a:gdLst>
                <a:gd name="T0" fmla="*/ 0 w 93"/>
                <a:gd name="T1" fmla="*/ 2147483647 h 99"/>
                <a:gd name="T2" fmla="*/ 2147483647 w 93"/>
                <a:gd name="T3" fmla="*/ 2147483647 h 99"/>
                <a:gd name="T4" fmla="*/ 2147483647 w 93"/>
                <a:gd name="T5" fmla="*/ 2147483647 h 99"/>
                <a:gd name="T6" fmla="*/ 2147483647 w 93"/>
                <a:gd name="T7" fmla="*/ 2147483647 h 99"/>
                <a:gd name="T8" fmla="*/ 2147483647 w 93"/>
                <a:gd name="T9" fmla="*/ 2147483647 h 99"/>
                <a:gd name="T10" fmla="*/ 2147483647 w 93"/>
                <a:gd name="T11" fmla="*/ 2147483647 h 99"/>
                <a:gd name="T12" fmla="*/ 2147483647 w 93"/>
                <a:gd name="T13" fmla="*/ 2147483647 h 99"/>
                <a:gd name="T14" fmla="*/ 2147483647 w 93"/>
                <a:gd name="T15" fmla="*/ 0 h 99"/>
                <a:gd name="T16" fmla="*/ 2147483647 w 93"/>
                <a:gd name="T17" fmla="*/ 2147483647 h 99"/>
                <a:gd name="T18" fmla="*/ 0 w 93"/>
                <a:gd name="T19" fmla="*/ 2147483647 h 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3" h="99">
                  <a:moveTo>
                    <a:pt x="0" y="88"/>
                  </a:moveTo>
                  <a:lnTo>
                    <a:pt x="6" y="99"/>
                  </a:lnTo>
                  <a:lnTo>
                    <a:pt x="87" y="78"/>
                  </a:lnTo>
                  <a:lnTo>
                    <a:pt x="93" y="55"/>
                  </a:lnTo>
                  <a:lnTo>
                    <a:pt x="75" y="23"/>
                  </a:lnTo>
                  <a:lnTo>
                    <a:pt x="56" y="32"/>
                  </a:lnTo>
                  <a:lnTo>
                    <a:pt x="56" y="9"/>
                  </a:lnTo>
                  <a:lnTo>
                    <a:pt x="50" y="0"/>
                  </a:lnTo>
                  <a:lnTo>
                    <a:pt x="12" y="7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51" name="Freeform 671"/>
            <p:cNvSpPr>
              <a:spLocks/>
            </p:cNvSpPr>
            <p:nvPr>
              <p:custDataLst>
                <p:tags r:id="rId545"/>
              </p:custDataLst>
            </p:nvPr>
          </p:nvSpPr>
          <p:spPr bwMode="auto">
            <a:xfrm>
              <a:off x="6675686" y="1876425"/>
              <a:ext cx="134937" cy="79375"/>
            </a:xfrm>
            <a:custGeom>
              <a:avLst/>
              <a:gdLst>
                <a:gd name="T0" fmla="*/ 0 w 93"/>
                <a:gd name="T1" fmla="*/ 2147483647 h 99"/>
                <a:gd name="T2" fmla="*/ 2147483647 w 93"/>
                <a:gd name="T3" fmla="*/ 2147483647 h 99"/>
                <a:gd name="T4" fmla="*/ 2147483647 w 93"/>
                <a:gd name="T5" fmla="*/ 2147483647 h 99"/>
                <a:gd name="T6" fmla="*/ 2147483647 w 93"/>
                <a:gd name="T7" fmla="*/ 2147483647 h 99"/>
                <a:gd name="T8" fmla="*/ 2147483647 w 93"/>
                <a:gd name="T9" fmla="*/ 2147483647 h 99"/>
                <a:gd name="T10" fmla="*/ 2147483647 w 93"/>
                <a:gd name="T11" fmla="*/ 2147483647 h 99"/>
                <a:gd name="T12" fmla="*/ 2147483647 w 93"/>
                <a:gd name="T13" fmla="*/ 2147483647 h 99"/>
                <a:gd name="T14" fmla="*/ 2147483647 w 93"/>
                <a:gd name="T15" fmla="*/ 0 h 99"/>
                <a:gd name="T16" fmla="*/ 2147483647 w 93"/>
                <a:gd name="T17" fmla="*/ 2147483647 h 99"/>
                <a:gd name="T18" fmla="*/ 0 w 93"/>
                <a:gd name="T19" fmla="*/ 2147483647 h 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3" h="99">
                  <a:moveTo>
                    <a:pt x="0" y="88"/>
                  </a:moveTo>
                  <a:lnTo>
                    <a:pt x="6" y="99"/>
                  </a:lnTo>
                  <a:lnTo>
                    <a:pt x="87" y="78"/>
                  </a:lnTo>
                  <a:lnTo>
                    <a:pt x="93" y="55"/>
                  </a:lnTo>
                  <a:lnTo>
                    <a:pt x="75" y="23"/>
                  </a:lnTo>
                  <a:lnTo>
                    <a:pt x="56" y="32"/>
                  </a:lnTo>
                  <a:lnTo>
                    <a:pt x="56" y="9"/>
                  </a:lnTo>
                  <a:lnTo>
                    <a:pt x="50" y="0"/>
                  </a:lnTo>
                  <a:lnTo>
                    <a:pt x="12" y="78"/>
                  </a:lnTo>
                  <a:lnTo>
                    <a:pt x="0" y="8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52" name="Freeform 672"/>
            <p:cNvSpPr>
              <a:spLocks/>
            </p:cNvSpPr>
            <p:nvPr>
              <p:custDataLst>
                <p:tags r:id="rId546"/>
              </p:custDataLst>
            </p:nvPr>
          </p:nvSpPr>
          <p:spPr bwMode="auto">
            <a:xfrm>
              <a:off x="7526586" y="2052638"/>
              <a:ext cx="146050" cy="80962"/>
            </a:xfrm>
            <a:custGeom>
              <a:avLst/>
              <a:gdLst>
                <a:gd name="T0" fmla="*/ 0 w 100"/>
                <a:gd name="T1" fmla="*/ 2147483647 h 102"/>
                <a:gd name="T2" fmla="*/ 2147483647 w 100"/>
                <a:gd name="T3" fmla="*/ 2147483647 h 102"/>
                <a:gd name="T4" fmla="*/ 2147483647 w 100"/>
                <a:gd name="T5" fmla="*/ 0 h 102"/>
                <a:gd name="T6" fmla="*/ 2147483647 w 100"/>
                <a:gd name="T7" fmla="*/ 2147483647 h 102"/>
                <a:gd name="T8" fmla="*/ 2147483647 w 100"/>
                <a:gd name="T9" fmla="*/ 2147483647 h 102"/>
                <a:gd name="T10" fmla="*/ 2147483647 w 100"/>
                <a:gd name="T11" fmla="*/ 2147483647 h 102"/>
                <a:gd name="T12" fmla="*/ 2147483647 w 100"/>
                <a:gd name="T13" fmla="*/ 2147483647 h 102"/>
                <a:gd name="T14" fmla="*/ 2147483647 w 100"/>
                <a:gd name="T15" fmla="*/ 2147483647 h 102"/>
                <a:gd name="T16" fmla="*/ 2147483647 w 100"/>
                <a:gd name="T17" fmla="*/ 2147483647 h 102"/>
                <a:gd name="T18" fmla="*/ 2147483647 w 100"/>
                <a:gd name="T19" fmla="*/ 2147483647 h 102"/>
                <a:gd name="T20" fmla="*/ 2147483647 w 100"/>
                <a:gd name="T21" fmla="*/ 2147483647 h 102"/>
                <a:gd name="T22" fmla="*/ 0 w 100"/>
                <a:gd name="T23" fmla="*/ 2147483647 h 1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02">
                  <a:moveTo>
                    <a:pt x="0" y="58"/>
                  </a:moveTo>
                  <a:lnTo>
                    <a:pt x="19" y="12"/>
                  </a:lnTo>
                  <a:lnTo>
                    <a:pt x="38" y="0"/>
                  </a:lnTo>
                  <a:lnTo>
                    <a:pt x="57" y="46"/>
                  </a:lnTo>
                  <a:lnTo>
                    <a:pt x="63" y="12"/>
                  </a:lnTo>
                  <a:lnTo>
                    <a:pt x="88" y="35"/>
                  </a:lnTo>
                  <a:lnTo>
                    <a:pt x="88" y="70"/>
                  </a:lnTo>
                  <a:lnTo>
                    <a:pt x="100" y="79"/>
                  </a:lnTo>
                  <a:lnTo>
                    <a:pt x="50" y="91"/>
                  </a:lnTo>
                  <a:lnTo>
                    <a:pt x="45" y="79"/>
                  </a:lnTo>
                  <a:lnTo>
                    <a:pt x="38" y="102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53" name="Freeform 673"/>
            <p:cNvSpPr>
              <a:spLocks/>
            </p:cNvSpPr>
            <p:nvPr>
              <p:custDataLst>
                <p:tags r:id="rId547"/>
              </p:custDataLst>
            </p:nvPr>
          </p:nvSpPr>
          <p:spPr bwMode="auto">
            <a:xfrm>
              <a:off x="7526586" y="2052638"/>
              <a:ext cx="146050" cy="80962"/>
            </a:xfrm>
            <a:custGeom>
              <a:avLst/>
              <a:gdLst>
                <a:gd name="T0" fmla="*/ 0 w 100"/>
                <a:gd name="T1" fmla="*/ 2147483647 h 102"/>
                <a:gd name="T2" fmla="*/ 2147483647 w 100"/>
                <a:gd name="T3" fmla="*/ 2147483647 h 102"/>
                <a:gd name="T4" fmla="*/ 2147483647 w 100"/>
                <a:gd name="T5" fmla="*/ 0 h 102"/>
                <a:gd name="T6" fmla="*/ 2147483647 w 100"/>
                <a:gd name="T7" fmla="*/ 2147483647 h 102"/>
                <a:gd name="T8" fmla="*/ 2147483647 w 100"/>
                <a:gd name="T9" fmla="*/ 2147483647 h 102"/>
                <a:gd name="T10" fmla="*/ 2147483647 w 100"/>
                <a:gd name="T11" fmla="*/ 2147483647 h 102"/>
                <a:gd name="T12" fmla="*/ 2147483647 w 100"/>
                <a:gd name="T13" fmla="*/ 2147483647 h 102"/>
                <a:gd name="T14" fmla="*/ 2147483647 w 100"/>
                <a:gd name="T15" fmla="*/ 2147483647 h 102"/>
                <a:gd name="T16" fmla="*/ 2147483647 w 100"/>
                <a:gd name="T17" fmla="*/ 2147483647 h 102"/>
                <a:gd name="T18" fmla="*/ 2147483647 w 100"/>
                <a:gd name="T19" fmla="*/ 2147483647 h 102"/>
                <a:gd name="T20" fmla="*/ 2147483647 w 100"/>
                <a:gd name="T21" fmla="*/ 2147483647 h 102"/>
                <a:gd name="T22" fmla="*/ 0 w 100"/>
                <a:gd name="T23" fmla="*/ 2147483647 h 1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02">
                  <a:moveTo>
                    <a:pt x="0" y="58"/>
                  </a:moveTo>
                  <a:lnTo>
                    <a:pt x="19" y="12"/>
                  </a:lnTo>
                  <a:lnTo>
                    <a:pt x="38" y="0"/>
                  </a:lnTo>
                  <a:lnTo>
                    <a:pt x="57" y="46"/>
                  </a:lnTo>
                  <a:lnTo>
                    <a:pt x="63" y="12"/>
                  </a:lnTo>
                  <a:lnTo>
                    <a:pt x="88" y="35"/>
                  </a:lnTo>
                  <a:lnTo>
                    <a:pt x="88" y="70"/>
                  </a:lnTo>
                  <a:lnTo>
                    <a:pt x="100" y="79"/>
                  </a:lnTo>
                  <a:lnTo>
                    <a:pt x="50" y="91"/>
                  </a:lnTo>
                  <a:lnTo>
                    <a:pt x="45" y="79"/>
                  </a:lnTo>
                  <a:lnTo>
                    <a:pt x="38" y="102"/>
                  </a:lnTo>
                  <a:lnTo>
                    <a:pt x="0" y="5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54" name="Freeform 674"/>
            <p:cNvSpPr>
              <a:spLocks/>
            </p:cNvSpPr>
            <p:nvPr>
              <p:custDataLst>
                <p:tags r:id="rId548"/>
              </p:custDataLst>
            </p:nvPr>
          </p:nvSpPr>
          <p:spPr bwMode="auto">
            <a:xfrm>
              <a:off x="7526586" y="2052638"/>
              <a:ext cx="146050" cy="80962"/>
            </a:xfrm>
            <a:custGeom>
              <a:avLst/>
              <a:gdLst>
                <a:gd name="T0" fmla="*/ 0 w 100"/>
                <a:gd name="T1" fmla="*/ 2147483647 h 102"/>
                <a:gd name="T2" fmla="*/ 2147483647 w 100"/>
                <a:gd name="T3" fmla="*/ 2147483647 h 102"/>
                <a:gd name="T4" fmla="*/ 2147483647 w 100"/>
                <a:gd name="T5" fmla="*/ 0 h 102"/>
                <a:gd name="T6" fmla="*/ 2147483647 w 100"/>
                <a:gd name="T7" fmla="*/ 2147483647 h 102"/>
                <a:gd name="T8" fmla="*/ 2147483647 w 100"/>
                <a:gd name="T9" fmla="*/ 2147483647 h 102"/>
                <a:gd name="T10" fmla="*/ 2147483647 w 100"/>
                <a:gd name="T11" fmla="*/ 2147483647 h 102"/>
                <a:gd name="T12" fmla="*/ 2147483647 w 100"/>
                <a:gd name="T13" fmla="*/ 2147483647 h 102"/>
                <a:gd name="T14" fmla="*/ 2147483647 w 100"/>
                <a:gd name="T15" fmla="*/ 2147483647 h 102"/>
                <a:gd name="T16" fmla="*/ 2147483647 w 100"/>
                <a:gd name="T17" fmla="*/ 2147483647 h 102"/>
                <a:gd name="T18" fmla="*/ 2147483647 w 100"/>
                <a:gd name="T19" fmla="*/ 2147483647 h 102"/>
                <a:gd name="T20" fmla="*/ 2147483647 w 100"/>
                <a:gd name="T21" fmla="*/ 2147483647 h 102"/>
                <a:gd name="T22" fmla="*/ 0 w 100"/>
                <a:gd name="T23" fmla="*/ 2147483647 h 1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02">
                  <a:moveTo>
                    <a:pt x="0" y="58"/>
                  </a:moveTo>
                  <a:lnTo>
                    <a:pt x="19" y="12"/>
                  </a:lnTo>
                  <a:lnTo>
                    <a:pt x="38" y="0"/>
                  </a:lnTo>
                  <a:lnTo>
                    <a:pt x="57" y="46"/>
                  </a:lnTo>
                  <a:lnTo>
                    <a:pt x="63" y="12"/>
                  </a:lnTo>
                  <a:lnTo>
                    <a:pt x="88" y="35"/>
                  </a:lnTo>
                  <a:lnTo>
                    <a:pt x="88" y="70"/>
                  </a:lnTo>
                  <a:lnTo>
                    <a:pt x="100" y="79"/>
                  </a:lnTo>
                  <a:lnTo>
                    <a:pt x="50" y="91"/>
                  </a:lnTo>
                  <a:lnTo>
                    <a:pt x="45" y="79"/>
                  </a:lnTo>
                  <a:lnTo>
                    <a:pt x="38" y="102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55" name="Freeform 675"/>
            <p:cNvSpPr>
              <a:spLocks/>
            </p:cNvSpPr>
            <p:nvPr>
              <p:custDataLst>
                <p:tags r:id="rId549"/>
              </p:custDataLst>
            </p:nvPr>
          </p:nvSpPr>
          <p:spPr bwMode="auto">
            <a:xfrm>
              <a:off x="7526586" y="2052638"/>
              <a:ext cx="146050" cy="80962"/>
            </a:xfrm>
            <a:custGeom>
              <a:avLst/>
              <a:gdLst>
                <a:gd name="T0" fmla="*/ 0 w 100"/>
                <a:gd name="T1" fmla="*/ 2147483647 h 102"/>
                <a:gd name="T2" fmla="*/ 2147483647 w 100"/>
                <a:gd name="T3" fmla="*/ 2147483647 h 102"/>
                <a:gd name="T4" fmla="*/ 2147483647 w 100"/>
                <a:gd name="T5" fmla="*/ 0 h 102"/>
                <a:gd name="T6" fmla="*/ 2147483647 w 100"/>
                <a:gd name="T7" fmla="*/ 2147483647 h 102"/>
                <a:gd name="T8" fmla="*/ 2147483647 w 100"/>
                <a:gd name="T9" fmla="*/ 2147483647 h 102"/>
                <a:gd name="T10" fmla="*/ 2147483647 w 100"/>
                <a:gd name="T11" fmla="*/ 2147483647 h 102"/>
                <a:gd name="T12" fmla="*/ 2147483647 w 100"/>
                <a:gd name="T13" fmla="*/ 2147483647 h 102"/>
                <a:gd name="T14" fmla="*/ 2147483647 w 100"/>
                <a:gd name="T15" fmla="*/ 2147483647 h 102"/>
                <a:gd name="T16" fmla="*/ 2147483647 w 100"/>
                <a:gd name="T17" fmla="*/ 2147483647 h 102"/>
                <a:gd name="T18" fmla="*/ 2147483647 w 100"/>
                <a:gd name="T19" fmla="*/ 2147483647 h 102"/>
                <a:gd name="T20" fmla="*/ 2147483647 w 100"/>
                <a:gd name="T21" fmla="*/ 2147483647 h 102"/>
                <a:gd name="T22" fmla="*/ 0 w 100"/>
                <a:gd name="T23" fmla="*/ 2147483647 h 1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02">
                  <a:moveTo>
                    <a:pt x="0" y="58"/>
                  </a:moveTo>
                  <a:lnTo>
                    <a:pt x="19" y="12"/>
                  </a:lnTo>
                  <a:lnTo>
                    <a:pt x="38" y="0"/>
                  </a:lnTo>
                  <a:lnTo>
                    <a:pt x="57" y="46"/>
                  </a:lnTo>
                  <a:lnTo>
                    <a:pt x="63" y="12"/>
                  </a:lnTo>
                  <a:lnTo>
                    <a:pt x="88" y="35"/>
                  </a:lnTo>
                  <a:lnTo>
                    <a:pt x="88" y="70"/>
                  </a:lnTo>
                  <a:lnTo>
                    <a:pt x="100" y="79"/>
                  </a:lnTo>
                  <a:lnTo>
                    <a:pt x="50" y="91"/>
                  </a:lnTo>
                  <a:lnTo>
                    <a:pt x="45" y="79"/>
                  </a:lnTo>
                  <a:lnTo>
                    <a:pt x="38" y="102"/>
                  </a:lnTo>
                  <a:lnTo>
                    <a:pt x="0" y="5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56" name="Freeform 676"/>
            <p:cNvSpPr>
              <a:spLocks/>
            </p:cNvSpPr>
            <p:nvPr>
              <p:custDataLst>
                <p:tags r:id="rId550"/>
              </p:custDataLst>
            </p:nvPr>
          </p:nvSpPr>
          <p:spPr bwMode="auto">
            <a:xfrm>
              <a:off x="7628186" y="2058988"/>
              <a:ext cx="101600" cy="47625"/>
            </a:xfrm>
            <a:custGeom>
              <a:avLst/>
              <a:gdLst>
                <a:gd name="T0" fmla="*/ 0 w 70"/>
                <a:gd name="T1" fmla="*/ 0 h 60"/>
                <a:gd name="T2" fmla="*/ 2147483647 w 70"/>
                <a:gd name="T3" fmla="*/ 2147483647 h 60"/>
                <a:gd name="T4" fmla="*/ 2147483647 w 70"/>
                <a:gd name="T5" fmla="*/ 2147483647 h 60"/>
                <a:gd name="T6" fmla="*/ 2147483647 w 70"/>
                <a:gd name="T7" fmla="*/ 2147483647 h 60"/>
                <a:gd name="T8" fmla="*/ 2147483647 w 70"/>
                <a:gd name="T9" fmla="*/ 2147483647 h 60"/>
                <a:gd name="T10" fmla="*/ 2147483647 w 70"/>
                <a:gd name="T11" fmla="*/ 2147483647 h 60"/>
                <a:gd name="T12" fmla="*/ 0 w 70"/>
                <a:gd name="T13" fmla="*/ 0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0" h="60">
                  <a:moveTo>
                    <a:pt x="0" y="0"/>
                  </a:moveTo>
                  <a:lnTo>
                    <a:pt x="26" y="25"/>
                  </a:lnTo>
                  <a:lnTo>
                    <a:pt x="19" y="48"/>
                  </a:lnTo>
                  <a:lnTo>
                    <a:pt x="31" y="60"/>
                  </a:lnTo>
                  <a:lnTo>
                    <a:pt x="50" y="60"/>
                  </a:lnTo>
                  <a:lnTo>
                    <a:pt x="7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57" name="Freeform 677"/>
            <p:cNvSpPr>
              <a:spLocks/>
            </p:cNvSpPr>
            <p:nvPr>
              <p:custDataLst>
                <p:tags r:id="rId551"/>
              </p:custDataLst>
            </p:nvPr>
          </p:nvSpPr>
          <p:spPr bwMode="auto">
            <a:xfrm>
              <a:off x="7628186" y="2058988"/>
              <a:ext cx="101600" cy="47625"/>
            </a:xfrm>
            <a:custGeom>
              <a:avLst/>
              <a:gdLst>
                <a:gd name="T0" fmla="*/ 0 w 70"/>
                <a:gd name="T1" fmla="*/ 0 h 60"/>
                <a:gd name="T2" fmla="*/ 2147483647 w 70"/>
                <a:gd name="T3" fmla="*/ 2147483647 h 60"/>
                <a:gd name="T4" fmla="*/ 2147483647 w 70"/>
                <a:gd name="T5" fmla="*/ 2147483647 h 60"/>
                <a:gd name="T6" fmla="*/ 2147483647 w 70"/>
                <a:gd name="T7" fmla="*/ 2147483647 h 60"/>
                <a:gd name="T8" fmla="*/ 2147483647 w 70"/>
                <a:gd name="T9" fmla="*/ 2147483647 h 60"/>
                <a:gd name="T10" fmla="*/ 2147483647 w 70"/>
                <a:gd name="T11" fmla="*/ 2147483647 h 60"/>
                <a:gd name="T12" fmla="*/ 0 w 70"/>
                <a:gd name="T13" fmla="*/ 0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0" h="60">
                  <a:moveTo>
                    <a:pt x="0" y="0"/>
                  </a:moveTo>
                  <a:lnTo>
                    <a:pt x="26" y="25"/>
                  </a:lnTo>
                  <a:lnTo>
                    <a:pt x="19" y="48"/>
                  </a:lnTo>
                  <a:lnTo>
                    <a:pt x="31" y="60"/>
                  </a:lnTo>
                  <a:lnTo>
                    <a:pt x="50" y="60"/>
                  </a:lnTo>
                  <a:lnTo>
                    <a:pt x="70" y="35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58" name="Freeform 678"/>
            <p:cNvSpPr>
              <a:spLocks/>
            </p:cNvSpPr>
            <p:nvPr>
              <p:custDataLst>
                <p:tags r:id="rId552"/>
              </p:custDataLst>
            </p:nvPr>
          </p:nvSpPr>
          <p:spPr bwMode="auto">
            <a:xfrm>
              <a:off x="7628186" y="2058988"/>
              <a:ext cx="101600" cy="47625"/>
            </a:xfrm>
            <a:custGeom>
              <a:avLst/>
              <a:gdLst>
                <a:gd name="T0" fmla="*/ 0 w 70"/>
                <a:gd name="T1" fmla="*/ 0 h 60"/>
                <a:gd name="T2" fmla="*/ 2147483647 w 70"/>
                <a:gd name="T3" fmla="*/ 2147483647 h 60"/>
                <a:gd name="T4" fmla="*/ 2147483647 w 70"/>
                <a:gd name="T5" fmla="*/ 2147483647 h 60"/>
                <a:gd name="T6" fmla="*/ 2147483647 w 70"/>
                <a:gd name="T7" fmla="*/ 2147483647 h 60"/>
                <a:gd name="T8" fmla="*/ 2147483647 w 70"/>
                <a:gd name="T9" fmla="*/ 2147483647 h 60"/>
                <a:gd name="T10" fmla="*/ 2147483647 w 70"/>
                <a:gd name="T11" fmla="*/ 2147483647 h 60"/>
                <a:gd name="T12" fmla="*/ 0 w 70"/>
                <a:gd name="T13" fmla="*/ 0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0" h="60">
                  <a:moveTo>
                    <a:pt x="0" y="0"/>
                  </a:moveTo>
                  <a:lnTo>
                    <a:pt x="26" y="25"/>
                  </a:lnTo>
                  <a:lnTo>
                    <a:pt x="19" y="48"/>
                  </a:lnTo>
                  <a:lnTo>
                    <a:pt x="31" y="60"/>
                  </a:lnTo>
                  <a:lnTo>
                    <a:pt x="50" y="60"/>
                  </a:lnTo>
                  <a:lnTo>
                    <a:pt x="7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59" name="Freeform 679"/>
            <p:cNvSpPr>
              <a:spLocks/>
            </p:cNvSpPr>
            <p:nvPr>
              <p:custDataLst>
                <p:tags r:id="rId553"/>
              </p:custDataLst>
            </p:nvPr>
          </p:nvSpPr>
          <p:spPr bwMode="auto">
            <a:xfrm>
              <a:off x="7628186" y="2058988"/>
              <a:ext cx="101600" cy="47625"/>
            </a:xfrm>
            <a:custGeom>
              <a:avLst/>
              <a:gdLst>
                <a:gd name="T0" fmla="*/ 0 w 70"/>
                <a:gd name="T1" fmla="*/ 0 h 60"/>
                <a:gd name="T2" fmla="*/ 2147483647 w 70"/>
                <a:gd name="T3" fmla="*/ 2147483647 h 60"/>
                <a:gd name="T4" fmla="*/ 2147483647 w 70"/>
                <a:gd name="T5" fmla="*/ 2147483647 h 60"/>
                <a:gd name="T6" fmla="*/ 2147483647 w 70"/>
                <a:gd name="T7" fmla="*/ 2147483647 h 60"/>
                <a:gd name="T8" fmla="*/ 2147483647 w 70"/>
                <a:gd name="T9" fmla="*/ 2147483647 h 60"/>
                <a:gd name="T10" fmla="*/ 2147483647 w 70"/>
                <a:gd name="T11" fmla="*/ 2147483647 h 60"/>
                <a:gd name="T12" fmla="*/ 0 w 70"/>
                <a:gd name="T13" fmla="*/ 0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0" h="60">
                  <a:moveTo>
                    <a:pt x="0" y="0"/>
                  </a:moveTo>
                  <a:lnTo>
                    <a:pt x="26" y="25"/>
                  </a:lnTo>
                  <a:lnTo>
                    <a:pt x="19" y="48"/>
                  </a:lnTo>
                  <a:lnTo>
                    <a:pt x="31" y="60"/>
                  </a:lnTo>
                  <a:lnTo>
                    <a:pt x="50" y="60"/>
                  </a:lnTo>
                  <a:lnTo>
                    <a:pt x="70" y="35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60" name="Freeform 680"/>
            <p:cNvSpPr>
              <a:spLocks/>
            </p:cNvSpPr>
            <p:nvPr>
              <p:custDataLst>
                <p:tags r:id="rId554"/>
              </p:custDataLst>
            </p:nvPr>
          </p:nvSpPr>
          <p:spPr bwMode="auto">
            <a:xfrm>
              <a:off x="7637711" y="2971800"/>
              <a:ext cx="73025" cy="274638"/>
            </a:xfrm>
            <a:custGeom>
              <a:avLst/>
              <a:gdLst>
                <a:gd name="T0" fmla="*/ 0 w 50"/>
                <a:gd name="T1" fmla="*/ 2147483647 h 346"/>
                <a:gd name="T2" fmla="*/ 2147483647 w 50"/>
                <a:gd name="T3" fmla="*/ 2147483647 h 346"/>
                <a:gd name="T4" fmla="*/ 2147483647 w 50"/>
                <a:gd name="T5" fmla="*/ 2147483647 h 346"/>
                <a:gd name="T6" fmla="*/ 2147483647 w 50"/>
                <a:gd name="T7" fmla="*/ 2147483647 h 346"/>
                <a:gd name="T8" fmla="*/ 2147483647 w 50"/>
                <a:gd name="T9" fmla="*/ 2147483647 h 346"/>
                <a:gd name="T10" fmla="*/ 2147483647 w 50"/>
                <a:gd name="T11" fmla="*/ 2147483647 h 346"/>
                <a:gd name="T12" fmla="*/ 2147483647 w 50"/>
                <a:gd name="T13" fmla="*/ 2147483647 h 346"/>
                <a:gd name="T14" fmla="*/ 2147483647 w 50"/>
                <a:gd name="T15" fmla="*/ 2147483647 h 346"/>
                <a:gd name="T16" fmla="*/ 2147483647 w 50"/>
                <a:gd name="T17" fmla="*/ 2147483647 h 346"/>
                <a:gd name="T18" fmla="*/ 2147483647 w 50"/>
                <a:gd name="T19" fmla="*/ 0 h 346"/>
                <a:gd name="T20" fmla="*/ 0 w 50"/>
                <a:gd name="T21" fmla="*/ 2147483647 h 3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0" h="346">
                  <a:moveTo>
                    <a:pt x="0" y="91"/>
                  </a:moveTo>
                  <a:lnTo>
                    <a:pt x="12" y="135"/>
                  </a:lnTo>
                  <a:lnTo>
                    <a:pt x="12" y="346"/>
                  </a:lnTo>
                  <a:lnTo>
                    <a:pt x="19" y="325"/>
                  </a:lnTo>
                  <a:lnTo>
                    <a:pt x="31" y="335"/>
                  </a:lnTo>
                  <a:lnTo>
                    <a:pt x="19" y="279"/>
                  </a:lnTo>
                  <a:lnTo>
                    <a:pt x="25" y="223"/>
                  </a:lnTo>
                  <a:lnTo>
                    <a:pt x="50" y="235"/>
                  </a:lnTo>
                  <a:lnTo>
                    <a:pt x="25" y="123"/>
                  </a:lnTo>
                  <a:lnTo>
                    <a:pt x="19" y="0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61" name="Freeform 681"/>
            <p:cNvSpPr>
              <a:spLocks/>
            </p:cNvSpPr>
            <p:nvPr>
              <p:custDataLst>
                <p:tags r:id="rId555"/>
              </p:custDataLst>
            </p:nvPr>
          </p:nvSpPr>
          <p:spPr bwMode="auto">
            <a:xfrm>
              <a:off x="7637711" y="2971800"/>
              <a:ext cx="73025" cy="274638"/>
            </a:xfrm>
            <a:custGeom>
              <a:avLst/>
              <a:gdLst>
                <a:gd name="T0" fmla="*/ 0 w 50"/>
                <a:gd name="T1" fmla="*/ 2147483647 h 346"/>
                <a:gd name="T2" fmla="*/ 2147483647 w 50"/>
                <a:gd name="T3" fmla="*/ 2147483647 h 346"/>
                <a:gd name="T4" fmla="*/ 2147483647 w 50"/>
                <a:gd name="T5" fmla="*/ 2147483647 h 346"/>
                <a:gd name="T6" fmla="*/ 2147483647 w 50"/>
                <a:gd name="T7" fmla="*/ 2147483647 h 346"/>
                <a:gd name="T8" fmla="*/ 2147483647 w 50"/>
                <a:gd name="T9" fmla="*/ 2147483647 h 346"/>
                <a:gd name="T10" fmla="*/ 2147483647 w 50"/>
                <a:gd name="T11" fmla="*/ 2147483647 h 346"/>
                <a:gd name="T12" fmla="*/ 2147483647 w 50"/>
                <a:gd name="T13" fmla="*/ 2147483647 h 346"/>
                <a:gd name="T14" fmla="*/ 2147483647 w 50"/>
                <a:gd name="T15" fmla="*/ 2147483647 h 346"/>
                <a:gd name="T16" fmla="*/ 2147483647 w 50"/>
                <a:gd name="T17" fmla="*/ 2147483647 h 346"/>
                <a:gd name="T18" fmla="*/ 2147483647 w 50"/>
                <a:gd name="T19" fmla="*/ 0 h 346"/>
                <a:gd name="T20" fmla="*/ 0 w 50"/>
                <a:gd name="T21" fmla="*/ 2147483647 h 3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0" h="346">
                  <a:moveTo>
                    <a:pt x="0" y="91"/>
                  </a:moveTo>
                  <a:lnTo>
                    <a:pt x="12" y="135"/>
                  </a:lnTo>
                  <a:lnTo>
                    <a:pt x="12" y="346"/>
                  </a:lnTo>
                  <a:lnTo>
                    <a:pt x="19" y="325"/>
                  </a:lnTo>
                  <a:lnTo>
                    <a:pt x="31" y="335"/>
                  </a:lnTo>
                  <a:lnTo>
                    <a:pt x="19" y="279"/>
                  </a:lnTo>
                  <a:lnTo>
                    <a:pt x="25" y="223"/>
                  </a:lnTo>
                  <a:lnTo>
                    <a:pt x="50" y="235"/>
                  </a:lnTo>
                  <a:lnTo>
                    <a:pt x="25" y="123"/>
                  </a:lnTo>
                  <a:lnTo>
                    <a:pt x="19" y="0"/>
                  </a:lnTo>
                  <a:lnTo>
                    <a:pt x="0" y="9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62" name="Freeform 682"/>
            <p:cNvSpPr>
              <a:spLocks/>
            </p:cNvSpPr>
            <p:nvPr>
              <p:custDataLst>
                <p:tags r:id="rId556"/>
              </p:custDataLst>
            </p:nvPr>
          </p:nvSpPr>
          <p:spPr bwMode="auto">
            <a:xfrm>
              <a:off x="7637711" y="2971800"/>
              <a:ext cx="73025" cy="274638"/>
            </a:xfrm>
            <a:custGeom>
              <a:avLst/>
              <a:gdLst>
                <a:gd name="T0" fmla="*/ 0 w 50"/>
                <a:gd name="T1" fmla="*/ 2147483647 h 346"/>
                <a:gd name="T2" fmla="*/ 2147483647 w 50"/>
                <a:gd name="T3" fmla="*/ 2147483647 h 346"/>
                <a:gd name="T4" fmla="*/ 2147483647 w 50"/>
                <a:gd name="T5" fmla="*/ 2147483647 h 346"/>
                <a:gd name="T6" fmla="*/ 2147483647 w 50"/>
                <a:gd name="T7" fmla="*/ 2147483647 h 346"/>
                <a:gd name="T8" fmla="*/ 2147483647 w 50"/>
                <a:gd name="T9" fmla="*/ 2147483647 h 346"/>
                <a:gd name="T10" fmla="*/ 2147483647 w 50"/>
                <a:gd name="T11" fmla="*/ 2147483647 h 346"/>
                <a:gd name="T12" fmla="*/ 2147483647 w 50"/>
                <a:gd name="T13" fmla="*/ 2147483647 h 346"/>
                <a:gd name="T14" fmla="*/ 2147483647 w 50"/>
                <a:gd name="T15" fmla="*/ 2147483647 h 346"/>
                <a:gd name="T16" fmla="*/ 2147483647 w 50"/>
                <a:gd name="T17" fmla="*/ 2147483647 h 346"/>
                <a:gd name="T18" fmla="*/ 2147483647 w 50"/>
                <a:gd name="T19" fmla="*/ 0 h 346"/>
                <a:gd name="T20" fmla="*/ 0 w 50"/>
                <a:gd name="T21" fmla="*/ 2147483647 h 3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0" h="346">
                  <a:moveTo>
                    <a:pt x="0" y="91"/>
                  </a:moveTo>
                  <a:lnTo>
                    <a:pt x="12" y="135"/>
                  </a:lnTo>
                  <a:lnTo>
                    <a:pt x="12" y="346"/>
                  </a:lnTo>
                  <a:lnTo>
                    <a:pt x="19" y="325"/>
                  </a:lnTo>
                  <a:lnTo>
                    <a:pt x="31" y="335"/>
                  </a:lnTo>
                  <a:lnTo>
                    <a:pt x="19" y="279"/>
                  </a:lnTo>
                  <a:lnTo>
                    <a:pt x="25" y="223"/>
                  </a:lnTo>
                  <a:lnTo>
                    <a:pt x="50" y="235"/>
                  </a:lnTo>
                  <a:lnTo>
                    <a:pt x="25" y="123"/>
                  </a:lnTo>
                  <a:lnTo>
                    <a:pt x="19" y="0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63" name="Freeform 683"/>
            <p:cNvSpPr>
              <a:spLocks/>
            </p:cNvSpPr>
            <p:nvPr>
              <p:custDataLst>
                <p:tags r:id="rId557"/>
              </p:custDataLst>
            </p:nvPr>
          </p:nvSpPr>
          <p:spPr bwMode="auto">
            <a:xfrm>
              <a:off x="7637711" y="2971800"/>
              <a:ext cx="73025" cy="274638"/>
            </a:xfrm>
            <a:custGeom>
              <a:avLst/>
              <a:gdLst>
                <a:gd name="T0" fmla="*/ 0 w 50"/>
                <a:gd name="T1" fmla="*/ 2147483647 h 346"/>
                <a:gd name="T2" fmla="*/ 2147483647 w 50"/>
                <a:gd name="T3" fmla="*/ 2147483647 h 346"/>
                <a:gd name="T4" fmla="*/ 2147483647 w 50"/>
                <a:gd name="T5" fmla="*/ 2147483647 h 346"/>
                <a:gd name="T6" fmla="*/ 2147483647 w 50"/>
                <a:gd name="T7" fmla="*/ 2147483647 h 346"/>
                <a:gd name="T8" fmla="*/ 2147483647 w 50"/>
                <a:gd name="T9" fmla="*/ 2147483647 h 346"/>
                <a:gd name="T10" fmla="*/ 2147483647 w 50"/>
                <a:gd name="T11" fmla="*/ 2147483647 h 346"/>
                <a:gd name="T12" fmla="*/ 2147483647 w 50"/>
                <a:gd name="T13" fmla="*/ 2147483647 h 346"/>
                <a:gd name="T14" fmla="*/ 2147483647 w 50"/>
                <a:gd name="T15" fmla="*/ 2147483647 h 346"/>
                <a:gd name="T16" fmla="*/ 2147483647 w 50"/>
                <a:gd name="T17" fmla="*/ 2147483647 h 346"/>
                <a:gd name="T18" fmla="*/ 2147483647 w 50"/>
                <a:gd name="T19" fmla="*/ 0 h 346"/>
                <a:gd name="T20" fmla="*/ 0 w 50"/>
                <a:gd name="T21" fmla="*/ 2147483647 h 3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0" h="346">
                  <a:moveTo>
                    <a:pt x="0" y="91"/>
                  </a:moveTo>
                  <a:lnTo>
                    <a:pt x="12" y="135"/>
                  </a:lnTo>
                  <a:lnTo>
                    <a:pt x="12" y="346"/>
                  </a:lnTo>
                  <a:lnTo>
                    <a:pt x="19" y="325"/>
                  </a:lnTo>
                  <a:lnTo>
                    <a:pt x="31" y="335"/>
                  </a:lnTo>
                  <a:lnTo>
                    <a:pt x="19" y="279"/>
                  </a:lnTo>
                  <a:lnTo>
                    <a:pt x="25" y="223"/>
                  </a:lnTo>
                  <a:lnTo>
                    <a:pt x="50" y="235"/>
                  </a:lnTo>
                  <a:lnTo>
                    <a:pt x="25" y="123"/>
                  </a:lnTo>
                  <a:lnTo>
                    <a:pt x="19" y="0"/>
                  </a:lnTo>
                  <a:lnTo>
                    <a:pt x="0" y="9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64" name="Freeform 684"/>
            <p:cNvSpPr>
              <a:spLocks/>
            </p:cNvSpPr>
            <p:nvPr>
              <p:custDataLst>
                <p:tags r:id="rId558"/>
              </p:custDataLst>
            </p:nvPr>
          </p:nvSpPr>
          <p:spPr bwMode="auto">
            <a:xfrm>
              <a:off x="7739311" y="2087563"/>
              <a:ext cx="109537" cy="34925"/>
            </a:xfrm>
            <a:custGeom>
              <a:avLst/>
              <a:gdLst>
                <a:gd name="T0" fmla="*/ 0 w 75"/>
                <a:gd name="T1" fmla="*/ 0 h 44"/>
                <a:gd name="T2" fmla="*/ 2147483647 w 75"/>
                <a:gd name="T3" fmla="*/ 2147483647 h 44"/>
                <a:gd name="T4" fmla="*/ 2147483647 w 75"/>
                <a:gd name="T5" fmla="*/ 2147483647 h 44"/>
                <a:gd name="T6" fmla="*/ 2147483647 w 75"/>
                <a:gd name="T7" fmla="*/ 2147483647 h 44"/>
                <a:gd name="T8" fmla="*/ 0 w 75"/>
                <a:gd name="T9" fmla="*/ 0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5" h="44">
                  <a:moveTo>
                    <a:pt x="0" y="0"/>
                  </a:moveTo>
                  <a:lnTo>
                    <a:pt x="19" y="34"/>
                  </a:lnTo>
                  <a:lnTo>
                    <a:pt x="49" y="44"/>
                  </a:lnTo>
                  <a:lnTo>
                    <a:pt x="75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65" name="Freeform 685"/>
            <p:cNvSpPr>
              <a:spLocks/>
            </p:cNvSpPr>
            <p:nvPr>
              <p:custDataLst>
                <p:tags r:id="rId559"/>
              </p:custDataLst>
            </p:nvPr>
          </p:nvSpPr>
          <p:spPr bwMode="auto">
            <a:xfrm>
              <a:off x="7739311" y="2087563"/>
              <a:ext cx="109537" cy="34925"/>
            </a:xfrm>
            <a:custGeom>
              <a:avLst/>
              <a:gdLst>
                <a:gd name="T0" fmla="*/ 0 w 75"/>
                <a:gd name="T1" fmla="*/ 0 h 44"/>
                <a:gd name="T2" fmla="*/ 2147483647 w 75"/>
                <a:gd name="T3" fmla="*/ 2147483647 h 44"/>
                <a:gd name="T4" fmla="*/ 2147483647 w 75"/>
                <a:gd name="T5" fmla="*/ 2147483647 h 44"/>
                <a:gd name="T6" fmla="*/ 2147483647 w 75"/>
                <a:gd name="T7" fmla="*/ 2147483647 h 44"/>
                <a:gd name="T8" fmla="*/ 0 w 75"/>
                <a:gd name="T9" fmla="*/ 0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5" h="44">
                  <a:moveTo>
                    <a:pt x="0" y="0"/>
                  </a:moveTo>
                  <a:lnTo>
                    <a:pt x="19" y="34"/>
                  </a:lnTo>
                  <a:lnTo>
                    <a:pt x="49" y="44"/>
                  </a:lnTo>
                  <a:lnTo>
                    <a:pt x="75" y="34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66" name="Freeform 686"/>
            <p:cNvSpPr>
              <a:spLocks/>
            </p:cNvSpPr>
            <p:nvPr>
              <p:custDataLst>
                <p:tags r:id="rId560"/>
              </p:custDataLst>
            </p:nvPr>
          </p:nvSpPr>
          <p:spPr bwMode="auto">
            <a:xfrm>
              <a:off x="7739311" y="2087563"/>
              <a:ext cx="109537" cy="34925"/>
            </a:xfrm>
            <a:custGeom>
              <a:avLst/>
              <a:gdLst>
                <a:gd name="T0" fmla="*/ 0 w 75"/>
                <a:gd name="T1" fmla="*/ 0 h 44"/>
                <a:gd name="T2" fmla="*/ 2147483647 w 75"/>
                <a:gd name="T3" fmla="*/ 2147483647 h 44"/>
                <a:gd name="T4" fmla="*/ 2147483647 w 75"/>
                <a:gd name="T5" fmla="*/ 2147483647 h 44"/>
                <a:gd name="T6" fmla="*/ 2147483647 w 75"/>
                <a:gd name="T7" fmla="*/ 2147483647 h 44"/>
                <a:gd name="T8" fmla="*/ 0 w 75"/>
                <a:gd name="T9" fmla="*/ 0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5" h="44">
                  <a:moveTo>
                    <a:pt x="0" y="0"/>
                  </a:moveTo>
                  <a:lnTo>
                    <a:pt x="19" y="34"/>
                  </a:lnTo>
                  <a:lnTo>
                    <a:pt x="49" y="44"/>
                  </a:lnTo>
                  <a:lnTo>
                    <a:pt x="75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67" name="Freeform 687"/>
            <p:cNvSpPr>
              <a:spLocks/>
            </p:cNvSpPr>
            <p:nvPr>
              <p:custDataLst>
                <p:tags r:id="rId561"/>
              </p:custDataLst>
            </p:nvPr>
          </p:nvSpPr>
          <p:spPr bwMode="auto">
            <a:xfrm>
              <a:off x="7739311" y="2087563"/>
              <a:ext cx="109537" cy="34925"/>
            </a:xfrm>
            <a:custGeom>
              <a:avLst/>
              <a:gdLst>
                <a:gd name="T0" fmla="*/ 0 w 75"/>
                <a:gd name="T1" fmla="*/ 0 h 44"/>
                <a:gd name="T2" fmla="*/ 2147483647 w 75"/>
                <a:gd name="T3" fmla="*/ 2147483647 h 44"/>
                <a:gd name="T4" fmla="*/ 2147483647 w 75"/>
                <a:gd name="T5" fmla="*/ 2147483647 h 44"/>
                <a:gd name="T6" fmla="*/ 2147483647 w 75"/>
                <a:gd name="T7" fmla="*/ 2147483647 h 44"/>
                <a:gd name="T8" fmla="*/ 0 w 75"/>
                <a:gd name="T9" fmla="*/ 0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5" h="44">
                  <a:moveTo>
                    <a:pt x="0" y="0"/>
                  </a:moveTo>
                  <a:lnTo>
                    <a:pt x="19" y="34"/>
                  </a:lnTo>
                  <a:lnTo>
                    <a:pt x="49" y="44"/>
                  </a:lnTo>
                  <a:lnTo>
                    <a:pt x="75" y="34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68" name="Freeform 688"/>
            <p:cNvSpPr>
              <a:spLocks/>
            </p:cNvSpPr>
            <p:nvPr>
              <p:custDataLst>
                <p:tags r:id="rId562"/>
              </p:custDataLst>
            </p:nvPr>
          </p:nvSpPr>
          <p:spPr bwMode="auto">
            <a:xfrm>
              <a:off x="4200773" y="3316288"/>
              <a:ext cx="282575" cy="231775"/>
            </a:xfrm>
            <a:custGeom>
              <a:avLst/>
              <a:gdLst>
                <a:gd name="T0" fmla="*/ 0 w 193"/>
                <a:gd name="T1" fmla="*/ 2147483647 h 291"/>
                <a:gd name="T2" fmla="*/ 2147483647 w 193"/>
                <a:gd name="T3" fmla="*/ 2147483647 h 291"/>
                <a:gd name="T4" fmla="*/ 2147483647 w 193"/>
                <a:gd name="T5" fmla="*/ 2147483647 h 291"/>
                <a:gd name="T6" fmla="*/ 2147483647 w 193"/>
                <a:gd name="T7" fmla="*/ 2147483647 h 291"/>
                <a:gd name="T8" fmla="*/ 2147483647 w 193"/>
                <a:gd name="T9" fmla="*/ 2147483647 h 291"/>
                <a:gd name="T10" fmla="*/ 2147483647 w 193"/>
                <a:gd name="T11" fmla="*/ 2147483647 h 291"/>
                <a:gd name="T12" fmla="*/ 2147483647 w 193"/>
                <a:gd name="T13" fmla="*/ 2147483647 h 291"/>
                <a:gd name="T14" fmla="*/ 2147483647 w 193"/>
                <a:gd name="T15" fmla="*/ 2147483647 h 291"/>
                <a:gd name="T16" fmla="*/ 2147483647 w 193"/>
                <a:gd name="T17" fmla="*/ 2147483647 h 291"/>
                <a:gd name="T18" fmla="*/ 2147483647 w 193"/>
                <a:gd name="T19" fmla="*/ 2147483647 h 291"/>
                <a:gd name="T20" fmla="*/ 2147483647 w 193"/>
                <a:gd name="T21" fmla="*/ 2147483647 h 291"/>
                <a:gd name="T22" fmla="*/ 2147483647 w 193"/>
                <a:gd name="T23" fmla="*/ 2147483647 h 291"/>
                <a:gd name="T24" fmla="*/ 2147483647 w 193"/>
                <a:gd name="T25" fmla="*/ 2147483647 h 291"/>
                <a:gd name="T26" fmla="*/ 2147483647 w 193"/>
                <a:gd name="T27" fmla="*/ 2147483647 h 291"/>
                <a:gd name="T28" fmla="*/ 2147483647 w 193"/>
                <a:gd name="T29" fmla="*/ 0 h 291"/>
                <a:gd name="T30" fmla="*/ 0 w 193"/>
                <a:gd name="T31" fmla="*/ 2147483647 h 29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93" h="291">
                  <a:moveTo>
                    <a:pt x="0" y="34"/>
                  </a:moveTo>
                  <a:lnTo>
                    <a:pt x="6" y="78"/>
                  </a:lnTo>
                  <a:lnTo>
                    <a:pt x="44" y="78"/>
                  </a:lnTo>
                  <a:lnTo>
                    <a:pt x="31" y="157"/>
                  </a:lnTo>
                  <a:lnTo>
                    <a:pt x="31" y="245"/>
                  </a:lnTo>
                  <a:lnTo>
                    <a:pt x="55" y="291"/>
                  </a:lnTo>
                  <a:lnTo>
                    <a:pt x="113" y="268"/>
                  </a:lnTo>
                  <a:lnTo>
                    <a:pt x="150" y="192"/>
                  </a:lnTo>
                  <a:lnTo>
                    <a:pt x="137" y="169"/>
                  </a:lnTo>
                  <a:lnTo>
                    <a:pt x="155" y="113"/>
                  </a:lnTo>
                  <a:lnTo>
                    <a:pt x="193" y="78"/>
                  </a:lnTo>
                  <a:lnTo>
                    <a:pt x="193" y="57"/>
                  </a:lnTo>
                  <a:lnTo>
                    <a:pt x="169" y="46"/>
                  </a:lnTo>
                  <a:lnTo>
                    <a:pt x="119" y="13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569" name="Group 689"/>
            <p:cNvGrpSpPr>
              <a:grpSpLocks/>
            </p:cNvGrpSpPr>
            <p:nvPr>
              <p:custDataLst>
                <p:tags r:id="rId563"/>
              </p:custDataLst>
            </p:nvPr>
          </p:nvGrpSpPr>
          <p:grpSpPr bwMode="auto">
            <a:xfrm>
              <a:off x="4200773" y="3316288"/>
              <a:ext cx="282575" cy="231775"/>
              <a:chOff x="2801" y="1907"/>
              <a:chExt cx="193" cy="146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011" name="Freeform 690"/>
              <p:cNvSpPr>
                <a:spLocks/>
              </p:cNvSpPr>
              <p:nvPr/>
            </p:nvSpPr>
            <p:spPr bwMode="auto">
              <a:xfrm>
                <a:off x="2801" y="1907"/>
                <a:ext cx="193" cy="146"/>
              </a:xfrm>
              <a:custGeom>
                <a:avLst/>
                <a:gdLst>
                  <a:gd name="T0" fmla="*/ 0 w 193"/>
                  <a:gd name="T1" fmla="*/ 1 h 291"/>
                  <a:gd name="T2" fmla="*/ 6 w 193"/>
                  <a:gd name="T3" fmla="*/ 1 h 291"/>
                  <a:gd name="T4" fmla="*/ 44 w 193"/>
                  <a:gd name="T5" fmla="*/ 1 h 291"/>
                  <a:gd name="T6" fmla="*/ 31 w 193"/>
                  <a:gd name="T7" fmla="*/ 1 h 291"/>
                  <a:gd name="T8" fmla="*/ 31 w 193"/>
                  <a:gd name="T9" fmla="*/ 1 h 291"/>
                  <a:gd name="T10" fmla="*/ 55 w 193"/>
                  <a:gd name="T11" fmla="*/ 1 h 291"/>
                  <a:gd name="T12" fmla="*/ 113 w 193"/>
                  <a:gd name="T13" fmla="*/ 1 h 291"/>
                  <a:gd name="T14" fmla="*/ 150 w 193"/>
                  <a:gd name="T15" fmla="*/ 1 h 291"/>
                  <a:gd name="T16" fmla="*/ 137 w 193"/>
                  <a:gd name="T17" fmla="*/ 1 h 291"/>
                  <a:gd name="T18" fmla="*/ 155 w 193"/>
                  <a:gd name="T19" fmla="*/ 1 h 291"/>
                  <a:gd name="T20" fmla="*/ 193 w 193"/>
                  <a:gd name="T21" fmla="*/ 1 h 291"/>
                  <a:gd name="T22" fmla="*/ 193 w 193"/>
                  <a:gd name="T23" fmla="*/ 1 h 291"/>
                  <a:gd name="T24" fmla="*/ 169 w 193"/>
                  <a:gd name="T25" fmla="*/ 1 h 291"/>
                  <a:gd name="T26" fmla="*/ 119 w 193"/>
                  <a:gd name="T27" fmla="*/ 1 h 291"/>
                  <a:gd name="T28" fmla="*/ 19 w 193"/>
                  <a:gd name="T29" fmla="*/ 0 h 291"/>
                  <a:gd name="T30" fmla="*/ 0 w 193"/>
                  <a:gd name="T31" fmla="*/ 1 h 29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93" h="291">
                    <a:moveTo>
                      <a:pt x="0" y="34"/>
                    </a:moveTo>
                    <a:lnTo>
                      <a:pt x="6" y="78"/>
                    </a:lnTo>
                    <a:lnTo>
                      <a:pt x="44" y="78"/>
                    </a:lnTo>
                    <a:lnTo>
                      <a:pt x="31" y="157"/>
                    </a:lnTo>
                    <a:lnTo>
                      <a:pt x="31" y="245"/>
                    </a:lnTo>
                    <a:lnTo>
                      <a:pt x="55" y="291"/>
                    </a:lnTo>
                    <a:lnTo>
                      <a:pt x="113" y="268"/>
                    </a:lnTo>
                    <a:lnTo>
                      <a:pt x="150" y="192"/>
                    </a:lnTo>
                    <a:lnTo>
                      <a:pt x="137" y="169"/>
                    </a:lnTo>
                    <a:lnTo>
                      <a:pt x="155" y="113"/>
                    </a:lnTo>
                    <a:lnTo>
                      <a:pt x="193" y="78"/>
                    </a:lnTo>
                    <a:lnTo>
                      <a:pt x="193" y="57"/>
                    </a:lnTo>
                    <a:lnTo>
                      <a:pt x="169" y="46"/>
                    </a:lnTo>
                    <a:lnTo>
                      <a:pt x="119" y="13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12" name="Freeform 691"/>
              <p:cNvSpPr>
                <a:spLocks/>
              </p:cNvSpPr>
              <p:nvPr/>
            </p:nvSpPr>
            <p:spPr bwMode="auto">
              <a:xfrm>
                <a:off x="2801" y="1907"/>
                <a:ext cx="193" cy="146"/>
              </a:xfrm>
              <a:custGeom>
                <a:avLst/>
                <a:gdLst>
                  <a:gd name="T0" fmla="*/ 0 w 193"/>
                  <a:gd name="T1" fmla="*/ 1 h 291"/>
                  <a:gd name="T2" fmla="*/ 6 w 193"/>
                  <a:gd name="T3" fmla="*/ 1 h 291"/>
                  <a:gd name="T4" fmla="*/ 44 w 193"/>
                  <a:gd name="T5" fmla="*/ 1 h 291"/>
                  <a:gd name="T6" fmla="*/ 31 w 193"/>
                  <a:gd name="T7" fmla="*/ 1 h 291"/>
                  <a:gd name="T8" fmla="*/ 31 w 193"/>
                  <a:gd name="T9" fmla="*/ 1 h 291"/>
                  <a:gd name="T10" fmla="*/ 55 w 193"/>
                  <a:gd name="T11" fmla="*/ 1 h 291"/>
                  <a:gd name="T12" fmla="*/ 113 w 193"/>
                  <a:gd name="T13" fmla="*/ 1 h 291"/>
                  <a:gd name="T14" fmla="*/ 150 w 193"/>
                  <a:gd name="T15" fmla="*/ 1 h 291"/>
                  <a:gd name="T16" fmla="*/ 137 w 193"/>
                  <a:gd name="T17" fmla="*/ 1 h 291"/>
                  <a:gd name="T18" fmla="*/ 155 w 193"/>
                  <a:gd name="T19" fmla="*/ 1 h 291"/>
                  <a:gd name="T20" fmla="*/ 193 w 193"/>
                  <a:gd name="T21" fmla="*/ 1 h 291"/>
                  <a:gd name="T22" fmla="*/ 193 w 193"/>
                  <a:gd name="T23" fmla="*/ 1 h 291"/>
                  <a:gd name="T24" fmla="*/ 169 w 193"/>
                  <a:gd name="T25" fmla="*/ 1 h 291"/>
                  <a:gd name="T26" fmla="*/ 119 w 193"/>
                  <a:gd name="T27" fmla="*/ 1 h 291"/>
                  <a:gd name="T28" fmla="*/ 19 w 193"/>
                  <a:gd name="T29" fmla="*/ 0 h 291"/>
                  <a:gd name="T30" fmla="*/ 0 w 193"/>
                  <a:gd name="T31" fmla="*/ 1 h 29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93" h="291">
                    <a:moveTo>
                      <a:pt x="0" y="34"/>
                    </a:moveTo>
                    <a:lnTo>
                      <a:pt x="6" y="78"/>
                    </a:lnTo>
                    <a:lnTo>
                      <a:pt x="44" y="78"/>
                    </a:lnTo>
                    <a:lnTo>
                      <a:pt x="31" y="157"/>
                    </a:lnTo>
                    <a:lnTo>
                      <a:pt x="31" y="245"/>
                    </a:lnTo>
                    <a:lnTo>
                      <a:pt x="55" y="291"/>
                    </a:lnTo>
                    <a:lnTo>
                      <a:pt x="113" y="268"/>
                    </a:lnTo>
                    <a:lnTo>
                      <a:pt x="150" y="192"/>
                    </a:lnTo>
                    <a:lnTo>
                      <a:pt x="137" y="169"/>
                    </a:lnTo>
                    <a:lnTo>
                      <a:pt x="155" y="113"/>
                    </a:lnTo>
                    <a:lnTo>
                      <a:pt x="193" y="78"/>
                    </a:lnTo>
                    <a:lnTo>
                      <a:pt x="193" y="57"/>
                    </a:lnTo>
                    <a:lnTo>
                      <a:pt x="169" y="46"/>
                    </a:lnTo>
                    <a:lnTo>
                      <a:pt x="119" y="13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70" name="Freeform 692"/>
            <p:cNvSpPr>
              <a:spLocks/>
            </p:cNvSpPr>
            <p:nvPr>
              <p:custDataLst>
                <p:tags r:id="rId564"/>
              </p:custDataLst>
            </p:nvPr>
          </p:nvSpPr>
          <p:spPr bwMode="auto">
            <a:xfrm>
              <a:off x="2895848" y="4352925"/>
              <a:ext cx="92075" cy="93663"/>
            </a:xfrm>
            <a:custGeom>
              <a:avLst/>
              <a:gdLst>
                <a:gd name="T0" fmla="*/ 0 w 63"/>
                <a:gd name="T1" fmla="*/ 2147483647 h 119"/>
                <a:gd name="T2" fmla="*/ 2147483647 w 63"/>
                <a:gd name="T3" fmla="*/ 0 h 119"/>
                <a:gd name="T4" fmla="*/ 2147483647 w 63"/>
                <a:gd name="T5" fmla="*/ 2147483647 h 119"/>
                <a:gd name="T6" fmla="*/ 2147483647 w 63"/>
                <a:gd name="T7" fmla="*/ 2147483647 h 119"/>
                <a:gd name="T8" fmla="*/ 2147483647 w 63"/>
                <a:gd name="T9" fmla="*/ 2147483647 h 119"/>
                <a:gd name="T10" fmla="*/ 0 w 63"/>
                <a:gd name="T11" fmla="*/ 2147483647 h 1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3" h="119">
                  <a:moveTo>
                    <a:pt x="0" y="53"/>
                  </a:moveTo>
                  <a:lnTo>
                    <a:pt x="19" y="0"/>
                  </a:lnTo>
                  <a:lnTo>
                    <a:pt x="63" y="9"/>
                  </a:lnTo>
                  <a:lnTo>
                    <a:pt x="56" y="109"/>
                  </a:lnTo>
                  <a:lnTo>
                    <a:pt x="25" y="119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71" name="Freeform 693"/>
            <p:cNvSpPr>
              <a:spLocks/>
            </p:cNvSpPr>
            <p:nvPr>
              <p:custDataLst>
                <p:tags r:id="rId565"/>
              </p:custDataLst>
            </p:nvPr>
          </p:nvSpPr>
          <p:spPr bwMode="auto">
            <a:xfrm>
              <a:off x="2895848" y="4352925"/>
              <a:ext cx="92075" cy="93663"/>
            </a:xfrm>
            <a:custGeom>
              <a:avLst/>
              <a:gdLst>
                <a:gd name="T0" fmla="*/ 0 w 63"/>
                <a:gd name="T1" fmla="*/ 2147483647 h 119"/>
                <a:gd name="T2" fmla="*/ 2147483647 w 63"/>
                <a:gd name="T3" fmla="*/ 0 h 119"/>
                <a:gd name="T4" fmla="*/ 2147483647 w 63"/>
                <a:gd name="T5" fmla="*/ 2147483647 h 119"/>
                <a:gd name="T6" fmla="*/ 2147483647 w 63"/>
                <a:gd name="T7" fmla="*/ 2147483647 h 119"/>
                <a:gd name="T8" fmla="*/ 2147483647 w 63"/>
                <a:gd name="T9" fmla="*/ 2147483647 h 119"/>
                <a:gd name="T10" fmla="*/ 0 w 63"/>
                <a:gd name="T11" fmla="*/ 2147483647 h 1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3" h="119">
                  <a:moveTo>
                    <a:pt x="0" y="53"/>
                  </a:moveTo>
                  <a:lnTo>
                    <a:pt x="19" y="0"/>
                  </a:lnTo>
                  <a:lnTo>
                    <a:pt x="63" y="9"/>
                  </a:lnTo>
                  <a:lnTo>
                    <a:pt x="56" y="109"/>
                  </a:lnTo>
                  <a:lnTo>
                    <a:pt x="25" y="119"/>
                  </a:lnTo>
                  <a:lnTo>
                    <a:pt x="0" y="5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72" name="Freeform 694"/>
            <p:cNvSpPr>
              <a:spLocks/>
            </p:cNvSpPr>
            <p:nvPr>
              <p:custDataLst>
                <p:tags r:id="rId566"/>
              </p:custDataLst>
            </p:nvPr>
          </p:nvSpPr>
          <p:spPr bwMode="auto">
            <a:xfrm>
              <a:off x="2895848" y="4352925"/>
              <a:ext cx="92075" cy="93663"/>
            </a:xfrm>
            <a:custGeom>
              <a:avLst/>
              <a:gdLst>
                <a:gd name="T0" fmla="*/ 0 w 63"/>
                <a:gd name="T1" fmla="*/ 2147483647 h 119"/>
                <a:gd name="T2" fmla="*/ 2147483647 w 63"/>
                <a:gd name="T3" fmla="*/ 0 h 119"/>
                <a:gd name="T4" fmla="*/ 2147483647 w 63"/>
                <a:gd name="T5" fmla="*/ 2147483647 h 119"/>
                <a:gd name="T6" fmla="*/ 2147483647 w 63"/>
                <a:gd name="T7" fmla="*/ 2147483647 h 119"/>
                <a:gd name="T8" fmla="*/ 2147483647 w 63"/>
                <a:gd name="T9" fmla="*/ 2147483647 h 119"/>
                <a:gd name="T10" fmla="*/ 0 w 63"/>
                <a:gd name="T11" fmla="*/ 2147483647 h 1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3" h="119">
                  <a:moveTo>
                    <a:pt x="0" y="53"/>
                  </a:moveTo>
                  <a:lnTo>
                    <a:pt x="19" y="0"/>
                  </a:lnTo>
                  <a:lnTo>
                    <a:pt x="63" y="9"/>
                  </a:lnTo>
                  <a:lnTo>
                    <a:pt x="56" y="109"/>
                  </a:lnTo>
                  <a:lnTo>
                    <a:pt x="25" y="119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73" name="Freeform 695"/>
            <p:cNvSpPr>
              <a:spLocks/>
            </p:cNvSpPr>
            <p:nvPr>
              <p:custDataLst>
                <p:tags r:id="rId567"/>
              </p:custDataLst>
            </p:nvPr>
          </p:nvSpPr>
          <p:spPr bwMode="auto">
            <a:xfrm>
              <a:off x="2895848" y="4352925"/>
              <a:ext cx="92075" cy="93663"/>
            </a:xfrm>
            <a:custGeom>
              <a:avLst/>
              <a:gdLst>
                <a:gd name="T0" fmla="*/ 0 w 63"/>
                <a:gd name="T1" fmla="*/ 2147483647 h 119"/>
                <a:gd name="T2" fmla="*/ 2147483647 w 63"/>
                <a:gd name="T3" fmla="*/ 0 h 119"/>
                <a:gd name="T4" fmla="*/ 2147483647 w 63"/>
                <a:gd name="T5" fmla="*/ 2147483647 h 119"/>
                <a:gd name="T6" fmla="*/ 2147483647 w 63"/>
                <a:gd name="T7" fmla="*/ 2147483647 h 119"/>
                <a:gd name="T8" fmla="*/ 2147483647 w 63"/>
                <a:gd name="T9" fmla="*/ 2147483647 h 119"/>
                <a:gd name="T10" fmla="*/ 0 w 63"/>
                <a:gd name="T11" fmla="*/ 2147483647 h 1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3" h="119">
                  <a:moveTo>
                    <a:pt x="0" y="53"/>
                  </a:moveTo>
                  <a:lnTo>
                    <a:pt x="19" y="0"/>
                  </a:lnTo>
                  <a:lnTo>
                    <a:pt x="63" y="9"/>
                  </a:lnTo>
                  <a:lnTo>
                    <a:pt x="56" y="109"/>
                  </a:lnTo>
                  <a:lnTo>
                    <a:pt x="25" y="119"/>
                  </a:lnTo>
                  <a:lnTo>
                    <a:pt x="0" y="5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74" name="Freeform 696"/>
            <p:cNvSpPr>
              <a:spLocks/>
            </p:cNvSpPr>
            <p:nvPr>
              <p:custDataLst>
                <p:tags r:id="rId568"/>
              </p:custDataLst>
            </p:nvPr>
          </p:nvSpPr>
          <p:spPr bwMode="auto">
            <a:xfrm>
              <a:off x="4657973" y="1841500"/>
              <a:ext cx="239713" cy="193675"/>
            </a:xfrm>
            <a:custGeom>
              <a:avLst/>
              <a:gdLst>
                <a:gd name="T0" fmla="*/ 0 w 164"/>
                <a:gd name="T1" fmla="*/ 2147483647 h 244"/>
                <a:gd name="T2" fmla="*/ 0 w 164"/>
                <a:gd name="T3" fmla="*/ 2147483647 h 244"/>
                <a:gd name="T4" fmla="*/ 2147483647 w 164"/>
                <a:gd name="T5" fmla="*/ 2147483647 h 244"/>
                <a:gd name="T6" fmla="*/ 2147483647 w 164"/>
                <a:gd name="T7" fmla="*/ 2147483647 h 244"/>
                <a:gd name="T8" fmla="*/ 2147483647 w 164"/>
                <a:gd name="T9" fmla="*/ 2147483647 h 244"/>
                <a:gd name="T10" fmla="*/ 2147483647 w 164"/>
                <a:gd name="T11" fmla="*/ 2147483647 h 244"/>
                <a:gd name="T12" fmla="*/ 2147483647 w 164"/>
                <a:gd name="T13" fmla="*/ 2147483647 h 244"/>
                <a:gd name="T14" fmla="*/ 2147483647 w 164"/>
                <a:gd name="T15" fmla="*/ 2147483647 h 244"/>
                <a:gd name="T16" fmla="*/ 2147483647 w 164"/>
                <a:gd name="T17" fmla="*/ 2147483647 h 244"/>
                <a:gd name="T18" fmla="*/ 2147483647 w 164"/>
                <a:gd name="T19" fmla="*/ 2147483647 h 244"/>
                <a:gd name="T20" fmla="*/ 2147483647 w 164"/>
                <a:gd name="T21" fmla="*/ 2147483647 h 244"/>
                <a:gd name="T22" fmla="*/ 2147483647 w 164"/>
                <a:gd name="T23" fmla="*/ 2147483647 h 244"/>
                <a:gd name="T24" fmla="*/ 2147483647 w 164"/>
                <a:gd name="T25" fmla="*/ 2147483647 h 244"/>
                <a:gd name="T26" fmla="*/ 2147483647 w 164"/>
                <a:gd name="T27" fmla="*/ 2147483647 h 244"/>
                <a:gd name="T28" fmla="*/ 2147483647 w 164"/>
                <a:gd name="T29" fmla="*/ 2147483647 h 244"/>
                <a:gd name="T30" fmla="*/ 2147483647 w 164"/>
                <a:gd name="T31" fmla="*/ 2147483647 h 244"/>
                <a:gd name="T32" fmla="*/ 2147483647 w 164"/>
                <a:gd name="T33" fmla="*/ 2147483647 h 244"/>
                <a:gd name="T34" fmla="*/ 2147483647 w 164"/>
                <a:gd name="T35" fmla="*/ 2147483647 h 244"/>
                <a:gd name="T36" fmla="*/ 2147483647 w 164"/>
                <a:gd name="T37" fmla="*/ 2147483647 h 244"/>
                <a:gd name="T38" fmla="*/ 2147483647 w 164"/>
                <a:gd name="T39" fmla="*/ 2147483647 h 244"/>
                <a:gd name="T40" fmla="*/ 2147483647 w 164"/>
                <a:gd name="T41" fmla="*/ 2147483647 h 244"/>
                <a:gd name="T42" fmla="*/ 2147483647 w 164"/>
                <a:gd name="T43" fmla="*/ 2147483647 h 244"/>
                <a:gd name="T44" fmla="*/ 2147483647 w 164"/>
                <a:gd name="T45" fmla="*/ 2147483647 h 244"/>
                <a:gd name="T46" fmla="*/ 2147483647 w 164"/>
                <a:gd name="T47" fmla="*/ 2147483647 h 244"/>
                <a:gd name="T48" fmla="*/ 2147483647 w 164"/>
                <a:gd name="T49" fmla="*/ 2147483647 h 244"/>
                <a:gd name="T50" fmla="*/ 2147483647 w 164"/>
                <a:gd name="T51" fmla="*/ 2147483647 h 244"/>
                <a:gd name="T52" fmla="*/ 2147483647 w 164"/>
                <a:gd name="T53" fmla="*/ 2147483647 h 244"/>
                <a:gd name="T54" fmla="*/ 2147483647 w 164"/>
                <a:gd name="T55" fmla="*/ 2147483647 h 244"/>
                <a:gd name="T56" fmla="*/ 2147483647 w 164"/>
                <a:gd name="T57" fmla="*/ 2147483647 h 244"/>
                <a:gd name="T58" fmla="*/ 2147483647 w 164"/>
                <a:gd name="T59" fmla="*/ 0 h 244"/>
                <a:gd name="T60" fmla="*/ 2147483647 w 164"/>
                <a:gd name="T61" fmla="*/ 2147483647 h 244"/>
                <a:gd name="T62" fmla="*/ 2147483647 w 164"/>
                <a:gd name="T63" fmla="*/ 2147483647 h 244"/>
                <a:gd name="T64" fmla="*/ 2147483647 w 164"/>
                <a:gd name="T65" fmla="*/ 2147483647 h 244"/>
                <a:gd name="T66" fmla="*/ 2147483647 w 164"/>
                <a:gd name="T67" fmla="*/ 2147483647 h 244"/>
                <a:gd name="T68" fmla="*/ 2147483647 w 164"/>
                <a:gd name="T69" fmla="*/ 2147483647 h 244"/>
                <a:gd name="T70" fmla="*/ 2147483647 w 164"/>
                <a:gd name="T71" fmla="*/ 2147483647 h 244"/>
                <a:gd name="T72" fmla="*/ 2147483647 w 164"/>
                <a:gd name="T73" fmla="*/ 2147483647 h 244"/>
                <a:gd name="T74" fmla="*/ 0 w 164"/>
                <a:gd name="T75" fmla="*/ 2147483647 h 2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4" h="244">
                  <a:moveTo>
                    <a:pt x="0" y="33"/>
                  </a:moveTo>
                  <a:lnTo>
                    <a:pt x="0" y="54"/>
                  </a:lnTo>
                  <a:lnTo>
                    <a:pt x="19" y="54"/>
                  </a:lnTo>
                  <a:lnTo>
                    <a:pt x="13" y="77"/>
                  </a:lnTo>
                  <a:lnTo>
                    <a:pt x="26" y="89"/>
                  </a:lnTo>
                  <a:lnTo>
                    <a:pt x="7" y="77"/>
                  </a:lnTo>
                  <a:lnTo>
                    <a:pt x="37" y="112"/>
                  </a:lnTo>
                  <a:lnTo>
                    <a:pt x="26" y="121"/>
                  </a:lnTo>
                  <a:lnTo>
                    <a:pt x="32" y="133"/>
                  </a:lnTo>
                  <a:lnTo>
                    <a:pt x="57" y="121"/>
                  </a:lnTo>
                  <a:lnTo>
                    <a:pt x="57" y="98"/>
                  </a:lnTo>
                  <a:lnTo>
                    <a:pt x="70" y="89"/>
                  </a:lnTo>
                  <a:lnTo>
                    <a:pt x="76" y="121"/>
                  </a:lnTo>
                  <a:lnTo>
                    <a:pt x="88" y="98"/>
                  </a:lnTo>
                  <a:lnTo>
                    <a:pt x="88" y="121"/>
                  </a:lnTo>
                  <a:lnTo>
                    <a:pt x="101" y="121"/>
                  </a:lnTo>
                  <a:lnTo>
                    <a:pt x="45" y="142"/>
                  </a:lnTo>
                  <a:lnTo>
                    <a:pt x="45" y="166"/>
                  </a:lnTo>
                  <a:lnTo>
                    <a:pt x="95" y="156"/>
                  </a:lnTo>
                  <a:lnTo>
                    <a:pt x="63" y="177"/>
                  </a:lnTo>
                  <a:lnTo>
                    <a:pt x="82" y="177"/>
                  </a:lnTo>
                  <a:lnTo>
                    <a:pt x="45" y="187"/>
                  </a:lnTo>
                  <a:lnTo>
                    <a:pt x="95" y="244"/>
                  </a:lnTo>
                  <a:lnTo>
                    <a:pt x="127" y="121"/>
                  </a:lnTo>
                  <a:lnTo>
                    <a:pt x="164" y="89"/>
                  </a:lnTo>
                  <a:lnTo>
                    <a:pt x="120" y="68"/>
                  </a:lnTo>
                  <a:lnTo>
                    <a:pt x="120" y="33"/>
                  </a:lnTo>
                  <a:lnTo>
                    <a:pt x="107" y="54"/>
                  </a:lnTo>
                  <a:lnTo>
                    <a:pt x="107" y="23"/>
                  </a:lnTo>
                  <a:lnTo>
                    <a:pt x="82" y="0"/>
                  </a:lnTo>
                  <a:lnTo>
                    <a:pt x="76" y="23"/>
                  </a:lnTo>
                  <a:lnTo>
                    <a:pt x="88" y="89"/>
                  </a:lnTo>
                  <a:lnTo>
                    <a:pt x="57" y="23"/>
                  </a:lnTo>
                  <a:lnTo>
                    <a:pt x="45" y="33"/>
                  </a:lnTo>
                  <a:lnTo>
                    <a:pt x="51" y="68"/>
                  </a:lnTo>
                  <a:lnTo>
                    <a:pt x="19" y="45"/>
                  </a:lnTo>
                  <a:lnTo>
                    <a:pt x="45" y="2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75" name="Freeform 697"/>
            <p:cNvSpPr>
              <a:spLocks/>
            </p:cNvSpPr>
            <p:nvPr>
              <p:custDataLst>
                <p:tags r:id="rId569"/>
              </p:custDataLst>
            </p:nvPr>
          </p:nvSpPr>
          <p:spPr bwMode="auto">
            <a:xfrm>
              <a:off x="4657973" y="1841500"/>
              <a:ext cx="239713" cy="193675"/>
            </a:xfrm>
            <a:custGeom>
              <a:avLst/>
              <a:gdLst>
                <a:gd name="T0" fmla="*/ 0 w 164"/>
                <a:gd name="T1" fmla="*/ 2147483647 h 244"/>
                <a:gd name="T2" fmla="*/ 0 w 164"/>
                <a:gd name="T3" fmla="*/ 2147483647 h 244"/>
                <a:gd name="T4" fmla="*/ 2147483647 w 164"/>
                <a:gd name="T5" fmla="*/ 2147483647 h 244"/>
                <a:gd name="T6" fmla="*/ 2147483647 w 164"/>
                <a:gd name="T7" fmla="*/ 2147483647 h 244"/>
                <a:gd name="T8" fmla="*/ 2147483647 w 164"/>
                <a:gd name="T9" fmla="*/ 2147483647 h 244"/>
                <a:gd name="T10" fmla="*/ 2147483647 w 164"/>
                <a:gd name="T11" fmla="*/ 2147483647 h 244"/>
                <a:gd name="T12" fmla="*/ 2147483647 w 164"/>
                <a:gd name="T13" fmla="*/ 2147483647 h 244"/>
                <a:gd name="T14" fmla="*/ 2147483647 w 164"/>
                <a:gd name="T15" fmla="*/ 2147483647 h 244"/>
                <a:gd name="T16" fmla="*/ 2147483647 w 164"/>
                <a:gd name="T17" fmla="*/ 2147483647 h 244"/>
                <a:gd name="T18" fmla="*/ 2147483647 w 164"/>
                <a:gd name="T19" fmla="*/ 2147483647 h 244"/>
                <a:gd name="T20" fmla="*/ 2147483647 w 164"/>
                <a:gd name="T21" fmla="*/ 2147483647 h 244"/>
                <a:gd name="T22" fmla="*/ 2147483647 w 164"/>
                <a:gd name="T23" fmla="*/ 2147483647 h 244"/>
                <a:gd name="T24" fmla="*/ 2147483647 w 164"/>
                <a:gd name="T25" fmla="*/ 2147483647 h 244"/>
                <a:gd name="T26" fmla="*/ 2147483647 w 164"/>
                <a:gd name="T27" fmla="*/ 2147483647 h 244"/>
                <a:gd name="T28" fmla="*/ 2147483647 w 164"/>
                <a:gd name="T29" fmla="*/ 2147483647 h 244"/>
                <a:gd name="T30" fmla="*/ 2147483647 w 164"/>
                <a:gd name="T31" fmla="*/ 2147483647 h 244"/>
                <a:gd name="T32" fmla="*/ 2147483647 w 164"/>
                <a:gd name="T33" fmla="*/ 2147483647 h 244"/>
                <a:gd name="T34" fmla="*/ 2147483647 w 164"/>
                <a:gd name="T35" fmla="*/ 2147483647 h 244"/>
                <a:gd name="T36" fmla="*/ 2147483647 w 164"/>
                <a:gd name="T37" fmla="*/ 2147483647 h 244"/>
                <a:gd name="T38" fmla="*/ 2147483647 w 164"/>
                <a:gd name="T39" fmla="*/ 2147483647 h 244"/>
                <a:gd name="T40" fmla="*/ 2147483647 w 164"/>
                <a:gd name="T41" fmla="*/ 2147483647 h 244"/>
                <a:gd name="T42" fmla="*/ 2147483647 w 164"/>
                <a:gd name="T43" fmla="*/ 2147483647 h 244"/>
                <a:gd name="T44" fmla="*/ 2147483647 w 164"/>
                <a:gd name="T45" fmla="*/ 2147483647 h 244"/>
                <a:gd name="T46" fmla="*/ 2147483647 w 164"/>
                <a:gd name="T47" fmla="*/ 2147483647 h 244"/>
                <a:gd name="T48" fmla="*/ 2147483647 w 164"/>
                <a:gd name="T49" fmla="*/ 2147483647 h 244"/>
                <a:gd name="T50" fmla="*/ 2147483647 w 164"/>
                <a:gd name="T51" fmla="*/ 2147483647 h 244"/>
                <a:gd name="T52" fmla="*/ 2147483647 w 164"/>
                <a:gd name="T53" fmla="*/ 2147483647 h 244"/>
                <a:gd name="T54" fmla="*/ 2147483647 w 164"/>
                <a:gd name="T55" fmla="*/ 2147483647 h 244"/>
                <a:gd name="T56" fmla="*/ 2147483647 w 164"/>
                <a:gd name="T57" fmla="*/ 2147483647 h 244"/>
                <a:gd name="T58" fmla="*/ 2147483647 w 164"/>
                <a:gd name="T59" fmla="*/ 0 h 244"/>
                <a:gd name="T60" fmla="*/ 2147483647 w 164"/>
                <a:gd name="T61" fmla="*/ 2147483647 h 244"/>
                <a:gd name="T62" fmla="*/ 2147483647 w 164"/>
                <a:gd name="T63" fmla="*/ 2147483647 h 244"/>
                <a:gd name="T64" fmla="*/ 2147483647 w 164"/>
                <a:gd name="T65" fmla="*/ 2147483647 h 244"/>
                <a:gd name="T66" fmla="*/ 2147483647 w 164"/>
                <a:gd name="T67" fmla="*/ 2147483647 h 244"/>
                <a:gd name="T68" fmla="*/ 2147483647 w 164"/>
                <a:gd name="T69" fmla="*/ 2147483647 h 244"/>
                <a:gd name="T70" fmla="*/ 2147483647 w 164"/>
                <a:gd name="T71" fmla="*/ 2147483647 h 244"/>
                <a:gd name="T72" fmla="*/ 2147483647 w 164"/>
                <a:gd name="T73" fmla="*/ 2147483647 h 244"/>
                <a:gd name="T74" fmla="*/ 0 w 164"/>
                <a:gd name="T75" fmla="*/ 2147483647 h 2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4" h="244">
                  <a:moveTo>
                    <a:pt x="0" y="33"/>
                  </a:moveTo>
                  <a:lnTo>
                    <a:pt x="0" y="54"/>
                  </a:lnTo>
                  <a:lnTo>
                    <a:pt x="19" y="54"/>
                  </a:lnTo>
                  <a:lnTo>
                    <a:pt x="13" y="77"/>
                  </a:lnTo>
                  <a:lnTo>
                    <a:pt x="26" y="89"/>
                  </a:lnTo>
                  <a:lnTo>
                    <a:pt x="7" y="77"/>
                  </a:lnTo>
                  <a:lnTo>
                    <a:pt x="37" y="112"/>
                  </a:lnTo>
                  <a:lnTo>
                    <a:pt x="26" y="121"/>
                  </a:lnTo>
                  <a:lnTo>
                    <a:pt x="32" y="133"/>
                  </a:lnTo>
                  <a:lnTo>
                    <a:pt x="57" y="121"/>
                  </a:lnTo>
                  <a:lnTo>
                    <a:pt x="57" y="98"/>
                  </a:lnTo>
                  <a:lnTo>
                    <a:pt x="70" y="89"/>
                  </a:lnTo>
                  <a:lnTo>
                    <a:pt x="76" y="121"/>
                  </a:lnTo>
                  <a:lnTo>
                    <a:pt x="88" y="98"/>
                  </a:lnTo>
                  <a:lnTo>
                    <a:pt x="88" y="121"/>
                  </a:lnTo>
                  <a:lnTo>
                    <a:pt x="101" y="121"/>
                  </a:lnTo>
                  <a:lnTo>
                    <a:pt x="45" y="142"/>
                  </a:lnTo>
                  <a:lnTo>
                    <a:pt x="45" y="166"/>
                  </a:lnTo>
                  <a:lnTo>
                    <a:pt x="95" y="156"/>
                  </a:lnTo>
                  <a:lnTo>
                    <a:pt x="63" y="177"/>
                  </a:lnTo>
                  <a:lnTo>
                    <a:pt x="82" y="177"/>
                  </a:lnTo>
                  <a:lnTo>
                    <a:pt x="45" y="187"/>
                  </a:lnTo>
                  <a:lnTo>
                    <a:pt x="95" y="244"/>
                  </a:lnTo>
                  <a:lnTo>
                    <a:pt x="127" y="121"/>
                  </a:lnTo>
                  <a:lnTo>
                    <a:pt x="164" y="89"/>
                  </a:lnTo>
                  <a:lnTo>
                    <a:pt x="120" y="68"/>
                  </a:lnTo>
                  <a:lnTo>
                    <a:pt x="120" y="33"/>
                  </a:lnTo>
                  <a:lnTo>
                    <a:pt x="107" y="54"/>
                  </a:lnTo>
                  <a:lnTo>
                    <a:pt x="107" y="23"/>
                  </a:lnTo>
                  <a:lnTo>
                    <a:pt x="82" y="0"/>
                  </a:lnTo>
                  <a:lnTo>
                    <a:pt x="76" y="23"/>
                  </a:lnTo>
                  <a:lnTo>
                    <a:pt x="88" y="89"/>
                  </a:lnTo>
                  <a:lnTo>
                    <a:pt x="57" y="23"/>
                  </a:lnTo>
                  <a:lnTo>
                    <a:pt x="45" y="33"/>
                  </a:lnTo>
                  <a:lnTo>
                    <a:pt x="51" y="68"/>
                  </a:lnTo>
                  <a:lnTo>
                    <a:pt x="19" y="45"/>
                  </a:lnTo>
                  <a:lnTo>
                    <a:pt x="45" y="23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76" name="Freeform 698"/>
            <p:cNvSpPr>
              <a:spLocks/>
            </p:cNvSpPr>
            <p:nvPr>
              <p:custDataLst>
                <p:tags r:id="rId570"/>
              </p:custDataLst>
            </p:nvPr>
          </p:nvSpPr>
          <p:spPr bwMode="auto">
            <a:xfrm>
              <a:off x="4657973" y="1841500"/>
              <a:ext cx="239713" cy="193675"/>
            </a:xfrm>
            <a:custGeom>
              <a:avLst/>
              <a:gdLst>
                <a:gd name="T0" fmla="*/ 0 w 164"/>
                <a:gd name="T1" fmla="*/ 2147483647 h 244"/>
                <a:gd name="T2" fmla="*/ 0 w 164"/>
                <a:gd name="T3" fmla="*/ 2147483647 h 244"/>
                <a:gd name="T4" fmla="*/ 2147483647 w 164"/>
                <a:gd name="T5" fmla="*/ 2147483647 h 244"/>
                <a:gd name="T6" fmla="*/ 2147483647 w 164"/>
                <a:gd name="T7" fmla="*/ 2147483647 h 244"/>
                <a:gd name="T8" fmla="*/ 2147483647 w 164"/>
                <a:gd name="T9" fmla="*/ 2147483647 h 244"/>
                <a:gd name="T10" fmla="*/ 2147483647 w 164"/>
                <a:gd name="T11" fmla="*/ 2147483647 h 244"/>
                <a:gd name="T12" fmla="*/ 2147483647 w 164"/>
                <a:gd name="T13" fmla="*/ 2147483647 h 244"/>
                <a:gd name="T14" fmla="*/ 2147483647 w 164"/>
                <a:gd name="T15" fmla="*/ 2147483647 h 244"/>
                <a:gd name="T16" fmla="*/ 2147483647 w 164"/>
                <a:gd name="T17" fmla="*/ 2147483647 h 244"/>
                <a:gd name="T18" fmla="*/ 2147483647 w 164"/>
                <a:gd name="T19" fmla="*/ 2147483647 h 244"/>
                <a:gd name="T20" fmla="*/ 2147483647 w 164"/>
                <a:gd name="T21" fmla="*/ 2147483647 h 244"/>
                <a:gd name="T22" fmla="*/ 2147483647 w 164"/>
                <a:gd name="T23" fmla="*/ 2147483647 h 244"/>
                <a:gd name="T24" fmla="*/ 2147483647 w 164"/>
                <a:gd name="T25" fmla="*/ 2147483647 h 244"/>
                <a:gd name="T26" fmla="*/ 2147483647 w 164"/>
                <a:gd name="T27" fmla="*/ 2147483647 h 244"/>
                <a:gd name="T28" fmla="*/ 2147483647 w 164"/>
                <a:gd name="T29" fmla="*/ 2147483647 h 244"/>
                <a:gd name="T30" fmla="*/ 2147483647 w 164"/>
                <a:gd name="T31" fmla="*/ 2147483647 h 244"/>
                <a:gd name="T32" fmla="*/ 2147483647 w 164"/>
                <a:gd name="T33" fmla="*/ 2147483647 h 244"/>
                <a:gd name="T34" fmla="*/ 2147483647 w 164"/>
                <a:gd name="T35" fmla="*/ 2147483647 h 244"/>
                <a:gd name="T36" fmla="*/ 2147483647 w 164"/>
                <a:gd name="T37" fmla="*/ 2147483647 h 244"/>
                <a:gd name="T38" fmla="*/ 2147483647 w 164"/>
                <a:gd name="T39" fmla="*/ 2147483647 h 244"/>
                <a:gd name="T40" fmla="*/ 2147483647 w 164"/>
                <a:gd name="T41" fmla="*/ 2147483647 h 244"/>
                <a:gd name="T42" fmla="*/ 2147483647 w 164"/>
                <a:gd name="T43" fmla="*/ 2147483647 h 244"/>
                <a:gd name="T44" fmla="*/ 2147483647 w 164"/>
                <a:gd name="T45" fmla="*/ 2147483647 h 244"/>
                <a:gd name="T46" fmla="*/ 2147483647 w 164"/>
                <a:gd name="T47" fmla="*/ 2147483647 h 244"/>
                <a:gd name="T48" fmla="*/ 2147483647 w 164"/>
                <a:gd name="T49" fmla="*/ 2147483647 h 244"/>
                <a:gd name="T50" fmla="*/ 2147483647 w 164"/>
                <a:gd name="T51" fmla="*/ 2147483647 h 244"/>
                <a:gd name="T52" fmla="*/ 2147483647 w 164"/>
                <a:gd name="T53" fmla="*/ 2147483647 h 244"/>
                <a:gd name="T54" fmla="*/ 2147483647 w 164"/>
                <a:gd name="T55" fmla="*/ 2147483647 h 244"/>
                <a:gd name="T56" fmla="*/ 2147483647 w 164"/>
                <a:gd name="T57" fmla="*/ 2147483647 h 244"/>
                <a:gd name="T58" fmla="*/ 2147483647 w 164"/>
                <a:gd name="T59" fmla="*/ 0 h 244"/>
                <a:gd name="T60" fmla="*/ 2147483647 w 164"/>
                <a:gd name="T61" fmla="*/ 2147483647 h 244"/>
                <a:gd name="T62" fmla="*/ 2147483647 w 164"/>
                <a:gd name="T63" fmla="*/ 2147483647 h 244"/>
                <a:gd name="T64" fmla="*/ 2147483647 w 164"/>
                <a:gd name="T65" fmla="*/ 2147483647 h 244"/>
                <a:gd name="T66" fmla="*/ 2147483647 w 164"/>
                <a:gd name="T67" fmla="*/ 2147483647 h 244"/>
                <a:gd name="T68" fmla="*/ 2147483647 w 164"/>
                <a:gd name="T69" fmla="*/ 2147483647 h 244"/>
                <a:gd name="T70" fmla="*/ 2147483647 w 164"/>
                <a:gd name="T71" fmla="*/ 2147483647 h 244"/>
                <a:gd name="T72" fmla="*/ 2147483647 w 164"/>
                <a:gd name="T73" fmla="*/ 2147483647 h 244"/>
                <a:gd name="T74" fmla="*/ 0 w 164"/>
                <a:gd name="T75" fmla="*/ 2147483647 h 2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4" h="244">
                  <a:moveTo>
                    <a:pt x="0" y="33"/>
                  </a:moveTo>
                  <a:lnTo>
                    <a:pt x="0" y="54"/>
                  </a:lnTo>
                  <a:lnTo>
                    <a:pt x="19" y="54"/>
                  </a:lnTo>
                  <a:lnTo>
                    <a:pt x="13" y="77"/>
                  </a:lnTo>
                  <a:lnTo>
                    <a:pt x="26" y="89"/>
                  </a:lnTo>
                  <a:lnTo>
                    <a:pt x="7" y="77"/>
                  </a:lnTo>
                  <a:lnTo>
                    <a:pt x="37" y="112"/>
                  </a:lnTo>
                  <a:lnTo>
                    <a:pt x="26" y="121"/>
                  </a:lnTo>
                  <a:lnTo>
                    <a:pt x="32" y="133"/>
                  </a:lnTo>
                  <a:lnTo>
                    <a:pt x="57" y="121"/>
                  </a:lnTo>
                  <a:lnTo>
                    <a:pt x="57" y="98"/>
                  </a:lnTo>
                  <a:lnTo>
                    <a:pt x="70" y="89"/>
                  </a:lnTo>
                  <a:lnTo>
                    <a:pt x="76" y="121"/>
                  </a:lnTo>
                  <a:lnTo>
                    <a:pt x="88" y="98"/>
                  </a:lnTo>
                  <a:lnTo>
                    <a:pt x="88" y="121"/>
                  </a:lnTo>
                  <a:lnTo>
                    <a:pt x="101" y="121"/>
                  </a:lnTo>
                  <a:lnTo>
                    <a:pt x="45" y="142"/>
                  </a:lnTo>
                  <a:lnTo>
                    <a:pt x="45" y="166"/>
                  </a:lnTo>
                  <a:lnTo>
                    <a:pt x="95" y="156"/>
                  </a:lnTo>
                  <a:lnTo>
                    <a:pt x="63" y="177"/>
                  </a:lnTo>
                  <a:lnTo>
                    <a:pt x="82" y="177"/>
                  </a:lnTo>
                  <a:lnTo>
                    <a:pt x="45" y="187"/>
                  </a:lnTo>
                  <a:lnTo>
                    <a:pt x="95" y="244"/>
                  </a:lnTo>
                  <a:lnTo>
                    <a:pt x="127" y="121"/>
                  </a:lnTo>
                  <a:lnTo>
                    <a:pt x="164" y="89"/>
                  </a:lnTo>
                  <a:lnTo>
                    <a:pt x="120" y="68"/>
                  </a:lnTo>
                  <a:lnTo>
                    <a:pt x="120" y="33"/>
                  </a:lnTo>
                  <a:lnTo>
                    <a:pt x="107" y="54"/>
                  </a:lnTo>
                  <a:lnTo>
                    <a:pt x="107" y="23"/>
                  </a:lnTo>
                  <a:lnTo>
                    <a:pt x="82" y="0"/>
                  </a:lnTo>
                  <a:lnTo>
                    <a:pt x="76" y="23"/>
                  </a:lnTo>
                  <a:lnTo>
                    <a:pt x="88" y="89"/>
                  </a:lnTo>
                  <a:lnTo>
                    <a:pt x="57" y="23"/>
                  </a:lnTo>
                  <a:lnTo>
                    <a:pt x="45" y="33"/>
                  </a:lnTo>
                  <a:lnTo>
                    <a:pt x="51" y="68"/>
                  </a:lnTo>
                  <a:lnTo>
                    <a:pt x="19" y="45"/>
                  </a:lnTo>
                  <a:lnTo>
                    <a:pt x="45" y="2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77" name="Freeform 699"/>
            <p:cNvSpPr>
              <a:spLocks/>
            </p:cNvSpPr>
            <p:nvPr>
              <p:custDataLst>
                <p:tags r:id="rId571"/>
              </p:custDataLst>
            </p:nvPr>
          </p:nvSpPr>
          <p:spPr bwMode="auto">
            <a:xfrm>
              <a:off x="4657973" y="1841500"/>
              <a:ext cx="239713" cy="193675"/>
            </a:xfrm>
            <a:custGeom>
              <a:avLst/>
              <a:gdLst>
                <a:gd name="T0" fmla="*/ 0 w 164"/>
                <a:gd name="T1" fmla="*/ 2147483647 h 244"/>
                <a:gd name="T2" fmla="*/ 0 w 164"/>
                <a:gd name="T3" fmla="*/ 2147483647 h 244"/>
                <a:gd name="T4" fmla="*/ 2147483647 w 164"/>
                <a:gd name="T5" fmla="*/ 2147483647 h 244"/>
                <a:gd name="T6" fmla="*/ 2147483647 w 164"/>
                <a:gd name="T7" fmla="*/ 2147483647 h 244"/>
                <a:gd name="T8" fmla="*/ 2147483647 w 164"/>
                <a:gd name="T9" fmla="*/ 2147483647 h 244"/>
                <a:gd name="T10" fmla="*/ 2147483647 w 164"/>
                <a:gd name="T11" fmla="*/ 2147483647 h 244"/>
                <a:gd name="T12" fmla="*/ 2147483647 w 164"/>
                <a:gd name="T13" fmla="*/ 2147483647 h 244"/>
                <a:gd name="T14" fmla="*/ 2147483647 w 164"/>
                <a:gd name="T15" fmla="*/ 2147483647 h 244"/>
                <a:gd name="T16" fmla="*/ 2147483647 w 164"/>
                <a:gd name="T17" fmla="*/ 2147483647 h 244"/>
                <a:gd name="T18" fmla="*/ 2147483647 w 164"/>
                <a:gd name="T19" fmla="*/ 2147483647 h 244"/>
                <a:gd name="T20" fmla="*/ 2147483647 w 164"/>
                <a:gd name="T21" fmla="*/ 2147483647 h 244"/>
                <a:gd name="T22" fmla="*/ 2147483647 w 164"/>
                <a:gd name="T23" fmla="*/ 2147483647 h 244"/>
                <a:gd name="T24" fmla="*/ 2147483647 w 164"/>
                <a:gd name="T25" fmla="*/ 2147483647 h 244"/>
                <a:gd name="T26" fmla="*/ 2147483647 w 164"/>
                <a:gd name="T27" fmla="*/ 2147483647 h 244"/>
                <a:gd name="T28" fmla="*/ 2147483647 w 164"/>
                <a:gd name="T29" fmla="*/ 2147483647 h 244"/>
                <a:gd name="T30" fmla="*/ 2147483647 w 164"/>
                <a:gd name="T31" fmla="*/ 2147483647 h 244"/>
                <a:gd name="T32" fmla="*/ 2147483647 w 164"/>
                <a:gd name="T33" fmla="*/ 2147483647 h 244"/>
                <a:gd name="T34" fmla="*/ 2147483647 w 164"/>
                <a:gd name="T35" fmla="*/ 2147483647 h 244"/>
                <a:gd name="T36" fmla="*/ 2147483647 w 164"/>
                <a:gd name="T37" fmla="*/ 2147483647 h 244"/>
                <a:gd name="T38" fmla="*/ 2147483647 w 164"/>
                <a:gd name="T39" fmla="*/ 2147483647 h 244"/>
                <a:gd name="T40" fmla="*/ 2147483647 w 164"/>
                <a:gd name="T41" fmla="*/ 2147483647 h 244"/>
                <a:gd name="T42" fmla="*/ 2147483647 w 164"/>
                <a:gd name="T43" fmla="*/ 2147483647 h 244"/>
                <a:gd name="T44" fmla="*/ 2147483647 w 164"/>
                <a:gd name="T45" fmla="*/ 2147483647 h 244"/>
                <a:gd name="T46" fmla="*/ 2147483647 w 164"/>
                <a:gd name="T47" fmla="*/ 2147483647 h 244"/>
                <a:gd name="T48" fmla="*/ 2147483647 w 164"/>
                <a:gd name="T49" fmla="*/ 2147483647 h 244"/>
                <a:gd name="T50" fmla="*/ 2147483647 w 164"/>
                <a:gd name="T51" fmla="*/ 2147483647 h 244"/>
                <a:gd name="T52" fmla="*/ 2147483647 w 164"/>
                <a:gd name="T53" fmla="*/ 2147483647 h 244"/>
                <a:gd name="T54" fmla="*/ 2147483647 w 164"/>
                <a:gd name="T55" fmla="*/ 2147483647 h 244"/>
                <a:gd name="T56" fmla="*/ 2147483647 w 164"/>
                <a:gd name="T57" fmla="*/ 2147483647 h 244"/>
                <a:gd name="T58" fmla="*/ 2147483647 w 164"/>
                <a:gd name="T59" fmla="*/ 0 h 244"/>
                <a:gd name="T60" fmla="*/ 2147483647 w 164"/>
                <a:gd name="T61" fmla="*/ 2147483647 h 244"/>
                <a:gd name="T62" fmla="*/ 2147483647 w 164"/>
                <a:gd name="T63" fmla="*/ 2147483647 h 244"/>
                <a:gd name="T64" fmla="*/ 2147483647 w 164"/>
                <a:gd name="T65" fmla="*/ 2147483647 h 244"/>
                <a:gd name="T66" fmla="*/ 2147483647 w 164"/>
                <a:gd name="T67" fmla="*/ 2147483647 h 244"/>
                <a:gd name="T68" fmla="*/ 2147483647 w 164"/>
                <a:gd name="T69" fmla="*/ 2147483647 h 244"/>
                <a:gd name="T70" fmla="*/ 2147483647 w 164"/>
                <a:gd name="T71" fmla="*/ 2147483647 h 244"/>
                <a:gd name="T72" fmla="*/ 2147483647 w 164"/>
                <a:gd name="T73" fmla="*/ 2147483647 h 244"/>
                <a:gd name="T74" fmla="*/ 0 w 164"/>
                <a:gd name="T75" fmla="*/ 2147483647 h 2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4" h="244">
                  <a:moveTo>
                    <a:pt x="0" y="33"/>
                  </a:moveTo>
                  <a:lnTo>
                    <a:pt x="0" y="54"/>
                  </a:lnTo>
                  <a:lnTo>
                    <a:pt x="19" y="54"/>
                  </a:lnTo>
                  <a:lnTo>
                    <a:pt x="13" y="77"/>
                  </a:lnTo>
                  <a:lnTo>
                    <a:pt x="26" y="89"/>
                  </a:lnTo>
                  <a:lnTo>
                    <a:pt x="7" y="77"/>
                  </a:lnTo>
                  <a:lnTo>
                    <a:pt x="37" y="112"/>
                  </a:lnTo>
                  <a:lnTo>
                    <a:pt x="26" y="121"/>
                  </a:lnTo>
                  <a:lnTo>
                    <a:pt x="32" y="133"/>
                  </a:lnTo>
                  <a:lnTo>
                    <a:pt x="57" y="121"/>
                  </a:lnTo>
                  <a:lnTo>
                    <a:pt x="57" y="98"/>
                  </a:lnTo>
                  <a:lnTo>
                    <a:pt x="70" y="89"/>
                  </a:lnTo>
                  <a:lnTo>
                    <a:pt x="76" y="121"/>
                  </a:lnTo>
                  <a:lnTo>
                    <a:pt x="88" y="98"/>
                  </a:lnTo>
                  <a:lnTo>
                    <a:pt x="88" y="121"/>
                  </a:lnTo>
                  <a:lnTo>
                    <a:pt x="101" y="121"/>
                  </a:lnTo>
                  <a:lnTo>
                    <a:pt x="45" y="142"/>
                  </a:lnTo>
                  <a:lnTo>
                    <a:pt x="45" y="166"/>
                  </a:lnTo>
                  <a:lnTo>
                    <a:pt x="95" y="156"/>
                  </a:lnTo>
                  <a:lnTo>
                    <a:pt x="63" y="177"/>
                  </a:lnTo>
                  <a:lnTo>
                    <a:pt x="82" y="177"/>
                  </a:lnTo>
                  <a:lnTo>
                    <a:pt x="45" y="187"/>
                  </a:lnTo>
                  <a:lnTo>
                    <a:pt x="95" y="244"/>
                  </a:lnTo>
                  <a:lnTo>
                    <a:pt x="127" y="121"/>
                  </a:lnTo>
                  <a:lnTo>
                    <a:pt x="164" y="89"/>
                  </a:lnTo>
                  <a:lnTo>
                    <a:pt x="120" y="68"/>
                  </a:lnTo>
                  <a:lnTo>
                    <a:pt x="120" y="33"/>
                  </a:lnTo>
                  <a:lnTo>
                    <a:pt x="107" y="54"/>
                  </a:lnTo>
                  <a:lnTo>
                    <a:pt x="107" y="23"/>
                  </a:lnTo>
                  <a:lnTo>
                    <a:pt x="82" y="0"/>
                  </a:lnTo>
                  <a:lnTo>
                    <a:pt x="76" y="23"/>
                  </a:lnTo>
                  <a:lnTo>
                    <a:pt x="88" y="89"/>
                  </a:lnTo>
                  <a:lnTo>
                    <a:pt x="57" y="23"/>
                  </a:lnTo>
                  <a:lnTo>
                    <a:pt x="45" y="33"/>
                  </a:lnTo>
                  <a:lnTo>
                    <a:pt x="51" y="68"/>
                  </a:lnTo>
                  <a:lnTo>
                    <a:pt x="19" y="45"/>
                  </a:lnTo>
                  <a:lnTo>
                    <a:pt x="45" y="23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78" name="Freeform 700"/>
            <p:cNvSpPr>
              <a:spLocks/>
            </p:cNvSpPr>
            <p:nvPr>
              <p:custDataLst>
                <p:tags r:id="rId572"/>
              </p:custDataLst>
            </p:nvPr>
          </p:nvSpPr>
          <p:spPr bwMode="auto">
            <a:xfrm>
              <a:off x="4805611" y="1814513"/>
              <a:ext cx="219075" cy="79375"/>
            </a:xfrm>
            <a:custGeom>
              <a:avLst/>
              <a:gdLst>
                <a:gd name="T0" fmla="*/ 0 w 150"/>
                <a:gd name="T1" fmla="*/ 2147483647 h 100"/>
                <a:gd name="T2" fmla="*/ 2147483647 w 150"/>
                <a:gd name="T3" fmla="*/ 2147483647 h 100"/>
                <a:gd name="T4" fmla="*/ 2147483647 w 150"/>
                <a:gd name="T5" fmla="*/ 2147483647 h 100"/>
                <a:gd name="T6" fmla="*/ 2147483647 w 150"/>
                <a:gd name="T7" fmla="*/ 2147483647 h 100"/>
                <a:gd name="T8" fmla="*/ 2147483647 w 150"/>
                <a:gd name="T9" fmla="*/ 2147483647 h 100"/>
                <a:gd name="T10" fmla="*/ 2147483647 w 150"/>
                <a:gd name="T11" fmla="*/ 2147483647 h 100"/>
                <a:gd name="T12" fmla="*/ 2147483647 w 150"/>
                <a:gd name="T13" fmla="*/ 2147483647 h 100"/>
                <a:gd name="T14" fmla="*/ 2147483647 w 150"/>
                <a:gd name="T15" fmla="*/ 2147483647 h 100"/>
                <a:gd name="T16" fmla="*/ 2147483647 w 150"/>
                <a:gd name="T17" fmla="*/ 2147483647 h 100"/>
                <a:gd name="T18" fmla="*/ 2147483647 w 150"/>
                <a:gd name="T19" fmla="*/ 2147483647 h 100"/>
                <a:gd name="T20" fmla="*/ 2147483647 w 150"/>
                <a:gd name="T21" fmla="*/ 2147483647 h 100"/>
                <a:gd name="T22" fmla="*/ 2147483647 w 150"/>
                <a:gd name="T23" fmla="*/ 2147483647 h 100"/>
                <a:gd name="T24" fmla="*/ 2147483647 w 150"/>
                <a:gd name="T25" fmla="*/ 2147483647 h 100"/>
                <a:gd name="T26" fmla="*/ 2147483647 w 150"/>
                <a:gd name="T27" fmla="*/ 0 h 100"/>
                <a:gd name="T28" fmla="*/ 2147483647 w 150"/>
                <a:gd name="T29" fmla="*/ 2147483647 h 100"/>
                <a:gd name="T30" fmla="*/ 2147483647 w 150"/>
                <a:gd name="T31" fmla="*/ 0 h 100"/>
                <a:gd name="T32" fmla="*/ 2147483647 w 150"/>
                <a:gd name="T33" fmla="*/ 2147483647 h 100"/>
                <a:gd name="T34" fmla="*/ 2147483647 w 150"/>
                <a:gd name="T35" fmla="*/ 2147483647 h 100"/>
                <a:gd name="T36" fmla="*/ 2147483647 w 150"/>
                <a:gd name="T37" fmla="*/ 2147483647 h 100"/>
                <a:gd name="T38" fmla="*/ 0 w 150"/>
                <a:gd name="T39" fmla="*/ 2147483647 h 1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0" h="100">
                  <a:moveTo>
                    <a:pt x="0" y="32"/>
                  </a:moveTo>
                  <a:lnTo>
                    <a:pt x="26" y="32"/>
                  </a:lnTo>
                  <a:lnTo>
                    <a:pt x="13" y="44"/>
                  </a:lnTo>
                  <a:lnTo>
                    <a:pt x="13" y="55"/>
                  </a:lnTo>
                  <a:lnTo>
                    <a:pt x="75" y="55"/>
                  </a:lnTo>
                  <a:lnTo>
                    <a:pt x="37" y="67"/>
                  </a:lnTo>
                  <a:lnTo>
                    <a:pt x="94" y="100"/>
                  </a:lnTo>
                  <a:lnTo>
                    <a:pt x="125" y="77"/>
                  </a:lnTo>
                  <a:lnTo>
                    <a:pt x="150" y="44"/>
                  </a:lnTo>
                  <a:lnTo>
                    <a:pt x="143" y="32"/>
                  </a:lnTo>
                  <a:lnTo>
                    <a:pt x="112" y="32"/>
                  </a:lnTo>
                  <a:lnTo>
                    <a:pt x="119" y="11"/>
                  </a:lnTo>
                  <a:lnTo>
                    <a:pt x="87" y="32"/>
                  </a:lnTo>
                  <a:lnTo>
                    <a:pt x="81" y="0"/>
                  </a:lnTo>
                  <a:lnTo>
                    <a:pt x="75" y="44"/>
                  </a:lnTo>
                  <a:lnTo>
                    <a:pt x="37" y="0"/>
                  </a:lnTo>
                  <a:lnTo>
                    <a:pt x="37" y="23"/>
                  </a:lnTo>
                  <a:lnTo>
                    <a:pt x="26" y="11"/>
                  </a:lnTo>
                  <a:lnTo>
                    <a:pt x="31" y="4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79" name="Freeform 701"/>
            <p:cNvSpPr>
              <a:spLocks/>
            </p:cNvSpPr>
            <p:nvPr>
              <p:custDataLst>
                <p:tags r:id="rId573"/>
              </p:custDataLst>
            </p:nvPr>
          </p:nvSpPr>
          <p:spPr bwMode="auto">
            <a:xfrm>
              <a:off x="4805611" y="1814513"/>
              <a:ext cx="219075" cy="79375"/>
            </a:xfrm>
            <a:custGeom>
              <a:avLst/>
              <a:gdLst>
                <a:gd name="T0" fmla="*/ 0 w 150"/>
                <a:gd name="T1" fmla="*/ 2147483647 h 100"/>
                <a:gd name="T2" fmla="*/ 2147483647 w 150"/>
                <a:gd name="T3" fmla="*/ 2147483647 h 100"/>
                <a:gd name="T4" fmla="*/ 2147483647 w 150"/>
                <a:gd name="T5" fmla="*/ 2147483647 h 100"/>
                <a:gd name="T6" fmla="*/ 2147483647 w 150"/>
                <a:gd name="T7" fmla="*/ 2147483647 h 100"/>
                <a:gd name="T8" fmla="*/ 2147483647 w 150"/>
                <a:gd name="T9" fmla="*/ 2147483647 h 100"/>
                <a:gd name="T10" fmla="*/ 2147483647 w 150"/>
                <a:gd name="T11" fmla="*/ 2147483647 h 100"/>
                <a:gd name="T12" fmla="*/ 2147483647 w 150"/>
                <a:gd name="T13" fmla="*/ 2147483647 h 100"/>
                <a:gd name="T14" fmla="*/ 2147483647 w 150"/>
                <a:gd name="T15" fmla="*/ 2147483647 h 100"/>
                <a:gd name="T16" fmla="*/ 2147483647 w 150"/>
                <a:gd name="T17" fmla="*/ 2147483647 h 100"/>
                <a:gd name="T18" fmla="*/ 2147483647 w 150"/>
                <a:gd name="T19" fmla="*/ 2147483647 h 100"/>
                <a:gd name="T20" fmla="*/ 2147483647 w 150"/>
                <a:gd name="T21" fmla="*/ 2147483647 h 100"/>
                <a:gd name="T22" fmla="*/ 2147483647 w 150"/>
                <a:gd name="T23" fmla="*/ 2147483647 h 100"/>
                <a:gd name="T24" fmla="*/ 2147483647 w 150"/>
                <a:gd name="T25" fmla="*/ 2147483647 h 100"/>
                <a:gd name="T26" fmla="*/ 2147483647 w 150"/>
                <a:gd name="T27" fmla="*/ 0 h 100"/>
                <a:gd name="T28" fmla="*/ 2147483647 w 150"/>
                <a:gd name="T29" fmla="*/ 2147483647 h 100"/>
                <a:gd name="T30" fmla="*/ 2147483647 w 150"/>
                <a:gd name="T31" fmla="*/ 0 h 100"/>
                <a:gd name="T32" fmla="*/ 2147483647 w 150"/>
                <a:gd name="T33" fmla="*/ 2147483647 h 100"/>
                <a:gd name="T34" fmla="*/ 2147483647 w 150"/>
                <a:gd name="T35" fmla="*/ 2147483647 h 100"/>
                <a:gd name="T36" fmla="*/ 2147483647 w 150"/>
                <a:gd name="T37" fmla="*/ 2147483647 h 100"/>
                <a:gd name="T38" fmla="*/ 0 w 150"/>
                <a:gd name="T39" fmla="*/ 2147483647 h 1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0" h="100">
                  <a:moveTo>
                    <a:pt x="0" y="32"/>
                  </a:moveTo>
                  <a:lnTo>
                    <a:pt x="26" y="32"/>
                  </a:lnTo>
                  <a:lnTo>
                    <a:pt x="13" y="44"/>
                  </a:lnTo>
                  <a:lnTo>
                    <a:pt x="13" y="55"/>
                  </a:lnTo>
                  <a:lnTo>
                    <a:pt x="75" y="55"/>
                  </a:lnTo>
                  <a:lnTo>
                    <a:pt x="37" y="67"/>
                  </a:lnTo>
                  <a:lnTo>
                    <a:pt x="94" y="100"/>
                  </a:lnTo>
                  <a:lnTo>
                    <a:pt x="125" y="77"/>
                  </a:lnTo>
                  <a:lnTo>
                    <a:pt x="150" y="44"/>
                  </a:lnTo>
                  <a:lnTo>
                    <a:pt x="143" y="32"/>
                  </a:lnTo>
                  <a:lnTo>
                    <a:pt x="112" y="32"/>
                  </a:lnTo>
                  <a:lnTo>
                    <a:pt x="119" y="11"/>
                  </a:lnTo>
                  <a:lnTo>
                    <a:pt x="87" y="32"/>
                  </a:lnTo>
                  <a:lnTo>
                    <a:pt x="81" y="0"/>
                  </a:lnTo>
                  <a:lnTo>
                    <a:pt x="75" y="44"/>
                  </a:lnTo>
                  <a:lnTo>
                    <a:pt x="37" y="0"/>
                  </a:lnTo>
                  <a:lnTo>
                    <a:pt x="37" y="23"/>
                  </a:lnTo>
                  <a:lnTo>
                    <a:pt x="26" y="11"/>
                  </a:lnTo>
                  <a:lnTo>
                    <a:pt x="31" y="44"/>
                  </a:lnTo>
                  <a:lnTo>
                    <a:pt x="0" y="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80" name="Freeform 702"/>
            <p:cNvSpPr>
              <a:spLocks/>
            </p:cNvSpPr>
            <p:nvPr>
              <p:custDataLst>
                <p:tags r:id="rId574"/>
              </p:custDataLst>
            </p:nvPr>
          </p:nvSpPr>
          <p:spPr bwMode="auto">
            <a:xfrm>
              <a:off x="4805611" y="1814513"/>
              <a:ext cx="219075" cy="79375"/>
            </a:xfrm>
            <a:custGeom>
              <a:avLst/>
              <a:gdLst>
                <a:gd name="T0" fmla="*/ 0 w 150"/>
                <a:gd name="T1" fmla="*/ 2147483647 h 100"/>
                <a:gd name="T2" fmla="*/ 2147483647 w 150"/>
                <a:gd name="T3" fmla="*/ 2147483647 h 100"/>
                <a:gd name="T4" fmla="*/ 2147483647 w 150"/>
                <a:gd name="T5" fmla="*/ 2147483647 h 100"/>
                <a:gd name="T6" fmla="*/ 2147483647 w 150"/>
                <a:gd name="T7" fmla="*/ 2147483647 h 100"/>
                <a:gd name="T8" fmla="*/ 2147483647 w 150"/>
                <a:gd name="T9" fmla="*/ 2147483647 h 100"/>
                <a:gd name="T10" fmla="*/ 2147483647 w 150"/>
                <a:gd name="T11" fmla="*/ 2147483647 h 100"/>
                <a:gd name="T12" fmla="*/ 2147483647 w 150"/>
                <a:gd name="T13" fmla="*/ 2147483647 h 100"/>
                <a:gd name="T14" fmla="*/ 2147483647 w 150"/>
                <a:gd name="T15" fmla="*/ 2147483647 h 100"/>
                <a:gd name="T16" fmla="*/ 2147483647 w 150"/>
                <a:gd name="T17" fmla="*/ 2147483647 h 100"/>
                <a:gd name="T18" fmla="*/ 2147483647 w 150"/>
                <a:gd name="T19" fmla="*/ 2147483647 h 100"/>
                <a:gd name="T20" fmla="*/ 2147483647 w 150"/>
                <a:gd name="T21" fmla="*/ 2147483647 h 100"/>
                <a:gd name="T22" fmla="*/ 2147483647 w 150"/>
                <a:gd name="T23" fmla="*/ 2147483647 h 100"/>
                <a:gd name="T24" fmla="*/ 2147483647 w 150"/>
                <a:gd name="T25" fmla="*/ 2147483647 h 100"/>
                <a:gd name="T26" fmla="*/ 2147483647 w 150"/>
                <a:gd name="T27" fmla="*/ 0 h 100"/>
                <a:gd name="T28" fmla="*/ 2147483647 w 150"/>
                <a:gd name="T29" fmla="*/ 2147483647 h 100"/>
                <a:gd name="T30" fmla="*/ 2147483647 w 150"/>
                <a:gd name="T31" fmla="*/ 0 h 100"/>
                <a:gd name="T32" fmla="*/ 2147483647 w 150"/>
                <a:gd name="T33" fmla="*/ 2147483647 h 100"/>
                <a:gd name="T34" fmla="*/ 2147483647 w 150"/>
                <a:gd name="T35" fmla="*/ 2147483647 h 100"/>
                <a:gd name="T36" fmla="*/ 2147483647 w 150"/>
                <a:gd name="T37" fmla="*/ 2147483647 h 100"/>
                <a:gd name="T38" fmla="*/ 0 w 150"/>
                <a:gd name="T39" fmla="*/ 2147483647 h 1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0" h="100">
                  <a:moveTo>
                    <a:pt x="0" y="32"/>
                  </a:moveTo>
                  <a:lnTo>
                    <a:pt x="26" y="32"/>
                  </a:lnTo>
                  <a:lnTo>
                    <a:pt x="13" y="44"/>
                  </a:lnTo>
                  <a:lnTo>
                    <a:pt x="13" y="55"/>
                  </a:lnTo>
                  <a:lnTo>
                    <a:pt x="75" y="55"/>
                  </a:lnTo>
                  <a:lnTo>
                    <a:pt x="37" y="67"/>
                  </a:lnTo>
                  <a:lnTo>
                    <a:pt x="94" y="100"/>
                  </a:lnTo>
                  <a:lnTo>
                    <a:pt x="125" y="77"/>
                  </a:lnTo>
                  <a:lnTo>
                    <a:pt x="150" y="44"/>
                  </a:lnTo>
                  <a:lnTo>
                    <a:pt x="143" y="32"/>
                  </a:lnTo>
                  <a:lnTo>
                    <a:pt x="112" y="32"/>
                  </a:lnTo>
                  <a:lnTo>
                    <a:pt x="119" y="11"/>
                  </a:lnTo>
                  <a:lnTo>
                    <a:pt x="87" y="32"/>
                  </a:lnTo>
                  <a:lnTo>
                    <a:pt x="81" y="0"/>
                  </a:lnTo>
                  <a:lnTo>
                    <a:pt x="75" y="44"/>
                  </a:lnTo>
                  <a:lnTo>
                    <a:pt x="37" y="0"/>
                  </a:lnTo>
                  <a:lnTo>
                    <a:pt x="37" y="23"/>
                  </a:lnTo>
                  <a:lnTo>
                    <a:pt x="26" y="11"/>
                  </a:lnTo>
                  <a:lnTo>
                    <a:pt x="31" y="4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81" name="Freeform 703"/>
            <p:cNvSpPr>
              <a:spLocks/>
            </p:cNvSpPr>
            <p:nvPr>
              <p:custDataLst>
                <p:tags r:id="rId575"/>
              </p:custDataLst>
            </p:nvPr>
          </p:nvSpPr>
          <p:spPr bwMode="auto">
            <a:xfrm>
              <a:off x="4805611" y="1814513"/>
              <a:ext cx="219075" cy="79375"/>
            </a:xfrm>
            <a:custGeom>
              <a:avLst/>
              <a:gdLst>
                <a:gd name="T0" fmla="*/ 0 w 150"/>
                <a:gd name="T1" fmla="*/ 2147483647 h 100"/>
                <a:gd name="T2" fmla="*/ 2147483647 w 150"/>
                <a:gd name="T3" fmla="*/ 2147483647 h 100"/>
                <a:gd name="T4" fmla="*/ 2147483647 w 150"/>
                <a:gd name="T5" fmla="*/ 2147483647 h 100"/>
                <a:gd name="T6" fmla="*/ 2147483647 w 150"/>
                <a:gd name="T7" fmla="*/ 2147483647 h 100"/>
                <a:gd name="T8" fmla="*/ 2147483647 w 150"/>
                <a:gd name="T9" fmla="*/ 2147483647 h 100"/>
                <a:gd name="T10" fmla="*/ 2147483647 w 150"/>
                <a:gd name="T11" fmla="*/ 2147483647 h 100"/>
                <a:gd name="T12" fmla="*/ 2147483647 w 150"/>
                <a:gd name="T13" fmla="*/ 2147483647 h 100"/>
                <a:gd name="T14" fmla="*/ 2147483647 w 150"/>
                <a:gd name="T15" fmla="*/ 2147483647 h 100"/>
                <a:gd name="T16" fmla="*/ 2147483647 w 150"/>
                <a:gd name="T17" fmla="*/ 2147483647 h 100"/>
                <a:gd name="T18" fmla="*/ 2147483647 w 150"/>
                <a:gd name="T19" fmla="*/ 2147483647 h 100"/>
                <a:gd name="T20" fmla="*/ 2147483647 w 150"/>
                <a:gd name="T21" fmla="*/ 2147483647 h 100"/>
                <a:gd name="T22" fmla="*/ 2147483647 w 150"/>
                <a:gd name="T23" fmla="*/ 2147483647 h 100"/>
                <a:gd name="T24" fmla="*/ 2147483647 w 150"/>
                <a:gd name="T25" fmla="*/ 2147483647 h 100"/>
                <a:gd name="T26" fmla="*/ 2147483647 w 150"/>
                <a:gd name="T27" fmla="*/ 0 h 100"/>
                <a:gd name="T28" fmla="*/ 2147483647 w 150"/>
                <a:gd name="T29" fmla="*/ 2147483647 h 100"/>
                <a:gd name="T30" fmla="*/ 2147483647 w 150"/>
                <a:gd name="T31" fmla="*/ 0 h 100"/>
                <a:gd name="T32" fmla="*/ 2147483647 w 150"/>
                <a:gd name="T33" fmla="*/ 2147483647 h 100"/>
                <a:gd name="T34" fmla="*/ 2147483647 w 150"/>
                <a:gd name="T35" fmla="*/ 2147483647 h 100"/>
                <a:gd name="T36" fmla="*/ 2147483647 w 150"/>
                <a:gd name="T37" fmla="*/ 2147483647 h 100"/>
                <a:gd name="T38" fmla="*/ 0 w 150"/>
                <a:gd name="T39" fmla="*/ 2147483647 h 1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0" h="100">
                  <a:moveTo>
                    <a:pt x="0" y="32"/>
                  </a:moveTo>
                  <a:lnTo>
                    <a:pt x="26" y="32"/>
                  </a:lnTo>
                  <a:lnTo>
                    <a:pt x="13" y="44"/>
                  </a:lnTo>
                  <a:lnTo>
                    <a:pt x="13" y="55"/>
                  </a:lnTo>
                  <a:lnTo>
                    <a:pt x="75" y="55"/>
                  </a:lnTo>
                  <a:lnTo>
                    <a:pt x="37" y="67"/>
                  </a:lnTo>
                  <a:lnTo>
                    <a:pt x="94" y="100"/>
                  </a:lnTo>
                  <a:lnTo>
                    <a:pt x="125" y="77"/>
                  </a:lnTo>
                  <a:lnTo>
                    <a:pt x="150" y="44"/>
                  </a:lnTo>
                  <a:lnTo>
                    <a:pt x="143" y="32"/>
                  </a:lnTo>
                  <a:lnTo>
                    <a:pt x="112" y="32"/>
                  </a:lnTo>
                  <a:lnTo>
                    <a:pt x="119" y="11"/>
                  </a:lnTo>
                  <a:lnTo>
                    <a:pt x="87" y="32"/>
                  </a:lnTo>
                  <a:lnTo>
                    <a:pt x="81" y="0"/>
                  </a:lnTo>
                  <a:lnTo>
                    <a:pt x="75" y="44"/>
                  </a:lnTo>
                  <a:lnTo>
                    <a:pt x="37" y="0"/>
                  </a:lnTo>
                  <a:lnTo>
                    <a:pt x="37" y="23"/>
                  </a:lnTo>
                  <a:lnTo>
                    <a:pt x="26" y="11"/>
                  </a:lnTo>
                  <a:lnTo>
                    <a:pt x="31" y="44"/>
                  </a:lnTo>
                  <a:lnTo>
                    <a:pt x="0" y="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82" name="Freeform 704"/>
            <p:cNvSpPr>
              <a:spLocks/>
            </p:cNvSpPr>
            <p:nvPr>
              <p:custDataLst>
                <p:tags r:id="rId576"/>
              </p:custDataLst>
            </p:nvPr>
          </p:nvSpPr>
          <p:spPr bwMode="auto">
            <a:xfrm>
              <a:off x="4886573" y="1944688"/>
              <a:ext cx="93663" cy="55562"/>
            </a:xfrm>
            <a:custGeom>
              <a:avLst/>
              <a:gdLst>
                <a:gd name="T0" fmla="*/ 0 w 64"/>
                <a:gd name="T1" fmla="*/ 2147483647 h 69"/>
                <a:gd name="T2" fmla="*/ 2147483647 w 64"/>
                <a:gd name="T3" fmla="*/ 2147483647 h 69"/>
                <a:gd name="T4" fmla="*/ 2147483647 w 64"/>
                <a:gd name="T5" fmla="*/ 0 h 69"/>
                <a:gd name="T6" fmla="*/ 2147483647 w 64"/>
                <a:gd name="T7" fmla="*/ 2147483647 h 69"/>
                <a:gd name="T8" fmla="*/ 2147483647 w 64"/>
                <a:gd name="T9" fmla="*/ 2147483647 h 69"/>
                <a:gd name="T10" fmla="*/ 2147483647 w 64"/>
                <a:gd name="T11" fmla="*/ 2147483647 h 69"/>
                <a:gd name="T12" fmla="*/ 2147483647 w 64"/>
                <a:gd name="T13" fmla="*/ 2147483647 h 69"/>
                <a:gd name="T14" fmla="*/ 0 w 64"/>
                <a:gd name="T15" fmla="*/ 2147483647 h 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69">
                  <a:moveTo>
                    <a:pt x="0" y="56"/>
                  </a:moveTo>
                  <a:lnTo>
                    <a:pt x="7" y="25"/>
                  </a:lnTo>
                  <a:lnTo>
                    <a:pt x="32" y="0"/>
                  </a:lnTo>
                  <a:lnTo>
                    <a:pt x="32" y="25"/>
                  </a:lnTo>
                  <a:lnTo>
                    <a:pt x="64" y="35"/>
                  </a:lnTo>
                  <a:lnTo>
                    <a:pt x="26" y="69"/>
                  </a:lnTo>
                  <a:lnTo>
                    <a:pt x="32" y="4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83" name="Freeform 705"/>
            <p:cNvSpPr>
              <a:spLocks/>
            </p:cNvSpPr>
            <p:nvPr>
              <p:custDataLst>
                <p:tags r:id="rId577"/>
              </p:custDataLst>
            </p:nvPr>
          </p:nvSpPr>
          <p:spPr bwMode="auto">
            <a:xfrm>
              <a:off x="4886573" y="1944688"/>
              <a:ext cx="93663" cy="55562"/>
            </a:xfrm>
            <a:custGeom>
              <a:avLst/>
              <a:gdLst>
                <a:gd name="T0" fmla="*/ 0 w 64"/>
                <a:gd name="T1" fmla="*/ 2147483647 h 69"/>
                <a:gd name="T2" fmla="*/ 2147483647 w 64"/>
                <a:gd name="T3" fmla="*/ 2147483647 h 69"/>
                <a:gd name="T4" fmla="*/ 2147483647 w 64"/>
                <a:gd name="T5" fmla="*/ 0 h 69"/>
                <a:gd name="T6" fmla="*/ 2147483647 w 64"/>
                <a:gd name="T7" fmla="*/ 2147483647 h 69"/>
                <a:gd name="T8" fmla="*/ 2147483647 w 64"/>
                <a:gd name="T9" fmla="*/ 2147483647 h 69"/>
                <a:gd name="T10" fmla="*/ 2147483647 w 64"/>
                <a:gd name="T11" fmla="*/ 2147483647 h 69"/>
                <a:gd name="T12" fmla="*/ 2147483647 w 64"/>
                <a:gd name="T13" fmla="*/ 2147483647 h 69"/>
                <a:gd name="T14" fmla="*/ 0 w 64"/>
                <a:gd name="T15" fmla="*/ 2147483647 h 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69">
                  <a:moveTo>
                    <a:pt x="0" y="56"/>
                  </a:moveTo>
                  <a:lnTo>
                    <a:pt x="7" y="25"/>
                  </a:lnTo>
                  <a:lnTo>
                    <a:pt x="32" y="0"/>
                  </a:lnTo>
                  <a:lnTo>
                    <a:pt x="32" y="25"/>
                  </a:lnTo>
                  <a:lnTo>
                    <a:pt x="64" y="35"/>
                  </a:lnTo>
                  <a:lnTo>
                    <a:pt x="26" y="69"/>
                  </a:lnTo>
                  <a:lnTo>
                    <a:pt x="32" y="46"/>
                  </a:lnTo>
                  <a:lnTo>
                    <a:pt x="0" y="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84" name="Freeform 706"/>
            <p:cNvSpPr>
              <a:spLocks/>
            </p:cNvSpPr>
            <p:nvPr>
              <p:custDataLst>
                <p:tags r:id="rId578"/>
              </p:custDataLst>
            </p:nvPr>
          </p:nvSpPr>
          <p:spPr bwMode="auto">
            <a:xfrm>
              <a:off x="4886573" y="1944688"/>
              <a:ext cx="93663" cy="55562"/>
            </a:xfrm>
            <a:custGeom>
              <a:avLst/>
              <a:gdLst>
                <a:gd name="T0" fmla="*/ 0 w 64"/>
                <a:gd name="T1" fmla="*/ 2147483647 h 69"/>
                <a:gd name="T2" fmla="*/ 2147483647 w 64"/>
                <a:gd name="T3" fmla="*/ 2147483647 h 69"/>
                <a:gd name="T4" fmla="*/ 2147483647 w 64"/>
                <a:gd name="T5" fmla="*/ 0 h 69"/>
                <a:gd name="T6" fmla="*/ 2147483647 w 64"/>
                <a:gd name="T7" fmla="*/ 2147483647 h 69"/>
                <a:gd name="T8" fmla="*/ 2147483647 w 64"/>
                <a:gd name="T9" fmla="*/ 2147483647 h 69"/>
                <a:gd name="T10" fmla="*/ 2147483647 w 64"/>
                <a:gd name="T11" fmla="*/ 2147483647 h 69"/>
                <a:gd name="T12" fmla="*/ 2147483647 w 64"/>
                <a:gd name="T13" fmla="*/ 2147483647 h 69"/>
                <a:gd name="T14" fmla="*/ 0 w 64"/>
                <a:gd name="T15" fmla="*/ 2147483647 h 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69">
                  <a:moveTo>
                    <a:pt x="0" y="56"/>
                  </a:moveTo>
                  <a:lnTo>
                    <a:pt x="7" y="25"/>
                  </a:lnTo>
                  <a:lnTo>
                    <a:pt x="32" y="0"/>
                  </a:lnTo>
                  <a:lnTo>
                    <a:pt x="32" y="25"/>
                  </a:lnTo>
                  <a:lnTo>
                    <a:pt x="64" y="35"/>
                  </a:lnTo>
                  <a:lnTo>
                    <a:pt x="26" y="69"/>
                  </a:lnTo>
                  <a:lnTo>
                    <a:pt x="32" y="4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85" name="Freeform 707"/>
            <p:cNvSpPr>
              <a:spLocks/>
            </p:cNvSpPr>
            <p:nvPr>
              <p:custDataLst>
                <p:tags r:id="rId579"/>
              </p:custDataLst>
            </p:nvPr>
          </p:nvSpPr>
          <p:spPr bwMode="auto">
            <a:xfrm>
              <a:off x="4886573" y="1944688"/>
              <a:ext cx="93663" cy="55562"/>
            </a:xfrm>
            <a:custGeom>
              <a:avLst/>
              <a:gdLst>
                <a:gd name="T0" fmla="*/ 0 w 64"/>
                <a:gd name="T1" fmla="*/ 2147483647 h 69"/>
                <a:gd name="T2" fmla="*/ 2147483647 w 64"/>
                <a:gd name="T3" fmla="*/ 2147483647 h 69"/>
                <a:gd name="T4" fmla="*/ 2147483647 w 64"/>
                <a:gd name="T5" fmla="*/ 0 h 69"/>
                <a:gd name="T6" fmla="*/ 2147483647 w 64"/>
                <a:gd name="T7" fmla="*/ 2147483647 h 69"/>
                <a:gd name="T8" fmla="*/ 2147483647 w 64"/>
                <a:gd name="T9" fmla="*/ 2147483647 h 69"/>
                <a:gd name="T10" fmla="*/ 2147483647 w 64"/>
                <a:gd name="T11" fmla="*/ 2147483647 h 69"/>
                <a:gd name="T12" fmla="*/ 2147483647 w 64"/>
                <a:gd name="T13" fmla="*/ 2147483647 h 69"/>
                <a:gd name="T14" fmla="*/ 0 w 64"/>
                <a:gd name="T15" fmla="*/ 2147483647 h 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69">
                  <a:moveTo>
                    <a:pt x="0" y="56"/>
                  </a:moveTo>
                  <a:lnTo>
                    <a:pt x="7" y="25"/>
                  </a:lnTo>
                  <a:lnTo>
                    <a:pt x="32" y="0"/>
                  </a:lnTo>
                  <a:lnTo>
                    <a:pt x="32" y="25"/>
                  </a:lnTo>
                  <a:lnTo>
                    <a:pt x="64" y="35"/>
                  </a:lnTo>
                  <a:lnTo>
                    <a:pt x="26" y="69"/>
                  </a:lnTo>
                  <a:lnTo>
                    <a:pt x="32" y="46"/>
                  </a:lnTo>
                  <a:lnTo>
                    <a:pt x="0" y="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86" name="Freeform 708"/>
            <p:cNvSpPr>
              <a:spLocks/>
            </p:cNvSpPr>
            <p:nvPr>
              <p:custDataLst>
                <p:tags r:id="rId580"/>
              </p:custDataLst>
            </p:nvPr>
          </p:nvSpPr>
          <p:spPr bwMode="auto">
            <a:xfrm>
              <a:off x="4669086" y="2397125"/>
              <a:ext cx="282575" cy="541338"/>
            </a:xfrm>
            <a:custGeom>
              <a:avLst/>
              <a:gdLst>
                <a:gd name="T0" fmla="*/ 0 w 193"/>
                <a:gd name="T1" fmla="*/ 2147483647 h 682"/>
                <a:gd name="T2" fmla="*/ 2147483647 w 193"/>
                <a:gd name="T3" fmla="*/ 2147483647 h 682"/>
                <a:gd name="T4" fmla="*/ 2147483647 w 193"/>
                <a:gd name="T5" fmla="*/ 2147483647 h 682"/>
                <a:gd name="T6" fmla="*/ 2147483647 w 193"/>
                <a:gd name="T7" fmla="*/ 2147483647 h 682"/>
                <a:gd name="T8" fmla="*/ 2147483647 w 193"/>
                <a:gd name="T9" fmla="*/ 2147483647 h 682"/>
                <a:gd name="T10" fmla="*/ 2147483647 w 193"/>
                <a:gd name="T11" fmla="*/ 2147483647 h 682"/>
                <a:gd name="T12" fmla="*/ 2147483647 w 193"/>
                <a:gd name="T13" fmla="*/ 2147483647 h 682"/>
                <a:gd name="T14" fmla="*/ 2147483647 w 193"/>
                <a:gd name="T15" fmla="*/ 2147483647 h 682"/>
                <a:gd name="T16" fmla="*/ 2147483647 w 193"/>
                <a:gd name="T17" fmla="*/ 2147483647 h 682"/>
                <a:gd name="T18" fmla="*/ 2147483647 w 193"/>
                <a:gd name="T19" fmla="*/ 2147483647 h 682"/>
                <a:gd name="T20" fmla="*/ 2147483647 w 193"/>
                <a:gd name="T21" fmla="*/ 2147483647 h 682"/>
                <a:gd name="T22" fmla="*/ 2147483647 w 193"/>
                <a:gd name="T23" fmla="*/ 2147483647 h 682"/>
                <a:gd name="T24" fmla="*/ 2147483647 w 193"/>
                <a:gd name="T25" fmla="*/ 2147483647 h 682"/>
                <a:gd name="T26" fmla="*/ 2147483647 w 193"/>
                <a:gd name="T27" fmla="*/ 2147483647 h 682"/>
                <a:gd name="T28" fmla="*/ 2147483647 w 193"/>
                <a:gd name="T29" fmla="*/ 2147483647 h 682"/>
                <a:gd name="T30" fmla="*/ 2147483647 w 193"/>
                <a:gd name="T31" fmla="*/ 2147483647 h 682"/>
                <a:gd name="T32" fmla="*/ 2147483647 w 193"/>
                <a:gd name="T33" fmla="*/ 2147483647 h 682"/>
                <a:gd name="T34" fmla="*/ 2147483647 w 193"/>
                <a:gd name="T35" fmla="*/ 2147483647 h 682"/>
                <a:gd name="T36" fmla="*/ 2147483647 w 193"/>
                <a:gd name="T37" fmla="*/ 2147483647 h 682"/>
                <a:gd name="T38" fmla="*/ 2147483647 w 193"/>
                <a:gd name="T39" fmla="*/ 2147483647 h 682"/>
                <a:gd name="T40" fmla="*/ 2147483647 w 193"/>
                <a:gd name="T41" fmla="*/ 0 h 682"/>
                <a:gd name="T42" fmla="*/ 2147483647 w 193"/>
                <a:gd name="T43" fmla="*/ 0 h 682"/>
                <a:gd name="T44" fmla="*/ 2147483647 w 193"/>
                <a:gd name="T45" fmla="*/ 2147483647 h 682"/>
                <a:gd name="T46" fmla="*/ 2147483647 w 193"/>
                <a:gd name="T47" fmla="*/ 2147483647 h 682"/>
                <a:gd name="T48" fmla="*/ 2147483647 w 193"/>
                <a:gd name="T49" fmla="*/ 2147483647 h 682"/>
                <a:gd name="T50" fmla="*/ 2147483647 w 193"/>
                <a:gd name="T51" fmla="*/ 2147483647 h 682"/>
                <a:gd name="T52" fmla="*/ 2147483647 w 193"/>
                <a:gd name="T53" fmla="*/ 2147483647 h 682"/>
                <a:gd name="T54" fmla="*/ 2147483647 w 193"/>
                <a:gd name="T55" fmla="*/ 2147483647 h 682"/>
                <a:gd name="T56" fmla="*/ 2147483647 w 193"/>
                <a:gd name="T57" fmla="*/ 2147483647 h 682"/>
                <a:gd name="T58" fmla="*/ 2147483647 w 193"/>
                <a:gd name="T59" fmla="*/ 2147483647 h 682"/>
                <a:gd name="T60" fmla="*/ 2147483647 w 193"/>
                <a:gd name="T61" fmla="*/ 2147483647 h 682"/>
                <a:gd name="T62" fmla="*/ 2147483647 w 193"/>
                <a:gd name="T63" fmla="*/ 2147483647 h 682"/>
                <a:gd name="T64" fmla="*/ 2147483647 w 193"/>
                <a:gd name="T65" fmla="*/ 2147483647 h 682"/>
                <a:gd name="T66" fmla="*/ 2147483647 w 193"/>
                <a:gd name="T67" fmla="*/ 2147483647 h 682"/>
                <a:gd name="T68" fmla="*/ 2147483647 w 193"/>
                <a:gd name="T69" fmla="*/ 2147483647 h 682"/>
                <a:gd name="T70" fmla="*/ 0 w 193"/>
                <a:gd name="T71" fmla="*/ 2147483647 h 6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93" h="682">
                  <a:moveTo>
                    <a:pt x="0" y="513"/>
                  </a:moveTo>
                  <a:lnTo>
                    <a:pt x="5" y="592"/>
                  </a:lnTo>
                  <a:lnTo>
                    <a:pt x="24" y="627"/>
                  </a:lnTo>
                  <a:lnTo>
                    <a:pt x="19" y="682"/>
                  </a:lnTo>
                  <a:lnTo>
                    <a:pt x="69" y="636"/>
                  </a:lnTo>
                  <a:lnTo>
                    <a:pt x="80" y="536"/>
                  </a:lnTo>
                  <a:lnTo>
                    <a:pt x="74" y="536"/>
                  </a:lnTo>
                  <a:lnTo>
                    <a:pt x="112" y="504"/>
                  </a:lnTo>
                  <a:lnTo>
                    <a:pt x="74" y="492"/>
                  </a:lnTo>
                  <a:lnTo>
                    <a:pt x="99" y="504"/>
                  </a:lnTo>
                  <a:lnTo>
                    <a:pt x="112" y="469"/>
                  </a:lnTo>
                  <a:lnTo>
                    <a:pt x="93" y="436"/>
                  </a:lnTo>
                  <a:lnTo>
                    <a:pt x="74" y="459"/>
                  </a:lnTo>
                  <a:lnTo>
                    <a:pt x="93" y="436"/>
                  </a:lnTo>
                  <a:lnTo>
                    <a:pt x="93" y="337"/>
                  </a:lnTo>
                  <a:lnTo>
                    <a:pt x="155" y="246"/>
                  </a:lnTo>
                  <a:lnTo>
                    <a:pt x="149" y="225"/>
                  </a:lnTo>
                  <a:lnTo>
                    <a:pt x="162" y="179"/>
                  </a:lnTo>
                  <a:lnTo>
                    <a:pt x="193" y="168"/>
                  </a:lnTo>
                  <a:lnTo>
                    <a:pt x="187" y="58"/>
                  </a:lnTo>
                  <a:lnTo>
                    <a:pt x="143" y="0"/>
                  </a:lnTo>
                  <a:lnTo>
                    <a:pt x="137" y="0"/>
                  </a:lnTo>
                  <a:lnTo>
                    <a:pt x="137" y="35"/>
                  </a:lnTo>
                  <a:lnTo>
                    <a:pt x="105" y="23"/>
                  </a:lnTo>
                  <a:lnTo>
                    <a:pt x="99" y="58"/>
                  </a:lnTo>
                  <a:lnTo>
                    <a:pt x="80" y="70"/>
                  </a:lnTo>
                  <a:lnTo>
                    <a:pt x="74" y="102"/>
                  </a:lnTo>
                  <a:lnTo>
                    <a:pt x="50" y="158"/>
                  </a:lnTo>
                  <a:lnTo>
                    <a:pt x="37" y="237"/>
                  </a:lnTo>
                  <a:lnTo>
                    <a:pt x="43" y="258"/>
                  </a:lnTo>
                  <a:lnTo>
                    <a:pt x="12" y="290"/>
                  </a:lnTo>
                  <a:lnTo>
                    <a:pt x="12" y="381"/>
                  </a:lnTo>
                  <a:lnTo>
                    <a:pt x="19" y="404"/>
                  </a:lnTo>
                  <a:lnTo>
                    <a:pt x="12" y="425"/>
                  </a:lnTo>
                  <a:lnTo>
                    <a:pt x="19" y="459"/>
                  </a:lnTo>
                  <a:lnTo>
                    <a:pt x="0" y="5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587" name="Group 709"/>
            <p:cNvGrpSpPr>
              <a:grpSpLocks/>
            </p:cNvGrpSpPr>
            <p:nvPr>
              <p:custDataLst>
                <p:tags r:id="rId581"/>
              </p:custDataLst>
            </p:nvPr>
          </p:nvGrpSpPr>
          <p:grpSpPr bwMode="auto">
            <a:xfrm>
              <a:off x="4669086" y="2397125"/>
              <a:ext cx="282575" cy="541338"/>
              <a:chOff x="3121" y="1328"/>
              <a:chExt cx="193" cy="341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09" name="Freeform 710"/>
              <p:cNvSpPr>
                <a:spLocks/>
              </p:cNvSpPr>
              <p:nvPr/>
            </p:nvSpPr>
            <p:spPr bwMode="auto">
              <a:xfrm>
                <a:off x="3121" y="1328"/>
                <a:ext cx="193" cy="341"/>
              </a:xfrm>
              <a:custGeom>
                <a:avLst/>
                <a:gdLst>
                  <a:gd name="T0" fmla="*/ 0 w 193"/>
                  <a:gd name="T1" fmla="*/ 1 h 682"/>
                  <a:gd name="T2" fmla="*/ 5 w 193"/>
                  <a:gd name="T3" fmla="*/ 1 h 682"/>
                  <a:gd name="T4" fmla="*/ 24 w 193"/>
                  <a:gd name="T5" fmla="*/ 1 h 682"/>
                  <a:gd name="T6" fmla="*/ 19 w 193"/>
                  <a:gd name="T7" fmla="*/ 1 h 682"/>
                  <a:gd name="T8" fmla="*/ 69 w 193"/>
                  <a:gd name="T9" fmla="*/ 1 h 682"/>
                  <a:gd name="T10" fmla="*/ 80 w 193"/>
                  <a:gd name="T11" fmla="*/ 1 h 682"/>
                  <a:gd name="T12" fmla="*/ 74 w 193"/>
                  <a:gd name="T13" fmla="*/ 1 h 682"/>
                  <a:gd name="T14" fmla="*/ 112 w 193"/>
                  <a:gd name="T15" fmla="*/ 1 h 682"/>
                  <a:gd name="T16" fmla="*/ 74 w 193"/>
                  <a:gd name="T17" fmla="*/ 1 h 682"/>
                  <a:gd name="T18" fmla="*/ 99 w 193"/>
                  <a:gd name="T19" fmla="*/ 1 h 682"/>
                  <a:gd name="T20" fmla="*/ 112 w 193"/>
                  <a:gd name="T21" fmla="*/ 1 h 682"/>
                  <a:gd name="T22" fmla="*/ 93 w 193"/>
                  <a:gd name="T23" fmla="*/ 1 h 682"/>
                  <a:gd name="T24" fmla="*/ 74 w 193"/>
                  <a:gd name="T25" fmla="*/ 1 h 682"/>
                  <a:gd name="T26" fmla="*/ 93 w 193"/>
                  <a:gd name="T27" fmla="*/ 1 h 682"/>
                  <a:gd name="T28" fmla="*/ 93 w 193"/>
                  <a:gd name="T29" fmla="*/ 1 h 682"/>
                  <a:gd name="T30" fmla="*/ 155 w 193"/>
                  <a:gd name="T31" fmla="*/ 1 h 682"/>
                  <a:gd name="T32" fmla="*/ 149 w 193"/>
                  <a:gd name="T33" fmla="*/ 1 h 682"/>
                  <a:gd name="T34" fmla="*/ 162 w 193"/>
                  <a:gd name="T35" fmla="*/ 1 h 682"/>
                  <a:gd name="T36" fmla="*/ 193 w 193"/>
                  <a:gd name="T37" fmla="*/ 1 h 682"/>
                  <a:gd name="T38" fmla="*/ 187 w 193"/>
                  <a:gd name="T39" fmla="*/ 1 h 682"/>
                  <a:gd name="T40" fmla="*/ 143 w 193"/>
                  <a:gd name="T41" fmla="*/ 0 h 682"/>
                  <a:gd name="T42" fmla="*/ 137 w 193"/>
                  <a:gd name="T43" fmla="*/ 0 h 682"/>
                  <a:gd name="T44" fmla="*/ 137 w 193"/>
                  <a:gd name="T45" fmla="*/ 1 h 682"/>
                  <a:gd name="T46" fmla="*/ 105 w 193"/>
                  <a:gd name="T47" fmla="*/ 1 h 682"/>
                  <a:gd name="T48" fmla="*/ 99 w 193"/>
                  <a:gd name="T49" fmla="*/ 1 h 682"/>
                  <a:gd name="T50" fmla="*/ 80 w 193"/>
                  <a:gd name="T51" fmla="*/ 1 h 682"/>
                  <a:gd name="T52" fmla="*/ 74 w 193"/>
                  <a:gd name="T53" fmla="*/ 1 h 682"/>
                  <a:gd name="T54" fmla="*/ 50 w 193"/>
                  <a:gd name="T55" fmla="*/ 1 h 682"/>
                  <a:gd name="T56" fmla="*/ 37 w 193"/>
                  <a:gd name="T57" fmla="*/ 1 h 682"/>
                  <a:gd name="T58" fmla="*/ 43 w 193"/>
                  <a:gd name="T59" fmla="*/ 1 h 682"/>
                  <a:gd name="T60" fmla="*/ 12 w 193"/>
                  <a:gd name="T61" fmla="*/ 1 h 682"/>
                  <a:gd name="T62" fmla="*/ 12 w 193"/>
                  <a:gd name="T63" fmla="*/ 1 h 682"/>
                  <a:gd name="T64" fmla="*/ 19 w 193"/>
                  <a:gd name="T65" fmla="*/ 1 h 682"/>
                  <a:gd name="T66" fmla="*/ 12 w 193"/>
                  <a:gd name="T67" fmla="*/ 1 h 682"/>
                  <a:gd name="T68" fmla="*/ 19 w 193"/>
                  <a:gd name="T69" fmla="*/ 1 h 682"/>
                  <a:gd name="T70" fmla="*/ 0 w 193"/>
                  <a:gd name="T71" fmla="*/ 1 h 68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93" h="682">
                    <a:moveTo>
                      <a:pt x="0" y="513"/>
                    </a:moveTo>
                    <a:lnTo>
                      <a:pt x="5" y="592"/>
                    </a:lnTo>
                    <a:lnTo>
                      <a:pt x="24" y="627"/>
                    </a:lnTo>
                    <a:lnTo>
                      <a:pt x="19" y="682"/>
                    </a:lnTo>
                    <a:lnTo>
                      <a:pt x="69" y="636"/>
                    </a:lnTo>
                    <a:lnTo>
                      <a:pt x="80" y="536"/>
                    </a:lnTo>
                    <a:lnTo>
                      <a:pt x="74" y="536"/>
                    </a:lnTo>
                    <a:lnTo>
                      <a:pt x="112" y="504"/>
                    </a:lnTo>
                    <a:lnTo>
                      <a:pt x="74" y="492"/>
                    </a:lnTo>
                    <a:lnTo>
                      <a:pt x="99" y="504"/>
                    </a:lnTo>
                    <a:lnTo>
                      <a:pt x="112" y="469"/>
                    </a:lnTo>
                    <a:lnTo>
                      <a:pt x="93" y="436"/>
                    </a:lnTo>
                    <a:lnTo>
                      <a:pt x="74" y="459"/>
                    </a:lnTo>
                    <a:lnTo>
                      <a:pt x="93" y="436"/>
                    </a:lnTo>
                    <a:lnTo>
                      <a:pt x="93" y="337"/>
                    </a:lnTo>
                    <a:lnTo>
                      <a:pt x="155" y="246"/>
                    </a:lnTo>
                    <a:lnTo>
                      <a:pt x="149" y="225"/>
                    </a:lnTo>
                    <a:lnTo>
                      <a:pt x="162" y="179"/>
                    </a:lnTo>
                    <a:lnTo>
                      <a:pt x="193" y="168"/>
                    </a:lnTo>
                    <a:lnTo>
                      <a:pt x="187" y="58"/>
                    </a:lnTo>
                    <a:lnTo>
                      <a:pt x="143" y="0"/>
                    </a:lnTo>
                    <a:lnTo>
                      <a:pt x="137" y="0"/>
                    </a:lnTo>
                    <a:lnTo>
                      <a:pt x="137" y="35"/>
                    </a:lnTo>
                    <a:lnTo>
                      <a:pt x="105" y="23"/>
                    </a:lnTo>
                    <a:lnTo>
                      <a:pt x="99" y="58"/>
                    </a:lnTo>
                    <a:lnTo>
                      <a:pt x="80" y="70"/>
                    </a:lnTo>
                    <a:lnTo>
                      <a:pt x="74" y="102"/>
                    </a:lnTo>
                    <a:lnTo>
                      <a:pt x="50" y="158"/>
                    </a:lnTo>
                    <a:lnTo>
                      <a:pt x="37" y="237"/>
                    </a:lnTo>
                    <a:lnTo>
                      <a:pt x="43" y="258"/>
                    </a:lnTo>
                    <a:lnTo>
                      <a:pt x="12" y="290"/>
                    </a:lnTo>
                    <a:lnTo>
                      <a:pt x="12" y="381"/>
                    </a:lnTo>
                    <a:lnTo>
                      <a:pt x="19" y="404"/>
                    </a:lnTo>
                    <a:lnTo>
                      <a:pt x="12" y="425"/>
                    </a:lnTo>
                    <a:lnTo>
                      <a:pt x="19" y="459"/>
                    </a:lnTo>
                    <a:lnTo>
                      <a:pt x="0" y="513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10" name="Freeform 711"/>
              <p:cNvSpPr>
                <a:spLocks/>
              </p:cNvSpPr>
              <p:nvPr/>
            </p:nvSpPr>
            <p:spPr bwMode="auto">
              <a:xfrm>
                <a:off x="3121" y="1328"/>
                <a:ext cx="193" cy="341"/>
              </a:xfrm>
              <a:custGeom>
                <a:avLst/>
                <a:gdLst>
                  <a:gd name="T0" fmla="*/ 0 w 193"/>
                  <a:gd name="T1" fmla="*/ 1 h 682"/>
                  <a:gd name="T2" fmla="*/ 5 w 193"/>
                  <a:gd name="T3" fmla="*/ 1 h 682"/>
                  <a:gd name="T4" fmla="*/ 24 w 193"/>
                  <a:gd name="T5" fmla="*/ 1 h 682"/>
                  <a:gd name="T6" fmla="*/ 19 w 193"/>
                  <a:gd name="T7" fmla="*/ 1 h 682"/>
                  <a:gd name="T8" fmla="*/ 69 w 193"/>
                  <a:gd name="T9" fmla="*/ 1 h 682"/>
                  <a:gd name="T10" fmla="*/ 80 w 193"/>
                  <a:gd name="T11" fmla="*/ 1 h 682"/>
                  <a:gd name="T12" fmla="*/ 74 w 193"/>
                  <a:gd name="T13" fmla="*/ 1 h 682"/>
                  <a:gd name="T14" fmla="*/ 112 w 193"/>
                  <a:gd name="T15" fmla="*/ 1 h 682"/>
                  <a:gd name="T16" fmla="*/ 74 w 193"/>
                  <a:gd name="T17" fmla="*/ 1 h 682"/>
                  <a:gd name="T18" fmla="*/ 99 w 193"/>
                  <a:gd name="T19" fmla="*/ 1 h 682"/>
                  <a:gd name="T20" fmla="*/ 112 w 193"/>
                  <a:gd name="T21" fmla="*/ 1 h 682"/>
                  <a:gd name="T22" fmla="*/ 93 w 193"/>
                  <a:gd name="T23" fmla="*/ 1 h 682"/>
                  <a:gd name="T24" fmla="*/ 74 w 193"/>
                  <a:gd name="T25" fmla="*/ 1 h 682"/>
                  <a:gd name="T26" fmla="*/ 93 w 193"/>
                  <a:gd name="T27" fmla="*/ 1 h 682"/>
                  <a:gd name="T28" fmla="*/ 93 w 193"/>
                  <a:gd name="T29" fmla="*/ 1 h 682"/>
                  <a:gd name="T30" fmla="*/ 155 w 193"/>
                  <a:gd name="T31" fmla="*/ 1 h 682"/>
                  <a:gd name="T32" fmla="*/ 149 w 193"/>
                  <a:gd name="T33" fmla="*/ 1 h 682"/>
                  <a:gd name="T34" fmla="*/ 162 w 193"/>
                  <a:gd name="T35" fmla="*/ 1 h 682"/>
                  <a:gd name="T36" fmla="*/ 193 w 193"/>
                  <a:gd name="T37" fmla="*/ 1 h 682"/>
                  <a:gd name="T38" fmla="*/ 187 w 193"/>
                  <a:gd name="T39" fmla="*/ 1 h 682"/>
                  <a:gd name="T40" fmla="*/ 143 w 193"/>
                  <a:gd name="T41" fmla="*/ 0 h 682"/>
                  <a:gd name="T42" fmla="*/ 137 w 193"/>
                  <a:gd name="T43" fmla="*/ 0 h 682"/>
                  <a:gd name="T44" fmla="*/ 137 w 193"/>
                  <a:gd name="T45" fmla="*/ 1 h 682"/>
                  <a:gd name="T46" fmla="*/ 105 w 193"/>
                  <a:gd name="T47" fmla="*/ 1 h 682"/>
                  <a:gd name="T48" fmla="*/ 99 w 193"/>
                  <a:gd name="T49" fmla="*/ 1 h 682"/>
                  <a:gd name="T50" fmla="*/ 80 w 193"/>
                  <a:gd name="T51" fmla="*/ 1 h 682"/>
                  <a:gd name="T52" fmla="*/ 74 w 193"/>
                  <a:gd name="T53" fmla="*/ 1 h 682"/>
                  <a:gd name="T54" fmla="*/ 50 w 193"/>
                  <a:gd name="T55" fmla="*/ 1 h 682"/>
                  <a:gd name="T56" fmla="*/ 37 w 193"/>
                  <a:gd name="T57" fmla="*/ 1 h 682"/>
                  <a:gd name="T58" fmla="*/ 43 w 193"/>
                  <a:gd name="T59" fmla="*/ 1 h 682"/>
                  <a:gd name="T60" fmla="*/ 12 w 193"/>
                  <a:gd name="T61" fmla="*/ 1 h 682"/>
                  <a:gd name="T62" fmla="*/ 12 w 193"/>
                  <a:gd name="T63" fmla="*/ 1 h 682"/>
                  <a:gd name="T64" fmla="*/ 19 w 193"/>
                  <a:gd name="T65" fmla="*/ 1 h 682"/>
                  <a:gd name="T66" fmla="*/ 12 w 193"/>
                  <a:gd name="T67" fmla="*/ 1 h 682"/>
                  <a:gd name="T68" fmla="*/ 19 w 193"/>
                  <a:gd name="T69" fmla="*/ 1 h 682"/>
                  <a:gd name="T70" fmla="*/ 0 w 193"/>
                  <a:gd name="T71" fmla="*/ 1 h 68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93" h="682">
                    <a:moveTo>
                      <a:pt x="0" y="513"/>
                    </a:moveTo>
                    <a:lnTo>
                      <a:pt x="5" y="592"/>
                    </a:lnTo>
                    <a:lnTo>
                      <a:pt x="24" y="627"/>
                    </a:lnTo>
                    <a:lnTo>
                      <a:pt x="19" y="682"/>
                    </a:lnTo>
                    <a:lnTo>
                      <a:pt x="69" y="636"/>
                    </a:lnTo>
                    <a:lnTo>
                      <a:pt x="80" y="536"/>
                    </a:lnTo>
                    <a:lnTo>
                      <a:pt x="74" y="536"/>
                    </a:lnTo>
                    <a:lnTo>
                      <a:pt x="112" y="504"/>
                    </a:lnTo>
                    <a:lnTo>
                      <a:pt x="74" y="492"/>
                    </a:lnTo>
                    <a:lnTo>
                      <a:pt x="99" y="504"/>
                    </a:lnTo>
                    <a:lnTo>
                      <a:pt x="112" y="469"/>
                    </a:lnTo>
                    <a:lnTo>
                      <a:pt x="93" y="436"/>
                    </a:lnTo>
                    <a:lnTo>
                      <a:pt x="74" y="459"/>
                    </a:lnTo>
                    <a:lnTo>
                      <a:pt x="93" y="436"/>
                    </a:lnTo>
                    <a:lnTo>
                      <a:pt x="93" y="337"/>
                    </a:lnTo>
                    <a:lnTo>
                      <a:pt x="155" y="246"/>
                    </a:lnTo>
                    <a:lnTo>
                      <a:pt x="149" y="225"/>
                    </a:lnTo>
                    <a:lnTo>
                      <a:pt x="162" y="179"/>
                    </a:lnTo>
                    <a:lnTo>
                      <a:pt x="193" y="168"/>
                    </a:lnTo>
                    <a:lnTo>
                      <a:pt x="187" y="58"/>
                    </a:lnTo>
                    <a:lnTo>
                      <a:pt x="143" y="0"/>
                    </a:lnTo>
                    <a:lnTo>
                      <a:pt x="137" y="0"/>
                    </a:lnTo>
                    <a:lnTo>
                      <a:pt x="137" y="35"/>
                    </a:lnTo>
                    <a:lnTo>
                      <a:pt x="105" y="23"/>
                    </a:lnTo>
                    <a:lnTo>
                      <a:pt x="99" y="58"/>
                    </a:lnTo>
                    <a:lnTo>
                      <a:pt x="80" y="70"/>
                    </a:lnTo>
                    <a:lnTo>
                      <a:pt x="74" y="102"/>
                    </a:lnTo>
                    <a:lnTo>
                      <a:pt x="50" y="158"/>
                    </a:lnTo>
                    <a:lnTo>
                      <a:pt x="37" y="237"/>
                    </a:lnTo>
                    <a:lnTo>
                      <a:pt x="43" y="258"/>
                    </a:lnTo>
                    <a:lnTo>
                      <a:pt x="12" y="290"/>
                    </a:lnTo>
                    <a:lnTo>
                      <a:pt x="12" y="381"/>
                    </a:lnTo>
                    <a:lnTo>
                      <a:pt x="19" y="404"/>
                    </a:lnTo>
                    <a:lnTo>
                      <a:pt x="12" y="425"/>
                    </a:lnTo>
                    <a:lnTo>
                      <a:pt x="19" y="459"/>
                    </a:lnTo>
                    <a:lnTo>
                      <a:pt x="0" y="513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88" name="Freeform 712"/>
            <p:cNvSpPr>
              <a:spLocks/>
            </p:cNvSpPr>
            <p:nvPr>
              <p:custDataLst>
                <p:tags r:id="rId582"/>
              </p:custDataLst>
            </p:nvPr>
          </p:nvSpPr>
          <p:spPr bwMode="auto">
            <a:xfrm>
              <a:off x="4669086" y="2397125"/>
              <a:ext cx="282575" cy="541338"/>
            </a:xfrm>
            <a:custGeom>
              <a:avLst/>
              <a:gdLst>
                <a:gd name="T0" fmla="*/ 0 w 193"/>
                <a:gd name="T1" fmla="*/ 2147483647 h 682"/>
                <a:gd name="T2" fmla="*/ 2147483647 w 193"/>
                <a:gd name="T3" fmla="*/ 2147483647 h 682"/>
                <a:gd name="T4" fmla="*/ 2147483647 w 193"/>
                <a:gd name="T5" fmla="*/ 2147483647 h 682"/>
                <a:gd name="T6" fmla="*/ 2147483647 w 193"/>
                <a:gd name="T7" fmla="*/ 2147483647 h 682"/>
                <a:gd name="T8" fmla="*/ 2147483647 w 193"/>
                <a:gd name="T9" fmla="*/ 2147483647 h 682"/>
                <a:gd name="T10" fmla="*/ 2147483647 w 193"/>
                <a:gd name="T11" fmla="*/ 2147483647 h 682"/>
                <a:gd name="T12" fmla="*/ 2147483647 w 193"/>
                <a:gd name="T13" fmla="*/ 2147483647 h 682"/>
                <a:gd name="T14" fmla="*/ 2147483647 w 193"/>
                <a:gd name="T15" fmla="*/ 2147483647 h 682"/>
                <a:gd name="T16" fmla="*/ 2147483647 w 193"/>
                <a:gd name="T17" fmla="*/ 2147483647 h 682"/>
                <a:gd name="T18" fmla="*/ 2147483647 w 193"/>
                <a:gd name="T19" fmla="*/ 2147483647 h 682"/>
                <a:gd name="T20" fmla="*/ 2147483647 w 193"/>
                <a:gd name="T21" fmla="*/ 2147483647 h 682"/>
                <a:gd name="T22" fmla="*/ 2147483647 w 193"/>
                <a:gd name="T23" fmla="*/ 2147483647 h 682"/>
                <a:gd name="T24" fmla="*/ 2147483647 w 193"/>
                <a:gd name="T25" fmla="*/ 2147483647 h 682"/>
                <a:gd name="T26" fmla="*/ 2147483647 w 193"/>
                <a:gd name="T27" fmla="*/ 2147483647 h 682"/>
                <a:gd name="T28" fmla="*/ 2147483647 w 193"/>
                <a:gd name="T29" fmla="*/ 2147483647 h 682"/>
                <a:gd name="T30" fmla="*/ 2147483647 w 193"/>
                <a:gd name="T31" fmla="*/ 2147483647 h 682"/>
                <a:gd name="T32" fmla="*/ 2147483647 w 193"/>
                <a:gd name="T33" fmla="*/ 2147483647 h 682"/>
                <a:gd name="T34" fmla="*/ 2147483647 w 193"/>
                <a:gd name="T35" fmla="*/ 2147483647 h 682"/>
                <a:gd name="T36" fmla="*/ 2147483647 w 193"/>
                <a:gd name="T37" fmla="*/ 2147483647 h 682"/>
                <a:gd name="T38" fmla="*/ 2147483647 w 193"/>
                <a:gd name="T39" fmla="*/ 2147483647 h 682"/>
                <a:gd name="T40" fmla="*/ 2147483647 w 193"/>
                <a:gd name="T41" fmla="*/ 0 h 682"/>
                <a:gd name="T42" fmla="*/ 2147483647 w 193"/>
                <a:gd name="T43" fmla="*/ 0 h 682"/>
                <a:gd name="T44" fmla="*/ 2147483647 w 193"/>
                <a:gd name="T45" fmla="*/ 2147483647 h 682"/>
                <a:gd name="T46" fmla="*/ 2147483647 w 193"/>
                <a:gd name="T47" fmla="*/ 2147483647 h 682"/>
                <a:gd name="T48" fmla="*/ 2147483647 w 193"/>
                <a:gd name="T49" fmla="*/ 2147483647 h 682"/>
                <a:gd name="T50" fmla="*/ 2147483647 w 193"/>
                <a:gd name="T51" fmla="*/ 2147483647 h 682"/>
                <a:gd name="T52" fmla="*/ 2147483647 w 193"/>
                <a:gd name="T53" fmla="*/ 2147483647 h 682"/>
                <a:gd name="T54" fmla="*/ 2147483647 w 193"/>
                <a:gd name="T55" fmla="*/ 2147483647 h 682"/>
                <a:gd name="T56" fmla="*/ 2147483647 w 193"/>
                <a:gd name="T57" fmla="*/ 2147483647 h 682"/>
                <a:gd name="T58" fmla="*/ 2147483647 w 193"/>
                <a:gd name="T59" fmla="*/ 2147483647 h 682"/>
                <a:gd name="T60" fmla="*/ 2147483647 w 193"/>
                <a:gd name="T61" fmla="*/ 2147483647 h 682"/>
                <a:gd name="T62" fmla="*/ 2147483647 w 193"/>
                <a:gd name="T63" fmla="*/ 2147483647 h 682"/>
                <a:gd name="T64" fmla="*/ 2147483647 w 193"/>
                <a:gd name="T65" fmla="*/ 2147483647 h 682"/>
                <a:gd name="T66" fmla="*/ 2147483647 w 193"/>
                <a:gd name="T67" fmla="*/ 2147483647 h 682"/>
                <a:gd name="T68" fmla="*/ 2147483647 w 193"/>
                <a:gd name="T69" fmla="*/ 2147483647 h 682"/>
                <a:gd name="T70" fmla="*/ 0 w 193"/>
                <a:gd name="T71" fmla="*/ 2147483647 h 6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93" h="682">
                  <a:moveTo>
                    <a:pt x="0" y="513"/>
                  </a:moveTo>
                  <a:lnTo>
                    <a:pt x="5" y="592"/>
                  </a:lnTo>
                  <a:lnTo>
                    <a:pt x="24" y="627"/>
                  </a:lnTo>
                  <a:lnTo>
                    <a:pt x="19" y="682"/>
                  </a:lnTo>
                  <a:lnTo>
                    <a:pt x="69" y="636"/>
                  </a:lnTo>
                  <a:lnTo>
                    <a:pt x="80" y="536"/>
                  </a:lnTo>
                  <a:lnTo>
                    <a:pt x="74" y="536"/>
                  </a:lnTo>
                  <a:lnTo>
                    <a:pt x="112" y="504"/>
                  </a:lnTo>
                  <a:lnTo>
                    <a:pt x="74" y="492"/>
                  </a:lnTo>
                  <a:lnTo>
                    <a:pt x="99" y="504"/>
                  </a:lnTo>
                  <a:lnTo>
                    <a:pt x="112" y="469"/>
                  </a:lnTo>
                  <a:lnTo>
                    <a:pt x="93" y="436"/>
                  </a:lnTo>
                  <a:lnTo>
                    <a:pt x="74" y="459"/>
                  </a:lnTo>
                  <a:lnTo>
                    <a:pt x="93" y="436"/>
                  </a:lnTo>
                  <a:lnTo>
                    <a:pt x="93" y="337"/>
                  </a:lnTo>
                  <a:lnTo>
                    <a:pt x="155" y="246"/>
                  </a:lnTo>
                  <a:lnTo>
                    <a:pt x="149" y="225"/>
                  </a:lnTo>
                  <a:lnTo>
                    <a:pt x="162" y="179"/>
                  </a:lnTo>
                  <a:lnTo>
                    <a:pt x="193" y="168"/>
                  </a:lnTo>
                  <a:lnTo>
                    <a:pt x="187" y="58"/>
                  </a:lnTo>
                  <a:lnTo>
                    <a:pt x="143" y="0"/>
                  </a:lnTo>
                  <a:lnTo>
                    <a:pt x="137" y="0"/>
                  </a:lnTo>
                  <a:lnTo>
                    <a:pt x="137" y="35"/>
                  </a:lnTo>
                  <a:lnTo>
                    <a:pt x="105" y="23"/>
                  </a:lnTo>
                  <a:lnTo>
                    <a:pt x="99" y="58"/>
                  </a:lnTo>
                  <a:lnTo>
                    <a:pt x="80" y="70"/>
                  </a:lnTo>
                  <a:lnTo>
                    <a:pt x="74" y="102"/>
                  </a:lnTo>
                  <a:lnTo>
                    <a:pt x="50" y="158"/>
                  </a:lnTo>
                  <a:lnTo>
                    <a:pt x="37" y="237"/>
                  </a:lnTo>
                  <a:lnTo>
                    <a:pt x="43" y="258"/>
                  </a:lnTo>
                  <a:lnTo>
                    <a:pt x="12" y="290"/>
                  </a:lnTo>
                  <a:lnTo>
                    <a:pt x="12" y="381"/>
                  </a:lnTo>
                  <a:lnTo>
                    <a:pt x="19" y="404"/>
                  </a:lnTo>
                  <a:lnTo>
                    <a:pt x="12" y="425"/>
                  </a:lnTo>
                  <a:lnTo>
                    <a:pt x="19" y="459"/>
                  </a:lnTo>
                  <a:lnTo>
                    <a:pt x="0" y="5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589" name="Group 713"/>
            <p:cNvGrpSpPr>
              <a:grpSpLocks/>
            </p:cNvGrpSpPr>
            <p:nvPr>
              <p:custDataLst>
                <p:tags r:id="rId583"/>
              </p:custDataLst>
            </p:nvPr>
          </p:nvGrpSpPr>
          <p:grpSpPr bwMode="auto">
            <a:xfrm>
              <a:off x="4669086" y="2397125"/>
              <a:ext cx="282575" cy="541338"/>
              <a:chOff x="3121" y="1328"/>
              <a:chExt cx="193" cy="341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1007" name="Freeform 714"/>
              <p:cNvSpPr>
                <a:spLocks/>
              </p:cNvSpPr>
              <p:nvPr/>
            </p:nvSpPr>
            <p:spPr bwMode="auto">
              <a:xfrm>
                <a:off x="3121" y="1328"/>
                <a:ext cx="193" cy="341"/>
              </a:xfrm>
              <a:custGeom>
                <a:avLst/>
                <a:gdLst>
                  <a:gd name="T0" fmla="*/ 0 w 193"/>
                  <a:gd name="T1" fmla="*/ 1 h 682"/>
                  <a:gd name="T2" fmla="*/ 5 w 193"/>
                  <a:gd name="T3" fmla="*/ 1 h 682"/>
                  <a:gd name="T4" fmla="*/ 24 w 193"/>
                  <a:gd name="T5" fmla="*/ 1 h 682"/>
                  <a:gd name="T6" fmla="*/ 19 w 193"/>
                  <a:gd name="T7" fmla="*/ 1 h 682"/>
                  <a:gd name="T8" fmla="*/ 69 w 193"/>
                  <a:gd name="T9" fmla="*/ 1 h 682"/>
                  <a:gd name="T10" fmla="*/ 80 w 193"/>
                  <a:gd name="T11" fmla="*/ 1 h 682"/>
                  <a:gd name="T12" fmla="*/ 74 w 193"/>
                  <a:gd name="T13" fmla="*/ 1 h 682"/>
                  <a:gd name="T14" fmla="*/ 112 w 193"/>
                  <a:gd name="T15" fmla="*/ 1 h 682"/>
                  <a:gd name="T16" fmla="*/ 74 w 193"/>
                  <a:gd name="T17" fmla="*/ 1 h 682"/>
                  <a:gd name="T18" fmla="*/ 99 w 193"/>
                  <a:gd name="T19" fmla="*/ 1 h 682"/>
                  <a:gd name="T20" fmla="*/ 112 w 193"/>
                  <a:gd name="T21" fmla="*/ 1 h 682"/>
                  <a:gd name="T22" fmla="*/ 93 w 193"/>
                  <a:gd name="T23" fmla="*/ 1 h 682"/>
                  <a:gd name="T24" fmla="*/ 74 w 193"/>
                  <a:gd name="T25" fmla="*/ 1 h 682"/>
                  <a:gd name="T26" fmla="*/ 93 w 193"/>
                  <a:gd name="T27" fmla="*/ 1 h 682"/>
                  <a:gd name="T28" fmla="*/ 93 w 193"/>
                  <a:gd name="T29" fmla="*/ 1 h 682"/>
                  <a:gd name="T30" fmla="*/ 155 w 193"/>
                  <a:gd name="T31" fmla="*/ 1 h 682"/>
                  <a:gd name="T32" fmla="*/ 149 w 193"/>
                  <a:gd name="T33" fmla="*/ 1 h 682"/>
                  <a:gd name="T34" fmla="*/ 162 w 193"/>
                  <a:gd name="T35" fmla="*/ 1 h 682"/>
                  <a:gd name="T36" fmla="*/ 193 w 193"/>
                  <a:gd name="T37" fmla="*/ 1 h 682"/>
                  <a:gd name="T38" fmla="*/ 187 w 193"/>
                  <a:gd name="T39" fmla="*/ 1 h 682"/>
                  <a:gd name="T40" fmla="*/ 143 w 193"/>
                  <a:gd name="T41" fmla="*/ 0 h 682"/>
                  <a:gd name="T42" fmla="*/ 137 w 193"/>
                  <a:gd name="T43" fmla="*/ 0 h 682"/>
                  <a:gd name="T44" fmla="*/ 137 w 193"/>
                  <a:gd name="T45" fmla="*/ 1 h 682"/>
                  <a:gd name="T46" fmla="*/ 105 w 193"/>
                  <a:gd name="T47" fmla="*/ 1 h 682"/>
                  <a:gd name="T48" fmla="*/ 99 w 193"/>
                  <a:gd name="T49" fmla="*/ 1 h 682"/>
                  <a:gd name="T50" fmla="*/ 80 w 193"/>
                  <a:gd name="T51" fmla="*/ 1 h 682"/>
                  <a:gd name="T52" fmla="*/ 74 w 193"/>
                  <a:gd name="T53" fmla="*/ 1 h 682"/>
                  <a:gd name="T54" fmla="*/ 50 w 193"/>
                  <a:gd name="T55" fmla="*/ 1 h 682"/>
                  <a:gd name="T56" fmla="*/ 37 w 193"/>
                  <a:gd name="T57" fmla="*/ 1 h 682"/>
                  <a:gd name="T58" fmla="*/ 43 w 193"/>
                  <a:gd name="T59" fmla="*/ 1 h 682"/>
                  <a:gd name="T60" fmla="*/ 12 w 193"/>
                  <a:gd name="T61" fmla="*/ 1 h 682"/>
                  <a:gd name="T62" fmla="*/ 12 w 193"/>
                  <a:gd name="T63" fmla="*/ 1 h 682"/>
                  <a:gd name="T64" fmla="*/ 19 w 193"/>
                  <a:gd name="T65" fmla="*/ 1 h 682"/>
                  <a:gd name="T66" fmla="*/ 12 w 193"/>
                  <a:gd name="T67" fmla="*/ 1 h 682"/>
                  <a:gd name="T68" fmla="*/ 19 w 193"/>
                  <a:gd name="T69" fmla="*/ 1 h 682"/>
                  <a:gd name="T70" fmla="*/ 0 w 193"/>
                  <a:gd name="T71" fmla="*/ 1 h 68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93" h="682">
                    <a:moveTo>
                      <a:pt x="0" y="513"/>
                    </a:moveTo>
                    <a:lnTo>
                      <a:pt x="5" y="592"/>
                    </a:lnTo>
                    <a:lnTo>
                      <a:pt x="24" y="627"/>
                    </a:lnTo>
                    <a:lnTo>
                      <a:pt x="19" y="682"/>
                    </a:lnTo>
                    <a:lnTo>
                      <a:pt x="69" y="636"/>
                    </a:lnTo>
                    <a:lnTo>
                      <a:pt x="80" y="536"/>
                    </a:lnTo>
                    <a:lnTo>
                      <a:pt x="74" y="536"/>
                    </a:lnTo>
                    <a:lnTo>
                      <a:pt x="112" y="504"/>
                    </a:lnTo>
                    <a:lnTo>
                      <a:pt x="74" y="492"/>
                    </a:lnTo>
                    <a:lnTo>
                      <a:pt x="99" y="504"/>
                    </a:lnTo>
                    <a:lnTo>
                      <a:pt x="112" y="469"/>
                    </a:lnTo>
                    <a:lnTo>
                      <a:pt x="93" y="436"/>
                    </a:lnTo>
                    <a:lnTo>
                      <a:pt x="74" y="459"/>
                    </a:lnTo>
                    <a:lnTo>
                      <a:pt x="93" y="436"/>
                    </a:lnTo>
                    <a:lnTo>
                      <a:pt x="93" y="337"/>
                    </a:lnTo>
                    <a:lnTo>
                      <a:pt x="155" y="246"/>
                    </a:lnTo>
                    <a:lnTo>
                      <a:pt x="149" y="225"/>
                    </a:lnTo>
                    <a:lnTo>
                      <a:pt x="162" y="179"/>
                    </a:lnTo>
                    <a:lnTo>
                      <a:pt x="193" y="168"/>
                    </a:lnTo>
                    <a:lnTo>
                      <a:pt x="187" y="58"/>
                    </a:lnTo>
                    <a:lnTo>
                      <a:pt x="143" y="0"/>
                    </a:lnTo>
                    <a:lnTo>
                      <a:pt x="137" y="0"/>
                    </a:lnTo>
                    <a:lnTo>
                      <a:pt x="137" y="35"/>
                    </a:lnTo>
                    <a:lnTo>
                      <a:pt x="105" y="23"/>
                    </a:lnTo>
                    <a:lnTo>
                      <a:pt x="99" y="58"/>
                    </a:lnTo>
                    <a:lnTo>
                      <a:pt x="80" y="70"/>
                    </a:lnTo>
                    <a:lnTo>
                      <a:pt x="74" y="102"/>
                    </a:lnTo>
                    <a:lnTo>
                      <a:pt x="50" y="158"/>
                    </a:lnTo>
                    <a:lnTo>
                      <a:pt x="37" y="237"/>
                    </a:lnTo>
                    <a:lnTo>
                      <a:pt x="43" y="258"/>
                    </a:lnTo>
                    <a:lnTo>
                      <a:pt x="12" y="290"/>
                    </a:lnTo>
                    <a:lnTo>
                      <a:pt x="12" y="381"/>
                    </a:lnTo>
                    <a:lnTo>
                      <a:pt x="19" y="404"/>
                    </a:lnTo>
                    <a:lnTo>
                      <a:pt x="12" y="425"/>
                    </a:lnTo>
                    <a:lnTo>
                      <a:pt x="19" y="459"/>
                    </a:lnTo>
                    <a:lnTo>
                      <a:pt x="0" y="513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08" name="Freeform 715"/>
              <p:cNvSpPr>
                <a:spLocks/>
              </p:cNvSpPr>
              <p:nvPr/>
            </p:nvSpPr>
            <p:spPr bwMode="auto">
              <a:xfrm>
                <a:off x="3121" y="1328"/>
                <a:ext cx="193" cy="341"/>
              </a:xfrm>
              <a:custGeom>
                <a:avLst/>
                <a:gdLst>
                  <a:gd name="T0" fmla="*/ 0 w 193"/>
                  <a:gd name="T1" fmla="*/ 1 h 682"/>
                  <a:gd name="T2" fmla="*/ 5 w 193"/>
                  <a:gd name="T3" fmla="*/ 1 h 682"/>
                  <a:gd name="T4" fmla="*/ 24 w 193"/>
                  <a:gd name="T5" fmla="*/ 1 h 682"/>
                  <a:gd name="T6" fmla="*/ 19 w 193"/>
                  <a:gd name="T7" fmla="*/ 1 h 682"/>
                  <a:gd name="T8" fmla="*/ 69 w 193"/>
                  <a:gd name="T9" fmla="*/ 1 h 682"/>
                  <a:gd name="T10" fmla="*/ 80 w 193"/>
                  <a:gd name="T11" fmla="*/ 1 h 682"/>
                  <a:gd name="T12" fmla="*/ 74 w 193"/>
                  <a:gd name="T13" fmla="*/ 1 h 682"/>
                  <a:gd name="T14" fmla="*/ 112 w 193"/>
                  <a:gd name="T15" fmla="*/ 1 h 682"/>
                  <a:gd name="T16" fmla="*/ 74 w 193"/>
                  <a:gd name="T17" fmla="*/ 1 h 682"/>
                  <a:gd name="T18" fmla="*/ 99 w 193"/>
                  <a:gd name="T19" fmla="*/ 1 h 682"/>
                  <a:gd name="T20" fmla="*/ 112 w 193"/>
                  <a:gd name="T21" fmla="*/ 1 h 682"/>
                  <a:gd name="T22" fmla="*/ 93 w 193"/>
                  <a:gd name="T23" fmla="*/ 1 h 682"/>
                  <a:gd name="T24" fmla="*/ 74 w 193"/>
                  <a:gd name="T25" fmla="*/ 1 h 682"/>
                  <a:gd name="T26" fmla="*/ 93 w 193"/>
                  <a:gd name="T27" fmla="*/ 1 h 682"/>
                  <a:gd name="T28" fmla="*/ 93 w 193"/>
                  <a:gd name="T29" fmla="*/ 1 h 682"/>
                  <a:gd name="T30" fmla="*/ 155 w 193"/>
                  <a:gd name="T31" fmla="*/ 1 h 682"/>
                  <a:gd name="T32" fmla="*/ 149 w 193"/>
                  <a:gd name="T33" fmla="*/ 1 h 682"/>
                  <a:gd name="T34" fmla="*/ 162 w 193"/>
                  <a:gd name="T35" fmla="*/ 1 h 682"/>
                  <a:gd name="T36" fmla="*/ 193 w 193"/>
                  <a:gd name="T37" fmla="*/ 1 h 682"/>
                  <a:gd name="T38" fmla="*/ 187 w 193"/>
                  <a:gd name="T39" fmla="*/ 1 h 682"/>
                  <a:gd name="T40" fmla="*/ 143 w 193"/>
                  <a:gd name="T41" fmla="*/ 0 h 682"/>
                  <a:gd name="T42" fmla="*/ 137 w 193"/>
                  <a:gd name="T43" fmla="*/ 0 h 682"/>
                  <a:gd name="T44" fmla="*/ 137 w 193"/>
                  <a:gd name="T45" fmla="*/ 1 h 682"/>
                  <a:gd name="T46" fmla="*/ 105 w 193"/>
                  <a:gd name="T47" fmla="*/ 1 h 682"/>
                  <a:gd name="T48" fmla="*/ 99 w 193"/>
                  <a:gd name="T49" fmla="*/ 1 h 682"/>
                  <a:gd name="T50" fmla="*/ 80 w 193"/>
                  <a:gd name="T51" fmla="*/ 1 h 682"/>
                  <a:gd name="T52" fmla="*/ 74 w 193"/>
                  <a:gd name="T53" fmla="*/ 1 h 682"/>
                  <a:gd name="T54" fmla="*/ 50 w 193"/>
                  <a:gd name="T55" fmla="*/ 1 h 682"/>
                  <a:gd name="T56" fmla="*/ 37 w 193"/>
                  <a:gd name="T57" fmla="*/ 1 h 682"/>
                  <a:gd name="T58" fmla="*/ 43 w 193"/>
                  <a:gd name="T59" fmla="*/ 1 h 682"/>
                  <a:gd name="T60" fmla="*/ 12 w 193"/>
                  <a:gd name="T61" fmla="*/ 1 h 682"/>
                  <a:gd name="T62" fmla="*/ 12 w 193"/>
                  <a:gd name="T63" fmla="*/ 1 h 682"/>
                  <a:gd name="T64" fmla="*/ 19 w 193"/>
                  <a:gd name="T65" fmla="*/ 1 h 682"/>
                  <a:gd name="T66" fmla="*/ 12 w 193"/>
                  <a:gd name="T67" fmla="*/ 1 h 682"/>
                  <a:gd name="T68" fmla="*/ 19 w 193"/>
                  <a:gd name="T69" fmla="*/ 1 h 682"/>
                  <a:gd name="T70" fmla="*/ 0 w 193"/>
                  <a:gd name="T71" fmla="*/ 1 h 68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93" h="682">
                    <a:moveTo>
                      <a:pt x="0" y="513"/>
                    </a:moveTo>
                    <a:lnTo>
                      <a:pt x="5" y="592"/>
                    </a:lnTo>
                    <a:lnTo>
                      <a:pt x="24" y="627"/>
                    </a:lnTo>
                    <a:lnTo>
                      <a:pt x="19" y="682"/>
                    </a:lnTo>
                    <a:lnTo>
                      <a:pt x="69" y="636"/>
                    </a:lnTo>
                    <a:lnTo>
                      <a:pt x="80" y="536"/>
                    </a:lnTo>
                    <a:lnTo>
                      <a:pt x="74" y="536"/>
                    </a:lnTo>
                    <a:lnTo>
                      <a:pt x="112" y="504"/>
                    </a:lnTo>
                    <a:lnTo>
                      <a:pt x="74" y="492"/>
                    </a:lnTo>
                    <a:lnTo>
                      <a:pt x="99" y="504"/>
                    </a:lnTo>
                    <a:lnTo>
                      <a:pt x="112" y="469"/>
                    </a:lnTo>
                    <a:lnTo>
                      <a:pt x="93" y="436"/>
                    </a:lnTo>
                    <a:lnTo>
                      <a:pt x="74" y="459"/>
                    </a:lnTo>
                    <a:lnTo>
                      <a:pt x="93" y="436"/>
                    </a:lnTo>
                    <a:lnTo>
                      <a:pt x="93" y="337"/>
                    </a:lnTo>
                    <a:lnTo>
                      <a:pt x="155" y="246"/>
                    </a:lnTo>
                    <a:lnTo>
                      <a:pt x="149" y="225"/>
                    </a:lnTo>
                    <a:lnTo>
                      <a:pt x="162" y="179"/>
                    </a:lnTo>
                    <a:lnTo>
                      <a:pt x="193" y="168"/>
                    </a:lnTo>
                    <a:lnTo>
                      <a:pt x="187" y="58"/>
                    </a:lnTo>
                    <a:lnTo>
                      <a:pt x="143" y="0"/>
                    </a:lnTo>
                    <a:lnTo>
                      <a:pt x="137" y="0"/>
                    </a:lnTo>
                    <a:lnTo>
                      <a:pt x="137" y="35"/>
                    </a:lnTo>
                    <a:lnTo>
                      <a:pt x="105" y="23"/>
                    </a:lnTo>
                    <a:lnTo>
                      <a:pt x="99" y="58"/>
                    </a:lnTo>
                    <a:lnTo>
                      <a:pt x="80" y="70"/>
                    </a:lnTo>
                    <a:lnTo>
                      <a:pt x="74" y="102"/>
                    </a:lnTo>
                    <a:lnTo>
                      <a:pt x="50" y="158"/>
                    </a:lnTo>
                    <a:lnTo>
                      <a:pt x="37" y="237"/>
                    </a:lnTo>
                    <a:lnTo>
                      <a:pt x="43" y="258"/>
                    </a:lnTo>
                    <a:lnTo>
                      <a:pt x="12" y="290"/>
                    </a:lnTo>
                    <a:lnTo>
                      <a:pt x="12" y="381"/>
                    </a:lnTo>
                    <a:lnTo>
                      <a:pt x="19" y="404"/>
                    </a:lnTo>
                    <a:lnTo>
                      <a:pt x="12" y="425"/>
                    </a:lnTo>
                    <a:lnTo>
                      <a:pt x="19" y="459"/>
                    </a:lnTo>
                    <a:lnTo>
                      <a:pt x="0" y="513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90" name="Freeform 716"/>
            <p:cNvSpPr>
              <a:spLocks/>
            </p:cNvSpPr>
            <p:nvPr>
              <p:custDataLst>
                <p:tags r:id="rId584"/>
              </p:custDataLst>
            </p:nvPr>
          </p:nvSpPr>
          <p:spPr bwMode="auto">
            <a:xfrm>
              <a:off x="4548436" y="3194050"/>
              <a:ext cx="100012" cy="52388"/>
            </a:xfrm>
            <a:custGeom>
              <a:avLst/>
              <a:gdLst>
                <a:gd name="T0" fmla="*/ 0 w 68"/>
                <a:gd name="T1" fmla="*/ 2147483647 h 65"/>
                <a:gd name="T2" fmla="*/ 2147483647 w 68"/>
                <a:gd name="T3" fmla="*/ 2147483647 h 65"/>
                <a:gd name="T4" fmla="*/ 2147483647 w 68"/>
                <a:gd name="T5" fmla="*/ 2147483647 h 65"/>
                <a:gd name="T6" fmla="*/ 2147483647 w 68"/>
                <a:gd name="T7" fmla="*/ 2147483647 h 65"/>
                <a:gd name="T8" fmla="*/ 2147483647 w 68"/>
                <a:gd name="T9" fmla="*/ 2147483647 h 65"/>
                <a:gd name="T10" fmla="*/ 2147483647 w 68"/>
                <a:gd name="T11" fmla="*/ 2147483647 h 65"/>
                <a:gd name="T12" fmla="*/ 2147483647 w 68"/>
                <a:gd name="T13" fmla="*/ 2147483647 h 65"/>
                <a:gd name="T14" fmla="*/ 2147483647 w 68"/>
                <a:gd name="T15" fmla="*/ 0 h 65"/>
                <a:gd name="T16" fmla="*/ 0 w 68"/>
                <a:gd name="T17" fmla="*/ 2147483647 h 6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8" h="65">
                  <a:moveTo>
                    <a:pt x="0" y="44"/>
                  </a:moveTo>
                  <a:lnTo>
                    <a:pt x="12" y="65"/>
                  </a:lnTo>
                  <a:lnTo>
                    <a:pt x="37" y="54"/>
                  </a:lnTo>
                  <a:lnTo>
                    <a:pt x="44" y="65"/>
                  </a:lnTo>
                  <a:lnTo>
                    <a:pt x="68" y="33"/>
                  </a:lnTo>
                  <a:lnTo>
                    <a:pt x="56" y="21"/>
                  </a:lnTo>
                  <a:lnTo>
                    <a:pt x="50" y="11"/>
                  </a:lnTo>
                  <a:lnTo>
                    <a:pt x="1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91" name="Freeform 717"/>
            <p:cNvSpPr>
              <a:spLocks/>
            </p:cNvSpPr>
            <p:nvPr>
              <p:custDataLst>
                <p:tags r:id="rId585"/>
              </p:custDataLst>
            </p:nvPr>
          </p:nvSpPr>
          <p:spPr bwMode="auto">
            <a:xfrm>
              <a:off x="4548436" y="3194050"/>
              <a:ext cx="100012" cy="52388"/>
            </a:xfrm>
            <a:custGeom>
              <a:avLst/>
              <a:gdLst>
                <a:gd name="T0" fmla="*/ 0 w 68"/>
                <a:gd name="T1" fmla="*/ 2147483647 h 65"/>
                <a:gd name="T2" fmla="*/ 2147483647 w 68"/>
                <a:gd name="T3" fmla="*/ 2147483647 h 65"/>
                <a:gd name="T4" fmla="*/ 2147483647 w 68"/>
                <a:gd name="T5" fmla="*/ 2147483647 h 65"/>
                <a:gd name="T6" fmla="*/ 2147483647 w 68"/>
                <a:gd name="T7" fmla="*/ 2147483647 h 65"/>
                <a:gd name="T8" fmla="*/ 2147483647 w 68"/>
                <a:gd name="T9" fmla="*/ 2147483647 h 65"/>
                <a:gd name="T10" fmla="*/ 2147483647 w 68"/>
                <a:gd name="T11" fmla="*/ 2147483647 h 65"/>
                <a:gd name="T12" fmla="*/ 2147483647 w 68"/>
                <a:gd name="T13" fmla="*/ 2147483647 h 65"/>
                <a:gd name="T14" fmla="*/ 2147483647 w 68"/>
                <a:gd name="T15" fmla="*/ 0 h 65"/>
                <a:gd name="T16" fmla="*/ 0 w 68"/>
                <a:gd name="T17" fmla="*/ 2147483647 h 6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8" h="65">
                  <a:moveTo>
                    <a:pt x="0" y="44"/>
                  </a:moveTo>
                  <a:lnTo>
                    <a:pt x="12" y="65"/>
                  </a:lnTo>
                  <a:lnTo>
                    <a:pt x="37" y="54"/>
                  </a:lnTo>
                  <a:lnTo>
                    <a:pt x="44" y="65"/>
                  </a:lnTo>
                  <a:lnTo>
                    <a:pt x="68" y="33"/>
                  </a:lnTo>
                  <a:lnTo>
                    <a:pt x="56" y="21"/>
                  </a:lnTo>
                  <a:lnTo>
                    <a:pt x="50" y="11"/>
                  </a:lnTo>
                  <a:lnTo>
                    <a:pt x="18" y="0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92" name="Freeform 718"/>
            <p:cNvSpPr>
              <a:spLocks/>
            </p:cNvSpPr>
            <p:nvPr>
              <p:custDataLst>
                <p:tags r:id="rId586"/>
              </p:custDataLst>
            </p:nvPr>
          </p:nvSpPr>
          <p:spPr bwMode="auto">
            <a:xfrm>
              <a:off x="4548436" y="3194050"/>
              <a:ext cx="100012" cy="52388"/>
            </a:xfrm>
            <a:custGeom>
              <a:avLst/>
              <a:gdLst>
                <a:gd name="T0" fmla="*/ 0 w 68"/>
                <a:gd name="T1" fmla="*/ 2147483647 h 65"/>
                <a:gd name="T2" fmla="*/ 2147483647 w 68"/>
                <a:gd name="T3" fmla="*/ 2147483647 h 65"/>
                <a:gd name="T4" fmla="*/ 2147483647 w 68"/>
                <a:gd name="T5" fmla="*/ 2147483647 h 65"/>
                <a:gd name="T6" fmla="*/ 2147483647 w 68"/>
                <a:gd name="T7" fmla="*/ 2147483647 h 65"/>
                <a:gd name="T8" fmla="*/ 2147483647 w 68"/>
                <a:gd name="T9" fmla="*/ 2147483647 h 65"/>
                <a:gd name="T10" fmla="*/ 2147483647 w 68"/>
                <a:gd name="T11" fmla="*/ 2147483647 h 65"/>
                <a:gd name="T12" fmla="*/ 2147483647 w 68"/>
                <a:gd name="T13" fmla="*/ 2147483647 h 65"/>
                <a:gd name="T14" fmla="*/ 2147483647 w 68"/>
                <a:gd name="T15" fmla="*/ 0 h 65"/>
                <a:gd name="T16" fmla="*/ 0 w 68"/>
                <a:gd name="T17" fmla="*/ 2147483647 h 6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8" h="65">
                  <a:moveTo>
                    <a:pt x="0" y="44"/>
                  </a:moveTo>
                  <a:lnTo>
                    <a:pt x="12" y="65"/>
                  </a:lnTo>
                  <a:lnTo>
                    <a:pt x="37" y="54"/>
                  </a:lnTo>
                  <a:lnTo>
                    <a:pt x="44" y="65"/>
                  </a:lnTo>
                  <a:lnTo>
                    <a:pt x="68" y="33"/>
                  </a:lnTo>
                  <a:lnTo>
                    <a:pt x="56" y="21"/>
                  </a:lnTo>
                  <a:lnTo>
                    <a:pt x="50" y="11"/>
                  </a:lnTo>
                  <a:lnTo>
                    <a:pt x="1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93" name="Freeform 719"/>
            <p:cNvSpPr>
              <a:spLocks/>
            </p:cNvSpPr>
            <p:nvPr>
              <p:custDataLst>
                <p:tags r:id="rId587"/>
              </p:custDataLst>
            </p:nvPr>
          </p:nvSpPr>
          <p:spPr bwMode="auto">
            <a:xfrm>
              <a:off x="4548436" y="3194050"/>
              <a:ext cx="100012" cy="52388"/>
            </a:xfrm>
            <a:custGeom>
              <a:avLst/>
              <a:gdLst>
                <a:gd name="T0" fmla="*/ 0 w 68"/>
                <a:gd name="T1" fmla="*/ 2147483647 h 65"/>
                <a:gd name="T2" fmla="*/ 2147483647 w 68"/>
                <a:gd name="T3" fmla="*/ 2147483647 h 65"/>
                <a:gd name="T4" fmla="*/ 2147483647 w 68"/>
                <a:gd name="T5" fmla="*/ 2147483647 h 65"/>
                <a:gd name="T6" fmla="*/ 2147483647 w 68"/>
                <a:gd name="T7" fmla="*/ 2147483647 h 65"/>
                <a:gd name="T8" fmla="*/ 2147483647 w 68"/>
                <a:gd name="T9" fmla="*/ 2147483647 h 65"/>
                <a:gd name="T10" fmla="*/ 2147483647 w 68"/>
                <a:gd name="T11" fmla="*/ 2147483647 h 65"/>
                <a:gd name="T12" fmla="*/ 2147483647 w 68"/>
                <a:gd name="T13" fmla="*/ 2147483647 h 65"/>
                <a:gd name="T14" fmla="*/ 2147483647 w 68"/>
                <a:gd name="T15" fmla="*/ 0 h 65"/>
                <a:gd name="T16" fmla="*/ 0 w 68"/>
                <a:gd name="T17" fmla="*/ 2147483647 h 6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8" h="65">
                  <a:moveTo>
                    <a:pt x="0" y="44"/>
                  </a:moveTo>
                  <a:lnTo>
                    <a:pt x="12" y="65"/>
                  </a:lnTo>
                  <a:lnTo>
                    <a:pt x="37" y="54"/>
                  </a:lnTo>
                  <a:lnTo>
                    <a:pt x="44" y="65"/>
                  </a:lnTo>
                  <a:lnTo>
                    <a:pt x="68" y="33"/>
                  </a:lnTo>
                  <a:lnTo>
                    <a:pt x="56" y="21"/>
                  </a:lnTo>
                  <a:lnTo>
                    <a:pt x="50" y="11"/>
                  </a:lnTo>
                  <a:lnTo>
                    <a:pt x="18" y="0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594" name="Freeform 720"/>
            <p:cNvSpPr>
              <a:spLocks/>
            </p:cNvSpPr>
            <p:nvPr>
              <p:custDataLst>
                <p:tags r:id="rId588"/>
              </p:custDataLst>
            </p:nvPr>
          </p:nvSpPr>
          <p:spPr bwMode="auto">
            <a:xfrm>
              <a:off x="5216773" y="3513138"/>
              <a:ext cx="158750" cy="138112"/>
            </a:xfrm>
            <a:custGeom>
              <a:avLst/>
              <a:gdLst>
                <a:gd name="T0" fmla="*/ 0 w 108"/>
                <a:gd name="T1" fmla="*/ 2147483647 h 175"/>
                <a:gd name="T2" fmla="*/ 0 w 108"/>
                <a:gd name="T3" fmla="*/ 2147483647 h 175"/>
                <a:gd name="T4" fmla="*/ 2147483647 w 108"/>
                <a:gd name="T5" fmla="*/ 2147483647 h 175"/>
                <a:gd name="T6" fmla="*/ 2147483647 w 108"/>
                <a:gd name="T7" fmla="*/ 2147483647 h 175"/>
                <a:gd name="T8" fmla="*/ 2147483647 w 108"/>
                <a:gd name="T9" fmla="*/ 2147483647 h 175"/>
                <a:gd name="T10" fmla="*/ 2147483647 w 108"/>
                <a:gd name="T11" fmla="*/ 2147483647 h 175"/>
                <a:gd name="T12" fmla="*/ 2147483647 w 108"/>
                <a:gd name="T13" fmla="*/ 0 h 175"/>
                <a:gd name="T14" fmla="*/ 2147483647 w 108"/>
                <a:gd name="T15" fmla="*/ 2147483647 h 175"/>
                <a:gd name="T16" fmla="*/ 2147483647 w 108"/>
                <a:gd name="T17" fmla="*/ 2147483647 h 175"/>
                <a:gd name="T18" fmla="*/ 2147483647 w 108"/>
                <a:gd name="T19" fmla="*/ 2147483647 h 175"/>
                <a:gd name="T20" fmla="*/ 2147483647 w 108"/>
                <a:gd name="T21" fmla="*/ 2147483647 h 175"/>
                <a:gd name="T22" fmla="*/ 0 w 108"/>
                <a:gd name="T23" fmla="*/ 2147483647 h 1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8" h="175">
                  <a:moveTo>
                    <a:pt x="0" y="165"/>
                  </a:moveTo>
                  <a:lnTo>
                    <a:pt x="0" y="142"/>
                  </a:lnTo>
                  <a:lnTo>
                    <a:pt x="19" y="110"/>
                  </a:lnTo>
                  <a:lnTo>
                    <a:pt x="7" y="87"/>
                  </a:lnTo>
                  <a:lnTo>
                    <a:pt x="7" y="43"/>
                  </a:lnTo>
                  <a:lnTo>
                    <a:pt x="19" y="10"/>
                  </a:lnTo>
                  <a:lnTo>
                    <a:pt x="108" y="0"/>
                  </a:lnTo>
                  <a:lnTo>
                    <a:pt x="95" y="33"/>
                  </a:lnTo>
                  <a:lnTo>
                    <a:pt x="88" y="98"/>
                  </a:lnTo>
                  <a:lnTo>
                    <a:pt x="50" y="142"/>
                  </a:lnTo>
                  <a:lnTo>
                    <a:pt x="13" y="175"/>
                  </a:lnTo>
                  <a:lnTo>
                    <a:pt x="0" y="1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595" name="Group 721"/>
            <p:cNvGrpSpPr>
              <a:grpSpLocks/>
            </p:cNvGrpSpPr>
            <p:nvPr>
              <p:custDataLst>
                <p:tags r:id="rId589"/>
              </p:custDataLst>
            </p:nvPr>
          </p:nvGrpSpPr>
          <p:grpSpPr bwMode="auto">
            <a:xfrm>
              <a:off x="5216773" y="3513138"/>
              <a:ext cx="158750" cy="138112"/>
              <a:chOff x="3495" y="2031"/>
              <a:chExt cx="108" cy="8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05" name="Freeform 722"/>
              <p:cNvSpPr>
                <a:spLocks/>
              </p:cNvSpPr>
              <p:nvPr/>
            </p:nvSpPr>
            <p:spPr bwMode="auto">
              <a:xfrm>
                <a:off x="3495" y="2031"/>
                <a:ext cx="108" cy="87"/>
              </a:xfrm>
              <a:custGeom>
                <a:avLst/>
                <a:gdLst>
                  <a:gd name="T0" fmla="*/ 0 w 108"/>
                  <a:gd name="T1" fmla="*/ 0 h 175"/>
                  <a:gd name="T2" fmla="*/ 0 w 108"/>
                  <a:gd name="T3" fmla="*/ 0 h 175"/>
                  <a:gd name="T4" fmla="*/ 19 w 108"/>
                  <a:gd name="T5" fmla="*/ 0 h 175"/>
                  <a:gd name="T6" fmla="*/ 7 w 108"/>
                  <a:gd name="T7" fmla="*/ 0 h 175"/>
                  <a:gd name="T8" fmla="*/ 7 w 108"/>
                  <a:gd name="T9" fmla="*/ 0 h 175"/>
                  <a:gd name="T10" fmla="*/ 19 w 108"/>
                  <a:gd name="T11" fmla="*/ 0 h 175"/>
                  <a:gd name="T12" fmla="*/ 108 w 108"/>
                  <a:gd name="T13" fmla="*/ 0 h 175"/>
                  <a:gd name="T14" fmla="*/ 95 w 108"/>
                  <a:gd name="T15" fmla="*/ 0 h 175"/>
                  <a:gd name="T16" fmla="*/ 88 w 108"/>
                  <a:gd name="T17" fmla="*/ 0 h 175"/>
                  <a:gd name="T18" fmla="*/ 50 w 108"/>
                  <a:gd name="T19" fmla="*/ 0 h 175"/>
                  <a:gd name="T20" fmla="*/ 13 w 108"/>
                  <a:gd name="T21" fmla="*/ 0 h 175"/>
                  <a:gd name="T22" fmla="*/ 0 w 108"/>
                  <a:gd name="T23" fmla="*/ 0 h 17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8" h="175">
                    <a:moveTo>
                      <a:pt x="0" y="165"/>
                    </a:moveTo>
                    <a:lnTo>
                      <a:pt x="0" y="142"/>
                    </a:lnTo>
                    <a:lnTo>
                      <a:pt x="19" y="110"/>
                    </a:lnTo>
                    <a:lnTo>
                      <a:pt x="7" y="87"/>
                    </a:lnTo>
                    <a:lnTo>
                      <a:pt x="7" y="43"/>
                    </a:lnTo>
                    <a:lnTo>
                      <a:pt x="19" y="10"/>
                    </a:lnTo>
                    <a:lnTo>
                      <a:pt x="108" y="0"/>
                    </a:lnTo>
                    <a:lnTo>
                      <a:pt x="95" y="33"/>
                    </a:lnTo>
                    <a:lnTo>
                      <a:pt x="88" y="98"/>
                    </a:lnTo>
                    <a:lnTo>
                      <a:pt x="50" y="142"/>
                    </a:lnTo>
                    <a:lnTo>
                      <a:pt x="13" y="175"/>
                    </a:lnTo>
                    <a:lnTo>
                      <a:pt x="0" y="165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06" name="Freeform 723"/>
              <p:cNvSpPr>
                <a:spLocks/>
              </p:cNvSpPr>
              <p:nvPr/>
            </p:nvSpPr>
            <p:spPr bwMode="auto">
              <a:xfrm>
                <a:off x="3495" y="2031"/>
                <a:ext cx="108" cy="87"/>
              </a:xfrm>
              <a:custGeom>
                <a:avLst/>
                <a:gdLst>
                  <a:gd name="T0" fmla="*/ 0 w 108"/>
                  <a:gd name="T1" fmla="*/ 0 h 175"/>
                  <a:gd name="T2" fmla="*/ 0 w 108"/>
                  <a:gd name="T3" fmla="*/ 0 h 175"/>
                  <a:gd name="T4" fmla="*/ 19 w 108"/>
                  <a:gd name="T5" fmla="*/ 0 h 175"/>
                  <a:gd name="T6" fmla="*/ 7 w 108"/>
                  <a:gd name="T7" fmla="*/ 0 h 175"/>
                  <a:gd name="T8" fmla="*/ 7 w 108"/>
                  <a:gd name="T9" fmla="*/ 0 h 175"/>
                  <a:gd name="T10" fmla="*/ 19 w 108"/>
                  <a:gd name="T11" fmla="*/ 0 h 175"/>
                  <a:gd name="T12" fmla="*/ 108 w 108"/>
                  <a:gd name="T13" fmla="*/ 0 h 175"/>
                  <a:gd name="T14" fmla="*/ 95 w 108"/>
                  <a:gd name="T15" fmla="*/ 0 h 175"/>
                  <a:gd name="T16" fmla="*/ 88 w 108"/>
                  <a:gd name="T17" fmla="*/ 0 h 175"/>
                  <a:gd name="T18" fmla="*/ 50 w 108"/>
                  <a:gd name="T19" fmla="*/ 0 h 175"/>
                  <a:gd name="T20" fmla="*/ 13 w 108"/>
                  <a:gd name="T21" fmla="*/ 0 h 175"/>
                  <a:gd name="T22" fmla="*/ 0 w 108"/>
                  <a:gd name="T23" fmla="*/ 0 h 17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8" h="175">
                    <a:moveTo>
                      <a:pt x="0" y="165"/>
                    </a:moveTo>
                    <a:lnTo>
                      <a:pt x="0" y="142"/>
                    </a:lnTo>
                    <a:lnTo>
                      <a:pt x="19" y="110"/>
                    </a:lnTo>
                    <a:lnTo>
                      <a:pt x="7" y="87"/>
                    </a:lnTo>
                    <a:lnTo>
                      <a:pt x="7" y="43"/>
                    </a:lnTo>
                    <a:lnTo>
                      <a:pt x="19" y="10"/>
                    </a:lnTo>
                    <a:lnTo>
                      <a:pt x="108" y="0"/>
                    </a:lnTo>
                    <a:lnTo>
                      <a:pt x="95" y="33"/>
                    </a:lnTo>
                    <a:lnTo>
                      <a:pt x="88" y="98"/>
                    </a:lnTo>
                    <a:lnTo>
                      <a:pt x="50" y="142"/>
                    </a:lnTo>
                    <a:lnTo>
                      <a:pt x="13" y="175"/>
                    </a:lnTo>
                    <a:lnTo>
                      <a:pt x="0" y="165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96" name="Freeform 724"/>
            <p:cNvSpPr>
              <a:spLocks/>
            </p:cNvSpPr>
            <p:nvPr>
              <p:custDataLst>
                <p:tags r:id="rId590"/>
              </p:custDataLst>
            </p:nvPr>
          </p:nvSpPr>
          <p:spPr bwMode="auto">
            <a:xfrm>
              <a:off x="5216773" y="3513138"/>
              <a:ext cx="158750" cy="138112"/>
            </a:xfrm>
            <a:custGeom>
              <a:avLst/>
              <a:gdLst>
                <a:gd name="T0" fmla="*/ 0 w 108"/>
                <a:gd name="T1" fmla="*/ 2147483647 h 175"/>
                <a:gd name="T2" fmla="*/ 0 w 108"/>
                <a:gd name="T3" fmla="*/ 2147483647 h 175"/>
                <a:gd name="T4" fmla="*/ 2147483647 w 108"/>
                <a:gd name="T5" fmla="*/ 2147483647 h 175"/>
                <a:gd name="T6" fmla="*/ 2147483647 w 108"/>
                <a:gd name="T7" fmla="*/ 2147483647 h 175"/>
                <a:gd name="T8" fmla="*/ 2147483647 w 108"/>
                <a:gd name="T9" fmla="*/ 2147483647 h 175"/>
                <a:gd name="T10" fmla="*/ 2147483647 w 108"/>
                <a:gd name="T11" fmla="*/ 2147483647 h 175"/>
                <a:gd name="T12" fmla="*/ 2147483647 w 108"/>
                <a:gd name="T13" fmla="*/ 0 h 175"/>
                <a:gd name="T14" fmla="*/ 2147483647 w 108"/>
                <a:gd name="T15" fmla="*/ 2147483647 h 175"/>
                <a:gd name="T16" fmla="*/ 2147483647 w 108"/>
                <a:gd name="T17" fmla="*/ 2147483647 h 175"/>
                <a:gd name="T18" fmla="*/ 2147483647 w 108"/>
                <a:gd name="T19" fmla="*/ 2147483647 h 175"/>
                <a:gd name="T20" fmla="*/ 2147483647 w 108"/>
                <a:gd name="T21" fmla="*/ 2147483647 h 175"/>
                <a:gd name="T22" fmla="*/ 0 w 108"/>
                <a:gd name="T23" fmla="*/ 2147483647 h 1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8" h="175">
                  <a:moveTo>
                    <a:pt x="0" y="165"/>
                  </a:moveTo>
                  <a:lnTo>
                    <a:pt x="0" y="142"/>
                  </a:lnTo>
                  <a:lnTo>
                    <a:pt x="19" y="110"/>
                  </a:lnTo>
                  <a:lnTo>
                    <a:pt x="7" y="87"/>
                  </a:lnTo>
                  <a:lnTo>
                    <a:pt x="7" y="43"/>
                  </a:lnTo>
                  <a:lnTo>
                    <a:pt x="19" y="10"/>
                  </a:lnTo>
                  <a:lnTo>
                    <a:pt x="108" y="0"/>
                  </a:lnTo>
                  <a:lnTo>
                    <a:pt x="95" y="33"/>
                  </a:lnTo>
                  <a:lnTo>
                    <a:pt x="88" y="98"/>
                  </a:lnTo>
                  <a:lnTo>
                    <a:pt x="50" y="142"/>
                  </a:lnTo>
                  <a:lnTo>
                    <a:pt x="13" y="175"/>
                  </a:lnTo>
                  <a:lnTo>
                    <a:pt x="0" y="1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597" name="Group 725"/>
            <p:cNvGrpSpPr>
              <a:grpSpLocks/>
            </p:cNvGrpSpPr>
            <p:nvPr>
              <p:custDataLst>
                <p:tags r:id="rId591"/>
              </p:custDataLst>
            </p:nvPr>
          </p:nvGrpSpPr>
          <p:grpSpPr bwMode="auto">
            <a:xfrm>
              <a:off x="5216773" y="3513138"/>
              <a:ext cx="158750" cy="138112"/>
              <a:chOff x="3495" y="2031"/>
              <a:chExt cx="108" cy="87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03" name="Freeform 726"/>
              <p:cNvSpPr>
                <a:spLocks/>
              </p:cNvSpPr>
              <p:nvPr/>
            </p:nvSpPr>
            <p:spPr bwMode="auto">
              <a:xfrm>
                <a:off x="3495" y="2031"/>
                <a:ext cx="108" cy="87"/>
              </a:xfrm>
              <a:custGeom>
                <a:avLst/>
                <a:gdLst>
                  <a:gd name="T0" fmla="*/ 0 w 108"/>
                  <a:gd name="T1" fmla="*/ 0 h 175"/>
                  <a:gd name="T2" fmla="*/ 0 w 108"/>
                  <a:gd name="T3" fmla="*/ 0 h 175"/>
                  <a:gd name="T4" fmla="*/ 19 w 108"/>
                  <a:gd name="T5" fmla="*/ 0 h 175"/>
                  <a:gd name="T6" fmla="*/ 7 w 108"/>
                  <a:gd name="T7" fmla="*/ 0 h 175"/>
                  <a:gd name="T8" fmla="*/ 7 w 108"/>
                  <a:gd name="T9" fmla="*/ 0 h 175"/>
                  <a:gd name="T10" fmla="*/ 19 w 108"/>
                  <a:gd name="T11" fmla="*/ 0 h 175"/>
                  <a:gd name="T12" fmla="*/ 108 w 108"/>
                  <a:gd name="T13" fmla="*/ 0 h 175"/>
                  <a:gd name="T14" fmla="*/ 95 w 108"/>
                  <a:gd name="T15" fmla="*/ 0 h 175"/>
                  <a:gd name="T16" fmla="*/ 88 w 108"/>
                  <a:gd name="T17" fmla="*/ 0 h 175"/>
                  <a:gd name="T18" fmla="*/ 50 w 108"/>
                  <a:gd name="T19" fmla="*/ 0 h 175"/>
                  <a:gd name="T20" fmla="*/ 13 w 108"/>
                  <a:gd name="T21" fmla="*/ 0 h 175"/>
                  <a:gd name="T22" fmla="*/ 0 w 108"/>
                  <a:gd name="T23" fmla="*/ 0 h 17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8" h="175">
                    <a:moveTo>
                      <a:pt x="0" y="165"/>
                    </a:moveTo>
                    <a:lnTo>
                      <a:pt x="0" y="142"/>
                    </a:lnTo>
                    <a:lnTo>
                      <a:pt x="19" y="110"/>
                    </a:lnTo>
                    <a:lnTo>
                      <a:pt x="7" y="87"/>
                    </a:lnTo>
                    <a:lnTo>
                      <a:pt x="7" y="43"/>
                    </a:lnTo>
                    <a:lnTo>
                      <a:pt x="19" y="10"/>
                    </a:lnTo>
                    <a:lnTo>
                      <a:pt x="108" y="0"/>
                    </a:lnTo>
                    <a:lnTo>
                      <a:pt x="95" y="33"/>
                    </a:lnTo>
                    <a:lnTo>
                      <a:pt x="88" y="98"/>
                    </a:lnTo>
                    <a:lnTo>
                      <a:pt x="50" y="142"/>
                    </a:lnTo>
                    <a:lnTo>
                      <a:pt x="13" y="175"/>
                    </a:lnTo>
                    <a:lnTo>
                      <a:pt x="0" y="165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04" name="Freeform 727"/>
              <p:cNvSpPr>
                <a:spLocks/>
              </p:cNvSpPr>
              <p:nvPr/>
            </p:nvSpPr>
            <p:spPr bwMode="auto">
              <a:xfrm>
                <a:off x="3495" y="2031"/>
                <a:ext cx="108" cy="87"/>
              </a:xfrm>
              <a:custGeom>
                <a:avLst/>
                <a:gdLst>
                  <a:gd name="T0" fmla="*/ 0 w 108"/>
                  <a:gd name="T1" fmla="*/ 0 h 175"/>
                  <a:gd name="T2" fmla="*/ 0 w 108"/>
                  <a:gd name="T3" fmla="*/ 0 h 175"/>
                  <a:gd name="T4" fmla="*/ 19 w 108"/>
                  <a:gd name="T5" fmla="*/ 0 h 175"/>
                  <a:gd name="T6" fmla="*/ 7 w 108"/>
                  <a:gd name="T7" fmla="*/ 0 h 175"/>
                  <a:gd name="T8" fmla="*/ 7 w 108"/>
                  <a:gd name="T9" fmla="*/ 0 h 175"/>
                  <a:gd name="T10" fmla="*/ 19 w 108"/>
                  <a:gd name="T11" fmla="*/ 0 h 175"/>
                  <a:gd name="T12" fmla="*/ 108 w 108"/>
                  <a:gd name="T13" fmla="*/ 0 h 175"/>
                  <a:gd name="T14" fmla="*/ 95 w 108"/>
                  <a:gd name="T15" fmla="*/ 0 h 175"/>
                  <a:gd name="T16" fmla="*/ 88 w 108"/>
                  <a:gd name="T17" fmla="*/ 0 h 175"/>
                  <a:gd name="T18" fmla="*/ 50 w 108"/>
                  <a:gd name="T19" fmla="*/ 0 h 175"/>
                  <a:gd name="T20" fmla="*/ 13 w 108"/>
                  <a:gd name="T21" fmla="*/ 0 h 175"/>
                  <a:gd name="T22" fmla="*/ 0 w 108"/>
                  <a:gd name="T23" fmla="*/ 0 h 17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8" h="175">
                    <a:moveTo>
                      <a:pt x="0" y="165"/>
                    </a:moveTo>
                    <a:lnTo>
                      <a:pt x="0" y="142"/>
                    </a:lnTo>
                    <a:lnTo>
                      <a:pt x="19" y="110"/>
                    </a:lnTo>
                    <a:lnTo>
                      <a:pt x="7" y="87"/>
                    </a:lnTo>
                    <a:lnTo>
                      <a:pt x="7" y="43"/>
                    </a:lnTo>
                    <a:lnTo>
                      <a:pt x="19" y="10"/>
                    </a:lnTo>
                    <a:lnTo>
                      <a:pt x="108" y="0"/>
                    </a:lnTo>
                    <a:lnTo>
                      <a:pt x="95" y="33"/>
                    </a:lnTo>
                    <a:lnTo>
                      <a:pt x="88" y="98"/>
                    </a:lnTo>
                    <a:lnTo>
                      <a:pt x="50" y="142"/>
                    </a:lnTo>
                    <a:lnTo>
                      <a:pt x="13" y="175"/>
                    </a:lnTo>
                    <a:lnTo>
                      <a:pt x="0" y="165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598" name="Freeform 728"/>
            <p:cNvSpPr>
              <a:spLocks/>
            </p:cNvSpPr>
            <p:nvPr>
              <p:custDataLst>
                <p:tags r:id="rId592"/>
              </p:custDataLst>
            </p:nvPr>
          </p:nvSpPr>
          <p:spPr bwMode="auto">
            <a:xfrm>
              <a:off x="6628061" y="3971925"/>
              <a:ext cx="182562" cy="388938"/>
            </a:xfrm>
            <a:custGeom>
              <a:avLst/>
              <a:gdLst>
                <a:gd name="T0" fmla="*/ 0 w 125"/>
                <a:gd name="T1" fmla="*/ 2147483647 h 490"/>
                <a:gd name="T2" fmla="*/ 2147483647 w 125"/>
                <a:gd name="T3" fmla="*/ 2147483647 h 490"/>
                <a:gd name="T4" fmla="*/ 2147483647 w 125"/>
                <a:gd name="T5" fmla="*/ 0 h 490"/>
                <a:gd name="T6" fmla="*/ 2147483647 w 125"/>
                <a:gd name="T7" fmla="*/ 2147483647 h 490"/>
                <a:gd name="T8" fmla="*/ 2147483647 w 125"/>
                <a:gd name="T9" fmla="*/ 2147483647 h 490"/>
                <a:gd name="T10" fmla="*/ 2147483647 w 125"/>
                <a:gd name="T11" fmla="*/ 2147483647 h 490"/>
                <a:gd name="T12" fmla="*/ 2147483647 w 125"/>
                <a:gd name="T13" fmla="*/ 2147483647 h 490"/>
                <a:gd name="T14" fmla="*/ 2147483647 w 125"/>
                <a:gd name="T15" fmla="*/ 2147483647 h 490"/>
                <a:gd name="T16" fmla="*/ 2147483647 w 125"/>
                <a:gd name="T17" fmla="*/ 2147483647 h 490"/>
                <a:gd name="T18" fmla="*/ 2147483647 w 125"/>
                <a:gd name="T19" fmla="*/ 2147483647 h 490"/>
                <a:gd name="T20" fmla="*/ 2147483647 w 125"/>
                <a:gd name="T21" fmla="*/ 2147483647 h 490"/>
                <a:gd name="T22" fmla="*/ 2147483647 w 125"/>
                <a:gd name="T23" fmla="*/ 2147483647 h 490"/>
                <a:gd name="T24" fmla="*/ 2147483647 w 125"/>
                <a:gd name="T25" fmla="*/ 2147483647 h 490"/>
                <a:gd name="T26" fmla="*/ 2147483647 w 125"/>
                <a:gd name="T27" fmla="*/ 2147483647 h 490"/>
                <a:gd name="T28" fmla="*/ 2147483647 w 125"/>
                <a:gd name="T29" fmla="*/ 2147483647 h 490"/>
                <a:gd name="T30" fmla="*/ 2147483647 w 125"/>
                <a:gd name="T31" fmla="*/ 2147483647 h 490"/>
                <a:gd name="T32" fmla="*/ 2147483647 w 125"/>
                <a:gd name="T33" fmla="*/ 2147483647 h 490"/>
                <a:gd name="T34" fmla="*/ 2147483647 w 125"/>
                <a:gd name="T35" fmla="*/ 2147483647 h 490"/>
                <a:gd name="T36" fmla="*/ 2147483647 w 125"/>
                <a:gd name="T37" fmla="*/ 2147483647 h 490"/>
                <a:gd name="T38" fmla="*/ 2147483647 w 125"/>
                <a:gd name="T39" fmla="*/ 2147483647 h 490"/>
                <a:gd name="T40" fmla="*/ 2147483647 w 125"/>
                <a:gd name="T41" fmla="*/ 2147483647 h 490"/>
                <a:gd name="T42" fmla="*/ 2147483647 w 125"/>
                <a:gd name="T43" fmla="*/ 2147483647 h 490"/>
                <a:gd name="T44" fmla="*/ 2147483647 w 125"/>
                <a:gd name="T45" fmla="*/ 2147483647 h 490"/>
                <a:gd name="T46" fmla="*/ 2147483647 w 125"/>
                <a:gd name="T47" fmla="*/ 2147483647 h 490"/>
                <a:gd name="T48" fmla="*/ 0 w 125"/>
                <a:gd name="T49" fmla="*/ 2147483647 h 49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25" h="490">
                  <a:moveTo>
                    <a:pt x="0" y="77"/>
                  </a:moveTo>
                  <a:lnTo>
                    <a:pt x="13" y="33"/>
                  </a:lnTo>
                  <a:lnTo>
                    <a:pt x="44" y="0"/>
                  </a:lnTo>
                  <a:lnTo>
                    <a:pt x="57" y="33"/>
                  </a:lnTo>
                  <a:lnTo>
                    <a:pt x="57" y="100"/>
                  </a:lnTo>
                  <a:lnTo>
                    <a:pt x="94" y="68"/>
                  </a:lnTo>
                  <a:lnTo>
                    <a:pt x="113" y="100"/>
                  </a:lnTo>
                  <a:lnTo>
                    <a:pt x="125" y="167"/>
                  </a:lnTo>
                  <a:lnTo>
                    <a:pt x="119" y="212"/>
                  </a:lnTo>
                  <a:lnTo>
                    <a:pt x="88" y="200"/>
                  </a:lnTo>
                  <a:lnTo>
                    <a:pt x="82" y="223"/>
                  </a:lnTo>
                  <a:lnTo>
                    <a:pt x="88" y="288"/>
                  </a:lnTo>
                  <a:lnTo>
                    <a:pt x="44" y="235"/>
                  </a:lnTo>
                  <a:lnTo>
                    <a:pt x="32" y="335"/>
                  </a:lnTo>
                  <a:lnTo>
                    <a:pt x="50" y="434"/>
                  </a:lnTo>
                  <a:lnTo>
                    <a:pt x="75" y="467"/>
                  </a:lnTo>
                  <a:lnTo>
                    <a:pt x="64" y="490"/>
                  </a:lnTo>
                  <a:lnTo>
                    <a:pt x="57" y="456"/>
                  </a:lnTo>
                  <a:lnTo>
                    <a:pt x="44" y="456"/>
                  </a:lnTo>
                  <a:lnTo>
                    <a:pt x="13" y="402"/>
                  </a:lnTo>
                  <a:lnTo>
                    <a:pt x="19" y="346"/>
                  </a:lnTo>
                  <a:lnTo>
                    <a:pt x="38" y="288"/>
                  </a:lnTo>
                  <a:lnTo>
                    <a:pt x="13" y="191"/>
                  </a:lnTo>
                  <a:lnTo>
                    <a:pt x="19" y="144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599" name="Group 729"/>
            <p:cNvGrpSpPr>
              <a:grpSpLocks/>
            </p:cNvGrpSpPr>
            <p:nvPr>
              <p:custDataLst>
                <p:tags r:id="rId593"/>
              </p:custDataLst>
            </p:nvPr>
          </p:nvGrpSpPr>
          <p:grpSpPr bwMode="auto">
            <a:xfrm>
              <a:off x="6628061" y="3971925"/>
              <a:ext cx="182562" cy="388938"/>
              <a:chOff x="4458" y="2320"/>
              <a:chExt cx="125" cy="24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1001" name="Freeform 730"/>
              <p:cNvSpPr>
                <a:spLocks/>
              </p:cNvSpPr>
              <p:nvPr/>
            </p:nvSpPr>
            <p:spPr bwMode="auto">
              <a:xfrm>
                <a:off x="4458" y="2320"/>
                <a:ext cx="125" cy="245"/>
              </a:xfrm>
              <a:custGeom>
                <a:avLst/>
                <a:gdLst>
                  <a:gd name="T0" fmla="*/ 0 w 125"/>
                  <a:gd name="T1" fmla="*/ 1 h 490"/>
                  <a:gd name="T2" fmla="*/ 13 w 125"/>
                  <a:gd name="T3" fmla="*/ 1 h 490"/>
                  <a:gd name="T4" fmla="*/ 44 w 125"/>
                  <a:gd name="T5" fmla="*/ 0 h 490"/>
                  <a:gd name="T6" fmla="*/ 57 w 125"/>
                  <a:gd name="T7" fmla="*/ 1 h 490"/>
                  <a:gd name="T8" fmla="*/ 57 w 125"/>
                  <a:gd name="T9" fmla="*/ 1 h 490"/>
                  <a:gd name="T10" fmla="*/ 94 w 125"/>
                  <a:gd name="T11" fmla="*/ 1 h 490"/>
                  <a:gd name="T12" fmla="*/ 113 w 125"/>
                  <a:gd name="T13" fmla="*/ 1 h 490"/>
                  <a:gd name="T14" fmla="*/ 125 w 125"/>
                  <a:gd name="T15" fmla="*/ 1 h 490"/>
                  <a:gd name="T16" fmla="*/ 119 w 125"/>
                  <a:gd name="T17" fmla="*/ 1 h 490"/>
                  <a:gd name="T18" fmla="*/ 88 w 125"/>
                  <a:gd name="T19" fmla="*/ 1 h 490"/>
                  <a:gd name="T20" fmla="*/ 82 w 125"/>
                  <a:gd name="T21" fmla="*/ 1 h 490"/>
                  <a:gd name="T22" fmla="*/ 88 w 125"/>
                  <a:gd name="T23" fmla="*/ 1 h 490"/>
                  <a:gd name="T24" fmla="*/ 44 w 125"/>
                  <a:gd name="T25" fmla="*/ 1 h 490"/>
                  <a:gd name="T26" fmla="*/ 32 w 125"/>
                  <a:gd name="T27" fmla="*/ 1 h 490"/>
                  <a:gd name="T28" fmla="*/ 50 w 125"/>
                  <a:gd name="T29" fmla="*/ 1 h 490"/>
                  <a:gd name="T30" fmla="*/ 75 w 125"/>
                  <a:gd name="T31" fmla="*/ 1 h 490"/>
                  <a:gd name="T32" fmla="*/ 64 w 125"/>
                  <a:gd name="T33" fmla="*/ 1 h 490"/>
                  <a:gd name="T34" fmla="*/ 57 w 125"/>
                  <a:gd name="T35" fmla="*/ 1 h 490"/>
                  <a:gd name="T36" fmla="*/ 44 w 125"/>
                  <a:gd name="T37" fmla="*/ 1 h 490"/>
                  <a:gd name="T38" fmla="*/ 13 w 125"/>
                  <a:gd name="T39" fmla="*/ 1 h 490"/>
                  <a:gd name="T40" fmla="*/ 19 w 125"/>
                  <a:gd name="T41" fmla="*/ 1 h 490"/>
                  <a:gd name="T42" fmla="*/ 38 w 125"/>
                  <a:gd name="T43" fmla="*/ 1 h 490"/>
                  <a:gd name="T44" fmla="*/ 13 w 125"/>
                  <a:gd name="T45" fmla="*/ 1 h 490"/>
                  <a:gd name="T46" fmla="*/ 19 w 125"/>
                  <a:gd name="T47" fmla="*/ 1 h 490"/>
                  <a:gd name="T48" fmla="*/ 0 w 125"/>
                  <a:gd name="T49" fmla="*/ 1 h 49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25" h="490">
                    <a:moveTo>
                      <a:pt x="0" y="77"/>
                    </a:moveTo>
                    <a:lnTo>
                      <a:pt x="13" y="33"/>
                    </a:lnTo>
                    <a:lnTo>
                      <a:pt x="44" y="0"/>
                    </a:lnTo>
                    <a:lnTo>
                      <a:pt x="57" y="33"/>
                    </a:lnTo>
                    <a:lnTo>
                      <a:pt x="57" y="100"/>
                    </a:lnTo>
                    <a:lnTo>
                      <a:pt x="94" y="68"/>
                    </a:lnTo>
                    <a:lnTo>
                      <a:pt x="113" y="100"/>
                    </a:lnTo>
                    <a:lnTo>
                      <a:pt x="125" y="167"/>
                    </a:lnTo>
                    <a:lnTo>
                      <a:pt x="119" y="212"/>
                    </a:lnTo>
                    <a:lnTo>
                      <a:pt x="88" y="200"/>
                    </a:lnTo>
                    <a:lnTo>
                      <a:pt x="82" y="223"/>
                    </a:lnTo>
                    <a:lnTo>
                      <a:pt x="88" y="288"/>
                    </a:lnTo>
                    <a:lnTo>
                      <a:pt x="44" y="235"/>
                    </a:lnTo>
                    <a:lnTo>
                      <a:pt x="32" y="335"/>
                    </a:lnTo>
                    <a:lnTo>
                      <a:pt x="50" y="434"/>
                    </a:lnTo>
                    <a:lnTo>
                      <a:pt x="75" y="467"/>
                    </a:lnTo>
                    <a:lnTo>
                      <a:pt x="64" y="490"/>
                    </a:lnTo>
                    <a:lnTo>
                      <a:pt x="57" y="456"/>
                    </a:lnTo>
                    <a:lnTo>
                      <a:pt x="44" y="456"/>
                    </a:lnTo>
                    <a:lnTo>
                      <a:pt x="13" y="402"/>
                    </a:lnTo>
                    <a:lnTo>
                      <a:pt x="19" y="346"/>
                    </a:lnTo>
                    <a:lnTo>
                      <a:pt x="38" y="288"/>
                    </a:lnTo>
                    <a:lnTo>
                      <a:pt x="13" y="191"/>
                    </a:lnTo>
                    <a:lnTo>
                      <a:pt x="19" y="144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02" name="Freeform 731"/>
              <p:cNvSpPr>
                <a:spLocks/>
              </p:cNvSpPr>
              <p:nvPr/>
            </p:nvSpPr>
            <p:spPr bwMode="auto">
              <a:xfrm>
                <a:off x="4458" y="2320"/>
                <a:ext cx="125" cy="245"/>
              </a:xfrm>
              <a:custGeom>
                <a:avLst/>
                <a:gdLst>
                  <a:gd name="T0" fmla="*/ 0 w 125"/>
                  <a:gd name="T1" fmla="*/ 1 h 490"/>
                  <a:gd name="T2" fmla="*/ 13 w 125"/>
                  <a:gd name="T3" fmla="*/ 1 h 490"/>
                  <a:gd name="T4" fmla="*/ 44 w 125"/>
                  <a:gd name="T5" fmla="*/ 0 h 490"/>
                  <a:gd name="T6" fmla="*/ 57 w 125"/>
                  <a:gd name="T7" fmla="*/ 1 h 490"/>
                  <a:gd name="T8" fmla="*/ 57 w 125"/>
                  <a:gd name="T9" fmla="*/ 1 h 490"/>
                  <a:gd name="T10" fmla="*/ 94 w 125"/>
                  <a:gd name="T11" fmla="*/ 1 h 490"/>
                  <a:gd name="T12" fmla="*/ 113 w 125"/>
                  <a:gd name="T13" fmla="*/ 1 h 490"/>
                  <a:gd name="T14" fmla="*/ 125 w 125"/>
                  <a:gd name="T15" fmla="*/ 1 h 490"/>
                  <a:gd name="T16" fmla="*/ 119 w 125"/>
                  <a:gd name="T17" fmla="*/ 1 h 490"/>
                  <a:gd name="T18" fmla="*/ 88 w 125"/>
                  <a:gd name="T19" fmla="*/ 1 h 490"/>
                  <a:gd name="T20" fmla="*/ 82 w 125"/>
                  <a:gd name="T21" fmla="*/ 1 h 490"/>
                  <a:gd name="T22" fmla="*/ 88 w 125"/>
                  <a:gd name="T23" fmla="*/ 1 h 490"/>
                  <a:gd name="T24" fmla="*/ 44 w 125"/>
                  <a:gd name="T25" fmla="*/ 1 h 490"/>
                  <a:gd name="T26" fmla="*/ 32 w 125"/>
                  <a:gd name="T27" fmla="*/ 1 h 490"/>
                  <a:gd name="T28" fmla="*/ 50 w 125"/>
                  <a:gd name="T29" fmla="*/ 1 h 490"/>
                  <a:gd name="T30" fmla="*/ 75 w 125"/>
                  <a:gd name="T31" fmla="*/ 1 h 490"/>
                  <a:gd name="T32" fmla="*/ 64 w 125"/>
                  <a:gd name="T33" fmla="*/ 1 h 490"/>
                  <a:gd name="T34" fmla="*/ 57 w 125"/>
                  <a:gd name="T35" fmla="*/ 1 h 490"/>
                  <a:gd name="T36" fmla="*/ 44 w 125"/>
                  <a:gd name="T37" fmla="*/ 1 h 490"/>
                  <a:gd name="T38" fmla="*/ 13 w 125"/>
                  <a:gd name="T39" fmla="*/ 1 h 490"/>
                  <a:gd name="T40" fmla="*/ 19 w 125"/>
                  <a:gd name="T41" fmla="*/ 1 h 490"/>
                  <a:gd name="T42" fmla="*/ 38 w 125"/>
                  <a:gd name="T43" fmla="*/ 1 h 490"/>
                  <a:gd name="T44" fmla="*/ 13 w 125"/>
                  <a:gd name="T45" fmla="*/ 1 h 490"/>
                  <a:gd name="T46" fmla="*/ 19 w 125"/>
                  <a:gd name="T47" fmla="*/ 1 h 490"/>
                  <a:gd name="T48" fmla="*/ 0 w 125"/>
                  <a:gd name="T49" fmla="*/ 1 h 49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25" h="490">
                    <a:moveTo>
                      <a:pt x="0" y="77"/>
                    </a:moveTo>
                    <a:lnTo>
                      <a:pt x="13" y="33"/>
                    </a:lnTo>
                    <a:lnTo>
                      <a:pt x="44" y="0"/>
                    </a:lnTo>
                    <a:lnTo>
                      <a:pt x="57" y="33"/>
                    </a:lnTo>
                    <a:lnTo>
                      <a:pt x="57" y="100"/>
                    </a:lnTo>
                    <a:lnTo>
                      <a:pt x="94" y="68"/>
                    </a:lnTo>
                    <a:lnTo>
                      <a:pt x="113" y="100"/>
                    </a:lnTo>
                    <a:lnTo>
                      <a:pt x="125" y="167"/>
                    </a:lnTo>
                    <a:lnTo>
                      <a:pt x="119" y="212"/>
                    </a:lnTo>
                    <a:lnTo>
                      <a:pt x="88" y="200"/>
                    </a:lnTo>
                    <a:lnTo>
                      <a:pt x="82" y="223"/>
                    </a:lnTo>
                    <a:lnTo>
                      <a:pt x="88" y="288"/>
                    </a:lnTo>
                    <a:lnTo>
                      <a:pt x="44" y="235"/>
                    </a:lnTo>
                    <a:lnTo>
                      <a:pt x="32" y="335"/>
                    </a:lnTo>
                    <a:lnTo>
                      <a:pt x="50" y="434"/>
                    </a:lnTo>
                    <a:lnTo>
                      <a:pt x="75" y="467"/>
                    </a:lnTo>
                    <a:lnTo>
                      <a:pt x="64" y="490"/>
                    </a:lnTo>
                    <a:lnTo>
                      <a:pt x="57" y="456"/>
                    </a:lnTo>
                    <a:lnTo>
                      <a:pt x="44" y="456"/>
                    </a:lnTo>
                    <a:lnTo>
                      <a:pt x="13" y="402"/>
                    </a:lnTo>
                    <a:lnTo>
                      <a:pt x="19" y="346"/>
                    </a:lnTo>
                    <a:lnTo>
                      <a:pt x="38" y="288"/>
                    </a:lnTo>
                    <a:lnTo>
                      <a:pt x="13" y="191"/>
                    </a:lnTo>
                    <a:lnTo>
                      <a:pt x="19" y="144"/>
                    </a:lnTo>
                    <a:lnTo>
                      <a:pt x="0" y="77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00" name="Freeform 732"/>
            <p:cNvSpPr>
              <a:spLocks/>
            </p:cNvSpPr>
            <p:nvPr>
              <p:custDataLst>
                <p:tags r:id="rId594"/>
              </p:custDataLst>
            </p:nvPr>
          </p:nvSpPr>
          <p:spPr bwMode="auto">
            <a:xfrm>
              <a:off x="6628061" y="3971925"/>
              <a:ext cx="182562" cy="388938"/>
            </a:xfrm>
            <a:custGeom>
              <a:avLst/>
              <a:gdLst>
                <a:gd name="T0" fmla="*/ 0 w 125"/>
                <a:gd name="T1" fmla="*/ 2147483647 h 490"/>
                <a:gd name="T2" fmla="*/ 2147483647 w 125"/>
                <a:gd name="T3" fmla="*/ 2147483647 h 490"/>
                <a:gd name="T4" fmla="*/ 2147483647 w 125"/>
                <a:gd name="T5" fmla="*/ 0 h 490"/>
                <a:gd name="T6" fmla="*/ 2147483647 w 125"/>
                <a:gd name="T7" fmla="*/ 2147483647 h 490"/>
                <a:gd name="T8" fmla="*/ 2147483647 w 125"/>
                <a:gd name="T9" fmla="*/ 2147483647 h 490"/>
                <a:gd name="T10" fmla="*/ 2147483647 w 125"/>
                <a:gd name="T11" fmla="*/ 2147483647 h 490"/>
                <a:gd name="T12" fmla="*/ 2147483647 w 125"/>
                <a:gd name="T13" fmla="*/ 2147483647 h 490"/>
                <a:gd name="T14" fmla="*/ 2147483647 w 125"/>
                <a:gd name="T15" fmla="*/ 2147483647 h 490"/>
                <a:gd name="T16" fmla="*/ 2147483647 w 125"/>
                <a:gd name="T17" fmla="*/ 2147483647 h 490"/>
                <a:gd name="T18" fmla="*/ 2147483647 w 125"/>
                <a:gd name="T19" fmla="*/ 2147483647 h 490"/>
                <a:gd name="T20" fmla="*/ 2147483647 w 125"/>
                <a:gd name="T21" fmla="*/ 2147483647 h 490"/>
                <a:gd name="T22" fmla="*/ 2147483647 w 125"/>
                <a:gd name="T23" fmla="*/ 2147483647 h 490"/>
                <a:gd name="T24" fmla="*/ 2147483647 w 125"/>
                <a:gd name="T25" fmla="*/ 2147483647 h 490"/>
                <a:gd name="T26" fmla="*/ 2147483647 w 125"/>
                <a:gd name="T27" fmla="*/ 2147483647 h 490"/>
                <a:gd name="T28" fmla="*/ 2147483647 w 125"/>
                <a:gd name="T29" fmla="*/ 2147483647 h 490"/>
                <a:gd name="T30" fmla="*/ 2147483647 w 125"/>
                <a:gd name="T31" fmla="*/ 2147483647 h 490"/>
                <a:gd name="T32" fmla="*/ 2147483647 w 125"/>
                <a:gd name="T33" fmla="*/ 2147483647 h 490"/>
                <a:gd name="T34" fmla="*/ 2147483647 w 125"/>
                <a:gd name="T35" fmla="*/ 2147483647 h 490"/>
                <a:gd name="T36" fmla="*/ 2147483647 w 125"/>
                <a:gd name="T37" fmla="*/ 2147483647 h 490"/>
                <a:gd name="T38" fmla="*/ 2147483647 w 125"/>
                <a:gd name="T39" fmla="*/ 2147483647 h 490"/>
                <a:gd name="T40" fmla="*/ 2147483647 w 125"/>
                <a:gd name="T41" fmla="*/ 2147483647 h 490"/>
                <a:gd name="T42" fmla="*/ 2147483647 w 125"/>
                <a:gd name="T43" fmla="*/ 2147483647 h 490"/>
                <a:gd name="T44" fmla="*/ 2147483647 w 125"/>
                <a:gd name="T45" fmla="*/ 2147483647 h 490"/>
                <a:gd name="T46" fmla="*/ 2147483647 w 125"/>
                <a:gd name="T47" fmla="*/ 2147483647 h 490"/>
                <a:gd name="T48" fmla="*/ 0 w 125"/>
                <a:gd name="T49" fmla="*/ 2147483647 h 49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25" h="490">
                  <a:moveTo>
                    <a:pt x="0" y="77"/>
                  </a:moveTo>
                  <a:lnTo>
                    <a:pt x="13" y="33"/>
                  </a:lnTo>
                  <a:lnTo>
                    <a:pt x="44" y="0"/>
                  </a:lnTo>
                  <a:lnTo>
                    <a:pt x="57" y="33"/>
                  </a:lnTo>
                  <a:lnTo>
                    <a:pt x="57" y="100"/>
                  </a:lnTo>
                  <a:lnTo>
                    <a:pt x="94" y="68"/>
                  </a:lnTo>
                  <a:lnTo>
                    <a:pt x="113" y="100"/>
                  </a:lnTo>
                  <a:lnTo>
                    <a:pt x="125" y="167"/>
                  </a:lnTo>
                  <a:lnTo>
                    <a:pt x="119" y="212"/>
                  </a:lnTo>
                  <a:lnTo>
                    <a:pt x="88" y="200"/>
                  </a:lnTo>
                  <a:lnTo>
                    <a:pt x="82" y="223"/>
                  </a:lnTo>
                  <a:lnTo>
                    <a:pt x="88" y="288"/>
                  </a:lnTo>
                  <a:lnTo>
                    <a:pt x="44" y="235"/>
                  </a:lnTo>
                  <a:lnTo>
                    <a:pt x="32" y="335"/>
                  </a:lnTo>
                  <a:lnTo>
                    <a:pt x="50" y="434"/>
                  </a:lnTo>
                  <a:lnTo>
                    <a:pt x="75" y="467"/>
                  </a:lnTo>
                  <a:lnTo>
                    <a:pt x="64" y="490"/>
                  </a:lnTo>
                  <a:lnTo>
                    <a:pt x="57" y="456"/>
                  </a:lnTo>
                  <a:lnTo>
                    <a:pt x="44" y="456"/>
                  </a:lnTo>
                  <a:lnTo>
                    <a:pt x="13" y="402"/>
                  </a:lnTo>
                  <a:lnTo>
                    <a:pt x="19" y="346"/>
                  </a:lnTo>
                  <a:lnTo>
                    <a:pt x="38" y="288"/>
                  </a:lnTo>
                  <a:lnTo>
                    <a:pt x="13" y="191"/>
                  </a:lnTo>
                  <a:lnTo>
                    <a:pt x="19" y="144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01" name="Group 733"/>
            <p:cNvGrpSpPr>
              <a:grpSpLocks/>
            </p:cNvGrpSpPr>
            <p:nvPr>
              <p:custDataLst>
                <p:tags r:id="rId595"/>
              </p:custDataLst>
            </p:nvPr>
          </p:nvGrpSpPr>
          <p:grpSpPr bwMode="auto">
            <a:xfrm>
              <a:off x="6628061" y="3971925"/>
              <a:ext cx="182562" cy="388938"/>
              <a:chOff x="4458" y="2320"/>
              <a:chExt cx="125" cy="245"/>
            </a:xfrm>
            <a:solidFill>
              <a:srgbClr val="FFC000"/>
            </a:solidFill>
          </p:grpSpPr>
          <p:sp>
            <p:nvSpPr>
              <p:cNvPr id="999" name="Freeform 734"/>
              <p:cNvSpPr>
                <a:spLocks/>
              </p:cNvSpPr>
              <p:nvPr/>
            </p:nvSpPr>
            <p:spPr bwMode="auto">
              <a:xfrm>
                <a:off x="4458" y="2320"/>
                <a:ext cx="125" cy="245"/>
              </a:xfrm>
              <a:custGeom>
                <a:avLst/>
                <a:gdLst>
                  <a:gd name="T0" fmla="*/ 0 w 125"/>
                  <a:gd name="T1" fmla="*/ 1 h 490"/>
                  <a:gd name="T2" fmla="*/ 13 w 125"/>
                  <a:gd name="T3" fmla="*/ 1 h 490"/>
                  <a:gd name="T4" fmla="*/ 44 w 125"/>
                  <a:gd name="T5" fmla="*/ 0 h 490"/>
                  <a:gd name="T6" fmla="*/ 57 w 125"/>
                  <a:gd name="T7" fmla="*/ 1 h 490"/>
                  <a:gd name="T8" fmla="*/ 57 w 125"/>
                  <a:gd name="T9" fmla="*/ 1 h 490"/>
                  <a:gd name="T10" fmla="*/ 94 w 125"/>
                  <a:gd name="T11" fmla="*/ 1 h 490"/>
                  <a:gd name="T12" fmla="*/ 113 w 125"/>
                  <a:gd name="T13" fmla="*/ 1 h 490"/>
                  <a:gd name="T14" fmla="*/ 125 w 125"/>
                  <a:gd name="T15" fmla="*/ 1 h 490"/>
                  <a:gd name="T16" fmla="*/ 119 w 125"/>
                  <a:gd name="T17" fmla="*/ 1 h 490"/>
                  <a:gd name="T18" fmla="*/ 88 w 125"/>
                  <a:gd name="T19" fmla="*/ 1 h 490"/>
                  <a:gd name="T20" fmla="*/ 82 w 125"/>
                  <a:gd name="T21" fmla="*/ 1 h 490"/>
                  <a:gd name="T22" fmla="*/ 88 w 125"/>
                  <a:gd name="T23" fmla="*/ 1 h 490"/>
                  <a:gd name="T24" fmla="*/ 44 w 125"/>
                  <a:gd name="T25" fmla="*/ 1 h 490"/>
                  <a:gd name="T26" fmla="*/ 32 w 125"/>
                  <a:gd name="T27" fmla="*/ 1 h 490"/>
                  <a:gd name="T28" fmla="*/ 50 w 125"/>
                  <a:gd name="T29" fmla="*/ 1 h 490"/>
                  <a:gd name="T30" fmla="*/ 75 w 125"/>
                  <a:gd name="T31" fmla="*/ 1 h 490"/>
                  <a:gd name="T32" fmla="*/ 64 w 125"/>
                  <a:gd name="T33" fmla="*/ 1 h 490"/>
                  <a:gd name="T34" fmla="*/ 57 w 125"/>
                  <a:gd name="T35" fmla="*/ 1 h 490"/>
                  <a:gd name="T36" fmla="*/ 44 w 125"/>
                  <a:gd name="T37" fmla="*/ 1 h 490"/>
                  <a:gd name="T38" fmla="*/ 13 w 125"/>
                  <a:gd name="T39" fmla="*/ 1 h 490"/>
                  <a:gd name="T40" fmla="*/ 19 w 125"/>
                  <a:gd name="T41" fmla="*/ 1 h 490"/>
                  <a:gd name="T42" fmla="*/ 38 w 125"/>
                  <a:gd name="T43" fmla="*/ 1 h 490"/>
                  <a:gd name="T44" fmla="*/ 13 w 125"/>
                  <a:gd name="T45" fmla="*/ 1 h 490"/>
                  <a:gd name="T46" fmla="*/ 19 w 125"/>
                  <a:gd name="T47" fmla="*/ 1 h 490"/>
                  <a:gd name="T48" fmla="*/ 0 w 125"/>
                  <a:gd name="T49" fmla="*/ 1 h 49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25" h="490">
                    <a:moveTo>
                      <a:pt x="0" y="77"/>
                    </a:moveTo>
                    <a:lnTo>
                      <a:pt x="13" y="33"/>
                    </a:lnTo>
                    <a:lnTo>
                      <a:pt x="44" y="0"/>
                    </a:lnTo>
                    <a:lnTo>
                      <a:pt x="57" y="33"/>
                    </a:lnTo>
                    <a:lnTo>
                      <a:pt x="57" y="100"/>
                    </a:lnTo>
                    <a:lnTo>
                      <a:pt x="94" y="68"/>
                    </a:lnTo>
                    <a:lnTo>
                      <a:pt x="113" y="100"/>
                    </a:lnTo>
                    <a:lnTo>
                      <a:pt x="125" y="167"/>
                    </a:lnTo>
                    <a:lnTo>
                      <a:pt x="119" y="212"/>
                    </a:lnTo>
                    <a:lnTo>
                      <a:pt x="88" y="200"/>
                    </a:lnTo>
                    <a:lnTo>
                      <a:pt x="82" y="223"/>
                    </a:lnTo>
                    <a:lnTo>
                      <a:pt x="88" y="288"/>
                    </a:lnTo>
                    <a:lnTo>
                      <a:pt x="44" y="235"/>
                    </a:lnTo>
                    <a:lnTo>
                      <a:pt x="32" y="335"/>
                    </a:lnTo>
                    <a:lnTo>
                      <a:pt x="50" y="434"/>
                    </a:lnTo>
                    <a:lnTo>
                      <a:pt x="75" y="467"/>
                    </a:lnTo>
                    <a:lnTo>
                      <a:pt x="64" y="490"/>
                    </a:lnTo>
                    <a:lnTo>
                      <a:pt x="57" y="456"/>
                    </a:lnTo>
                    <a:lnTo>
                      <a:pt x="44" y="456"/>
                    </a:lnTo>
                    <a:lnTo>
                      <a:pt x="13" y="402"/>
                    </a:lnTo>
                    <a:lnTo>
                      <a:pt x="19" y="346"/>
                    </a:lnTo>
                    <a:lnTo>
                      <a:pt x="38" y="288"/>
                    </a:lnTo>
                    <a:lnTo>
                      <a:pt x="13" y="191"/>
                    </a:lnTo>
                    <a:lnTo>
                      <a:pt x="19" y="144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000" name="Freeform 735"/>
              <p:cNvSpPr>
                <a:spLocks/>
              </p:cNvSpPr>
              <p:nvPr/>
            </p:nvSpPr>
            <p:spPr bwMode="auto">
              <a:xfrm>
                <a:off x="4458" y="2320"/>
                <a:ext cx="125" cy="245"/>
              </a:xfrm>
              <a:custGeom>
                <a:avLst/>
                <a:gdLst>
                  <a:gd name="T0" fmla="*/ 0 w 125"/>
                  <a:gd name="T1" fmla="*/ 1 h 490"/>
                  <a:gd name="T2" fmla="*/ 13 w 125"/>
                  <a:gd name="T3" fmla="*/ 1 h 490"/>
                  <a:gd name="T4" fmla="*/ 44 w 125"/>
                  <a:gd name="T5" fmla="*/ 0 h 490"/>
                  <a:gd name="T6" fmla="*/ 57 w 125"/>
                  <a:gd name="T7" fmla="*/ 1 h 490"/>
                  <a:gd name="T8" fmla="*/ 57 w 125"/>
                  <a:gd name="T9" fmla="*/ 1 h 490"/>
                  <a:gd name="T10" fmla="*/ 94 w 125"/>
                  <a:gd name="T11" fmla="*/ 1 h 490"/>
                  <a:gd name="T12" fmla="*/ 113 w 125"/>
                  <a:gd name="T13" fmla="*/ 1 h 490"/>
                  <a:gd name="T14" fmla="*/ 125 w 125"/>
                  <a:gd name="T15" fmla="*/ 1 h 490"/>
                  <a:gd name="T16" fmla="*/ 119 w 125"/>
                  <a:gd name="T17" fmla="*/ 1 h 490"/>
                  <a:gd name="T18" fmla="*/ 88 w 125"/>
                  <a:gd name="T19" fmla="*/ 1 h 490"/>
                  <a:gd name="T20" fmla="*/ 82 w 125"/>
                  <a:gd name="T21" fmla="*/ 1 h 490"/>
                  <a:gd name="T22" fmla="*/ 88 w 125"/>
                  <a:gd name="T23" fmla="*/ 1 h 490"/>
                  <a:gd name="T24" fmla="*/ 44 w 125"/>
                  <a:gd name="T25" fmla="*/ 1 h 490"/>
                  <a:gd name="T26" fmla="*/ 32 w 125"/>
                  <a:gd name="T27" fmla="*/ 1 h 490"/>
                  <a:gd name="T28" fmla="*/ 50 w 125"/>
                  <a:gd name="T29" fmla="*/ 1 h 490"/>
                  <a:gd name="T30" fmla="*/ 75 w 125"/>
                  <a:gd name="T31" fmla="*/ 1 h 490"/>
                  <a:gd name="T32" fmla="*/ 64 w 125"/>
                  <a:gd name="T33" fmla="*/ 1 h 490"/>
                  <a:gd name="T34" fmla="*/ 57 w 125"/>
                  <a:gd name="T35" fmla="*/ 1 h 490"/>
                  <a:gd name="T36" fmla="*/ 44 w 125"/>
                  <a:gd name="T37" fmla="*/ 1 h 490"/>
                  <a:gd name="T38" fmla="*/ 13 w 125"/>
                  <a:gd name="T39" fmla="*/ 1 h 490"/>
                  <a:gd name="T40" fmla="*/ 19 w 125"/>
                  <a:gd name="T41" fmla="*/ 1 h 490"/>
                  <a:gd name="T42" fmla="*/ 38 w 125"/>
                  <a:gd name="T43" fmla="*/ 1 h 490"/>
                  <a:gd name="T44" fmla="*/ 13 w 125"/>
                  <a:gd name="T45" fmla="*/ 1 h 490"/>
                  <a:gd name="T46" fmla="*/ 19 w 125"/>
                  <a:gd name="T47" fmla="*/ 1 h 490"/>
                  <a:gd name="T48" fmla="*/ 0 w 125"/>
                  <a:gd name="T49" fmla="*/ 1 h 49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25" h="490">
                    <a:moveTo>
                      <a:pt x="0" y="77"/>
                    </a:moveTo>
                    <a:lnTo>
                      <a:pt x="13" y="33"/>
                    </a:lnTo>
                    <a:lnTo>
                      <a:pt x="44" y="0"/>
                    </a:lnTo>
                    <a:lnTo>
                      <a:pt x="57" y="33"/>
                    </a:lnTo>
                    <a:lnTo>
                      <a:pt x="57" y="100"/>
                    </a:lnTo>
                    <a:lnTo>
                      <a:pt x="94" y="68"/>
                    </a:lnTo>
                    <a:lnTo>
                      <a:pt x="113" y="100"/>
                    </a:lnTo>
                    <a:lnTo>
                      <a:pt x="125" y="167"/>
                    </a:lnTo>
                    <a:lnTo>
                      <a:pt x="119" y="212"/>
                    </a:lnTo>
                    <a:lnTo>
                      <a:pt x="88" y="200"/>
                    </a:lnTo>
                    <a:lnTo>
                      <a:pt x="82" y="223"/>
                    </a:lnTo>
                    <a:lnTo>
                      <a:pt x="88" y="288"/>
                    </a:lnTo>
                    <a:lnTo>
                      <a:pt x="44" y="235"/>
                    </a:lnTo>
                    <a:lnTo>
                      <a:pt x="32" y="335"/>
                    </a:lnTo>
                    <a:lnTo>
                      <a:pt x="50" y="434"/>
                    </a:lnTo>
                    <a:lnTo>
                      <a:pt x="75" y="467"/>
                    </a:lnTo>
                    <a:lnTo>
                      <a:pt x="64" y="490"/>
                    </a:lnTo>
                    <a:lnTo>
                      <a:pt x="57" y="456"/>
                    </a:lnTo>
                    <a:lnTo>
                      <a:pt x="44" y="456"/>
                    </a:lnTo>
                    <a:lnTo>
                      <a:pt x="13" y="402"/>
                    </a:lnTo>
                    <a:lnTo>
                      <a:pt x="19" y="346"/>
                    </a:lnTo>
                    <a:lnTo>
                      <a:pt x="38" y="288"/>
                    </a:lnTo>
                    <a:lnTo>
                      <a:pt x="13" y="191"/>
                    </a:lnTo>
                    <a:lnTo>
                      <a:pt x="19" y="144"/>
                    </a:lnTo>
                    <a:lnTo>
                      <a:pt x="0" y="77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02" name="Freeform 736"/>
            <p:cNvSpPr>
              <a:spLocks/>
            </p:cNvSpPr>
            <p:nvPr>
              <p:custDataLst>
                <p:tags r:id="rId596"/>
              </p:custDataLst>
            </p:nvPr>
          </p:nvSpPr>
          <p:spPr bwMode="auto">
            <a:xfrm>
              <a:off x="2806948" y="4225925"/>
              <a:ext cx="25400" cy="26988"/>
            </a:xfrm>
            <a:custGeom>
              <a:avLst/>
              <a:gdLst>
                <a:gd name="T0" fmla="*/ 0 w 18"/>
                <a:gd name="T1" fmla="*/ 2147483647 h 35"/>
                <a:gd name="T2" fmla="*/ 2147483647 w 18"/>
                <a:gd name="T3" fmla="*/ 2147483647 h 35"/>
                <a:gd name="T4" fmla="*/ 2147483647 w 18"/>
                <a:gd name="T5" fmla="*/ 0 h 35"/>
                <a:gd name="T6" fmla="*/ 0 w 18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5">
                  <a:moveTo>
                    <a:pt x="0" y="35"/>
                  </a:moveTo>
                  <a:lnTo>
                    <a:pt x="18" y="23"/>
                  </a:lnTo>
                  <a:lnTo>
                    <a:pt x="18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03" name="Freeform 737"/>
            <p:cNvSpPr>
              <a:spLocks/>
            </p:cNvSpPr>
            <p:nvPr>
              <p:custDataLst>
                <p:tags r:id="rId597"/>
              </p:custDataLst>
            </p:nvPr>
          </p:nvSpPr>
          <p:spPr bwMode="auto">
            <a:xfrm>
              <a:off x="2806948" y="4225925"/>
              <a:ext cx="25400" cy="26988"/>
            </a:xfrm>
            <a:custGeom>
              <a:avLst/>
              <a:gdLst>
                <a:gd name="T0" fmla="*/ 0 w 18"/>
                <a:gd name="T1" fmla="*/ 2147483647 h 35"/>
                <a:gd name="T2" fmla="*/ 2147483647 w 18"/>
                <a:gd name="T3" fmla="*/ 2147483647 h 35"/>
                <a:gd name="T4" fmla="*/ 2147483647 w 18"/>
                <a:gd name="T5" fmla="*/ 0 h 35"/>
                <a:gd name="T6" fmla="*/ 0 w 18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5">
                  <a:moveTo>
                    <a:pt x="0" y="35"/>
                  </a:moveTo>
                  <a:lnTo>
                    <a:pt x="18" y="23"/>
                  </a:lnTo>
                  <a:lnTo>
                    <a:pt x="18" y="0"/>
                  </a:lnTo>
                  <a:lnTo>
                    <a:pt x="0" y="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04" name="Freeform 738"/>
            <p:cNvSpPr>
              <a:spLocks/>
            </p:cNvSpPr>
            <p:nvPr>
              <p:custDataLst>
                <p:tags r:id="rId598"/>
              </p:custDataLst>
            </p:nvPr>
          </p:nvSpPr>
          <p:spPr bwMode="auto">
            <a:xfrm>
              <a:off x="2806948" y="4225925"/>
              <a:ext cx="25400" cy="26988"/>
            </a:xfrm>
            <a:custGeom>
              <a:avLst/>
              <a:gdLst>
                <a:gd name="T0" fmla="*/ 0 w 18"/>
                <a:gd name="T1" fmla="*/ 2147483647 h 35"/>
                <a:gd name="T2" fmla="*/ 2147483647 w 18"/>
                <a:gd name="T3" fmla="*/ 2147483647 h 35"/>
                <a:gd name="T4" fmla="*/ 2147483647 w 18"/>
                <a:gd name="T5" fmla="*/ 0 h 35"/>
                <a:gd name="T6" fmla="*/ 0 w 18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5">
                  <a:moveTo>
                    <a:pt x="0" y="35"/>
                  </a:moveTo>
                  <a:lnTo>
                    <a:pt x="18" y="23"/>
                  </a:lnTo>
                  <a:lnTo>
                    <a:pt x="18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05" name="Freeform 739"/>
            <p:cNvSpPr>
              <a:spLocks/>
            </p:cNvSpPr>
            <p:nvPr>
              <p:custDataLst>
                <p:tags r:id="rId599"/>
              </p:custDataLst>
            </p:nvPr>
          </p:nvSpPr>
          <p:spPr bwMode="auto">
            <a:xfrm>
              <a:off x="2806948" y="4225925"/>
              <a:ext cx="25400" cy="26988"/>
            </a:xfrm>
            <a:custGeom>
              <a:avLst/>
              <a:gdLst>
                <a:gd name="T0" fmla="*/ 0 w 18"/>
                <a:gd name="T1" fmla="*/ 2147483647 h 35"/>
                <a:gd name="T2" fmla="*/ 2147483647 w 18"/>
                <a:gd name="T3" fmla="*/ 2147483647 h 35"/>
                <a:gd name="T4" fmla="*/ 2147483647 w 18"/>
                <a:gd name="T5" fmla="*/ 0 h 35"/>
                <a:gd name="T6" fmla="*/ 0 w 18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5">
                  <a:moveTo>
                    <a:pt x="0" y="35"/>
                  </a:moveTo>
                  <a:lnTo>
                    <a:pt x="18" y="23"/>
                  </a:lnTo>
                  <a:lnTo>
                    <a:pt x="18" y="0"/>
                  </a:lnTo>
                  <a:lnTo>
                    <a:pt x="0" y="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06" name="Freeform 740"/>
            <p:cNvSpPr>
              <a:spLocks/>
            </p:cNvSpPr>
            <p:nvPr>
              <p:custDataLst>
                <p:tags r:id="rId600"/>
              </p:custDataLst>
            </p:nvPr>
          </p:nvSpPr>
          <p:spPr bwMode="auto">
            <a:xfrm>
              <a:off x="5573961" y="3821113"/>
              <a:ext cx="119062" cy="87312"/>
            </a:xfrm>
            <a:custGeom>
              <a:avLst/>
              <a:gdLst>
                <a:gd name="T0" fmla="*/ 0 w 81"/>
                <a:gd name="T1" fmla="*/ 2147483647 h 112"/>
                <a:gd name="T2" fmla="*/ 2147483647 w 81"/>
                <a:gd name="T3" fmla="*/ 2147483647 h 112"/>
                <a:gd name="T4" fmla="*/ 2147483647 w 81"/>
                <a:gd name="T5" fmla="*/ 2147483647 h 112"/>
                <a:gd name="T6" fmla="*/ 2147483647 w 81"/>
                <a:gd name="T7" fmla="*/ 2147483647 h 112"/>
                <a:gd name="T8" fmla="*/ 2147483647 w 81"/>
                <a:gd name="T9" fmla="*/ 0 h 112"/>
                <a:gd name="T10" fmla="*/ 2147483647 w 81"/>
                <a:gd name="T11" fmla="*/ 2147483647 h 112"/>
                <a:gd name="T12" fmla="*/ 2147483647 w 81"/>
                <a:gd name="T13" fmla="*/ 2147483647 h 112"/>
                <a:gd name="T14" fmla="*/ 2147483647 w 81"/>
                <a:gd name="T15" fmla="*/ 2147483647 h 112"/>
                <a:gd name="T16" fmla="*/ 2147483647 w 81"/>
                <a:gd name="T17" fmla="*/ 2147483647 h 112"/>
                <a:gd name="T18" fmla="*/ 2147483647 w 81"/>
                <a:gd name="T19" fmla="*/ 2147483647 h 112"/>
                <a:gd name="T20" fmla="*/ 0 w 81"/>
                <a:gd name="T21" fmla="*/ 2147483647 h 1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12">
                  <a:moveTo>
                    <a:pt x="0" y="54"/>
                  </a:moveTo>
                  <a:lnTo>
                    <a:pt x="7" y="54"/>
                  </a:lnTo>
                  <a:lnTo>
                    <a:pt x="13" y="67"/>
                  </a:lnTo>
                  <a:lnTo>
                    <a:pt x="44" y="67"/>
                  </a:lnTo>
                  <a:lnTo>
                    <a:pt x="76" y="0"/>
                  </a:lnTo>
                  <a:lnTo>
                    <a:pt x="81" y="44"/>
                  </a:lnTo>
                  <a:lnTo>
                    <a:pt x="69" y="44"/>
                  </a:lnTo>
                  <a:lnTo>
                    <a:pt x="76" y="67"/>
                  </a:lnTo>
                  <a:lnTo>
                    <a:pt x="63" y="112"/>
                  </a:lnTo>
                  <a:lnTo>
                    <a:pt x="13" y="112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07" name="Freeform 741"/>
            <p:cNvSpPr>
              <a:spLocks/>
            </p:cNvSpPr>
            <p:nvPr>
              <p:custDataLst>
                <p:tags r:id="rId601"/>
              </p:custDataLst>
            </p:nvPr>
          </p:nvSpPr>
          <p:spPr bwMode="auto">
            <a:xfrm>
              <a:off x="5573961" y="3821113"/>
              <a:ext cx="119062" cy="87312"/>
            </a:xfrm>
            <a:custGeom>
              <a:avLst/>
              <a:gdLst>
                <a:gd name="T0" fmla="*/ 0 w 81"/>
                <a:gd name="T1" fmla="*/ 2147483647 h 112"/>
                <a:gd name="T2" fmla="*/ 2147483647 w 81"/>
                <a:gd name="T3" fmla="*/ 2147483647 h 112"/>
                <a:gd name="T4" fmla="*/ 2147483647 w 81"/>
                <a:gd name="T5" fmla="*/ 2147483647 h 112"/>
                <a:gd name="T6" fmla="*/ 2147483647 w 81"/>
                <a:gd name="T7" fmla="*/ 2147483647 h 112"/>
                <a:gd name="T8" fmla="*/ 2147483647 w 81"/>
                <a:gd name="T9" fmla="*/ 0 h 112"/>
                <a:gd name="T10" fmla="*/ 2147483647 w 81"/>
                <a:gd name="T11" fmla="*/ 2147483647 h 112"/>
                <a:gd name="T12" fmla="*/ 2147483647 w 81"/>
                <a:gd name="T13" fmla="*/ 2147483647 h 112"/>
                <a:gd name="T14" fmla="*/ 2147483647 w 81"/>
                <a:gd name="T15" fmla="*/ 2147483647 h 112"/>
                <a:gd name="T16" fmla="*/ 2147483647 w 81"/>
                <a:gd name="T17" fmla="*/ 2147483647 h 112"/>
                <a:gd name="T18" fmla="*/ 2147483647 w 81"/>
                <a:gd name="T19" fmla="*/ 2147483647 h 112"/>
                <a:gd name="T20" fmla="*/ 0 w 81"/>
                <a:gd name="T21" fmla="*/ 2147483647 h 1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12">
                  <a:moveTo>
                    <a:pt x="0" y="54"/>
                  </a:moveTo>
                  <a:lnTo>
                    <a:pt x="7" y="54"/>
                  </a:lnTo>
                  <a:lnTo>
                    <a:pt x="13" y="67"/>
                  </a:lnTo>
                  <a:lnTo>
                    <a:pt x="44" y="67"/>
                  </a:lnTo>
                  <a:lnTo>
                    <a:pt x="76" y="0"/>
                  </a:lnTo>
                  <a:lnTo>
                    <a:pt x="81" y="44"/>
                  </a:lnTo>
                  <a:lnTo>
                    <a:pt x="69" y="44"/>
                  </a:lnTo>
                  <a:lnTo>
                    <a:pt x="76" y="67"/>
                  </a:lnTo>
                  <a:lnTo>
                    <a:pt x="63" y="112"/>
                  </a:lnTo>
                  <a:lnTo>
                    <a:pt x="13" y="112"/>
                  </a:lnTo>
                  <a:lnTo>
                    <a:pt x="0" y="5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08" name="Freeform 742"/>
            <p:cNvSpPr>
              <a:spLocks/>
            </p:cNvSpPr>
            <p:nvPr>
              <p:custDataLst>
                <p:tags r:id="rId602"/>
              </p:custDataLst>
            </p:nvPr>
          </p:nvSpPr>
          <p:spPr bwMode="auto">
            <a:xfrm>
              <a:off x="5573961" y="3821113"/>
              <a:ext cx="119062" cy="87312"/>
            </a:xfrm>
            <a:custGeom>
              <a:avLst/>
              <a:gdLst>
                <a:gd name="T0" fmla="*/ 0 w 81"/>
                <a:gd name="T1" fmla="*/ 2147483647 h 112"/>
                <a:gd name="T2" fmla="*/ 2147483647 w 81"/>
                <a:gd name="T3" fmla="*/ 2147483647 h 112"/>
                <a:gd name="T4" fmla="*/ 2147483647 w 81"/>
                <a:gd name="T5" fmla="*/ 2147483647 h 112"/>
                <a:gd name="T6" fmla="*/ 2147483647 w 81"/>
                <a:gd name="T7" fmla="*/ 2147483647 h 112"/>
                <a:gd name="T8" fmla="*/ 2147483647 w 81"/>
                <a:gd name="T9" fmla="*/ 0 h 112"/>
                <a:gd name="T10" fmla="*/ 2147483647 w 81"/>
                <a:gd name="T11" fmla="*/ 2147483647 h 112"/>
                <a:gd name="T12" fmla="*/ 2147483647 w 81"/>
                <a:gd name="T13" fmla="*/ 2147483647 h 112"/>
                <a:gd name="T14" fmla="*/ 2147483647 w 81"/>
                <a:gd name="T15" fmla="*/ 2147483647 h 112"/>
                <a:gd name="T16" fmla="*/ 2147483647 w 81"/>
                <a:gd name="T17" fmla="*/ 2147483647 h 112"/>
                <a:gd name="T18" fmla="*/ 2147483647 w 81"/>
                <a:gd name="T19" fmla="*/ 2147483647 h 112"/>
                <a:gd name="T20" fmla="*/ 0 w 81"/>
                <a:gd name="T21" fmla="*/ 2147483647 h 1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12">
                  <a:moveTo>
                    <a:pt x="0" y="54"/>
                  </a:moveTo>
                  <a:lnTo>
                    <a:pt x="7" y="54"/>
                  </a:lnTo>
                  <a:lnTo>
                    <a:pt x="13" y="67"/>
                  </a:lnTo>
                  <a:lnTo>
                    <a:pt x="44" y="67"/>
                  </a:lnTo>
                  <a:lnTo>
                    <a:pt x="76" y="0"/>
                  </a:lnTo>
                  <a:lnTo>
                    <a:pt x="81" y="44"/>
                  </a:lnTo>
                  <a:lnTo>
                    <a:pt x="69" y="44"/>
                  </a:lnTo>
                  <a:lnTo>
                    <a:pt x="76" y="67"/>
                  </a:lnTo>
                  <a:lnTo>
                    <a:pt x="63" y="112"/>
                  </a:lnTo>
                  <a:lnTo>
                    <a:pt x="13" y="112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09" name="Freeform 743"/>
            <p:cNvSpPr>
              <a:spLocks/>
            </p:cNvSpPr>
            <p:nvPr>
              <p:custDataLst>
                <p:tags r:id="rId603"/>
              </p:custDataLst>
            </p:nvPr>
          </p:nvSpPr>
          <p:spPr bwMode="auto">
            <a:xfrm>
              <a:off x="5573961" y="3821113"/>
              <a:ext cx="119062" cy="87312"/>
            </a:xfrm>
            <a:custGeom>
              <a:avLst/>
              <a:gdLst>
                <a:gd name="T0" fmla="*/ 0 w 81"/>
                <a:gd name="T1" fmla="*/ 2147483647 h 112"/>
                <a:gd name="T2" fmla="*/ 2147483647 w 81"/>
                <a:gd name="T3" fmla="*/ 2147483647 h 112"/>
                <a:gd name="T4" fmla="*/ 2147483647 w 81"/>
                <a:gd name="T5" fmla="*/ 2147483647 h 112"/>
                <a:gd name="T6" fmla="*/ 2147483647 w 81"/>
                <a:gd name="T7" fmla="*/ 2147483647 h 112"/>
                <a:gd name="T8" fmla="*/ 2147483647 w 81"/>
                <a:gd name="T9" fmla="*/ 0 h 112"/>
                <a:gd name="T10" fmla="*/ 2147483647 w 81"/>
                <a:gd name="T11" fmla="*/ 2147483647 h 112"/>
                <a:gd name="T12" fmla="*/ 2147483647 w 81"/>
                <a:gd name="T13" fmla="*/ 2147483647 h 112"/>
                <a:gd name="T14" fmla="*/ 2147483647 w 81"/>
                <a:gd name="T15" fmla="*/ 2147483647 h 112"/>
                <a:gd name="T16" fmla="*/ 2147483647 w 81"/>
                <a:gd name="T17" fmla="*/ 2147483647 h 112"/>
                <a:gd name="T18" fmla="*/ 2147483647 w 81"/>
                <a:gd name="T19" fmla="*/ 2147483647 h 112"/>
                <a:gd name="T20" fmla="*/ 0 w 81"/>
                <a:gd name="T21" fmla="*/ 2147483647 h 1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12">
                  <a:moveTo>
                    <a:pt x="0" y="54"/>
                  </a:moveTo>
                  <a:lnTo>
                    <a:pt x="7" y="54"/>
                  </a:lnTo>
                  <a:lnTo>
                    <a:pt x="13" y="67"/>
                  </a:lnTo>
                  <a:lnTo>
                    <a:pt x="44" y="67"/>
                  </a:lnTo>
                  <a:lnTo>
                    <a:pt x="76" y="0"/>
                  </a:lnTo>
                  <a:lnTo>
                    <a:pt x="81" y="44"/>
                  </a:lnTo>
                  <a:lnTo>
                    <a:pt x="69" y="44"/>
                  </a:lnTo>
                  <a:lnTo>
                    <a:pt x="76" y="67"/>
                  </a:lnTo>
                  <a:lnTo>
                    <a:pt x="63" y="112"/>
                  </a:lnTo>
                  <a:lnTo>
                    <a:pt x="13" y="112"/>
                  </a:lnTo>
                  <a:lnTo>
                    <a:pt x="0" y="5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10" name="Freeform 744"/>
            <p:cNvSpPr>
              <a:spLocks/>
            </p:cNvSpPr>
            <p:nvPr>
              <p:custDataLst>
                <p:tags r:id="rId604"/>
              </p:custDataLst>
            </p:nvPr>
          </p:nvSpPr>
          <p:spPr bwMode="auto">
            <a:xfrm>
              <a:off x="4575423" y="3519488"/>
              <a:ext cx="92075" cy="187325"/>
            </a:xfrm>
            <a:custGeom>
              <a:avLst/>
              <a:gdLst>
                <a:gd name="T0" fmla="*/ 0 w 63"/>
                <a:gd name="T1" fmla="*/ 2147483647 h 234"/>
                <a:gd name="T2" fmla="*/ 2147483647 w 63"/>
                <a:gd name="T3" fmla="*/ 2147483647 h 234"/>
                <a:gd name="T4" fmla="*/ 2147483647 w 63"/>
                <a:gd name="T5" fmla="*/ 0 h 234"/>
                <a:gd name="T6" fmla="*/ 2147483647 w 63"/>
                <a:gd name="T7" fmla="*/ 0 h 234"/>
                <a:gd name="T8" fmla="*/ 2147483647 w 63"/>
                <a:gd name="T9" fmla="*/ 2147483647 h 234"/>
                <a:gd name="T10" fmla="*/ 2147483647 w 63"/>
                <a:gd name="T11" fmla="*/ 2147483647 h 234"/>
                <a:gd name="T12" fmla="*/ 2147483647 w 63"/>
                <a:gd name="T13" fmla="*/ 2147483647 h 234"/>
                <a:gd name="T14" fmla="*/ 2147483647 w 63"/>
                <a:gd name="T15" fmla="*/ 2147483647 h 234"/>
                <a:gd name="T16" fmla="*/ 2147483647 w 63"/>
                <a:gd name="T17" fmla="*/ 2147483647 h 234"/>
                <a:gd name="T18" fmla="*/ 2147483647 w 63"/>
                <a:gd name="T19" fmla="*/ 2147483647 h 234"/>
                <a:gd name="T20" fmla="*/ 0 w 63"/>
                <a:gd name="T21" fmla="*/ 2147483647 h 2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3" h="234">
                  <a:moveTo>
                    <a:pt x="0" y="111"/>
                  </a:moveTo>
                  <a:lnTo>
                    <a:pt x="13" y="88"/>
                  </a:lnTo>
                  <a:lnTo>
                    <a:pt x="19" y="0"/>
                  </a:lnTo>
                  <a:lnTo>
                    <a:pt x="56" y="0"/>
                  </a:lnTo>
                  <a:lnTo>
                    <a:pt x="50" y="23"/>
                  </a:lnTo>
                  <a:lnTo>
                    <a:pt x="56" y="67"/>
                  </a:lnTo>
                  <a:lnTo>
                    <a:pt x="38" y="111"/>
                  </a:lnTo>
                  <a:lnTo>
                    <a:pt x="63" y="132"/>
                  </a:lnTo>
                  <a:lnTo>
                    <a:pt x="32" y="234"/>
                  </a:lnTo>
                  <a:lnTo>
                    <a:pt x="26" y="177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11" name="Freeform 745"/>
            <p:cNvSpPr>
              <a:spLocks/>
            </p:cNvSpPr>
            <p:nvPr>
              <p:custDataLst>
                <p:tags r:id="rId605"/>
              </p:custDataLst>
            </p:nvPr>
          </p:nvSpPr>
          <p:spPr bwMode="auto">
            <a:xfrm>
              <a:off x="4575423" y="3519488"/>
              <a:ext cx="92075" cy="187325"/>
            </a:xfrm>
            <a:custGeom>
              <a:avLst/>
              <a:gdLst>
                <a:gd name="T0" fmla="*/ 0 w 63"/>
                <a:gd name="T1" fmla="*/ 2147483647 h 234"/>
                <a:gd name="T2" fmla="*/ 2147483647 w 63"/>
                <a:gd name="T3" fmla="*/ 2147483647 h 234"/>
                <a:gd name="T4" fmla="*/ 2147483647 w 63"/>
                <a:gd name="T5" fmla="*/ 0 h 234"/>
                <a:gd name="T6" fmla="*/ 2147483647 w 63"/>
                <a:gd name="T7" fmla="*/ 0 h 234"/>
                <a:gd name="T8" fmla="*/ 2147483647 w 63"/>
                <a:gd name="T9" fmla="*/ 2147483647 h 234"/>
                <a:gd name="T10" fmla="*/ 2147483647 w 63"/>
                <a:gd name="T11" fmla="*/ 2147483647 h 234"/>
                <a:gd name="T12" fmla="*/ 2147483647 w 63"/>
                <a:gd name="T13" fmla="*/ 2147483647 h 234"/>
                <a:gd name="T14" fmla="*/ 2147483647 w 63"/>
                <a:gd name="T15" fmla="*/ 2147483647 h 234"/>
                <a:gd name="T16" fmla="*/ 2147483647 w 63"/>
                <a:gd name="T17" fmla="*/ 2147483647 h 234"/>
                <a:gd name="T18" fmla="*/ 2147483647 w 63"/>
                <a:gd name="T19" fmla="*/ 2147483647 h 234"/>
                <a:gd name="T20" fmla="*/ 0 w 63"/>
                <a:gd name="T21" fmla="*/ 2147483647 h 2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3" h="234">
                  <a:moveTo>
                    <a:pt x="0" y="111"/>
                  </a:moveTo>
                  <a:lnTo>
                    <a:pt x="13" y="88"/>
                  </a:lnTo>
                  <a:lnTo>
                    <a:pt x="19" y="0"/>
                  </a:lnTo>
                  <a:lnTo>
                    <a:pt x="56" y="0"/>
                  </a:lnTo>
                  <a:lnTo>
                    <a:pt x="50" y="23"/>
                  </a:lnTo>
                  <a:lnTo>
                    <a:pt x="56" y="67"/>
                  </a:lnTo>
                  <a:lnTo>
                    <a:pt x="38" y="111"/>
                  </a:lnTo>
                  <a:lnTo>
                    <a:pt x="63" y="132"/>
                  </a:lnTo>
                  <a:lnTo>
                    <a:pt x="32" y="234"/>
                  </a:lnTo>
                  <a:lnTo>
                    <a:pt x="26" y="177"/>
                  </a:lnTo>
                  <a:lnTo>
                    <a:pt x="0" y="1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12" name="Freeform 746"/>
            <p:cNvSpPr>
              <a:spLocks/>
            </p:cNvSpPr>
            <p:nvPr>
              <p:custDataLst>
                <p:tags r:id="rId606"/>
              </p:custDataLst>
            </p:nvPr>
          </p:nvSpPr>
          <p:spPr bwMode="auto">
            <a:xfrm>
              <a:off x="4575423" y="3519488"/>
              <a:ext cx="92075" cy="187325"/>
            </a:xfrm>
            <a:custGeom>
              <a:avLst/>
              <a:gdLst>
                <a:gd name="T0" fmla="*/ 0 w 63"/>
                <a:gd name="T1" fmla="*/ 2147483647 h 234"/>
                <a:gd name="T2" fmla="*/ 2147483647 w 63"/>
                <a:gd name="T3" fmla="*/ 2147483647 h 234"/>
                <a:gd name="T4" fmla="*/ 2147483647 w 63"/>
                <a:gd name="T5" fmla="*/ 0 h 234"/>
                <a:gd name="T6" fmla="*/ 2147483647 w 63"/>
                <a:gd name="T7" fmla="*/ 0 h 234"/>
                <a:gd name="T8" fmla="*/ 2147483647 w 63"/>
                <a:gd name="T9" fmla="*/ 2147483647 h 234"/>
                <a:gd name="T10" fmla="*/ 2147483647 w 63"/>
                <a:gd name="T11" fmla="*/ 2147483647 h 234"/>
                <a:gd name="T12" fmla="*/ 2147483647 w 63"/>
                <a:gd name="T13" fmla="*/ 2147483647 h 234"/>
                <a:gd name="T14" fmla="*/ 2147483647 w 63"/>
                <a:gd name="T15" fmla="*/ 2147483647 h 234"/>
                <a:gd name="T16" fmla="*/ 2147483647 w 63"/>
                <a:gd name="T17" fmla="*/ 2147483647 h 234"/>
                <a:gd name="T18" fmla="*/ 2147483647 w 63"/>
                <a:gd name="T19" fmla="*/ 2147483647 h 234"/>
                <a:gd name="T20" fmla="*/ 0 w 63"/>
                <a:gd name="T21" fmla="*/ 2147483647 h 2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3" h="234">
                  <a:moveTo>
                    <a:pt x="0" y="111"/>
                  </a:moveTo>
                  <a:lnTo>
                    <a:pt x="13" y="88"/>
                  </a:lnTo>
                  <a:lnTo>
                    <a:pt x="19" y="0"/>
                  </a:lnTo>
                  <a:lnTo>
                    <a:pt x="56" y="0"/>
                  </a:lnTo>
                  <a:lnTo>
                    <a:pt x="50" y="23"/>
                  </a:lnTo>
                  <a:lnTo>
                    <a:pt x="56" y="67"/>
                  </a:lnTo>
                  <a:lnTo>
                    <a:pt x="38" y="111"/>
                  </a:lnTo>
                  <a:lnTo>
                    <a:pt x="63" y="132"/>
                  </a:lnTo>
                  <a:lnTo>
                    <a:pt x="32" y="234"/>
                  </a:lnTo>
                  <a:lnTo>
                    <a:pt x="26" y="177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13" name="Freeform 747"/>
            <p:cNvSpPr>
              <a:spLocks/>
            </p:cNvSpPr>
            <p:nvPr>
              <p:custDataLst>
                <p:tags r:id="rId607"/>
              </p:custDataLst>
            </p:nvPr>
          </p:nvSpPr>
          <p:spPr bwMode="auto">
            <a:xfrm>
              <a:off x="4575423" y="3519488"/>
              <a:ext cx="92075" cy="187325"/>
            </a:xfrm>
            <a:custGeom>
              <a:avLst/>
              <a:gdLst>
                <a:gd name="T0" fmla="*/ 0 w 63"/>
                <a:gd name="T1" fmla="*/ 2147483647 h 234"/>
                <a:gd name="T2" fmla="*/ 2147483647 w 63"/>
                <a:gd name="T3" fmla="*/ 2147483647 h 234"/>
                <a:gd name="T4" fmla="*/ 2147483647 w 63"/>
                <a:gd name="T5" fmla="*/ 0 h 234"/>
                <a:gd name="T6" fmla="*/ 2147483647 w 63"/>
                <a:gd name="T7" fmla="*/ 0 h 234"/>
                <a:gd name="T8" fmla="*/ 2147483647 w 63"/>
                <a:gd name="T9" fmla="*/ 2147483647 h 234"/>
                <a:gd name="T10" fmla="*/ 2147483647 w 63"/>
                <a:gd name="T11" fmla="*/ 2147483647 h 234"/>
                <a:gd name="T12" fmla="*/ 2147483647 w 63"/>
                <a:gd name="T13" fmla="*/ 2147483647 h 234"/>
                <a:gd name="T14" fmla="*/ 2147483647 w 63"/>
                <a:gd name="T15" fmla="*/ 2147483647 h 234"/>
                <a:gd name="T16" fmla="*/ 2147483647 w 63"/>
                <a:gd name="T17" fmla="*/ 2147483647 h 234"/>
                <a:gd name="T18" fmla="*/ 2147483647 w 63"/>
                <a:gd name="T19" fmla="*/ 2147483647 h 234"/>
                <a:gd name="T20" fmla="*/ 0 w 63"/>
                <a:gd name="T21" fmla="*/ 2147483647 h 2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3" h="234">
                  <a:moveTo>
                    <a:pt x="0" y="111"/>
                  </a:moveTo>
                  <a:lnTo>
                    <a:pt x="13" y="88"/>
                  </a:lnTo>
                  <a:lnTo>
                    <a:pt x="19" y="0"/>
                  </a:lnTo>
                  <a:lnTo>
                    <a:pt x="56" y="0"/>
                  </a:lnTo>
                  <a:lnTo>
                    <a:pt x="50" y="23"/>
                  </a:lnTo>
                  <a:lnTo>
                    <a:pt x="56" y="67"/>
                  </a:lnTo>
                  <a:lnTo>
                    <a:pt x="38" y="111"/>
                  </a:lnTo>
                  <a:lnTo>
                    <a:pt x="63" y="132"/>
                  </a:lnTo>
                  <a:lnTo>
                    <a:pt x="32" y="234"/>
                  </a:lnTo>
                  <a:lnTo>
                    <a:pt x="26" y="177"/>
                  </a:lnTo>
                  <a:lnTo>
                    <a:pt x="0" y="111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14" name="Freeform 748"/>
            <p:cNvSpPr>
              <a:spLocks/>
            </p:cNvSpPr>
            <p:nvPr>
              <p:custDataLst>
                <p:tags r:id="rId608"/>
              </p:custDataLst>
            </p:nvPr>
          </p:nvSpPr>
          <p:spPr bwMode="auto">
            <a:xfrm>
              <a:off x="5005636" y="3370263"/>
              <a:ext cx="65087" cy="63500"/>
            </a:xfrm>
            <a:custGeom>
              <a:avLst/>
              <a:gdLst>
                <a:gd name="T0" fmla="*/ 0 w 44"/>
                <a:gd name="T1" fmla="*/ 2147483647 h 78"/>
                <a:gd name="T2" fmla="*/ 2147483647 w 44"/>
                <a:gd name="T3" fmla="*/ 2147483647 h 78"/>
                <a:gd name="T4" fmla="*/ 2147483647 w 44"/>
                <a:gd name="T5" fmla="*/ 0 h 78"/>
                <a:gd name="T6" fmla="*/ 2147483647 w 44"/>
                <a:gd name="T7" fmla="*/ 2147483647 h 78"/>
                <a:gd name="T8" fmla="*/ 2147483647 w 44"/>
                <a:gd name="T9" fmla="*/ 2147483647 h 78"/>
                <a:gd name="T10" fmla="*/ 0 w 44"/>
                <a:gd name="T11" fmla="*/ 2147483647 h 78"/>
                <a:gd name="T12" fmla="*/ 2147483647 w 44"/>
                <a:gd name="T13" fmla="*/ 2147483647 h 78"/>
                <a:gd name="T14" fmla="*/ 0 w 44"/>
                <a:gd name="T15" fmla="*/ 2147483647 h 7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4" h="78">
                  <a:moveTo>
                    <a:pt x="0" y="44"/>
                  </a:moveTo>
                  <a:lnTo>
                    <a:pt x="7" y="9"/>
                  </a:lnTo>
                  <a:lnTo>
                    <a:pt x="25" y="0"/>
                  </a:lnTo>
                  <a:lnTo>
                    <a:pt x="44" y="32"/>
                  </a:lnTo>
                  <a:lnTo>
                    <a:pt x="25" y="32"/>
                  </a:lnTo>
                  <a:lnTo>
                    <a:pt x="0" y="78"/>
                  </a:lnTo>
                  <a:lnTo>
                    <a:pt x="13" y="55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15" name="Group 749"/>
            <p:cNvGrpSpPr>
              <a:grpSpLocks/>
            </p:cNvGrpSpPr>
            <p:nvPr>
              <p:custDataLst>
                <p:tags r:id="rId609"/>
              </p:custDataLst>
            </p:nvPr>
          </p:nvGrpSpPr>
          <p:grpSpPr bwMode="auto">
            <a:xfrm>
              <a:off x="5005636" y="3370263"/>
              <a:ext cx="65087" cy="63500"/>
              <a:chOff x="3351" y="1941"/>
              <a:chExt cx="44" cy="40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97" name="Freeform 750"/>
              <p:cNvSpPr>
                <a:spLocks/>
              </p:cNvSpPr>
              <p:nvPr/>
            </p:nvSpPr>
            <p:spPr bwMode="auto">
              <a:xfrm>
                <a:off x="3351" y="1941"/>
                <a:ext cx="44" cy="40"/>
              </a:xfrm>
              <a:custGeom>
                <a:avLst/>
                <a:gdLst>
                  <a:gd name="T0" fmla="*/ 0 w 44"/>
                  <a:gd name="T1" fmla="*/ 1 h 78"/>
                  <a:gd name="T2" fmla="*/ 7 w 44"/>
                  <a:gd name="T3" fmla="*/ 1 h 78"/>
                  <a:gd name="T4" fmla="*/ 25 w 44"/>
                  <a:gd name="T5" fmla="*/ 0 h 78"/>
                  <a:gd name="T6" fmla="*/ 44 w 44"/>
                  <a:gd name="T7" fmla="*/ 1 h 78"/>
                  <a:gd name="T8" fmla="*/ 25 w 44"/>
                  <a:gd name="T9" fmla="*/ 1 h 78"/>
                  <a:gd name="T10" fmla="*/ 0 w 44"/>
                  <a:gd name="T11" fmla="*/ 1 h 78"/>
                  <a:gd name="T12" fmla="*/ 13 w 44"/>
                  <a:gd name="T13" fmla="*/ 1 h 78"/>
                  <a:gd name="T14" fmla="*/ 0 w 44"/>
                  <a:gd name="T15" fmla="*/ 1 h 7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78">
                    <a:moveTo>
                      <a:pt x="0" y="44"/>
                    </a:moveTo>
                    <a:lnTo>
                      <a:pt x="7" y="9"/>
                    </a:lnTo>
                    <a:lnTo>
                      <a:pt x="25" y="0"/>
                    </a:lnTo>
                    <a:lnTo>
                      <a:pt x="44" y="32"/>
                    </a:lnTo>
                    <a:lnTo>
                      <a:pt x="25" y="32"/>
                    </a:lnTo>
                    <a:lnTo>
                      <a:pt x="0" y="78"/>
                    </a:lnTo>
                    <a:lnTo>
                      <a:pt x="13" y="55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98" name="Freeform 751"/>
              <p:cNvSpPr>
                <a:spLocks/>
              </p:cNvSpPr>
              <p:nvPr/>
            </p:nvSpPr>
            <p:spPr bwMode="auto">
              <a:xfrm>
                <a:off x="3351" y="1941"/>
                <a:ext cx="44" cy="40"/>
              </a:xfrm>
              <a:custGeom>
                <a:avLst/>
                <a:gdLst>
                  <a:gd name="T0" fmla="*/ 0 w 44"/>
                  <a:gd name="T1" fmla="*/ 1 h 78"/>
                  <a:gd name="T2" fmla="*/ 7 w 44"/>
                  <a:gd name="T3" fmla="*/ 1 h 78"/>
                  <a:gd name="T4" fmla="*/ 25 w 44"/>
                  <a:gd name="T5" fmla="*/ 0 h 78"/>
                  <a:gd name="T6" fmla="*/ 44 w 44"/>
                  <a:gd name="T7" fmla="*/ 1 h 78"/>
                  <a:gd name="T8" fmla="*/ 25 w 44"/>
                  <a:gd name="T9" fmla="*/ 1 h 78"/>
                  <a:gd name="T10" fmla="*/ 0 w 44"/>
                  <a:gd name="T11" fmla="*/ 1 h 78"/>
                  <a:gd name="T12" fmla="*/ 13 w 44"/>
                  <a:gd name="T13" fmla="*/ 1 h 78"/>
                  <a:gd name="T14" fmla="*/ 0 w 44"/>
                  <a:gd name="T15" fmla="*/ 1 h 7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78">
                    <a:moveTo>
                      <a:pt x="0" y="44"/>
                    </a:moveTo>
                    <a:lnTo>
                      <a:pt x="7" y="9"/>
                    </a:lnTo>
                    <a:lnTo>
                      <a:pt x="25" y="0"/>
                    </a:lnTo>
                    <a:lnTo>
                      <a:pt x="44" y="32"/>
                    </a:lnTo>
                    <a:lnTo>
                      <a:pt x="25" y="32"/>
                    </a:lnTo>
                    <a:lnTo>
                      <a:pt x="0" y="78"/>
                    </a:lnTo>
                    <a:lnTo>
                      <a:pt x="13" y="55"/>
                    </a:lnTo>
                    <a:lnTo>
                      <a:pt x="0" y="44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16" name="Freeform 752"/>
            <p:cNvSpPr>
              <a:spLocks/>
            </p:cNvSpPr>
            <p:nvPr>
              <p:custDataLst>
                <p:tags r:id="rId610"/>
              </p:custDataLst>
            </p:nvPr>
          </p:nvSpPr>
          <p:spPr bwMode="auto">
            <a:xfrm>
              <a:off x="5005636" y="3370263"/>
              <a:ext cx="65087" cy="63500"/>
            </a:xfrm>
            <a:custGeom>
              <a:avLst/>
              <a:gdLst>
                <a:gd name="T0" fmla="*/ 0 w 44"/>
                <a:gd name="T1" fmla="*/ 2147483647 h 78"/>
                <a:gd name="T2" fmla="*/ 2147483647 w 44"/>
                <a:gd name="T3" fmla="*/ 2147483647 h 78"/>
                <a:gd name="T4" fmla="*/ 2147483647 w 44"/>
                <a:gd name="T5" fmla="*/ 0 h 78"/>
                <a:gd name="T6" fmla="*/ 2147483647 w 44"/>
                <a:gd name="T7" fmla="*/ 2147483647 h 78"/>
                <a:gd name="T8" fmla="*/ 2147483647 w 44"/>
                <a:gd name="T9" fmla="*/ 2147483647 h 78"/>
                <a:gd name="T10" fmla="*/ 0 w 44"/>
                <a:gd name="T11" fmla="*/ 2147483647 h 78"/>
                <a:gd name="T12" fmla="*/ 2147483647 w 44"/>
                <a:gd name="T13" fmla="*/ 2147483647 h 78"/>
                <a:gd name="T14" fmla="*/ 0 w 44"/>
                <a:gd name="T15" fmla="*/ 2147483647 h 7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4" h="78">
                  <a:moveTo>
                    <a:pt x="0" y="44"/>
                  </a:moveTo>
                  <a:lnTo>
                    <a:pt x="7" y="9"/>
                  </a:lnTo>
                  <a:lnTo>
                    <a:pt x="25" y="0"/>
                  </a:lnTo>
                  <a:lnTo>
                    <a:pt x="44" y="32"/>
                  </a:lnTo>
                  <a:lnTo>
                    <a:pt x="25" y="32"/>
                  </a:lnTo>
                  <a:lnTo>
                    <a:pt x="0" y="78"/>
                  </a:lnTo>
                  <a:lnTo>
                    <a:pt x="13" y="55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17" name="Group 753"/>
            <p:cNvGrpSpPr>
              <a:grpSpLocks/>
            </p:cNvGrpSpPr>
            <p:nvPr>
              <p:custDataLst>
                <p:tags r:id="rId611"/>
              </p:custDataLst>
            </p:nvPr>
          </p:nvGrpSpPr>
          <p:grpSpPr bwMode="auto">
            <a:xfrm>
              <a:off x="5005636" y="3370263"/>
              <a:ext cx="65087" cy="63500"/>
              <a:chOff x="3351" y="1941"/>
              <a:chExt cx="44" cy="40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95" name="Freeform 754"/>
              <p:cNvSpPr>
                <a:spLocks/>
              </p:cNvSpPr>
              <p:nvPr/>
            </p:nvSpPr>
            <p:spPr bwMode="auto">
              <a:xfrm>
                <a:off x="3351" y="1941"/>
                <a:ext cx="44" cy="40"/>
              </a:xfrm>
              <a:custGeom>
                <a:avLst/>
                <a:gdLst>
                  <a:gd name="T0" fmla="*/ 0 w 44"/>
                  <a:gd name="T1" fmla="*/ 1 h 78"/>
                  <a:gd name="T2" fmla="*/ 7 w 44"/>
                  <a:gd name="T3" fmla="*/ 1 h 78"/>
                  <a:gd name="T4" fmla="*/ 25 w 44"/>
                  <a:gd name="T5" fmla="*/ 0 h 78"/>
                  <a:gd name="T6" fmla="*/ 44 w 44"/>
                  <a:gd name="T7" fmla="*/ 1 h 78"/>
                  <a:gd name="T8" fmla="*/ 25 w 44"/>
                  <a:gd name="T9" fmla="*/ 1 h 78"/>
                  <a:gd name="T10" fmla="*/ 0 w 44"/>
                  <a:gd name="T11" fmla="*/ 1 h 78"/>
                  <a:gd name="T12" fmla="*/ 13 w 44"/>
                  <a:gd name="T13" fmla="*/ 1 h 78"/>
                  <a:gd name="T14" fmla="*/ 0 w 44"/>
                  <a:gd name="T15" fmla="*/ 1 h 7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78">
                    <a:moveTo>
                      <a:pt x="0" y="44"/>
                    </a:moveTo>
                    <a:lnTo>
                      <a:pt x="7" y="9"/>
                    </a:lnTo>
                    <a:lnTo>
                      <a:pt x="25" y="0"/>
                    </a:lnTo>
                    <a:lnTo>
                      <a:pt x="44" y="32"/>
                    </a:lnTo>
                    <a:lnTo>
                      <a:pt x="25" y="32"/>
                    </a:lnTo>
                    <a:lnTo>
                      <a:pt x="0" y="78"/>
                    </a:lnTo>
                    <a:lnTo>
                      <a:pt x="13" y="55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96" name="Freeform 755"/>
              <p:cNvSpPr>
                <a:spLocks/>
              </p:cNvSpPr>
              <p:nvPr/>
            </p:nvSpPr>
            <p:spPr bwMode="auto">
              <a:xfrm>
                <a:off x="3351" y="1941"/>
                <a:ext cx="44" cy="40"/>
              </a:xfrm>
              <a:custGeom>
                <a:avLst/>
                <a:gdLst>
                  <a:gd name="T0" fmla="*/ 0 w 44"/>
                  <a:gd name="T1" fmla="*/ 1 h 78"/>
                  <a:gd name="T2" fmla="*/ 7 w 44"/>
                  <a:gd name="T3" fmla="*/ 1 h 78"/>
                  <a:gd name="T4" fmla="*/ 25 w 44"/>
                  <a:gd name="T5" fmla="*/ 0 h 78"/>
                  <a:gd name="T6" fmla="*/ 44 w 44"/>
                  <a:gd name="T7" fmla="*/ 1 h 78"/>
                  <a:gd name="T8" fmla="*/ 25 w 44"/>
                  <a:gd name="T9" fmla="*/ 1 h 78"/>
                  <a:gd name="T10" fmla="*/ 0 w 44"/>
                  <a:gd name="T11" fmla="*/ 1 h 78"/>
                  <a:gd name="T12" fmla="*/ 13 w 44"/>
                  <a:gd name="T13" fmla="*/ 1 h 78"/>
                  <a:gd name="T14" fmla="*/ 0 w 44"/>
                  <a:gd name="T15" fmla="*/ 1 h 7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78">
                    <a:moveTo>
                      <a:pt x="0" y="44"/>
                    </a:moveTo>
                    <a:lnTo>
                      <a:pt x="7" y="9"/>
                    </a:lnTo>
                    <a:lnTo>
                      <a:pt x="25" y="0"/>
                    </a:lnTo>
                    <a:lnTo>
                      <a:pt x="44" y="32"/>
                    </a:lnTo>
                    <a:lnTo>
                      <a:pt x="25" y="32"/>
                    </a:lnTo>
                    <a:lnTo>
                      <a:pt x="0" y="78"/>
                    </a:lnTo>
                    <a:lnTo>
                      <a:pt x="13" y="55"/>
                    </a:lnTo>
                    <a:lnTo>
                      <a:pt x="0" y="44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18" name="Freeform 756"/>
            <p:cNvSpPr>
              <a:spLocks/>
            </p:cNvSpPr>
            <p:nvPr>
              <p:custDataLst>
                <p:tags r:id="rId612"/>
              </p:custDataLst>
            </p:nvPr>
          </p:nvSpPr>
          <p:spPr bwMode="auto">
            <a:xfrm>
              <a:off x="5005636" y="3370263"/>
              <a:ext cx="422275" cy="177800"/>
            </a:xfrm>
            <a:custGeom>
              <a:avLst/>
              <a:gdLst>
                <a:gd name="T0" fmla="*/ 0 w 288"/>
                <a:gd name="T1" fmla="*/ 2147483647 h 222"/>
                <a:gd name="T2" fmla="*/ 2147483647 w 288"/>
                <a:gd name="T3" fmla="*/ 2147483647 h 222"/>
                <a:gd name="T4" fmla="*/ 2147483647 w 288"/>
                <a:gd name="T5" fmla="*/ 2147483647 h 222"/>
                <a:gd name="T6" fmla="*/ 2147483647 w 288"/>
                <a:gd name="T7" fmla="*/ 2147483647 h 222"/>
                <a:gd name="T8" fmla="*/ 2147483647 w 288"/>
                <a:gd name="T9" fmla="*/ 2147483647 h 222"/>
                <a:gd name="T10" fmla="*/ 2147483647 w 288"/>
                <a:gd name="T11" fmla="*/ 2147483647 h 222"/>
                <a:gd name="T12" fmla="*/ 2147483647 w 288"/>
                <a:gd name="T13" fmla="*/ 2147483647 h 222"/>
                <a:gd name="T14" fmla="*/ 2147483647 w 288"/>
                <a:gd name="T15" fmla="*/ 2147483647 h 222"/>
                <a:gd name="T16" fmla="*/ 2147483647 w 288"/>
                <a:gd name="T17" fmla="*/ 2147483647 h 222"/>
                <a:gd name="T18" fmla="*/ 2147483647 w 288"/>
                <a:gd name="T19" fmla="*/ 2147483647 h 222"/>
                <a:gd name="T20" fmla="*/ 2147483647 w 288"/>
                <a:gd name="T21" fmla="*/ 2147483647 h 222"/>
                <a:gd name="T22" fmla="*/ 2147483647 w 288"/>
                <a:gd name="T23" fmla="*/ 2147483647 h 222"/>
                <a:gd name="T24" fmla="*/ 2147483647 w 288"/>
                <a:gd name="T25" fmla="*/ 2147483647 h 222"/>
                <a:gd name="T26" fmla="*/ 2147483647 w 288"/>
                <a:gd name="T27" fmla="*/ 2147483647 h 222"/>
                <a:gd name="T28" fmla="*/ 2147483647 w 288"/>
                <a:gd name="T29" fmla="*/ 2147483647 h 222"/>
                <a:gd name="T30" fmla="*/ 2147483647 w 288"/>
                <a:gd name="T31" fmla="*/ 2147483647 h 222"/>
                <a:gd name="T32" fmla="*/ 2147483647 w 288"/>
                <a:gd name="T33" fmla="*/ 2147483647 h 222"/>
                <a:gd name="T34" fmla="*/ 2147483647 w 288"/>
                <a:gd name="T35" fmla="*/ 2147483647 h 222"/>
                <a:gd name="T36" fmla="*/ 2147483647 w 288"/>
                <a:gd name="T37" fmla="*/ 2147483647 h 222"/>
                <a:gd name="T38" fmla="*/ 2147483647 w 288"/>
                <a:gd name="T39" fmla="*/ 2147483647 h 222"/>
                <a:gd name="T40" fmla="*/ 2147483647 w 288"/>
                <a:gd name="T41" fmla="*/ 2147483647 h 222"/>
                <a:gd name="T42" fmla="*/ 2147483647 w 288"/>
                <a:gd name="T43" fmla="*/ 0 h 222"/>
                <a:gd name="T44" fmla="*/ 2147483647 w 288"/>
                <a:gd name="T45" fmla="*/ 0 h 222"/>
                <a:gd name="T46" fmla="*/ 2147483647 w 288"/>
                <a:gd name="T47" fmla="*/ 2147483647 h 222"/>
                <a:gd name="T48" fmla="*/ 2147483647 w 288"/>
                <a:gd name="T49" fmla="*/ 2147483647 h 222"/>
                <a:gd name="T50" fmla="*/ 2147483647 w 288"/>
                <a:gd name="T51" fmla="*/ 2147483647 h 222"/>
                <a:gd name="T52" fmla="*/ 0 w 288"/>
                <a:gd name="T53" fmla="*/ 2147483647 h 22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88" h="222">
                  <a:moveTo>
                    <a:pt x="0" y="78"/>
                  </a:moveTo>
                  <a:lnTo>
                    <a:pt x="14" y="132"/>
                  </a:lnTo>
                  <a:lnTo>
                    <a:pt x="7" y="144"/>
                  </a:lnTo>
                  <a:lnTo>
                    <a:pt x="14" y="144"/>
                  </a:lnTo>
                  <a:lnTo>
                    <a:pt x="19" y="188"/>
                  </a:lnTo>
                  <a:lnTo>
                    <a:pt x="38" y="176"/>
                  </a:lnTo>
                  <a:lnTo>
                    <a:pt x="19" y="199"/>
                  </a:lnTo>
                  <a:lnTo>
                    <a:pt x="38" y="188"/>
                  </a:lnTo>
                  <a:lnTo>
                    <a:pt x="57" y="211"/>
                  </a:lnTo>
                  <a:lnTo>
                    <a:pt x="75" y="188"/>
                  </a:lnTo>
                  <a:lnTo>
                    <a:pt x="107" y="222"/>
                  </a:lnTo>
                  <a:lnTo>
                    <a:pt x="157" y="188"/>
                  </a:lnTo>
                  <a:lnTo>
                    <a:pt x="151" y="222"/>
                  </a:lnTo>
                  <a:lnTo>
                    <a:pt x="163" y="188"/>
                  </a:lnTo>
                  <a:lnTo>
                    <a:pt x="257" y="176"/>
                  </a:lnTo>
                  <a:lnTo>
                    <a:pt x="288" y="176"/>
                  </a:lnTo>
                  <a:lnTo>
                    <a:pt x="282" y="100"/>
                  </a:lnTo>
                  <a:lnTo>
                    <a:pt x="288" y="78"/>
                  </a:lnTo>
                  <a:lnTo>
                    <a:pt x="257" y="9"/>
                  </a:lnTo>
                  <a:lnTo>
                    <a:pt x="238" y="9"/>
                  </a:lnTo>
                  <a:lnTo>
                    <a:pt x="188" y="44"/>
                  </a:lnTo>
                  <a:lnTo>
                    <a:pt x="138" y="0"/>
                  </a:lnTo>
                  <a:lnTo>
                    <a:pt x="114" y="0"/>
                  </a:lnTo>
                  <a:lnTo>
                    <a:pt x="75" y="44"/>
                  </a:lnTo>
                  <a:lnTo>
                    <a:pt x="50" y="21"/>
                  </a:lnTo>
                  <a:lnTo>
                    <a:pt x="57" y="44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19" name="Group 757"/>
            <p:cNvGrpSpPr>
              <a:grpSpLocks/>
            </p:cNvGrpSpPr>
            <p:nvPr>
              <p:custDataLst>
                <p:tags r:id="rId613"/>
              </p:custDataLst>
            </p:nvPr>
          </p:nvGrpSpPr>
          <p:grpSpPr bwMode="auto">
            <a:xfrm>
              <a:off x="5005636" y="3370263"/>
              <a:ext cx="422275" cy="177800"/>
              <a:chOff x="3351" y="1941"/>
              <a:chExt cx="288" cy="112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93" name="Freeform 758"/>
              <p:cNvSpPr>
                <a:spLocks/>
              </p:cNvSpPr>
              <p:nvPr/>
            </p:nvSpPr>
            <p:spPr bwMode="auto">
              <a:xfrm>
                <a:off x="3351" y="1941"/>
                <a:ext cx="288" cy="112"/>
              </a:xfrm>
              <a:custGeom>
                <a:avLst/>
                <a:gdLst>
                  <a:gd name="T0" fmla="*/ 0 w 288"/>
                  <a:gd name="T1" fmla="*/ 1 h 222"/>
                  <a:gd name="T2" fmla="*/ 14 w 288"/>
                  <a:gd name="T3" fmla="*/ 1 h 222"/>
                  <a:gd name="T4" fmla="*/ 7 w 288"/>
                  <a:gd name="T5" fmla="*/ 1 h 222"/>
                  <a:gd name="T6" fmla="*/ 14 w 288"/>
                  <a:gd name="T7" fmla="*/ 1 h 222"/>
                  <a:gd name="T8" fmla="*/ 19 w 288"/>
                  <a:gd name="T9" fmla="*/ 1 h 222"/>
                  <a:gd name="T10" fmla="*/ 38 w 288"/>
                  <a:gd name="T11" fmla="*/ 1 h 222"/>
                  <a:gd name="T12" fmla="*/ 19 w 288"/>
                  <a:gd name="T13" fmla="*/ 1 h 222"/>
                  <a:gd name="T14" fmla="*/ 38 w 288"/>
                  <a:gd name="T15" fmla="*/ 1 h 222"/>
                  <a:gd name="T16" fmla="*/ 57 w 288"/>
                  <a:gd name="T17" fmla="*/ 1 h 222"/>
                  <a:gd name="T18" fmla="*/ 75 w 288"/>
                  <a:gd name="T19" fmla="*/ 1 h 222"/>
                  <a:gd name="T20" fmla="*/ 107 w 288"/>
                  <a:gd name="T21" fmla="*/ 1 h 222"/>
                  <a:gd name="T22" fmla="*/ 157 w 288"/>
                  <a:gd name="T23" fmla="*/ 1 h 222"/>
                  <a:gd name="T24" fmla="*/ 151 w 288"/>
                  <a:gd name="T25" fmla="*/ 1 h 222"/>
                  <a:gd name="T26" fmla="*/ 163 w 288"/>
                  <a:gd name="T27" fmla="*/ 1 h 222"/>
                  <a:gd name="T28" fmla="*/ 257 w 288"/>
                  <a:gd name="T29" fmla="*/ 1 h 222"/>
                  <a:gd name="T30" fmla="*/ 288 w 288"/>
                  <a:gd name="T31" fmla="*/ 1 h 222"/>
                  <a:gd name="T32" fmla="*/ 282 w 288"/>
                  <a:gd name="T33" fmla="*/ 1 h 222"/>
                  <a:gd name="T34" fmla="*/ 288 w 288"/>
                  <a:gd name="T35" fmla="*/ 1 h 222"/>
                  <a:gd name="T36" fmla="*/ 257 w 288"/>
                  <a:gd name="T37" fmla="*/ 1 h 222"/>
                  <a:gd name="T38" fmla="*/ 238 w 288"/>
                  <a:gd name="T39" fmla="*/ 1 h 222"/>
                  <a:gd name="T40" fmla="*/ 188 w 288"/>
                  <a:gd name="T41" fmla="*/ 1 h 222"/>
                  <a:gd name="T42" fmla="*/ 138 w 288"/>
                  <a:gd name="T43" fmla="*/ 0 h 222"/>
                  <a:gd name="T44" fmla="*/ 114 w 288"/>
                  <a:gd name="T45" fmla="*/ 0 h 222"/>
                  <a:gd name="T46" fmla="*/ 75 w 288"/>
                  <a:gd name="T47" fmla="*/ 1 h 222"/>
                  <a:gd name="T48" fmla="*/ 50 w 288"/>
                  <a:gd name="T49" fmla="*/ 1 h 222"/>
                  <a:gd name="T50" fmla="*/ 57 w 288"/>
                  <a:gd name="T51" fmla="*/ 1 h 222"/>
                  <a:gd name="T52" fmla="*/ 0 w 288"/>
                  <a:gd name="T53" fmla="*/ 1 h 2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88" h="222">
                    <a:moveTo>
                      <a:pt x="0" y="78"/>
                    </a:moveTo>
                    <a:lnTo>
                      <a:pt x="14" y="132"/>
                    </a:lnTo>
                    <a:lnTo>
                      <a:pt x="7" y="144"/>
                    </a:lnTo>
                    <a:lnTo>
                      <a:pt x="14" y="144"/>
                    </a:lnTo>
                    <a:lnTo>
                      <a:pt x="19" y="188"/>
                    </a:lnTo>
                    <a:lnTo>
                      <a:pt x="38" y="176"/>
                    </a:lnTo>
                    <a:lnTo>
                      <a:pt x="19" y="199"/>
                    </a:lnTo>
                    <a:lnTo>
                      <a:pt x="38" y="188"/>
                    </a:lnTo>
                    <a:lnTo>
                      <a:pt x="57" y="211"/>
                    </a:lnTo>
                    <a:lnTo>
                      <a:pt x="75" y="188"/>
                    </a:lnTo>
                    <a:lnTo>
                      <a:pt x="107" y="222"/>
                    </a:lnTo>
                    <a:lnTo>
                      <a:pt x="157" y="188"/>
                    </a:lnTo>
                    <a:lnTo>
                      <a:pt x="151" y="222"/>
                    </a:lnTo>
                    <a:lnTo>
                      <a:pt x="163" y="188"/>
                    </a:lnTo>
                    <a:lnTo>
                      <a:pt x="257" y="176"/>
                    </a:lnTo>
                    <a:lnTo>
                      <a:pt x="288" y="176"/>
                    </a:lnTo>
                    <a:lnTo>
                      <a:pt x="282" y="100"/>
                    </a:lnTo>
                    <a:lnTo>
                      <a:pt x="288" y="78"/>
                    </a:lnTo>
                    <a:lnTo>
                      <a:pt x="257" y="9"/>
                    </a:lnTo>
                    <a:lnTo>
                      <a:pt x="238" y="9"/>
                    </a:lnTo>
                    <a:lnTo>
                      <a:pt x="188" y="44"/>
                    </a:lnTo>
                    <a:lnTo>
                      <a:pt x="138" y="0"/>
                    </a:lnTo>
                    <a:lnTo>
                      <a:pt x="114" y="0"/>
                    </a:lnTo>
                    <a:lnTo>
                      <a:pt x="75" y="44"/>
                    </a:lnTo>
                    <a:lnTo>
                      <a:pt x="50" y="21"/>
                    </a:lnTo>
                    <a:lnTo>
                      <a:pt x="57" y="44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94" name="Freeform 759"/>
              <p:cNvSpPr>
                <a:spLocks/>
              </p:cNvSpPr>
              <p:nvPr/>
            </p:nvSpPr>
            <p:spPr bwMode="auto">
              <a:xfrm>
                <a:off x="3351" y="1941"/>
                <a:ext cx="288" cy="112"/>
              </a:xfrm>
              <a:custGeom>
                <a:avLst/>
                <a:gdLst>
                  <a:gd name="T0" fmla="*/ 0 w 288"/>
                  <a:gd name="T1" fmla="*/ 1 h 222"/>
                  <a:gd name="T2" fmla="*/ 14 w 288"/>
                  <a:gd name="T3" fmla="*/ 1 h 222"/>
                  <a:gd name="T4" fmla="*/ 7 w 288"/>
                  <a:gd name="T5" fmla="*/ 1 h 222"/>
                  <a:gd name="T6" fmla="*/ 14 w 288"/>
                  <a:gd name="T7" fmla="*/ 1 h 222"/>
                  <a:gd name="T8" fmla="*/ 19 w 288"/>
                  <a:gd name="T9" fmla="*/ 1 h 222"/>
                  <a:gd name="T10" fmla="*/ 38 w 288"/>
                  <a:gd name="T11" fmla="*/ 1 h 222"/>
                  <a:gd name="T12" fmla="*/ 19 w 288"/>
                  <a:gd name="T13" fmla="*/ 1 h 222"/>
                  <a:gd name="T14" fmla="*/ 38 w 288"/>
                  <a:gd name="T15" fmla="*/ 1 h 222"/>
                  <a:gd name="T16" fmla="*/ 57 w 288"/>
                  <a:gd name="T17" fmla="*/ 1 h 222"/>
                  <a:gd name="T18" fmla="*/ 75 w 288"/>
                  <a:gd name="T19" fmla="*/ 1 h 222"/>
                  <a:gd name="T20" fmla="*/ 107 w 288"/>
                  <a:gd name="T21" fmla="*/ 1 h 222"/>
                  <a:gd name="T22" fmla="*/ 157 w 288"/>
                  <a:gd name="T23" fmla="*/ 1 h 222"/>
                  <a:gd name="T24" fmla="*/ 151 w 288"/>
                  <a:gd name="T25" fmla="*/ 1 h 222"/>
                  <a:gd name="T26" fmla="*/ 163 w 288"/>
                  <a:gd name="T27" fmla="*/ 1 h 222"/>
                  <a:gd name="T28" fmla="*/ 257 w 288"/>
                  <a:gd name="T29" fmla="*/ 1 h 222"/>
                  <a:gd name="T30" fmla="*/ 288 w 288"/>
                  <a:gd name="T31" fmla="*/ 1 h 222"/>
                  <a:gd name="T32" fmla="*/ 282 w 288"/>
                  <a:gd name="T33" fmla="*/ 1 h 222"/>
                  <a:gd name="T34" fmla="*/ 288 w 288"/>
                  <a:gd name="T35" fmla="*/ 1 h 222"/>
                  <a:gd name="T36" fmla="*/ 257 w 288"/>
                  <a:gd name="T37" fmla="*/ 1 h 222"/>
                  <a:gd name="T38" fmla="*/ 238 w 288"/>
                  <a:gd name="T39" fmla="*/ 1 h 222"/>
                  <a:gd name="T40" fmla="*/ 188 w 288"/>
                  <a:gd name="T41" fmla="*/ 1 h 222"/>
                  <a:gd name="T42" fmla="*/ 138 w 288"/>
                  <a:gd name="T43" fmla="*/ 0 h 222"/>
                  <a:gd name="T44" fmla="*/ 114 w 288"/>
                  <a:gd name="T45" fmla="*/ 0 h 222"/>
                  <a:gd name="T46" fmla="*/ 75 w 288"/>
                  <a:gd name="T47" fmla="*/ 1 h 222"/>
                  <a:gd name="T48" fmla="*/ 50 w 288"/>
                  <a:gd name="T49" fmla="*/ 1 h 222"/>
                  <a:gd name="T50" fmla="*/ 57 w 288"/>
                  <a:gd name="T51" fmla="*/ 1 h 222"/>
                  <a:gd name="T52" fmla="*/ 0 w 288"/>
                  <a:gd name="T53" fmla="*/ 1 h 2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88" h="222">
                    <a:moveTo>
                      <a:pt x="0" y="78"/>
                    </a:moveTo>
                    <a:lnTo>
                      <a:pt x="14" y="132"/>
                    </a:lnTo>
                    <a:lnTo>
                      <a:pt x="7" y="144"/>
                    </a:lnTo>
                    <a:lnTo>
                      <a:pt x="14" y="144"/>
                    </a:lnTo>
                    <a:lnTo>
                      <a:pt x="19" y="188"/>
                    </a:lnTo>
                    <a:lnTo>
                      <a:pt x="38" y="176"/>
                    </a:lnTo>
                    <a:lnTo>
                      <a:pt x="19" y="199"/>
                    </a:lnTo>
                    <a:lnTo>
                      <a:pt x="38" y="188"/>
                    </a:lnTo>
                    <a:lnTo>
                      <a:pt x="57" y="211"/>
                    </a:lnTo>
                    <a:lnTo>
                      <a:pt x="75" y="188"/>
                    </a:lnTo>
                    <a:lnTo>
                      <a:pt x="107" y="222"/>
                    </a:lnTo>
                    <a:lnTo>
                      <a:pt x="157" y="188"/>
                    </a:lnTo>
                    <a:lnTo>
                      <a:pt x="151" y="222"/>
                    </a:lnTo>
                    <a:lnTo>
                      <a:pt x="163" y="188"/>
                    </a:lnTo>
                    <a:lnTo>
                      <a:pt x="257" y="176"/>
                    </a:lnTo>
                    <a:lnTo>
                      <a:pt x="288" y="176"/>
                    </a:lnTo>
                    <a:lnTo>
                      <a:pt x="282" y="100"/>
                    </a:lnTo>
                    <a:lnTo>
                      <a:pt x="288" y="78"/>
                    </a:lnTo>
                    <a:lnTo>
                      <a:pt x="257" y="9"/>
                    </a:lnTo>
                    <a:lnTo>
                      <a:pt x="238" y="9"/>
                    </a:lnTo>
                    <a:lnTo>
                      <a:pt x="188" y="44"/>
                    </a:lnTo>
                    <a:lnTo>
                      <a:pt x="138" y="0"/>
                    </a:lnTo>
                    <a:lnTo>
                      <a:pt x="114" y="0"/>
                    </a:lnTo>
                    <a:lnTo>
                      <a:pt x="75" y="44"/>
                    </a:lnTo>
                    <a:lnTo>
                      <a:pt x="50" y="21"/>
                    </a:lnTo>
                    <a:lnTo>
                      <a:pt x="57" y="44"/>
                    </a:lnTo>
                    <a:lnTo>
                      <a:pt x="0" y="78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20" name="Freeform 760"/>
            <p:cNvSpPr>
              <a:spLocks/>
            </p:cNvSpPr>
            <p:nvPr>
              <p:custDataLst>
                <p:tags r:id="rId614"/>
              </p:custDataLst>
            </p:nvPr>
          </p:nvSpPr>
          <p:spPr bwMode="auto">
            <a:xfrm>
              <a:off x="5005636" y="3370263"/>
              <a:ext cx="422275" cy="177800"/>
            </a:xfrm>
            <a:custGeom>
              <a:avLst/>
              <a:gdLst>
                <a:gd name="T0" fmla="*/ 0 w 288"/>
                <a:gd name="T1" fmla="*/ 2147483647 h 222"/>
                <a:gd name="T2" fmla="*/ 2147483647 w 288"/>
                <a:gd name="T3" fmla="*/ 2147483647 h 222"/>
                <a:gd name="T4" fmla="*/ 2147483647 w 288"/>
                <a:gd name="T5" fmla="*/ 2147483647 h 222"/>
                <a:gd name="T6" fmla="*/ 2147483647 w 288"/>
                <a:gd name="T7" fmla="*/ 2147483647 h 222"/>
                <a:gd name="T8" fmla="*/ 2147483647 w 288"/>
                <a:gd name="T9" fmla="*/ 2147483647 h 222"/>
                <a:gd name="T10" fmla="*/ 2147483647 w 288"/>
                <a:gd name="T11" fmla="*/ 2147483647 h 222"/>
                <a:gd name="T12" fmla="*/ 2147483647 w 288"/>
                <a:gd name="T13" fmla="*/ 2147483647 h 222"/>
                <a:gd name="T14" fmla="*/ 2147483647 w 288"/>
                <a:gd name="T15" fmla="*/ 2147483647 h 222"/>
                <a:gd name="T16" fmla="*/ 2147483647 w 288"/>
                <a:gd name="T17" fmla="*/ 2147483647 h 222"/>
                <a:gd name="T18" fmla="*/ 2147483647 w 288"/>
                <a:gd name="T19" fmla="*/ 2147483647 h 222"/>
                <a:gd name="T20" fmla="*/ 2147483647 w 288"/>
                <a:gd name="T21" fmla="*/ 2147483647 h 222"/>
                <a:gd name="T22" fmla="*/ 2147483647 w 288"/>
                <a:gd name="T23" fmla="*/ 2147483647 h 222"/>
                <a:gd name="T24" fmla="*/ 2147483647 w 288"/>
                <a:gd name="T25" fmla="*/ 2147483647 h 222"/>
                <a:gd name="T26" fmla="*/ 2147483647 w 288"/>
                <a:gd name="T27" fmla="*/ 2147483647 h 222"/>
                <a:gd name="T28" fmla="*/ 2147483647 w 288"/>
                <a:gd name="T29" fmla="*/ 2147483647 h 222"/>
                <a:gd name="T30" fmla="*/ 2147483647 w 288"/>
                <a:gd name="T31" fmla="*/ 2147483647 h 222"/>
                <a:gd name="T32" fmla="*/ 2147483647 w 288"/>
                <a:gd name="T33" fmla="*/ 2147483647 h 222"/>
                <a:gd name="T34" fmla="*/ 2147483647 w 288"/>
                <a:gd name="T35" fmla="*/ 2147483647 h 222"/>
                <a:gd name="T36" fmla="*/ 2147483647 w 288"/>
                <a:gd name="T37" fmla="*/ 2147483647 h 222"/>
                <a:gd name="T38" fmla="*/ 2147483647 w 288"/>
                <a:gd name="T39" fmla="*/ 2147483647 h 222"/>
                <a:gd name="T40" fmla="*/ 2147483647 w 288"/>
                <a:gd name="T41" fmla="*/ 2147483647 h 222"/>
                <a:gd name="T42" fmla="*/ 2147483647 w 288"/>
                <a:gd name="T43" fmla="*/ 0 h 222"/>
                <a:gd name="T44" fmla="*/ 2147483647 w 288"/>
                <a:gd name="T45" fmla="*/ 0 h 222"/>
                <a:gd name="T46" fmla="*/ 2147483647 w 288"/>
                <a:gd name="T47" fmla="*/ 2147483647 h 222"/>
                <a:gd name="T48" fmla="*/ 2147483647 w 288"/>
                <a:gd name="T49" fmla="*/ 2147483647 h 222"/>
                <a:gd name="T50" fmla="*/ 2147483647 w 288"/>
                <a:gd name="T51" fmla="*/ 2147483647 h 222"/>
                <a:gd name="T52" fmla="*/ 0 w 288"/>
                <a:gd name="T53" fmla="*/ 2147483647 h 22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88" h="222">
                  <a:moveTo>
                    <a:pt x="0" y="78"/>
                  </a:moveTo>
                  <a:lnTo>
                    <a:pt x="14" y="132"/>
                  </a:lnTo>
                  <a:lnTo>
                    <a:pt x="7" y="144"/>
                  </a:lnTo>
                  <a:lnTo>
                    <a:pt x="14" y="144"/>
                  </a:lnTo>
                  <a:lnTo>
                    <a:pt x="19" y="188"/>
                  </a:lnTo>
                  <a:lnTo>
                    <a:pt x="38" y="176"/>
                  </a:lnTo>
                  <a:lnTo>
                    <a:pt x="19" y="199"/>
                  </a:lnTo>
                  <a:lnTo>
                    <a:pt x="38" y="188"/>
                  </a:lnTo>
                  <a:lnTo>
                    <a:pt x="57" y="211"/>
                  </a:lnTo>
                  <a:lnTo>
                    <a:pt x="75" y="188"/>
                  </a:lnTo>
                  <a:lnTo>
                    <a:pt x="107" y="222"/>
                  </a:lnTo>
                  <a:lnTo>
                    <a:pt x="157" y="188"/>
                  </a:lnTo>
                  <a:lnTo>
                    <a:pt x="151" y="222"/>
                  </a:lnTo>
                  <a:lnTo>
                    <a:pt x="163" y="188"/>
                  </a:lnTo>
                  <a:lnTo>
                    <a:pt x="257" y="176"/>
                  </a:lnTo>
                  <a:lnTo>
                    <a:pt x="288" y="176"/>
                  </a:lnTo>
                  <a:lnTo>
                    <a:pt x="282" y="100"/>
                  </a:lnTo>
                  <a:lnTo>
                    <a:pt x="288" y="78"/>
                  </a:lnTo>
                  <a:lnTo>
                    <a:pt x="257" y="9"/>
                  </a:lnTo>
                  <a:lnTo>
                    <a:pt x="238" y="9"/>
                  </a:lnTo>
                  <a:lnTo>
                    <a:pt x="188" y="44"/>
                  </a:lnTo>
                  <a:lnTo>
                    <a:pt x="138" y="0"/>
                  </a:lnTo>
                  <a:lnTo>
                    <a:pt x="114" y="0"/>
                  </a:lnTo>
                  <a:lnTo>
                    <a:pt x="75" y="44"/>
                  </a:lnTo>
                  <a:lnTo>
                    <a:pt x="50" y="21"/>
                  </a:lnTo>
                  <a:lnTo>
                    <a:pt x="57" y="44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21" name="Group 761"/>
            <p:cNvGrpSpPr>
              <a:grpSpLocks/>
            </p:cNvGrpSpPr>
            <p:nvPr>
              <p:custDataLst>
                <p:tags r:id="rId615"/>
              </p:custDataLst>
            </p:nvPr>
          </p:nvGrpSpPr>
          <p:grpSpPr bwMode="auto">
            <a:xfrm>
              <a:off x="5005636" y="3370263"/>
              <a:ext cx="422275" cy="177800"/>
              <a:chOff x="3351" y="1941"/>
              <a:chExt cx="288" cy="112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991" name="Freeform 762"/>
              <p:cNvSpPr>
                <a:spLocks/>
              </p:cNvSpPr>
              <p:nvPr/>
            </p:nvSpPr>
            <p:spPr bwMode="auto">
              <a:xfrm>
                <a:off x="3351" y="1941"/>
                <a:ext cx="288" cy="112"/>
              </a:xfrm>
              <a:custGeom>
                <a:avLst/>
                <a:gdLst>
                  <a:gd name="T0" fmla="*/ 0 w 288"/>
                  <a:gd name="T1" fmla="*/ 1 h 222"/>
                  <a:gd name="T2" fmla="*/ 14 w 288"/>
                  <a:gd name="T3" fmla="*/ 1 h 222"/>
                  <a:gd name="T4" fmla="*/ 7 w 288"/>
                  <a:gd name="T5" fmla="*/ 1 h 222"/>
                  <a:gd name="T6" fmla="*/ 14 w 288"/>
                  <a:gd name="T7" fmla="*/ 1 h 222"/>
                  <a:gd name="T8" fmla="*/ 19 w 288"/>
                  <a:gd name="T9" fmla="*/ 1 h 222"/>
                  <a:gd name="T10" fmla="*/ 38 w 288"/>
                  <a:gd name="T11" fmla="*/ 1 h 222"/>
                  <a:gd name="T12" fmla="*/ 19 w 288"/>
                  <a:gd name="T13" fmla="*/ 1 h 222"/>
                  <a:gd name="T14" fmla="*/ 38 w 288"/>
                  <a:gd name="T15" fmla="*/ 1 h 222"/>
                  <a:gd name="T16" fmla="*/ 57 w 288"/>
                  <a:gd name="T17" fmla="*/ 1 h 222"/>
                  <a:gd name="T18" fmla="*/ 75 w 288"/>
                  <a:gd name="T19" fmla="*/ 1 h 222"/>
                  <a:gd name="T20" fmla="*/ 107 w 288"/>
                  <a:gd name="T21" fmla="*/ 1 h 222"/>
                  <a:gd name="T22" fmla="*/ 157 w 288"/>
                  <a:gd name="T23" fmla="*/ 1 h 222"/>
                  <a:gd name="T24" fmla="*/ 151 w 288"/>
                  <a:gd name="T25" fmla="*/ 1 h 222"/>
                  <a:gd name="T26" fmla="*/ 163 w 288"/>
                  <a:gd name="T27" fmla="*/ 1 h 222"/>
                  <a:gd name="T28" fmla="*/ 257 w 288"/>
                  <a:gd name="T29" fmla="*/ 1 h 222"/>
                  <a:gd name="T30" fmla="*/ 288 w 288"/>
                  <a:gd name="T31" fmla="*/ 1 h 222"/>
                  <a:gd name="T32" fmla="*/ 282 w 288"/>
                  <a:gd name="T33" fmla="*/ 1 h 222"/>
                  <a:gd name="T34" fmla="*/ 288 w 288"/>
                  <a:gd name="T35" fmla="*/ 1 h 222"/>
                  <a:gd name="T36" fmla="*/ 257 w 288"/>
                  <a:gd name="T37" fmla="*/ 1 h 222"/>
                  <a:gd name="T38" fmla="*/ 238 w 288"/>
                  <a:gd name="T39" fmla="*/ 1 h 222"/>
                  <a:gd name="T40" fmla="*/ 188 w 288"/>
                  <a:gd name="T41" fmla="*/ 1 h 222"/>
                  <a:gd name="T42" fmla="*/ 138 w 288"/>
                  <a:gd name="T43" fmla="*/ 0 h 222"/>
                  <a:gd name="T44" fmla="*/ 114 w 288"/>
                  <a:gd name="T45" fmla="*/ 0 h 222"/>
                  <a:gd name="T46" fmla="*/ 75 w 288"/>
                  <a:gd name="T47" fmla="*/ 1 h 222"/>
                  <a:gd name="T48" fmla="*/ 50 w 288"/>
                  <a:gd name="T49" fmla="*/ 1 h 222"/>
                  <a:gd name="T50" fmla="*/ 57 w 288"/>
                  <a:gd name="T51" fmla="*/ 1 h 222"/>
                  <a:gd name="T52" fmla="*/ 0 w 288"/>
                  <a:gd name="T53" fmla="*/ 1 h 2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88" h="222">
                    <a:moveTo>
                      <a:pt x="0" y="78"/>
                    </a:moveTo>
                    <a:lnTo>
                      <a:pt x="14" y="132"/>
                    </a:lnTo>
                    <a:lnTo>
                      <a:pt x="7" y="144"/>
                    </a:lnTo>
                    <a:lnTo>
                      <a:pt x="14" y="144"/>
                    </a:lnTo>
                    <a:lnTo>
                      <a:pt x="19" y="188"/>
                    </a:lnTo>
                    <a:lnTo>
                      <a:pt x="38" y="176"/>
                    </a:lnTo>
                    <a:lnTo>
                      <a:pt x="19" y="199"/>
                    </a:lnTo>
                    <a:lnTo>
                      <a:pt x="38" y="188"/>
                    </a:lnTo>
                    <a:lnTo>
                      <a:pt x="57" y="211"/>
                    </a:lnTo>
                    <a:lnTo>
                      <a:pt x="75" y="188"/>
                    </a:lnTo>
                    <a:lnTo>
                      <a:pt x="107" y="222"/>
                    </a:lnTo>
                    <a:lnTo>
                      <a:pt x="157" y="188"/>
                    </a:lnTo>
                    <a:lnTo>
                      <a:pt x="151" y="222"/>
                    </a:lnTo>
                    <a:lnTo>
                      <a:pt x="163" y="188"/>
                    </a:lnTo>
                    <a:lnTo>
                      <a:pt x="257" y="176"/>
                    </a:lnTo>
                    <a:lnTo>
                      <a:pt x="288" y="176"/>
                    </a:lnTo>
                    <a:lnTo>
                      <a:pt x="282" y="100"/>
                    </a:lnTo>
                    <a:lnTo>
                      <a:pt x="288" y="78"/>
                    </a:lnTo>
                    <a:lnTo>
                      <a:pt x="257" y="9"/>
                    </a:lnTo>
                    <a:lnTo>
                      <a:pt x="238" y="9"/>
                    </a:lnTo>
                    <a:lnTo>
                      <a:pt x="188" y="44"/>
                    </a:lnTo>
                    <a:lnTo>
                      <a:pt x="138" y="0"/>
                    </a:lnTo>
                    <a:lnTo>
                      <a:pt x="114" y="0"/>
                    </a:lnTo>
                    <a:lnTo>
                      <a:pt x="75" y="44"/>
                    </a:lnTo>
                    <a:lnTo>
                      <a:pt x="50" y="21"/>
                    </a:lnTo>
                    <a:lnTo>
                      <a:pt x="57" y="44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92" name="Freeform 763"/>
              <p:cNvSpPr>
                <a:spLocks/>
              </p:cNvSpPr>
              <p:nvPr/>
            </p:nvSpPr>
            <p:spPr bwMode="auto">
              <a:xfrm>
                <a:off x="3351" y="1941"/>
                <a:ext cx="288" cy="112"/>
              </a:xfrm>
              <a:custGeom>
                <a:avLst/>
                <a:gdLst>
                  <a:gd name="T0" fmla="*/ 0 w 288"/>
                  <a:gd name="T1" fmla="*/ 1 h 222"/>
                  <a:gd name="T2" fmla="*/ 14 w 288"/>
                  <a:gd name="T3" fmla="*/ 1 h 222"/>
                  <a:gd name="T4" fmla="*/ 7 w 288"/>
                  <a:gd name="T5" fmla="*/ 1 h 222"/>
                  <a:gd name="T6" fmla="*/ 14 w 288"/>
                  <a:gd name="T7" fmla="*/ 1 h 222"/>
                  <a:gd name="T8" fmla="*/ 19 w 288"/>
                  <a:gd name="T9" fmla="*/ 1 h 222"/>
                  <a:gd name="T10" fmla="*/ 38 w 288"/>
                  <a:gd name="T11" fmla="*/ 1 h 222"/>
                  <a:gd name="T12" fmla="*/ 19 w 288"/>
                  <a:gd name="T13" fmla="*/ 1 h 222"/>
                  <a:gd name="T14" fmla="*/ 38 w 288"/>
                  <a:gd name="T15" fmla="*/ 1 h 222"/>
                  <a:gd name="T16" fmla="*/ 57 w 288"/>
                  <a:gd name="T17" fmla="*/ 1 h 222"/>
                  <a:gd name="T18" fmla="*/ 75 w 288"/>
                  <a:gd name="T19" fmla="*/ 1 h 222"/>
                  <a:gd name="T20" fmla="*/ 107 w 288"/>
                  <a:gd name="T21" fmla="*/ 1 h 222"/>
                  <a:gd name="T22" fmla="*/ 157 w 288"/>
                  <a:gd name="T23" fmla="*/ 1 h 222"/>
                  <a:gd name="T24" fmla="*/ 151 w 288"/>
                  <a:gd name="T25" fmla="*/ 1 h 222"/>
                  <a:gd name="T26" fmla="*/ 163 w 288"/>
                  <a:gd name="T27" fmla="*/ 1 h 222"/>
                  <a:gd name="T28" fmla="*/ 257 w 288"/>
                  <a:gd name="T29" fmla="*/ 1 h 222"/>
                  <a:gd name="T30" fmla="*/ 288 w 288"/>
                  <a:gd name="T31" fmla="*/ 1 h 222"/>
                  <a:gd name="T32" fmla="*/ 282 w 288"/>
                  <a:gd name="T33" fmla="*/ 1 h 222"/>
                  <a:gd name="T34" fmla="*/ 288 w 288"/>
                  <a:gd name="T35" fmla="*/ 1 h 222"/>
                  <a:gd name="T36" fmla="*/ 257 w 288"/>
                  <a:gd name="T37" fmla="*/ 1 h 222"/>
                  <a:gd name="T38" fmla="*/ 238 w 288"/>
                  <a:gd name="T39" fmla="*/ 1 h 222"/>
                  <a:gd name="T40" fmla="*/ 188 w 288"/>
                  <a:gd name="T41" fmla="*/ 1 h 222"/>
                  <a:gd name="T42" fmla="*/ 138 w 288"/>
                  <a:gd name="T43" fmla="*/ 0 h 222"/>
                  <a:gd name="T44" fmla="*/ 114 w 288"/>
                  <a:gd name="T45" fmla="*/ 0 h 222"/>
                  <a:gd name="T46" fmla="*/ 75 w 288"/>
                  <a:gd name="T47" fmla="*/ 1 h 222"/>
                  <a:gd name="T48" fmla="*/ 50 w 288"/>
                  <a:gd name="T49" fmla="*/ 1 h 222"/>
                  <a:gd name="T50" fmla="*/ 57 w 288"/>
                  <a:gd name="T51" fmla="*/ 1 h 222"/>
                  <a:gd name="T52" fmla="*/ 0 w 288"/>
                  <a:gd name="T53" fmla="*/ 1 h 2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88" h="222">
                    <a:moveTo>
                      <a:pt x="0" y="78"/>
                    </a:moveTo>
                    <a:lnTo>
                      <a:pt x="14" y="132"/>
                    </a:lnTo>
                    <a:lnTo>
                      <a:pt x="7" y="144"/>
                    </a:lnTo>
                    <a:lnTo>
                      <a:pt x="14" y="144"/>
                    </a:lnTo>
                    <a:lnTo>
                      <a:pt x="19" y="188"/>
                    </a:lnTo>
                    <a:lnTo>
                      <a:pt x="38" y="176"/>
                    </a:lnTo>
                    <a:lnTo>
                      <a:pt x="19" y="199"/>
                    </a:lnTo>
                    <a:lnTo>
                      <a:pt x="38" y="188"/>
                    </a:lnTo>
                    <a:lnTo>
                      <a:pt x="57" y="211"/>
                    </a:lnTo>
                    <a:lnTo>
                      <a:pt x="75" y="188"/>
                    </a:lnTo>
                    <a:lnTo>
                      <a:pt x="107" y="222"/>
                    </a:lnTo>
                    <a:lnTo>
                      <a:pt x="157" y="188"/>
                    </a:lnTo>
                    <a:lnTo>
                      <a:pt x="151" y="222"/>
                    </a:lnTo>
                    <a:lnTo>
                      <a:pt x="163" y="188"/>
                    </a:lnTo>
                    <a:lnTo>
                      <a:pt x="257" y="176"/>
                    </a:lnTo>
                    <a:lnTo>
                      <a:pt x="288" y="176"/>
                    </a:lnTo>
                    <a:lnTo>
                      <a:pt x="282" y="100"/>
                    </a:lnTo>
                    <a:lnTo>
                      <a:pt x="288" y="78"/>
                    </a:lnTo>
                    <a:lnTo>
                      <a:pt x="257" y="9"/>
                    </a:lnTo>
                    <a:lnTo>
                      <a:pt x="238" y="9"/>
                    </a:lnTo>
                    <a:lnTo>
                      <a:pt x="188" y="44"/>
                    </a:lnTo>
                    <a:lnTo>
                      <a:pt x="138" y="0"/>
                    </a:lnTo>
                    <a:lnTo>
                      <a:pt x="114" y="0"/>
                    </a:lnTo>
                    <a:lnTo>
                      <a:pt x="75" y="44"/>
                    </a:lnTo>
                    <a:lnTo>
                      <a:pt x="50" y="21"/>
                    </a:lnTo>
                    <a:lnTo>
                      <a:pt x="57" y="44"/>
                    </a:lnTo>
                    <a:lnTo>
                      <a:pt x="0" y="78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22" name="Freeform 764"/>
            <p:cNvSpPr>
              <a:spLocks/>
            </p:cNvSpPr>
            <p:nvPr>
              <p:custDataLst>
                <p:tags r:id="rId616"/>
              </p:custDataLst>
            </p:nvPr>
          </p:nvSpPr>
          <p:spPr bwMode="auto">
            <a:xfrm>
              <a:off x="4172198" y="2944813"/>
              <a:ext cx="92075" cy="115887"/>
            </a:xfrm>
            <a:custGeom>
              <a:avLst/>
              <a:gdLst>
                <a:gd name="T0" fmla="*/ 0 w 63"/>
                <a:gd name="T1" fmla="*/ 2147483647 h 146"/>
                <a:gd name="T2" fmla="*/ 2147483647 w 63"/>
                <a:gd name="T3" fmla="*/ 2147483647 h 146"/>
                <a:gd name="T4" fmla="*/ 2147483647 w 63"/>
                <a:gd name="T5" fmla="*/ 2147483647 h 146"/>
                <a:gd name="T6" fmla="*/ 2147483647 w 63"/>
                <a:gd name="T7" fmla="*/ 2147483647 h 146"/>
                <a:gd name="T8" fmla="*/ 2147483647 w 63"/>
                <a:gd name="T9" fmla="*/ 2147483647 h 146"/>
                <a:gd name="T10" fmla="*/ 2147483647 w 63"/>
                <a:gd name="T11" fmla="*/ 2147483647 h 146"/>
                <a:gd name="T12" fmla="*/ 2147483647 w 63"/>
                <a:gd name="T13" fmla="*/ 2147483647 h 146"/>
                <a:gd name="T14" fmla="*/ 2147483647 w 63"/>
                <a:gd name="T15" fmla="*/ 2147483647 h 146"/>
                <a:gd name="T16" fmla="*/ 2147483647 w 63"/>
                <a:gd name="T17" fmla="*/ 2147483647 h 146"/>
                <a:gd name="T18" fmla="*/ 2147483647 w 63"/>
                <a:gd name="T19" fmla="*/ 0 h 146"/>
                <a:gd name="T20" fmla="*/ 2147483647 w 63"/>
                <a:gd name="T21" fmla="*/ 2147483647 h 146"/>
                <a:gd name="T22" fmla="*/ 2147483647 w 63"/>
                <a:gd name="T23" fmla="*/ 2147483647 h 146"/>
                <a:gd name="T24" fmla="*/ 2147483647 w 63"/>
                <a:gd name="T25" fmla="*/ 2147483647 h 146"/>
                <a:gd name="T26" fmla="*/ 2147483647 w 63"/>
                <a:gd name="T27" fmla="*/ 2147483647 h 146"/>
                <a:gd name="T28" fmla="*/ 2147483647 w 63"/>
                <a:gd name="T29" fmla="*/ 2147483647 h 146"/>
                <a:gd name="T30" fmla="*/ 2147483647 w 63"/>
                <a:gd name="T31" fmla="*/ 2147483647 h 146"/>
                <a:gd name="T32" fmla="*/ 2147483647 w 63"/>
                <a:gd name="T33" fmla="*/ 2147483647 h 146"/>
                <a:gd name="T34" fmla="*/ 0 w 63"/>
                <a:gd name="T35" fmla="*/ 2147483647 h 1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3" h="146">
                  <a:moveTo>
                    <a:pt x="0" y="123"/>
                  </a:moveTo>
                  <a:lnTo>
                    <a:pt x="13" y="146"/>
                  </a:lnTo>
                  <a:lnTo>
                    <a:pt x="8" y="146"/>
                  </a:lnTo>
                  <a:lnTo>
                    <a:pt x="63" y="123"/>
                  </a:lnTo>
                  <a:lnTo>
                    <a:pt x="63" y="44"/>
                  </a:lnTo>
                  <a:lnTo>
                    <a:pt x="57" y="32"/>
                  </a:lnTo>
                  <a:lnTo>
                    <a:pt x="45" y="32"/>
                  </a:lnTo>
                  <a:lnTo>
                    <a:pt x="38" y="23"/>
                  </a:lnTo>
                  <a:lnTo>
                    <a:pt x="45" y="11"/>
                  </a:lnTo>
                  <a:lnTo>
                    <a:pt x="38" y="0"/>
                  </a:lnTo>
                  <a:lnTo>
                    <a:pt x="32" y="32"/>
                  </a:lnTo>
                  <a:lnTo>
                    <a:pt x="8" y="44"/>
                  </a:lnTo>
                  <a:lnTo>
                    <a:pt x="13" y="56"/>
                  </a:lnTo>
                  <a:lnTo>
                    <a:pt x="8" y="79"/>
                  </a:lnTo>
                  <a:lnTo>
                    <a:pt x="26" y="88"/>
                  </a:lnTo>
                  <a:lnTo>
                    <a:pt x="8" y="111"/>
                  </a:lnTo>
                  <a:lnTo>
                    <a:pt x="26" y="10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23" name="Freeform 765"/>
            <p:cNvSpPr>
              <a:spLocks/>
            </p:cNvSpPr>
            <p:nvPr>
              <p:custDataLst>
                <p:tags r:id="rId617"/>
              </p:custDataLst>
            </p:nvPr>
          </p:nvSpPr>
          <p:spPr bwMode="auto">
            <a:xfrm>
              <a:off x="4172198" y="2944813"/>
              <a:ext cx="92075" cy="115887"/>
            </a:xfrm>
            <a:custGeom>
              <a:avLst/>
              <a:gdLst>
                <a:gd name="T0" fmla="*/ 0 w 63"/>
                <a:gd name="T1" fmla="*/ 2147483647 h 146"/>
                <a:gd name="T2" fmla="*/ 2147483647 w 63"/>
                <a:gd name="T3" fmla="*/ 2147483647 h 146"/>
                <a:gd name="T4" fmla="*/ 2147483647 w 63"/>
                <a:gd name="T5" fmla="*/ 2147483647 h 146"/>
                <a:gd name="T6" fmla="*/ 2147483647 w 63"/>
                <a:gd name="T7" fmla="*/ 2147483647 h 146"/>
                <a:gd name="T8" fmla="*/ 2147483647 w 63"/>
                <a:gd name="T9" fmla="*/ 2147483647 h 146"/>
                <a:gd name="T10" fmla="*/ 2147483647 w 63"/>
                <a:gd name="T11" fmla="*/ 2147483647 h 146"/>
                <a:gd name="T12" fmla="*/ 2147483647 w 63"/>
                <a:gd name="T13" fmla="*/ 2147483647 h 146"/>
                <a:gd name="T14" fmla="*/ 2147483647 w 63"/>
                <a:gd name="T15" fmla="*/ 2147483647 h 146"/>
                <a:gd name="T16" fmla="*/ 2147483647 w 63"/>
                <a:gd name="T17" fmla="*/ 2147483647 h 146"/>
                <a:gd name="T18" fmla="*/ 2147483647 w 63"/>
                <a:gd name="T19" fmla="*/ 0 h 146"/>
                <a:gd name="T20" fmla="*/ 2147483647 w 63"/>
                <a:gd name="T21" fmla="*/ 2147483647 h 146"/>
                <a:gd name="T22" fmla="*/ 2147483647 w 63"/>
                <a:gd name="T23" fmla="*/ 2147483647 h 146"/>
                <a:gd name="T24" fmla="*/ 2147483647 w 63"/>
                <a:gd name="T25" fmla="*/ 2147483647 h 146"/>
                <a:gd name="T26" fmla="*/ 2147483647 w 63"/>
                <a:gd name="T27" fmla="*/ 2147483647 h 146"/>
                <a:gd name="T28" fmla="*/ 2147483647 w 63"/>
                <a:gd name="T29" fmla="*/ 2147483647 h 146"/>
                <a:gd name="T30" fmla="*/ 2147483647 w 63"/>
                <a:gd name="T31" fmla="*/ 2147483647 h 146"/>
                <a:gd name="T32" fmla="*/ 2147483647 w 63"/>
                <a:gd name="T33" fmla="*/ 2147483647 h 146"/>
                <a:gd name="T34" fmla="*/ 0 w 63"/>
                <a:gd name="T35" fmla="*/ 2147483647 h 1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3" h="146">
                  <a:moveTo>
                    <a:pt x="0" y="123"/>
                  </a:moveTo>
                  <a:lnTo>
                    <a:pt x="13" y="146"/>
                  </a:lnTo>
                  <a:lnTo>
                    <a:pt x="8" y="146"/>
                  </a:lnTo>
                  <a:lnTo>
                    <a:pt x="63" y="123"/>
                  </a:lnTo>
                  <a:lnTo>
                    <a:pt x="63" y="44"/>
                  </a:lnTo>
                  <a:lnTo>
                    <a:pt x="57" y="32"/>
                  </a:lnTo>
                  <a:lnTo>
                    <a:pt x="45" y="32"/>
                  </a:lnTo>
                  <a:lnTo>
                    <a:pt x="38" y="23"/>
                  </a:lnTo>
                  <a:lnTo>
                    <a:pt x="45" y="11"/>
                  </a:lnTo>
                  <a:lnTo>
                    <a:pt x="38" y="0"/>
                  </a:lnTo>
                  <a:lnTo>
                    <a:pt x="32" y="32"/>
                  </a:lnTo>
                  <a:lnTo>
                    <a:pt x="8" y="44"/>
                  </a:lnTo>
                  <a:lnTo>
                    <a:pt x="13" y="56"/>
                  </a:lnTo>
                  <a:lnTo>
                    <a:pt x="8" y="79"/>
                  </a:lnTo>
                  <a:lnTo>
                    <a:pt x="26" y="88"/>
                  </a:lnTo>
                  <a:lnTo>
                    <a:pt x="8" y="111"/>
                  </a:lnTo>
                  <a:lnTo>
                    <a:pt x="26" y="102"/>
                  </a:lnTo>
                  <a:lnTo>
                    <a:pt x="0" y="1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24" name="Freeform 766"/>
            <p:cNvSpPr>
              <a:spLocks/>
            </p:cNvSpPr>
            <p:nvPr>
              <p:custDataLst>
                <p:tags r:id="rId618"/>
              </p:custDataLst>
            </p:nvPr>
          </p:nvSpPr>
          <p:spPr bwMode="auto">
            <a:xfrm>
              <a:off x="4172198" y="2944813"/>
              <a:ext cx="92075" cy="115887"/>
            </a:xfrm>
            <a:custGeom>
              <a:avLst/>
              <a:gdLst>
                <a:gd name="T0" fmla="*/ 0 w 63"/>
                <a:gd name="T1" fmla="*/ 2147483647 h 146"/>
                <a:gd name="T2" fmla="*/ 2147483647 w 63"/>
                <a:gd name="T3" fmla="*/ 2147483647 h 146"/>
                <a:gd name="T4" fmla="*/ 2147483647 w 63"/>
                <a:gd name="T5" fmla="*/ 2147483647 h 146"/>
                <a:gd name="T6" fmla="*/ 2147483647 w 63"/>
                <a:gd name="T7" fmla="*/ 2147483647 h 146"/>
                <a:gd name="T8" fmla="*/ 2147483647 w 63"/>
                <a:gd name="T9" fmla="*/ 2147483647 h 146"/>
                <a:gd name="T10" fmla="*/ 2147483647 w 63"/>
                <a:gd name="T11" fmla="*/ 2147483647 h 146"/>
                <a:gd name="T12" fmla="*/ 2147483647 w 63"/>
                <a:gd name="T13" fmla="*/ 2147483647 h 146"/>
                <a:gd name="T14" fmla="*/ 2147483647 w 63"/>
                <a:gd name="T15" fmla="*/ 2147483647 h 146"/>
                <a:gd name="T16" fmla="*/ 2147483647 w 63"/>
                <a:gd name="T17" fmla="*/ 2147483647 h 146"/>
                <a:gd name="T18" fmla="*/ 2147483647 w 63"/>
                <a:gd name="T19" fmla="*/ 0 h 146"/>
                <a:gd name="T20" fmla="*/ 2147483647 w 63"/>
                <a:gd name="T21" fmla="*/ 2147483647 h 146"/>
                <a:gd name="T22" fmla="*/ 2147483647 w 63"/>
                <a:gd name="T23" fmla="*/ 2147483647 h 146"/>
                <a:gd name="T24" fmla="*/ 2147483647 w 63"/>
                <a:gd name="T25" fmla="*/ 2147483647 h 146"/>
                <a:gd name="T26" fmla="*/ 2147483647 w 63"/>
                <a:gd name="T27" fmla="*/ 2147483647 h 146"/>
                <a:gd name="T28" fmla="*/ 2147483647 w 63"/>
                <a:gd name="T29" fmla="*/ 2147483647 h 146"/>
                <a:gd name="T30" fmla="*/ 2147483647 w 63"/>
                <a:gd name="T31" fmla="*/ 2147483647 h 146"/>
                <a:gd name="T32" fmla="*/ 2147483647 w 63"/>
                <a:gd name="T33" fmla="*/ 2147483647 h 146"/>
                <a:gd name="T34" fmla="*/ 0 w 63"/>
                <a:gd name="T35" fmla="*/ 2147483647 h 1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3" h="146">
                  <a:moveTo>
                    <a:pt x="0" y="123"/>
                  </a:moveTo>
                  <a:lnTo>
                    <a:pt x="13" y="146"/>
                  </a:lnTo>
                  <a:lnTo>
                    <a:pt x="8" y="146"/>
                  </a:lnTo>
                  <a:lnTo>
                    <a:pt x="63" y="123"/>
                  </a:lnTo>
                  <a:lnTo>
                    <a:pt x="63" y="44"/>
                  </a:lnTo>
                  <a:lnTo>
                    <a:pt x="57" y="32"/>
                  </a:lnTo>
                  <a:lnTo>
                    <a:pt x="45" y="32"/>
                  </a:lnTo>
                  <a:lnTo>
                    <a:pt x="38" y="23"/>
                  </a:lnTo>
                  <a:lnTo>
                    <a:pt x="45" y="11"/>
                  </a:lnTo>
                  <a:lnTo>
                    <a:pt x="38" y="0"/>
                  </a:lnTo>
                  <a:lnTo>
                    <a:pt x="32" y="32"/>
                  </a:lnTo>
                  <a:lnTo>
                    <a:pt x="8" y="44"/>
                  </a:lnTo>
                  <a:lnTo>
                    <a:pt x="13" y="56"/>
                  </a:lnTo>
                  <a:lnTo>
                    <a:pt x="8" y="79"/>
                  </a:lnTo>
                  <a:lnTo>
                    <a:pt x="26" y="88"/>
                  </a:lnTo>
                  <a:lnTo>
                    <a:pt x="8" y="111"/>
                  </a:lnTo>
                  <a:lnTo>
                    <a:pt x="26" y="10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25" name="Freeform 767"/>
            <p:cNvSpPr>
              <a:spLocks/>
            </p:cNvSpPr>
            <p:nvPr>
              <p:custDataLst>
                <p:tags r:id="rId619"/>
              </p:custDataLst>
            </p:nvPr>
          </p:nvSpPr>
          <p:spPr bwMode="auto">
            <a:xfrm>
              <a:off x="4172198" y="2944813"/>
              <a:ext cx="92075" cy="115887"/>
            </a:xfrm>
            <a:custGeom>
              <a:avLst/>
              <a:gdLst>
                <a:gd name="T0" fmla="*/ 0 w 63"/>
                <a:gd name="T1" fmla="*/ 2147483647 h 146"/>
                <a:gd name="T2" fmla="*/ 2147483647 w 63"/>
                <a:gd name="T3" fmla="*/ 2147483647 h 146"/>
                <a:gd name="T4" fmla="*/ 2147483647 w 63"/>
                <a:gd name="T5" fmla="*/ 2147483647 h 146"/>
                <a:gd name="T6" fmla="*/ 2147483647 w 63"/>
                <a:gd name="T7" fmla="*/ 2147483647 h 146"/>
                <a:gd name="T8" fmla="*/ 2147483647 w 63"/>
                <a:gd name="T9" fmla="*/ 2147483647 h 146"/>
                <a:gd name="T10" fmla="*/ 2147483647 w 63"/>
                <a:gd name="T11" fmla="*/ 2147483647 h 146"/>
                <a:gd name="T12" fmla="*/ 2147483647 w 63"/>
                <a:gd name="T13" fmla="*/ 2147483647 h 146"/>
                <a:gd name="T14" fmla="*/ 2147483647 w 63"/>
                <a:gd name="T15" fmla="*/ 2147483647 h 146"/>
                <a:gd name="T16" fmla="*/ 2147483647 w 63"/>
                <a:gd name="T17" fmla="*/ 2147483647 h 146"/>
                <a:gd name="T18" fmla="*/ 2147483647 w 63"/>
                <a:gd name="T19" fmla="*/ 0 h 146"/>
                <a:gd name="T20" fmla="*/ 2147483647 w 63"/>
                <a:gd name="T21" fmla="*/ 2147483647 h 146"/>
                <a:gd name="T22" fmla="*/ 2147483647 w 63"/>
                <a:gd name="T23" fmla="*/ 2147483647 h 146"/>
                <a:gd name="T24" fmla="*/ 2147483647 w 63"/>
                <a:gd name="T25" fmla="*/ 2147483647 h 146"/>
                <a:gd name="T26" fmla="*/ 2147483647 w 63"/>
                <a:gd name="T27" fmla="*/ 2147483647 h 146"/>
                <a:gd name="T28" fmla="*/ 2147483647 w 63"/>
                <a:gd name="T29" fmla="*/ 2147483647 h 146"/>
                <a:gd name="T30" fmla="*/ 2147483647 w 63"/>
                <a:gd name="T31" fmla="*/ 2147483647 h 146"/>
                <a:gd name="T32" fmla="*/ 2147483647 w 63"/>
                <a:gd name="T33" fmla="*/ 2147483647 h 146"/>
                <a:gd name="T34" fmla="*/ 0 w 63"/>
                <a:gd name="T35" fmla="*/ 2147483647 h 1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3" h="146">
                  <a:moveTo>
                    <a:pt x="0" y="123"/>
                  </a:moveTo>
                  <a:lnTo>
                    <a:pt x="13" y="146"/>
                  </a:lnTo>
                  <a:lnTo>
                    <a:pt x="8" y="146"/>
                  </a:lnTo>
                  <a:lnTo>
                    <a:pt x="63" y="123"/>
                  </a:lnTo>
                  <a:lnTo>
                    <a:pt x="63" y="44"/>
                  </a:lnTo>
                  <a:lnTo>
                    <a:pt x="57" y="32"/>
                  </a:lnTo>
                  <a:lnTo>
                    <a:pt x="45" y="32"/>
                  </a:lnTo>
                  <a:lnTo>
                    <a:pt x="38" y="23"/>
                  </a:lnTo>
                  <a:lnTo>
                    <a:pt x="45" y="11"/>
                  </a:lnTo>
                  <a:lnTo>
                    <a:pt x="38" y="0"/>
                  </a:lnTo>
                  <a:lnTo>
                    <a:pt x="32" y="32"/>
                  </a:lnTo>
                  <a:lnTo>
                    <a:pt x="8" y="44"/>
                  </a:lnTo>
                  <a:lnTo>
                    <a:pt x="13" y="56"/>
                  </a:lnTo>
                  <a:lnTo>
                    <a:pt x="8" y="79"/>
                  </a:lnTo>
                  <a:lnTo>
                    <a:pt x="26" y="88"/>
                  </a:lnTo>
                  <a:lnTo>
                    <a:pt x="8" y="111"/>
                  </a:lnTo>
                  <a:lnTo>
                    <a:pt x="26" y="102"/>
                  </a:lnTo>
                  <a:lnTo>
                    <a:pt x="0" y="123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26" name="Freeform 768"/>
            <p:cNvSpPr>
              <a:spLocks/>
            </p:cNvSpPr>
            <p:nvPr>
              <p:custDataLst>
                <p:tags r:id="rId620"/>
              </p:custDataLst>
            </p:nvPr>
          </p:nvSpPr>
          <p:spPr bwMode="auto">
            <a:xfrm>
              <a:off x="4226173" y="2936875"/>
              <a:ext cx="53975" cy="44450"/>
            </a:xfrm>
            <a:custGeom>
              <a:avLst/>
              <a:gdLst>
                <a:gd name="T0" fmla="*/ 0 w 37"/>
                <a:gd name="T1" fmla="*/ 2147483647 h 56"/>
                <a:gd name="T2" fmla="*/ 2147483647 w 37"/>
                <a:gd name="T3" fmla="*/ 2147483647 h 56"/>
                <a:gd name="T4" fmla="*/ 2147483647 w 37"/>
                <a:gd name="T5" fmla="*/ 2147483647 h 56"/>
                <a:gd name="T6" fmla="*/ 2147483647 w 37"/>
                <a:gd name="T7" fmla="*/ 2147483647 h 56"/>
                <a:gd name="T8" fmla="*/ 2147483647 w 37"/>
                <a:gd name="T9" fmla="*/ 2147483647 h 56"/>
                <a:gd name="T10" fmla="*/ 2147483647 w 37"/>
                <a:gd name="T11" fmla="*/ 2147483647 h 56"/>
                <a:gd name="T12" fmla="*/ 2147483647 w 37"/>
                <a:gd name="T13" fmla="*/ 0 h 56"/>
                <a:gd name="T14" fmla="*/ 2147483647 w 37"/>
                <a:gd name="T15" fmla="*/ 2147483647 h 56"/>
                <a:gd name="T16" fmla="*/ 0 w 37"/>
                <a:gd name="T17" fmla="*/ 2147483647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56">
                  <a:moveTo>
                    <a:pt x="0" y="35"/>
                  </a:moveTo>
                  <a:lnTo>
                    <a:pt x="7" y="56"/>
                  </a:lnTo>
                  <a:lnTo>
                    <a:pt x="26" y="44"/>
                  </a:lnTo>
                  <a:lnTo>
                    <a:pt x="31" y="56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3" y="0"/>
                  </a:lnTo>
                  <a:lnTo>
                    <a:pt x="7" y="23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27" name="Freeform 769"/>
            <p:cNvSpPr>
              <a:spLocks/>
            </p:cNvSpPr>
            <p:nvPr>
              <p:custDataLst>
                <p:tags r:id="rId621"/>
              </p:custDataLst>
            </p:nvPr>
          </p:nvSpPr>
          <p:spPr bwMode="auto">
            <a:xfrm>
              <a:off x="4226173" y="2936875"/>
              <a:ext cx="53975" cy="44450"/>
            </a:xfrm>
            <a:custGeom>
              <a:avLst/>
              <a:gdLst>
                <a:gd name="T0" fmla="*/ 0 w 37"/>
                <a:gd name="T1" fmla="*/ 2147483647 h 56"/>
                <a:gd name="T2" fmla="*/ 2147483647 w 37"/>
                <a:gd name="T3" fmla="*/ 2147483647 h 56"/>
                <a:gd name="T4" fmla="*/ 2147483647 w 37"/>
                <a:gd name="T5" fmla="*/ 2147483647 h 56"/>
                <a:gd name="T6" fmla="*/ 2147483647 w 37"/>
                <a:gd name="T7" fmla="*/ 2147483647 h 56"/>
                <a:gd name="T8" fmla="*/ 2147483647 w 37"/>
                <a:gd name="T9" fmla="*/ 2147483647 h 56"/>
                <a:gd name="T10" fmla="*/ 2147483647 w 37"/>
                <a:gd name="T11" fmla="*/ 2147483647 h 56"/>
                <a:gd name="T12" fmla="*/ 2147483647 w 37"/>
                <a:gd name="T13" fmla="*/ 0 h 56"/>
                <a:gd name="T14" fmla="*/ 2147483647 w 37"/>
                <a:gd name="T15" fmla="*/ 2147483647 h 56"/>
                <a:gd name="T16" fmla="*/ 0 w 37"/>
                <a:gd name="T17" fmla="*/ 2147483647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56">
                  <a:moveTo>
                    <a:pt x="0" y="35"/>
                  </a:moveTo>
                  <a:lnTo>
                    <a:pt x="7" y="56"/>
                  </a:lnTo>
                  <a:lnTo>
                    <a:pt x="26" y="44"/>
                  </a:lnTo>
                  <a:lnTo>
                    <a:pt x="31" y="56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3" y="0"/>
                  </a:lnTo>
                  <a:lnTo>
                    <a:pt x="7" y="23"/>
                  </a:lnTo>
                  <a:lnTo>
                    <a:pt x="0" y="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28" name="Freeform 770"/>
            <p:cNvSpPr>
              <a:spLocks/>
            </p:cNvSpPr>
            <p:nvPr>
              <p:custDataLst>
                <p:tags r:id="rId622"/>
              </p:custDataLst>
            </p:nvPr>
          </p:nvSpPr>
          <p:spPr bwMode="auto">
            <a:xfrm>
              <a:off x="4226173" y="2936875"/>
              <a:ext cx="53975" cy="44450"/>
            </a:xfrm>
            <a:custGeom>
              <a:avLst/>
              <a:gdLst>
                <a:gd name="T0" fmla="*/ 0 w 37"/>
                <a:gd name="T1" fmla="*/ 2147483647 h 56"/>
                <a:gd name="T2" fmla="*/ 2147483647 w 37"/>
                <a:gd name="T3" fmla="*/ 2147483647 h 56"/>
                <a:gd name="T4" fmla="*/ 2147483647 w 37"/>
                <a:gd name="T5" fmla="*/ 2147483647 h 56"/>
                <a:gd name="T6" fmla="*/ 2147483647 w 37"/>
                <a:gd name="T7" fmla="*/ 2147483647 h 56"/>
                <a:gd name="T8" fmla="*/ 2147483647 w 37"/>
                <a:gd name="T9" fmla="*/ 2147483647 h 56"/>
                <a:gd name="T10" fmla="*/ 2147483647 w 37"/>
                <a:gd name="T11" fmla="*/ 2147483647 h 56"/>
                <a:gd name="T12" fmla="*/ 2147483647 w 37"/>
                <a:gd name="T13" fmla="*/ 0 h 56"/>
                <a:gd name="T14" fmla="*/ 2147483647 w 37"/>
                <a:gd name="T15" fmla="*/ 2147483647 h 56"/>
                <a:gd name="T16" fmla="*/ 0 w 37"/>
                <a:gd name="T17" fmla="*/ 2147483647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56">
                  <a:moveTo>
                    <a:pt x="0" y="35"/>
                  </a:moveTo>
                  <a:lnTo>
                    <a:pt x="7" y="56"/>
                  </a:lnTo>
                  <a:lnTo>
                    <a:pt x="26" y="44"/>
                  </a:lnTo>
                  <a:lnTo>
                    <a:pt x="31" y="56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3" y="0"/>
                  </a:lnTo>
                  <a:lnTo>
                    <a:pt x="7" y="23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29" name="Freeform 771"/>
            <p:cNvSpPr>
              <a:spLocks/>
            </p:cNvSpPr>
            <p:nvPr>
              <p:custDataLst>
                <p:tags r:id="rId623"/>
              </p:custDataLst>
            </p:nvPr>
          </p:nvSpPr>
          <p:spPr bwMode="auto">
            <a:xfrm>
              <a:off x="4226173" y="2936875"/>
              <a:ext cx="53975" cy="44450"/>
            </a:xfrm>
            <a:custGeom>
              <a:avLst/>
              <a:gdLst>
                <a:gd name="T0" fmla="*/ 0 w 37"/>
                <a:gd name="T1" fmla="*/ 2147483647 h 56"/>
                <a:gd name="T2" fmla="*/ 2147483647 w 37"/>
                <a:gd name="T3" fmla="*/ 2147483647 h 56"/>
                <a:gd name="T4" fmla="*/ 2147483647 w 37"/>
                <a:gd name="T5" fmla="*/ 2147483647 h 56"/>
                <a:gd name="T6" fmla="*/ 2147483647 w 37"/>
                <a:gd name="T7" fmla="*/ 2147483647 h 56"/>
                <a:gd name="T8" fmla="*/ 2147483647 w 37"/>
                <a:gd name="T9" fmla="*/ 2147483647 h 56"/>
                <a:gd name="T10" fmla="*/ 2147483647 w 37"/>
                <a:gd name="T11" fmla="*/ 2147483647 h 56"/>
                <a:gd name="T12" fmla="*/ 2147483647 w 37"/>
                <a:gd name="T13" fmla="*/ 0 h 56"/>
                <a:gd name="T14" fmla="*/ 2147483647 w 37"/>
                <a:gd name="T15" fmla="*/ 2147483647 h 56"/>
                <a:gd name="T16" fmla="*/ 0 w 37"/>
                <a:gd name="T17" fmla="*/ 2147483647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56">
                  <a:moveTo>
                    <a:pt x="0" y="35"/>
                  </a:moveTo>
                  <a:lnTo>
                    <a:pt x="7" y="56"/>
                  </a:lnTo>
                  <a:lnTo>
                    <a:pt x="26" y="44"/>
                  </a:lnTo>
                  <a:lnTo>
                    <a:pt x="31" y="56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3" y="0"/>
                  </a:lnTo>
                  <a:lnTo>
                    <a:pt x="7" y="23"/>
                  </a:lnTo>
                  <a:lnTo>
                    <a:pt x="0" y="35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30" name="Freeform 772"/>
            <p:cNvSpPr>
              <a:spLocks/>
            </p:cNvSpPr>
            <p:nvPr>
              <p:custDataLst>
                <p:tags r:id="rId624"/>
              </p:custDataLst>
            </p:nvPr>
          </p:nvSpPr>
          <p:spPr bwMode="auto">
            <a:xfrm>
              <a:off x="4254748" y="2830513"/>
              <a:ext cx="25400" cy="26987"/>
            </a:xfrm>
            <a:custGeom>
              <a:avLst/>
              <a:gdLst>
                <a:gd name="T0" fmla="*/ 0 w 18"/>
                <a:gd name="T1" fmla="*/ 2147483647 h 32"/>
                <a:gd name="T2" fmla="*/ 0 w 18"/>
                <a:gd name="T3" fmla="*/ 0 h 32"/>
                <a:gd name="T4" fmla="*/ 2147483647 w 18"/>
                <a:gd name="T5" fmla="*/ 0 h 32"/>
                <a:gd name="T6" fmla="*/ 0 w 18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2">
                  <a:moveTo>
                    <a:pt x="0" y="32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31" name="Freeform 773"/>
            <p:cNvSpPr>
              <a:spLocks/>
            </p:cNvSpPr>
            <p:nvPr>
              <p:custDataLst>
                <p:tags r:id="rId625"/>
              </p:custDataLst>
            </p:nvPr>
          </p:nvSpPr>
          <p:spPr bwMode="auto">
            <a:xfrm>
              <a:off x="4254748" y="2830513"/>
              <a:ext cx="25400" cy="26987"/>
            </a:xfrm>
            <a:custGeom>
              <a:avLst/>
              <a:gdLst>
                <a:gd name="T0" fmla="*/ 0 w 18"/>
                <a:gd name="T1" fmla="*/ 2147483647 h 32"/>
                <a:gd name="T2" fmla="*/ 0 w 18"/>
                <a:gd name="T3" fmla="*/ 0 h 32"/>
                <a:gd name="T4" fmla="*/ 2147483647 w 18"/>
                <a:gd name="T5" fmla="*/ 0 h 32"/>
                <a:gd name="T6" fmla="*/ 0 w 18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2">
                  <a:moveTo>
                    <a:pt x="0" y="32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32" name="Freeform 774"/>
            <p:cNvSpPr>
              <a:spLocks/>
            </p:cNvSpPr>
            <p:nvPr>
              <p:custDataLst>
                <p:tags r:id="rId626"/>
              </p:custDataLst>
            </p:nvPr>
          </p:nvSpPr>
          <p:spPr bwMode="auto">
            <a:xfrm>
              <a:off x="4254748" y="2830513"/>
              <a:ext cx="25400" cy="26987"/>
            </a:xfrm>
            <a:custGeom>
              <a:avLst/>
              <a:gdLst>
                <a:gd name="T0" fmla="*/ 0 w 18"/>
                <a:gd name="T1" fmla="*/ 2147483647 h 32"/>
                <a:gd name="T2" fmla="*/ 0 w 18"/>
                <a:gd name="T3" fmla="*/ 0 h 32"/>
                <a:gd name="T4" fmla="*/ 2147483647 w 18"/>
                <a:gd name="T5" fmla="*/ 0 h 32"/>
                <a:gd name="T6" fmla="*/ 0 w 18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2">
                  <a:moveTo>
                    <a:pt x="0" y="32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33" name="Freeform 775"/>
            <p:cNvSpPr>
              <a:spLocks/>
            </p:cNvSpPr>
            <p:nvPr>
              <p:custDataLst>
                <p:tags r:id="rId627"/>
              </p:custDataLst>
            </p:nvPr>
          </p:nvSpPr>
          <p:spPr bwMode="auto">
            <a:xfrm>
              <a:off x="4254748" y="2830513"/>
              <a:ext cx="25400" cy="26987"/>
            </a:xfrm>
            <a:custGeom>
              <a:avLst/>
              <a:gdLst>
                <a:gd name="T0" fmla="*/ 0 w 18"/>
                <a:gd name="T1" fmla="*/ 2147483647 h 32"/>
                <a:gd name="T2" fmla="*/ 0 w 18"/>
                <a:gd name="T3" fmla="*/ 0 h 32"/>
                <a:gd name="T4" fmla="*/ 2147483647 w 18"/>
                <a:gd name="T5" fmla="*/ 0 h 32"/>
                <a:gd name="T6" fmla="*/ 0 w 18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2">
                  <a:moveTo>
                    <a:pt x="0" y="32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34" name="Freeform 776"/>
            <p:cNvSpPr>
              <a:spLocks/>
            </p:cNvSpPr>
            <p:nvPr>
              <p:custDataLst>
                <p:tags r:id="rId628"/>
              </p:custDataLst>
            </p:nvPr>
          </p:nvSpPr>
          <p:spPr bwMode="auto">
            <a:xfrm>
              <a:off x="4254748" y="2849563"/>
              <a:ext cx="25400" cy="25400"/>
            </a:xfrm>
            <a:custGeom>
              <a:avLst/>
              <a:gdLst>
                <a:gd name="T0" fmla="*/ 0 w 18"/>
                <a:gd name="T1" fmla="*/ 2147483647 h 33"/>
                <a:gd name="T2" fmla="*/ 2147483647 w 18"/>
                <a:gd name="T3" fmla="*/ 0 h 33"/>
                <a:gd name="T4" fmla="*/ 2147483647 w 18"/>
                <a:gd name="T5" fmla="*/ 2147483647 h 33"/>
                <a:gd name="T6" fmla="*/ 0 w 18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12" y="0"/>
                  </a:lnTo>
                  <a:lnTo>
                    <a:pt x="18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35" name="Freeform 777"/>
            <p:cNvSpPr>
              <a:spLocks/>
            </p:cNvSpPr>
            <p:nvPr>
              <p:custDataLst>
                <p:tags r:id="rId629"/>
              </p:custDataLst>
            </p:nvPr>
          </p:nvSpPr>
          <p:spPr bwMode="auto">
            <a:xfrm>
              <a:off x="4254748" y="2849563"/>
              <a:ext cx="25400" cy="25400"/>
            </a:xfrm>
            <a:custGeom>
              <a:avLst/>
              <a:gdLst>
                <a:gd name="T0" fmla="*/ 0 w 18"/>
                <a:gd name="T1" fmla="*/ 2147483647 h 33"/>
                <a:gd name="T2" fmla="*/ 2147483647 w 18"/>
                <a:gd name="T3" fmla="*/ 0 h 33"/>
                <a:gd name="T4" fmla="*/ 2147483647 w 18"/>
                <a:gd name="T5" fmla="*/ 2147483647 h 33"/>
                <a:gd name="T6" fmla="*/ 0 w 18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12" y="0"/>
                  </a:lnTo>
                  <a:lnTo>
                    <a:pt x="18" y="33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36" name="Freeform 778"/>
            <p:cNvSpPr>
              <a:spLocks/>
            </p:cNvSpPr>
            <p:nvPr>
              <p:custDataLst>
                <p:tags r:id="rId630"/>
              </p:custDataLst>
            </p:nvPr>
          </p:nvSpPr>
          <p:spPr bwMode="auto">
            <a:xfrm>
              <a:off x="4254748" y="2849563"/>
              <a:ext cx="25400" cy="25400"/>
            </a:xfrm>
            <a:custGeom>
              <a:avLst/>
              <a:gdLst>
                <a:gd name="T0" fmla="*/ 0 w 18"/>
                <a:gd name="T1" fmla="*/ 2147483647 h 33"/>
                <a:gd name="T2" fmla="*/ 2147483647 w 18"/>
                <a:gd name="T3" fmla="*/ 0 h 33"/>
                <a:gd name="T4" fmla="*/ 2147483647 w 18"/>
                <a:gd name="T5" fmla="*/ 2147483647 h 33"/>
                <a:gd name="T6" fmla="*/ 0 w 18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12" y="0"/>
                  </a:lnTo>
                  <a:lnTo>
                    <a:pt x="18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37" name="Freeform 779"/>
            <p:cNvSpPr>
              <a:spLocks/>
            </p:cNvSpPr>
            <p:nvPr>
              <p:custDataLst>
                <p:tags r:id="rId631"/>
              </p:custDataLst>
            </p:nvPr>
          </p:nvSpPr>
          <p:spPr bwMode="auto">
            <a:xfrm>
              <a:off x="4254748" y="2849563"/>
              <a:ext cx="25400" cy="25400"/>
            </a:xfrm>
            <a:custGeom>
              <a:avLst/>
              <a:gdLst>
                <a:gd name="T0" fmla="*/ 0 w 18"/>
                <a:gd name="T1" fmla="*/ 2147483647 h 33"/>
                <a:gd name="T2" fmla="*/ 2147483647 w 18"/>
                <a:gd name="T3" fmla="*/ 0 h 33"/>
                <a:gd name="T4" fmla="*/ 2147483647 w 18"/>
                <a:gd name="T5" fmla="*/ 2147483647 h 33"/>
                <a:gd name="T6" fmla="*/ 0 w 18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12" y="0"/>
                  </a:lnTo>
                  <a:lnTo>
                    <a:pt x="18" y="33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38" name="Freeform 780"/>
            <p:cNvSpPr>
              <a:spLocks/>
            </p:cNvSpPr>
            <p:nvPr>
              <p:custDataLst>
                <p:tags r:id="rId632"/>
              </p:custDataLst>
            </p:nvPr>
          </p:nvSpPr>
          <p:spPr bwMode="auto">
            <a:xfrm>
              <a:off x="4273798" y="2822575"/>
              <a:ext cx="174625" cy="300038"/>
            </a:xfrm>
            <a:custGeom>
              <a:avLst/>
              <a:gdLst>
                <a:gd name="T0" fmla="*/ 0 w 119"/>
                <a:gd name="T1" fmla="*/ 2147483647 h 379"/>
                <a:gd name="T2" fmla="*/ 2147483647 w 119"/>
                <a:gd name="T3" fmla="*/ 2147483647 h 379"/>
                <a:gd name="T4" fmla="*/ 2147483647 w 119"/>
                <a:gd name="T5" fmla="*/ 0 h 379"/>
                <a:gd name="T6" fmla="*/ 2147483647 w 119"/>
                <a:gd name="T7" fmla="*/ 0 h 379"/>
                <a:gd name="T8" fmla="*/ 2147483647 w 119"/>
                <a:gd name="T9" fmla="*/ 2147483647 h 379"/>
                <a:gd name="T10" fmla="*/ 2147483647 w 119"/>
                <a:gd name="T11" fmla="*/ 2147483647 h 379"/>
                <a:gd name="T12" fmla="*/ 2147483647 w 119"/>
                <a:gd name="T13" fmla="*/ 2147483647 h 379"/>
                <a:gd name="T14" fmla="*/ 2147483647 w 119"/>
                <a:gd name="T15" fmla="*/ 2147483647 h 379"/>
                <a:gd name="T16" fmla="*/ 2147483647 w 119"/>
                <a:gd name="T17" fmla="*/ 2147483647 h 379"/>
                <a:gd name="T18" fmla="*/ 2147483647 w 119"/>
                <a:gd name="T19" fmla="*/ 2147483647 h 379"/>
                <a:gd name="T20" fmla="*/ 2147483647 w 119"/>
                <a:gd name="T21" fmla="*/ 2147483647 h 379"/>
                <a:gd name="T22" fmla="*/ 2147483647 w 119"/>
                <a:gd name="T23" fmla="*/ 2147483647 h 379"/>
                <a:gd name="T24" fmla="*/ 2147483647 w 119"/>
                <a:gd name="T25" fmla="*/ 2147483647 h 379"/>
                <a:gd name="T26" fmla="*/ 2147483647 w 119"/>
                <a:gd name="T27" fmla="*/ 2147483647 h 379"/>
                <a:gd name="T28" fmla="*/ 2147483647 w 119"/>
                <a:gd name="T29" fmla="*/ 2147483647 h 379"/>
                <a:gd name="T30" fmla="*/ 2147483647 w 119"/>
                <a:gd name="T31" fmla="*/ 2147483647 h 379"/>
                <a:gd name="T32" fmla="*/ 2147483647 w 119"/>
                <a:gd name="T33" fmla="*/ 2147483647 h 379"/>
                <a:gd name="T34" fmla="*/ 2147483647 w 119"/>
                <a:gd name="T35" fmla="*/ 2147483647 h 379"/>
                <a:gd name="T36" fmla="*/ 2147483647 w 119"/>
                <a:gd name="T37" fmla="*/ 2147483647 h 379"/>
                <a:gd name="T38" fmla="*/ 2147483647 w 119"/>
                <a:gd name="T39" fmla="*/ 2147483647 h 379"/>
                <a:gd name="T40" fmla="*/ 2147483647 w 119"/>
                <a:gd name="T41" fmla="*/ 2147483647 h 379"/>
                <a:gd name="T42" fmla="*/ 2147483647 w 119"/>
                <a:gd name="T43" fmla="*/ 2147483647 h 379"/>
                <a:gd name="T44" fmla="*/ 2147483647 w 119"/>
                <a:gd name="T45" fmla="*/ 2147483647 h 379"/>
                <a:gd name="T46" fmla="*/ 2147483647 w 119"/>
                <a:gd name="T47" fmla="*/ 2147483647 h 379"/>
                <a:gd name="T48" fmla="*/ 2147483647 w 119"/>
                <a:gd name="T49" fmla="*/ 2147483647 h 379"/>
                <a:gd name="T50" fmla="*/ 2147483647 w 119"/>
                <a:gd name="T51" fmla="*/ 2147483647 h 379"/>
                <a:gd name="T52" fmla="*/ 2147483647 w 119"/>
                <a:gd name="T53" fmla="*/ 2147483647 h 379"/>
                <a:gd name="T54" fmla="*/ 2147483647 w 119"/>
                <a:gd name="T55" fmla="*/ 2147483647 h 379"/>
                <a:gd name="T56" fmla="*/ 2147483647 w 119"/>
                <a:gd name="T57" fmla="*/ 2147483647 h 379"/>
                <a:gd name="T58" fmla="*/ 0 w 119"/>
                <a:gd name="T59" fmla="*/ 2147483647 h 37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19" h="379">
                  <a:moveTo>
                    <a:pt x="0" y="91"/>
                  </a:moveTo>
                  <a:lnTo>
                    <a:pt x="5" y="35"/>
                  </a:lnTo>
                  <a:lnTo>
                    <a:pt x="19" y="0"/>
                  </a:lnTo>
                  <a:lnTo>
                    <a:pt x="44" y="0"/>
                  </a:lnTo>
                  <a:lnTo>
                    <a:pt x="25" y="46"/>
                  </a:lnTo>
                  <a:lnTo>
                    <a:pt x="63" y="56"/>
                  </a:lnTo>
                  <a:lnTo>
                    <a:pt x="44" y="112"/>
                  </a:lnTo>
                  <a:lnTo>
                    <a:pt x="69" y="135"/>
                  </a:lnTo>
                  <a:lnTo>
                    <a:pt x="94" y="213"/>
                  </a:lnTo>
                  <a:lnTo>
                    <a:pt x="88" y="213"/>
                  </a:lnTo>
                  <a:lnTo>
                    <a:pt x="100" y="235"/>
                  </a:lnTo>
                  <a:lnTo>
                    <a:pt x="94" y="258"/>
                  </a:lnTo>
                  <a:lnTo>
                    <a:pt x="119" y="258"/>
                  </a:lnTo>
                  <a:lnTo>
                    <a:pt x="106" y="311"/>
                  </a:lnTo>
                  <a:lnTo>
                    <a:pt x="113" y="323"/>
                  </a:lnTo>
                  <a:lnTo>
                    <a:pt x="5" y="379"/>
                  </a:lnTo>
                  <a:lnTo>
                    <a:pt x="56" y="302"/>
                  </a:lnTo>
                  <a:lnTo>
                    <a:pt x="38" y="311"/>
                  </a:lnTo>
                  <a:lnTo>
                    <a:pt x="13" y="290"/>
                  </a:lnTo>
                  <a:lnTo>
                    <a:pt x="31" y="267"/>
                  </a:lnTo>
                  <a:lnTo>
                    <a:pt x="19" y="258"/>
                  </a:lnTo>
                  <a:lnTo>
                    <a:pt x="44" y="223"/>
                  </a:lnTo>
                  <a:lnTo>
                    <a:pt x="50" y="190"/>
                  </a:lnTo>
                  <a:lnTo>
                    <a:pt x="38" y="179"/>
                  </a:lnTo>
                  <a:lnTo>
                    <a:pt x="44" y="167"/>
                  </a:lnTo>
                  <a:lnTo>
                    <a:pt x="19" y="179"/>
                  </a:lnTo>
                  <a:lnTo>
                    <a:pt x="19" y="123"/>
                  </a:lnTo>
                  <a:lnTo>
                    <a:pt x="5" y="144"/>
                  </a:lnTo>
                  <a:lnTo>
                    <a:pt x="13" y="91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39" name="Group 781"/>
            <p:cNvGrpSpPr>
              <a:grpSpLocks/>
            </p:cNvGrpSpPr>
            <p:nvPr>
              <p:custDataLst>
                <p:tags r:id="rId633"/>
              </p:custDataLst>
            </p:nvPr>
          </p:nvGrpSpPr>
          <p:grpSpPr bwMode="auto">
            <a:xfrm>
              <a:off x="4273798" y="2822575"/>
              <a:ext cx="174625" cy="300038"/>
              <a:chOff x="2851" y="1596"/>
              <a:chExt cx="119" cy="189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89" name="Freeform 782"/>
              <p:cNvSpPr>
                <a:spLocks/>
              </p:cNvSpPr>
              <p:nvPr/>
            </p:nvSpPr>
            <p:spPr bwMode="auto">
              <a:xfrm>
                <a:off x="2851" y="1596"/>
                <a:ext cx="119" cy="189"/>
              </a:xfrm>
              <a:custGeom>
                <a:avLst/>
                <a:gdLst>
                  <a:gd name="T0" fmla="*/ 0 w 119"/>
                  <a:gd name="T1" fmla="*/ 0 h 379"/>
                  <a:gd name="T2" fmla="*/ 5 w 119"/>
                  <a:gd name="T3" fmla="*/ 0 h 379"/>
                  <a:gd name="T4" fmla="*/ 19 w 119"/>
                  <a:gd name="T5" fmla="*/ 0 h 379"/>
                  <a:gd name="T6" fmla="*/ 44 w 119"/>
                  <a:gd name="T7" fmla="*/ 0 h 379"/>
                  <a:gd name="T8" fmla="*/ 25 w 119"/>
                  <a:gd name="T9" fmla="*/ 0 h 379"/>
                  <a:gd name="T10" fmla="*/ 63 w 119"/>
                  <a:gd name="T11" fmla="*/ 0 h 379"/>
                  <a:gd name="T12" fmla="*/ 44 w 119"/>
                  <a:gd name="T13" fmla="*/ 0 h 379"/>
                  <a:gd name="T14" fmla="*/ 69 w 119"/>
                  <a:gd name="T15" fmla="*/ 0 h 379"/>
                  <a:gd name="T16" fmla="*/ 94 w 119"/>
                  <a:gd name="T17" fmla="*/ 0 h 379"/>
                  <a:gd name="T18" fmla="*/ 88 w 119"/>
                  <a:gd name="T19" fmla="*/ 0 h 379"/>
                  <a:gd name="T20" fmla="*/ 100 w 119"/>
                  <a:gd name="T21" fmla="*/ 0 h 379"/>
                  <a:gd name="T22" fmla="*/ 94 w 119"/>
                  <a:gd name="T23" fmla="*/ 0 h 379"/>
                  <a:gd name="T24" fmla="*/ 119 w 119"/>
                  <a:gd name="T25" fmla="*/ 0 h 379"/>
                  <a:gd name="T26" fmla="*/ 106 w 119"/>
                  <a:gd name="T27" fmla="*/ 0 h 379"/>
                  <a:gd name="T28" fmla="*/ 113 w 119"/>
                  <a:gd name="T29" fmla="*/ 0 h 379"/>
                  <a:gd name="T30" fmla="*/ 5 w 119"/>
                  <a:gd name="T31" fmla="*/ 0 h 379"/>
                  <a:gd name="T32" fmla="*/ 56 w 119"/>
                  <a:gd name="T33" fmla="*/ 0 h 379"/>
                  <a:gd name="T34" fmla="*/ 38 w 119"/>
                  <a:gd name="T35" fmla="*/ 0 h 379"/>
                  <a:gd name="T36" fmla="*/ 13 w 119"/>
                  <a:gd name="T37" fmla="*/ 0 h 379"/>
                  <a:gd name="T38" fmla="*/ 31 w 119"/>
                  <a:gd name="T39" fmla="*/ 0 h 379"/>
                  <a:gd name="T40" fmla="*/ 19 w 119"/>
                  <a:gd name="T41" fmla="*/ 0 h 379"/>
                  <a:gd name="T42" fmla="*/ 44 w 119"/>
                  <a:gd name="T43" fmla="*/ 0 h 379"/>
                  <a:gd name="T44" fmla="*/ 50 w 119"/>
                  <a:gd name="T45" fmla="*/ 0 h 379"/>
                  <a:gd name="T46" fmla="*/ 38 w 119"/>
                  <a:gd name="T47" fmla="*/ 0 h 379"/>
                  <a:gd name="T48" fmla="*/ 44 w 119"/>
                  <a:gd name="T49" fmla="*/ 0 h 379"/>
                  <a:gd name="T50" fmla="*/ 19 w 119"/>
                  <a:gd name="T51" fmla="*/ 0 h 379"/>
                  <a:gd name="T52" fmla="*/ 19 w 119"/>
                  <a:gd name="T53" fmla="*/ 0 h 379"/>
                  <a:gd name="T54" fmla="*/ 5 w 119"/>
                  <a:gd name="T55" fmla="*/ 0 h 379"/>
                  <a:gd name="T56" fmla="*/ 13 w 119"/>
                  <a:gd name="T57" fmla="*/ 0 h 379"/>
                  <a:gd name="T58" fmla="*/ 0 w 119"/>
                  <a:gd name="T59" fmla="*/ 0 h 3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19" h="379">
                    <a:moveTo>
                      <a:pt x="0" y="91"/>
                    </a:moveTo>
                    <a:lnTo>
                      <a:pt x="5" y="35"/>
                    </a:lnTo>
                    <a:lnTo>
                      <a:pt x="19" y="0"/>
                    </a:lnTo>
                    <a:lnTo>
                      <a:pt x="44" y="0"/>
                    </a:lnTo>
                    <a:lnTo>
                      <a:pt x="25" y="46"/>
                    </a:lnTo>
                    <a:lnTo>
                      <a:pt x="63" y="56"/>
                    </a:lnTo>
                    <a:lnTo>
                      <a:pt x="44" y="112"/>
                    </a:lnTo>
                    <a:lnTo>
                      <a:pt x="69" y="135"/>
                    </a:lnTo>
                    <a:lnTo>
                      <a:pt x="94" y="213"/>
                    </a:lnTo>
                    <a:lnTo>
                      <a:pt x="88" y="213"/>
                    </a:lnTo>
                    <a:lnTo>
                      <a:pt x="100" y="235"/>
                    </a:lnTo>
                    <a:lnTo>
                      <a:pt x="94" y="258"/>
                    </a:lnTo>
                    <a:lnTo>
                      <a:pt x="119" y="258"/>
                    </a:lnTo>
                    <a:lnTo>
                      <a:pt x="106" y="311"/>
                    </a:lnTo>
                    <a:lnTo>
                      <a:pt x="113" y="323"/>
                    </a:lnTo>
                    <a:lnTo>
                      <a:pt x="5" y="379"/>
                    </a:lnTo>
                    <a:lnTo>
                      <a:pt x="56" y="302"/>
                    </a:lnTo>
                    <a:lnTo>
                      <a:pt x="38" y="311"/>
                    </a:lnTo>
                    <a:lnTo>
                      <a:pt x="13" y="290"/>
                    </a:lnTo>
                    <a:lnTo>
                      <a:pt x="31" y="267"/>
                    </a:lnTo>
                    <a:lnTo>
                      <a:pt x="19" y="258"/>
                    </a:lnTo>
                    <a:lnTo>
                      <a:pt x="44" y="223"/>
                    </a:lnTo>
                    <a:lnTo>
                      <a:pt x="50" y="190"/>
                    </a:lnTo>
                    <a:lnTo>
                      <a:pt x="38" y="179"/>
                    </a:lnTo>
                    <a:lnTo>
                      <a:pt x="44" y="167"/>
                    </a:lnTo>
                    <a:lnTo>
                      <a:pt x="19" y="179"/>
                    </a:lnTo>
                    <a:lnTo>
                      <a:pt x="19" y="123"/>
                    </a:lnTo>
                    <a:lnTo>
                      <a:pt x="5" y="144"/>
                    </a:lnTo>
                    <a:lnTo>
                      <a:pt x="13" y="91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90" name="Freeform 783"/>
              <p:cNvSpPr>
                <a:spLocks/>
              </p:cNvSpPr>
              <p:nvPr/>
            </p:nvSpPr>
            <p:spPr bwMode="auto">
              <a:xfrm>
                <a:off x="2851" y="1596"/>
                <a:ext cx="119" cy="189"/>
              </a:xfrm>
              <a:custGeom>
                <a:avLst/>
                <a:gdLst>
                  <a:gd name="T0" fmla="*/ 0 w 119"/>
                  <a:gd name="T1" fmla="*/ 0 h 379"/>
                  <a:gd name="T2" fmla="*/ 5 w 119"/>
                  <a:gd name="T3" fmla="*/ 0 h 379"/>
                  <a:gd name="T4" fmla="*/ 19 w 119"/>
                  <a:gd name="T5" fmla="*/ 0 h 379"/>
                  <a:gd name="T6" fmla="*/ 44 w 119"/>
                  <a:gd name="T7" fmla="*/ 0 h 379"/>
                  <a:gd name="T8" fmla="*/ 25 w 119"/>
                  <a:gd name="T9" fmla="*/ 0 h 379"/>
                  <a:gd name="T10" fmla="*/ 63 w 119"/>
                  <a:gd name="T11" fmla="*/ 0 h 379"/>
                  <a:gd name="T12" fmla="*/ 44 w 119"/>
                  <a:gd name="T13" fmla="*/ 0 h 379"/>
                  <a:gd name="T14" fmla="*/ 69 w 119"/>
                  <a:gd name="T15" fmla="*/ 0 h 379"/>
                  <a:gd name="T16" fmla="*/ 94 w 119"/>
                  <a:gd name="T17" fmla="*/ 0 h 379"/>
                  <a:gd name="T18" fmla="*/ 88 w 119"/>
                  <a:gd name="T19" fmla="*/ 0 h 379"/>
                  <a:gd name="T20" fmla="*/ 100 w 119"/>
                  <a:gd name="T21" fmla="*/ 0 h 379"/>
                  <a:gd name="T22" fmla="*/ 94 w 119"/>
                  <a:gd name="T23" fmla="*/ 0 h 379"/>
                  <a:gd name="T24" fmla="*/ 119 w 119"/>
                  <a:gd name="T25" fmla="*/ 0 h 379"/>
                  <a:gd name="T26" fmla="*/ 106 w 119"/>
                  <a:gd name="T27" fmla="*/ 0 h 379"/>
                  <a:gd name="T28" fmla="*/ 113 w 119"/>
                  <a:gd name="T29" fmla="*/ 0 h 379"/>
                  <a:gd name="T30" fmla="*/ 5 w 119"/>
                  <a:gd name="T31" fmla="*/ 0 h 379"/>
                  <a:gd name="T32" fmla="*/ 56 w 119"/>
                  <a:gd name="T33" fmla="*/ 0 h 379"/>
                  <a:gd name="T34" fmla="*/ 38 w 119"/>
                  <a:gd name="T35" fmla="*/ 0 h 379"/>
                  <a:gd name="T36" fmla="*/ 13 w 119"/>
                  <a:gd name="T37" fmla="*/ 0 h 379"/>
                  <a:gd name="T38" fmla="*/ 31 w 119"/>
                  <a:gd name="T39" fmla="*/ 0 h 379"/>
                  <a:gd name="T40" fmla="*/ 19 w 119"/>
                  <a:gd name="T41" fmla="*/ 0 h 379"/>
                  <a:gd name="T42" fmla="*/ 44 w 119"/>
                  <a:gd name="T43" fmla="*/ 0 h 379"/>
                  <a:gd name="T44" fmla="*/ 50 w 119"/>
                  <a:gd name="T45" fmla="*/ 0 h 379"/>
                  <a:gd name="T46" fmla="*/ 38 w 119"/>
                  <a:gd name="T47" fmla="*/ 0 h 379"/>
                  <a:gd name="T48" fmla="*/ 44 w 119"/>
                  <a:gd name="T49" fmla="*/ 0 h 379"/>
                  <a:gd name="T50" fmla="*/ 19 w 119"/>
                  <a:gd name="T51" fmla="*/ 0 h 379"/>
                  <a:gd name="T52" fmla="*/ 19 w 119"/>
                  <a:gd name="T53" fmla="*/ 0 h 379"/>
                  <a:gd name="T54" fmla="*/ 5 w 119"/>
                  <a:gd name="T55" fmla="*/ 0 h 379"/>
                  <a:gd name="T56" fmla="*/ 13 w 119"/>
                  <a:gd name="T57" fmla="*/ 0 h 379"/>
                  <a:gd name="T58" fmla="*/ 0 w 119"/>
                  <a:gd name="T59" fmla="*/ 0 h 3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19" h="379">
                    <a:moveTo>
                      <a:pt x="0" y="91"/>
                    </a:moveTo>
                    <a:lnTo>
                      <a:pt x="5" y="35"/>
                    </a:lnTo>
                    <a:lnTo>
                      <a:pt x="19" y="0"/>
                    </a:lnTo>
                    <a:lnTo>
                      <a:pt x="44" y="0"/>
                    </a:lnTo>
                    <a:lnTo>
                      <a:pt x="25" y="46"/>
                    </a:lnTo>
                    <a:lnTo>
                      <a:pt x="63" y="56"/>
                    </a:lnTo>
                    <a:lnTo>
                      <a:pt x="44" y="112"/>
                    </a:lnTo>
                    <a:lnTo>
                      <a:pt x="69" y="135"/>
                    </a:lnTo>
                    <a:lnTo>
                      <a:pt x="94" y="213"/>
                    </a:lnTo>
                    <a:lnTo>
                      <a:pt x="88" y="213"/>
                    </a:lnTo>
                    <a:lnTo>
                      <a:pt x="100" y="235"/>
                    </a:lnTo>
                    <a:lnTo>
                      <a:pt x="94" y="258"/>
                    </a:lnTo>
                    <a:lnTo>
                      <a:pt x="119" y="258"/>
                    </a:lnTo>
                    <a:lnTo>
                      <a:pt x="106" y="311"/>
                    </a:lnTo>
                    <a:lnTo>
                      <a:pt x="113" y="323"/>
                    </a:lnTo>
                    <a:lnTo>
                      <a:pt x="5" y="379"/>
                    </a:lnTo>
                    <a:lnTo>
                      <a:pt x="56" y="302"/>
                    </a:lnTo>
                    <a:lnTo>
                      <a:pt x="38" y="311"/>
                    </a:lnTo>
                    <a:lnTo>
                      <a:pt x="13" y="290"/>
                    </a:lnTo>
                    <a:lnTo>
                      <a:pt x="31" y="267"/>
                    </a:lnTo>
                    <a:lnTo>
                      <a:pt x="19" y="258"/>
                    </a:lnTo>
                    <a:lnTo>
                      <a:pt x="44" y="223"/>
                    </a:lnTo>
                    <a:lnTo>
                      <a:pt x="50" y="190"/>
                    </a:lnTo>
                    <a:lnTo>
                      <a:pt x="38" y="179"/>
                    </a:lnTo>
                    <a:lnTo>
                      <a:pt x="44" y="167"/>
                    </a:lnTo>
                    <a:lnTo>
                      <a:pt x="19" y="179"/>
                    </a:lnTo>
                    <a:lnTo>
                      <a:pt x="19" y="123"/>
                    </a:lnTo>
                    <a:lnTo>
                      <a:pt x="5" y="144"/>
                    </a:lnTo>
                    <a:lnTo>
                      <a:pt x="13" y="91"/>
                    </a:lnTo>
                    <a:lnTo>
                      <a:pt x="0" y="91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40" name="Freeform 784"/>
            <p:cNvSpPr>
              <a:spLocks/>
            </p:cNvSpPr>
            <p:nvPr>
              <p:custDataLst>
                <p:tags r:id="rId634"/>
              </p:custDataLst>
            </p:nvPr>
          </p:nvSpPr>
          <p:spPr bwMode="auto">
            <a:xfrm>
              <a:off x="4273798" y="2822575"/>
              <a:ext cx="174625" cy="300038"/>
            </a:xfrm>
            <a:custGeom>
              <a:avLst/>
              <a:gdLst>
                <a:gd name="T0" fmla="*/ 0 w 119"/>
                <a:gd name="T1" fmla="*/ 2147483647 h 379"/>
                <a:gd name="T2" fmla="*/ 2147483647 w 119"/>
                <a:gd name="T3" fmla="*/ 2147483647 h 379"/>
                <a:gd name="T4" fmla="*/ 2147483647 w 119"/>
                <a:gd name="T5" fmla="*/ 0 h 379"/>
                <a:gd name="T6" fmla="*/ 2147483647 w 119"/>
                <a:gd name="T7" fmla="*/ 0 h 379"/>
                <a:gd name="T8" fmla="*/ 2147483647 w 119"/>
                <a:gd name="T9" fmla="*/ 2147483647 h 379"/>
                <a:gd name="T10" fmla="*/ 2147483647 w 119"/>
                <a:gd name="T11" fmla="*/ 2147483647 h 379"/>
                <a:gd name="T12" fmla="*/ 2147483647 w 119"/>
                <a:gd name="T13" fmla="*/ 2147483647 h 379"/>
                <a:gd name="T14" fmla="*/ 2147483647 w 119"/>
                <a:gd name="T15" fmla="*/ 2147483647 h 379"/>
                <a:gd name="T16" fmla="*/ 2147483647 w 119"/>
                <a:gd name="T17" fmla="*/ 2147483647 h 379"/>
                <a:gd name="T18" fmla="*/ 2147483647 w 119"/>
                <a:gd name="T19" fmla="*/ 2147483647 h 379"/>
                <a:gd name="T20" fmla="*/ 2147483647 w 119"/>
                <a:gd name="T21" fmla="*/ 2147483647 h 379"/>
                <a:gd name="T22" fmla="*/ 2147483647 w 119"/>
                <a:gd name="T23" fmla="*/ 2147483647 h 379"/>
                <a:gd name="T24" fmla="*/ 2147483647 w 119"/>
                <a:gd name="T25" fmla="*/ 2147483647 h 379"/>
                <a:gd name="T26" fmla="*/ 2147483647 w 119"/>
                <a:gd name="T27" fmla="*/ 2147483647 h 379"/>
                <a:gd name="T28" fmla="*/ 2147483647 w 119"/>
                <a:gd name="T29" fmla="*/ 2147483647 h 379"/>
                <a:gd name="T30" fmla="*/ 2147483647 w 119"/>
                <a:gd name="T31" fmla="*/ 2147483647 h 379"/>
                <a:gd name="T32" fmla="*/ 2147483647 w 119"/>
                <a:gd name="T33" fmla="*/ 2147483647 h 379"/>
                <a:gd name="T34" fmla="*/ 2147483647 w 119"/>
                <a:gd name="T35" fmla="*/ 2147483647 h 379"/>
                <a:gd name="T36" fmla="*/ 2147483647 w 119"/>
                <a:gd name="T37" fmla="*/ 2147483647 h 379"/>
                <a:gd name="T38" fmla="*/ 2147483647 w 119"/>
                <a:gd name="T39" fmla="*/ 2147483647 h 379"/>
                <a:gd name="T40" fmla="*/ 2147483647 w 119"/>
                <a:gd name="T41" fmla="*/ 2147483647 h 379"/>
                <a:gd name="T42" fmla="*/ 2147483647 w 119"/>
                <a:gd name="T43" fmla="*/ 2147483647 h 379"/>
                <a:gd name="T44" fmla="*/ 2147483647 w 119"/>
                <a:gd name="T45" fmla="*/ 2147483647 h 379"/>
                <a:gd name="T46" fmla="*/ 2147483647 w 119"/>
                <a:gd name="T47" fmla="*/ 2147483647 h 379"/>
                <a:gd name="T48" fmla="*/ 2147483647 w 119"/>
                <a:gd name="T49" fmla="*/ 2147483647 h 379"/>
                <a:gd name="T50" fmla="*/ 2147483647 w 119"/>
                <a:gd name="T51" fmla="*/ 2147483647 h 379"/>
                <a:gd name="T52" fmla="*/ 2147483647 w 119"/>
                <a:gd name="T53" fmla="*/ 2147483647 h 379"/>
                <a:gd name="T54" fmla="*/ 2147483647 w 119"/>
                <a:gd name="T55" fmla="*/ 2147483647 h 379"/>
                <a:gd name="T56" fmla="*/ 2147483647 w 119"/>
                <a:gd name="T57" fmla="*/ 2147483647 h 379"/>
                <a:gd name="T58" fmla="*/ 0 w 119"/>
                <a:gd name="T59" fmla="*/ 2147483647 h 37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19" h="379">
                  <a:moveTo>
                    <a:pt x="0" y="91"/>
                  </a:moveTo>
                  <a:lnTo>
                    <a:pt x="5" y="35"/>
                  </a:lnTo>
                  <a:lnTo>
                    <a:pt x="19" y="0"/>
                  </a:lnTo>
                  <a:lnTo>
                    <a:pt x="44" y="0"/>
                  </a:lnTo>
                  <a:lnTo>
                    <a:pt x="25" y="46"/>
                  </a:lnTo>
                  <a:lnTo>
                    <a:pt x="63" y="56"/>
                  </a:lnTo>
                  <a:lnTo>
                    <a:pt x="44" y="112"/>
                  </a:lnTo>
                  <a:lnTo>
                    <a:pt x="69" y="135"/>
                  </a:lnTo>
                  <a:lnTo>
                    <a:pt x="94" y="213"/>
                  </a:lnTo>
                  <a:lnTo>
                    <a:pt x="88" y="213"/>
                  </a:lnTo>
                  <a:lnTo>
                    <a:pt x="100" y="235"/>
                  </a:lnTo>
                  <a:lnTo>
                    <a:pt x="94" y="258"/>
                  </a:lnTo>
                  <a:lnTo>
                    <a:pt x="119" y="258"/>
                  </a:lnTo>
                  <a:lnTo>
                    <a:pt x="106" y="311"/>
                  </a:lnTo>
                  <a:lnTo>
                    <a:pt x="113" y="323"/>
                  </a:lnTo>
                  <a:lnTo>
                    <a:pt x="5" y="379"/>
                  </a:lnTo>
                  <a:lnTo>
                    <a:pt x="56" y="302"/>
                  </a:lnTo>
                  <a:lnTo>
                    <a:pt x="38" y="311"/>
                  </a:lnTo>
                  <a:lnTo>
                    <a:pt x="13" y="290"/>
                  </a:lnTo>
                  <a:lnTo>
                    <a:pt x="31" y="267"/>
                  </a:lnTo>
                  <a:lnTo>
                    <a:pt x="19" y="258"/>
                  </a:lnTo>
                  <a:lnTo>
                    <a:pt x="44" y="223"/>
                  </a:lnTo>
                  <a:lnTo>
                    <a:pt x="50" y="190"/>
                  </a:lnTo>
                  <a:lnTo>
                    <a:pt x="38" y="179"/>
                  </a:lnTo>
                  <a:lnTo>
                    <a:pt x="44" y="167"/>
                  </a:lnTo>
                  <a:lnTo>
                    <a:pt x="19" y="179"/>
                  </a:lnTo>
                  <a:lnTo>
                    <a:pt x="19" y="123"/>
                  </a:lnTo>
                  <a:lnTo>
                    <a:pt x="5" y="144"/>
                  </a:lnTo>
                  <a:lnTo>
                    <a:pt x="13" y="91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41" name="Group 785"/>
            <p:cNvGrpSpPr>
              <a:grpSpLocks/>
            </p:cNvGrpSpPr>
            <p:nvPr>
              <p:custDataLst>
                <p:tags r:id="rId635"/>
              </p:custDataLst>
            </p:nvPr>
          </p:nvGrpSpPr>
          <p:grpSpPr bwMode="auto">
            <a:xfrm>
              <a:off x="4273798" y="2822575"/>
              <a:ext cx="174625" cy="300038"/>
              <a:chOff x="2851" y="1596"/>
              <a:chExt cx="119" cy="189"/>
            </a:xfrm>
            <a:solidFill>
              <a:schemeClr val="accent6">
                <a:lumMod val="75000"/>
              </a:schemeClr>
            </a:solidFill>
          </p:grpSpPr>
          <p:sp>
            <p:nvSpPr>
              <p:cNvPr id="987" name="Freeform 786"/>
              <p:cNvSpPr>
                <a:spLocks/>
              </p:cNvSpPr>
              <p:nvPr/>
            </p:nvSpPr>
            <p:spPr bwMode="auto">
              <a:xfrm>
                <a:off x="2851" y="1596"/>
                <a:ext cx="119" cy="189"/>
              </a:xfrm>
              <a:custGeom>
                <a:avLst/>
                <a:gdLst>
                  <a:gd name="T0" fmla="*/ 0 w 119"/>
                  <a:gd name="T1" fmla="*/ 0 h 379"/>
                  <a:gd name="T2" fmla="*/ 5 w 119"/>
                  <a:gd name="T3" fmla="*/ 0 h 379"/>
                  <a:gd name="T4" fmla="*/ 19 w 119"/>
                  <a:gd name="T5" fmla="*/ 0 h 379"/>
                  <a:gd name="T6" fmla="*/ 44 w 119"/>
                  <a:gd name="T7" fmla="*/ 0 h 379"/>
                  <a:gd name="T8" fmla="*/ 25 w 119"/>
                  <a:gd name="T9" fmla="*/ 0 h 379"/>
                  <a:gd name="T10" fmla="*/ 63 w 119"/>
                  <a:gd name="T11" fmla="*/ 0 h 379"/>
                  <a:gd name="T12" fmla="*/ 44 w 119"/>
                  <a:gd name="T13" fmla="*/ 0 h 379"/>
                  <a:gd name="T14" fmla="*/ 69 w 119"/>
                  <a:gd name="T15" fmla="*/ 0 h 379"/>
                  <a:gd name="T16" fmla="*/ 94 w 119"/>
                  <a:gd name="T17" fmla="*/ 0 h 379"/>
                  <a:gd name="T18" fmla="*/ 88 w 119"/>
                  <a:gd name="T19" fmla="*/ 0 h 379"/>
                  <a:gd name="T20" fmla="*/ 100 w 119"/>
                  <a:gd name="T21" fmla="*/ 0 h 379"/>
                  <a:gd name="T22" fmla="*/ 94 w 119"/>
                  <a:gd name="T23" fmla="*/ 0 h 379"/>
                  <a:gd name="T24" fmla="*/ 119 w 119"/>
                  <a:gd name="T25" fmla="*/ 0 h 379"/>
                  <a:gd name="T26" fmla="*/ 106 w 119"/>
                  <a:gd name="T27" fmla="*/ 0 h 379"/>
                  <a:gd name="T28" fmla="*/ 113 w 119"/>
                  <a:gd name="T29" fmla="*/ 0 h 379"/>
                  <a:gd name="T30" fmla="*/ 5 w 119"/>
                  <a:gd name="T31" fmla="*/ 0 h 379"/>
                  <a:gd name="T32" fmla="*/ 56 w 119"/>
                  <a:gd name="T33" fmla="*/ 0 h 379"/>
                  <a:gd name="T34" fmla="*/ 38 w 119"/>
                  <a:gd name="T35" fmla="*/ 0 h 379"/>
                  <a:gd name="T36" fmla="*/ 13 w 119"/>
                  <a:gd name="T37" fmla="*/ 0 h 379"/>
                  <a:gd name="T38" fmla="*/ 31 w 119"/>
                  <a:gd name="T39" fmla="*/ 0 h 379"/>
                  <a:gd name="T40" fmla="*/ 19 w 119"/>
                  <a:gd name="T41" fmla="*/ 0 h 379"/>
                  <a:gd name="T42" fmla="*/ 44 w 119"/>
                  <a:gd name="T43" fmla="*/ 0 h 379"/>
                  <a:gd name="T44" fmla="*/ 50 w 119"/>
                  <a:gd name="T45" fmla="*/ 0 h 379"/>
                  <a:gd name="T46" fmla="*/ 38 w 119"/>
                  <a:gd name="T47" fmla="*/ 0 h 379"/>
                  <a:gd name="T48" fmla="*/ 44 w 119"/>
                  <a:gd name="T49" fmla="*/ 0 h 379"/>
                  <a:gd name="T50" fmla="*/ 19 w 119"/>
                  <a:gd name="T51" fmla="*/ 0 h 379"/>
                  <a:gd name="T52" fmla="*/ 19 w 119"/>
                  <a:gd name="T53" fmla="*/ 0 h 379"/>
                  <a:gd name="T54" fmla="*/ 5 w 119"/>
                  <a:gd name="T55" fmla="*/ 0 h 379"/>
                  <a:gd name="T56" fmla="*/ 13 w 119"/>
                  <a:gd name="T57" fmla="*/ 0 h 379"/>
                  <a:gd name="T58" fmla="*/ 0 w 119"/>
                  <a:gd name="T59" fmla="*/ 0 h 3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19" h="379">
                    <a:moveTo>
                      <a:pt x="0" y="91"/>
                    </a:moveTo>
                    <a:lnTo>
                      <a:pt x="5" y="35"/>
                    </a:lnTo>
                    <a:lnTo>
                      <a:pt x="19" y="0"/>
                    </a:lnTo>
                    <a:lnTo>
                      <a:pt x="44" y="0"/>
                    </a:lnTo>
                    <a:lnTo>
                      <a:pt x="25" y="46"/>
                    </a:lnTo>
                    <a:lnTo>
                      <a:pt x="63" y="56"/>
                    </a:lnTo>
                    <a:lnTo>
                      <a:pt x="44" y="112"/>
                    </a:lnTo>
                    <a:lnTo>
                      <a:pt x="69" y="135"/>
                    </a:lnTo>
                    <a:lnTo>
                      <a:pt x="94" y="213"/>
                    </a:lnTo>
                    <a:lnTo>
                      <a:pt x="88" y="213"/>
                    </a:lnTo>
                    <a:lnTo>
                      <a:pt x="100" y="235"/>
                    </a:lnTo>
                    <a:lnTo>
                      <a:pt x="94" y="258"/>
                    </a:lnTo>
                    <a:lnTo>
                      <a:pt x="119" y="258"/>
                    </a:lnTo>
                    <a:lnTo>
                      <a:pt x="106" y="311"/>
                    </a:lnTo>
                    <a:lnTo>
                      <a:pt x="113" y="323"/>
                    </a:lnTo>
                    <a:lnTo>
                      <a:pt x="5" y="379"/>
                    </a:lnTo>
                    <a:lnTo>
                      <a:pt x="56" y="302"/>
                    </a:lnTo>
                    <a:lnTo>
                      <a:pt x="38" y="311"/>
                    </a:lnTo>
                    <a:lnTo>
                      <a:pt x="13" y="290"/>
                    </a:lnTo>
                    <a:lnTo>
                      <a:pt x="31" y="267"/>
                    </a:lnTo>
                    <a:lnTo>
                      <a:pt x="19" y="258"/>
                    </a:lnTo>
                    <a:lnTo>
                      <a:pt x="44" y="223"/>
                    </a:lnTo>
                    <a:lnTo>
                      <a:pt x="50" y="190"/>
                    </a:lnTo>
                    <a:lnTo>
                      <a:pt x="38" y="179"/>
                    </a:lnTo>
                    <a:lnTo>
                      <a:pt x="44" y="167"/>
                    </a:lnTo>
                    <a:lnTo>
                      <a:pt x="19" y="179"/>
                    </a:lnTo>
                    <a:lnTo>
                      <a:pt x="19" y="123"/>
                    </a:lnTo>
                    <a:lnTo>
                      <a:pt x="5" y="144"/>
                    </a:lnTo>
                    <a:lnTo>
                      <a:pt x="13" y="91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88" name="Freeform 787"/>
              <p:cNvSpPr>
                <a:spLocks/>
              </p:cNvSpPr>
              <p:nvPr/>
            </p:nvSpPr>
            <p:spPr bwMode="auto">
              <a:xfrm>
                <a:off x="2851" y="1596"/>
                <a:ext cx="119" cy="189"/>
              </a:xfrm>
              <a:custGeom>
                <a:avLst/>
                <a:gdLst>
                  <a:gd name="T0" fmla="*/ 0 w 119"/>
                  <a:gd name="T1" fmla="*/ 0 h 379"/>
                  <a:gd name="T2" fmla="*/ 5 w 119"/>
                  <a:gd name="T3" fmla="*/ 0 h 379"/>
                  <a:gd name="T4" fmla="*/ 19 w 119"/>
                  <a:gd name="T5" fmla="*/ 0 h 379"/>
                  <a:gd name="T6" fmla="*/ 44 w 119"/>
                  <a:gd name="T7" fmla="*/ 0 h 379"/>
                  <a:gd name="T8" fmla="*/ 25 w 119"/>
                  <a:gd name="T9" fmla="*/ 0 h 379"/>
                  <a:gd name="T10" fmla="*/ 63 w 119"/>
                  <a:gd name="T11" fmla="*/ 0 h 379"/>
                  <a:gd name="T12" fmla="*/ 44 w 119"/>
                  <a:gd name="T13" fmla="*/ 0 h 379"/>
                  <a:gd name="T14" fmla="*/ 69 w 119"/>
                  <a:gd name="T15" fmla="*/ 0 h 379"/>
                  <a:gd name="T16" fmla="*/ 94 w 119"/>
                  <a:gd name="T17" fmla="*/ 0 h 379"/>
                  <a:gd name="T18" fmla="*/ 88 w 119"/>
                  <a:gd name="T19" fmla="*/ 0 h 379"/>
                  <a:gd name="T20" fmla="*/ 100 w 119"/>
                  <a:gd name="T21" fmla="*/ 0 h 379"/>
                  <a:gd name="T22" fmla="*/ 94 w 119"/>
                  <a:gd name="T23" fmla="*/ 0 h 379"/>
                  <a:gd name="T24" fmla="*/ 119 w 119"/>
                  <a:gd name="T25" fmla="*/ 0 h 379"/>
                  <a:gd name="T26" fmla="*/ 106 w 119"/>
                  <a:gd name="T27" fmla="*/ 0 h 379"/>
                  <a:gd name="T28" fmla="*/ 113 w 119"/>
                  <a:gd name="T29" fmla="*/ 0 h 379"/>
                  <a:gd name="T30" fmla="*/ 5 w 119"/>
                  <a:gd name="T31" fmla="*/ 0 h 379"/>
                  <a:gd name="T32" fmla="*/ 56 w 119"/>
                  <a:gd name="T33" fmla="*/ 0 h 379"/>
                  <a:gd name="T34" fmla="*/ 38 w 119"/>
                  <a:gd name="T35" fmla="*/ 0 h 379"/>
                  <a:gd name="T36" fmla="*/ 13 w 119"/>
                  <a:gd name="T37" fmla="*/ 0 h 379"/>
                  <a:gd name="T38" fmla="*/ 31 w 119"/>
                  <a:gd name="T39" fmla="*/ 0 h 379"/>
                  <a:gd name="T40" fmla="*/ 19 w 119"/>
                  <a:gd name="T41" fmla="*/ 0 h 379"/>
                  <a:gd name="T42" fmla="*/ 44 w 119"/>
                  <a:gd name="T43" fmla="*/ 0 h 379"/>
                  <a:gd name="T44" fmla="*/ 50 w 119"/>
                  <a:gd name="T45" fmla="*/ 0 h 379"/>
                  <a:gd name="T46" fmla="*/ 38 w 119"/>
                  <a:gd name="T47" fmla="*/ 0 h 379"/>
                  <a:gd name="T48" fmla="*/ 44 w 119"/>
                  <a:gd name="T49" fmla="*/ 0 h 379"/>
                  <a:gd name="T50" fmla="*/ 19 w 119"/>
                  <a:gd name="T51" fmla="*/ 0 h 379"/>
                  <a:gd name="T52" fmla="*/ 19 w 119"/>
                  <a:gd name="T53" fmla="*/ 0 h 379"/>
                  <a:gd name="T54" fmla="*/ 5 w 119"/>
                  <a:gd name="T55" fmla="*/ 0 h 379"/>
                  <a:gd name="T56" fmla="*/ 13 w 119"/>
                  <a:gd name="T57" fmla="*/ 0 h 379"/>
                  <a:gd name="T58" fmla="*/ 0 w 119"/>
                  <a:gd name="T59" fmla="*/ 0 h 3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19" h="379">
                    <a:moveTo>
                      <a:pt x="0" y="91"/>
                    </a:moveTo>
                    <a:lnTo>
                      <a:pt x="5" y="35"/>
                    </a:lnTo>
                    <a:lnTo>
                      <a:pt x="19" y="0"/>
                    </a:lnTo>
                    <a:lnTo>
                      <a:pt x="44" y="0"/>
                    </a:lnTo>
                    <a:lnTo>
                      <a:pt x="25" y="46"/>
                    </a:lnTo>
                    <a:lnTo>
                      <a:pt x="63" y="56"/>
                    </a:lnTo>
                    <a:lnTo>
                      <a:pt x="44" y="112"/>
                    </a:lnTo>
                    <a:lnTo>
                      <a:pt x="69" y="135"/>
                    </a:lnTo>
                    <a:lnTo>
                      <a:pt x="94" y="213"/>
                    </a:lnTo>
                    <a:lnTo>
                      <a:pt x="88" y="213"/>
                    </a:lnTo>
                    <a:lnTo>
                      <a:pt x="100" y="235"/>
                    </a:lnTo>
                    <a:lnTo>
                      <a:pt x="94" y="258"/>
                    </a:lnTo>
                    <a:lnTo>
                      <a:pt x="119" y="258"/>
                    </a:lnTo>
                    <a:lnTo>
                      <a:pt x="106" y="311"/>
                    </a:lnTo>
                    <a:lnTo>
                      <a:pt x="113" y="323"/>
                    </a:lnTo>
                    <a:lnTo>
                      <a:pt x="5" y="379"/>
                    </a:lnTo>
                    <a:lnTo>
                      <a:pt x="56" y="302"/>
                    </a:lnTo>
                    <a:lnTo>
                      <a:pt x="38" y="311"/>
                    </a:lnTo>
                    <a:lnTo>
                      <a:pt x="13" y="290"/>
                    </a:lnTo>
                    <a:lnTo>
                      <a:pt x="31" y="267"/>
                    </a:lnTo>
                    <a:lnTo>
                      <a:pt x="19" y="258"/>
                    </a:lnTo>
                    <a:lnTo>
                      <a:pt x="44" y="223"/>
                    </a:lnTo>
                    <a:lnTo>
                      <a:pt x="50" y="190"/>
                    </a:lnTo>
                    <a:lnTo>
                      <a:pt x="38" y="179"/>
                    </a:lnTo>
                    <a:lnTo>
                      <a:pt x="44" y="167"/>
                    </a:lnTo>
                    <a:lnTo>
                      <a:pt x="19" y="179"/>
                    </a:lnTo>
                    <a:lnTo>
                      <a:pt x="19" y="123"/>
                    </a:lnTo>
                    <a:lnTo>
                      <a:pt x="5" y="144"/>
                    </a:lnTo>
                    <a:lnTo>
                      <a:pt x="13" y="91"/>
                    </a:lnTo>
                    <a:lnTo>
                      <a:pt x="0" y="91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42" name="Freeform 788"/>
            <p:cNvSpPr>
              <a:spLocks/>
            </p:cNvSpPr>
            <p:nvPr>
              <p:custDataLst>
                <p:tags r:id="rId636"/>
              </p:custDataLst>
            </p:nvPr>
          </p:nvSpPr>
          <p:spPr bwMode="auto">
            <a:xfrm>
              <a:off x="395536" y="2290763"/>
              <a:ext cx="677862" cy="663575"/>
            </a:xfrm>
            <a:custGeom>
              <a:avLst/>
              <a:gdLst>
                <a:gd name="T0" fmla="*/ 2147483647 w 462"/>
                <a:gd name="T1" fmla="*/ 2147483647 h 835"/>
                <a:gd name="T2" fmla="*/ 2147483647 w 462"/>
                <a:gd name="T3" fmla="*/ 2147483647 h 835"/>
                <a:gd name="T4" fmla="*/ 2147483647 w 462"/>
                <a:gd name="T5" fmla="*/ 2147483647 h 835"/>
                <a:gd name="T6" fmla="*/ 2147483647 w 462"/>
                <a:gd name="T7" fmla="*/ 2147483647 h 835"/>
                <a:gd name="T8" fmla="*/ 2147483647 w 462"/>
                <a:gd name="T9" fmla="*/ 2147483647 h 835"/>
                <a:gd name="T10" fmla="*/ 2147483647 w 462"/>
                <a:gd name="T11" fmla="*/ 2147483647 h 835"/>
                <a:gd name="T12" fmla="*/ 2147483647 w 462"/>
                <a:gd name="T13" fmla="*/ 2147483647 h 835"/>
                <a:gd name="T14" fmla="*/ 2147483647 w 462"/>
                <a:gd name="T15" fmla="*/ 2147483647 h 835"/>
                <a:gd name="T16" fmla="*/ 2147483647 w 462"/>
                <a:gd name="T17" fmla="*/ 2147483647 h 835"/>
                <a:gd name="T18" fmla="*/ 2147483647 w 462"/>
                <a:gd name="T19" fmla="*/ 2147483647 h 835"/>
                <a:gd name="T20" fmla="*/ 2147483647 w 462"/>
                <a:gd name="T21" fmla="*/ 2147483647 h 835"/>
                <a:gd name="T22" fmla="*/ 2147483647 w 462"/>
                <a:gd name="T23" fmla="*/ 2147483647 h 835"/>
                <a:gd name="T24" fmla="*/ 2147483647 w 462"/>
                <a:gd name="T25" fmla="*/ 2147483647 h 835"/>
                <a:gd name="T26" fmla="*/ 2147483647 w 462"/>
                <a:gd name="T27" fmla="*/ 2147483647 h 835"/>
                <a:gd name="T28" fmla="*/ 2147483647 w 462"/>
                <a:gd name="T29" fmla="*/ 2147483647 h 835"/>
                <a:gd name="T30" fmla="*/ 2147483647 w 462"/>
                <a:gd name="T31" fmla="*/ 2147483647 h 835"/>
                <a:gd name="T32" fmla="*/ 2147483647 w 462"/>
                <a:gd name="T33" fmla="*/ 2147483647 h 835"/>
                <a:gd name="T34" fmla="*/ 2147483647 w 462"/>
                <a:gd name="T35" fmla="*/ 2147483647 h 835"/>
                <a:gd name="T36" fmla="*/ 2147483647 w 462"/>
                <a:gd name="T37" fmla="*/ 2147483647 h 835"/>
                <a:gd name="T38" fmla="*/ 2147483647 w 462"/>
                <a:gd name="T39" fmla="*/ 2147483647 h 835"/>
                <a:gd name="T40" fmla="*/ 2147483647 w 462"/>
                <a:gd name="T41" fmla="*/ 2147483647 h 835"/>
                <a:gd name="T42" fmla="*/ 2147483647 w 462"/>
                <a:gd name="T43" fmla="*/ 2147483647 h 835"/>
                <a:gd name="T44" fmla="*/ 2147483647 w 462"/>
                <a:gd name="T45" fmla="*/ 2147483647 h 835"/>
                <a:gd name="T46" fmla="*/ 2147483647 w 462"/>
                <a:gd name="T47" fmla="*/ 2147483647 h 835"/>
                <a:gd name="T48" fmla="*/ 2147483647 w 462"/>
                <a:gd name="T49" fmla="*/ 2147483647 h 835"/>
                <a:gd name="T50" fmla="*/ 2147483647 w 462"/>
                <a:gd name="T51" fmla="*/ 2147483647 h 835"/>
                <a:gd name="T52" fmla="*/ 2147483647 w 462"/>
                <a:gd name="T53" fmla="*/ 2147483647 h 835"/>
                <a:gd name="T54" fmla="*/ 2147483647 w 462"/>
                <a:gd name="T55" fmla="*/ 2147483647 h 835"/>
                <a:gd name="T56" fmla="*/ 2147483647 w 462"/>
                <a:gd name="T57" fmla="*/ 2147483647 h 835"/>
                <a:gd name="T58" fmla="*/ 2147483647 w 462"/>
                <a:gd name="T59" fmla="*/ 2147483647 h 835"/>
                <a:gd name="T60" fmla="*/ 2147483647 w 462"/>
                <a:gd name="T61" fmla="*/ 2147483647 h 835"/>
                <a:gd name="T62" fmla="*/ 2147483647 w 462"/>
                <a:gd name="T63" fmla="*/ 2147483647 h 835"/>
                <a:gd name="T64" fmla="*/ 2147483647 w 462"/>
                <a:gd name="T65" fmla="*/ 2147483647 h 835"/>
                <a:gd name="T66" fmla="*/ 2147483647 w 462"/>
                <a:gd name="T67" fmla="*/ 2147483647 h 835"/>
                <a:gd name="T68" fmla="*/ 2147483647 w 462"/>
                <a:gd name="T69" fmla="*/ 2147483647 h 835"/>
                <a:gd name="T70" fmla="*/ 2147483647 w 462"/>
                <a:gd name="T71" fmla="*/ 2147483647 h 835"/>
                <a:gd name="T72" fmla="*/ 2147483647 w 462"/>
                <a:gd name="T73" fmla="*/ 0 h 835"/>
                <a:gd name="T74" fmla="*/ 2147483647 w 462"/>
                <a:gd name="T75" fmla="*/ 2147483647 h 835"/>
                <a:gd name="T76" fmla="*/ 2147483647 w 462"/>
                <a:gd name="T77" fmla="*/ 2147483647 h 835"/>
                <a:gd name="T78" fmla="*/ 2147483647 w 462"/>
                <a:gd name="T79" fmla="*/ 2147483647 h 835"/>
                <a:gd name="T80" fmla="*/ 2147483647 w 462"/>
                <a:gd name="T81" fmla="*/ 2147483647 h 835"/>
                <a:gd name="T82" fmla="*/ 2147483647 w 462"/>
                <a:gd name="T83" fmla="*/ 2147483647 h 835"/>
                <a:gd name="T84" fmla="*/ 2147483647 w 462"/>
                <a:gd name="T85" fmla="*/ 2147483647 h 835"/>
                <a:gd name="T86" fmla="*/ 2147483647 w 462"/>
                <a:gd name="T87" fmla="*/ 2147483647 h 835"/>
                <a:gd name="T88" fmla="*/ 2147483647 w 462"/>
                <a:gd name="T89" fmla="*/ 2147483647 h 835"/>
                <a:gd name="T90" fmla="*/ 2147483647 w 462"/>
                <a:gd name="T91" fmla="*/ 2147483647 h 835"/>
                <a:gd name="T92" fmla="*/ 2147483647 w 462"/>
                <a:gd name="T93" fmla="*/ 2147483647 h 83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62" h="835">
                  <a:moveTo>
                    <a:pt x="0" y="323"/>
                  </a:moveTo>
                  <a:lnTo>
                    <a:pt x="31" y="334"/>
                  </a:lnTo>
                  <a:lnTo>
                    <a:pt x="18" y="344"/>
                  </a:lnTo>
                  <a:lnTo>
                    <a:pt x="31" y="367"/>
                  </a:lnTo>
                  <a:lnTo>
                    <a:pt x="74" y="367"/>
                  </a:lnTo>
                  <a:lnTo>
                    <a:pt x="80" y="388"/>
                  </a:lnTo>
                  <a:lnTo>
                    <a:pt x="111" y="367"/>
                  </a:lnTo>
                  <a:lnTo>
                    <a:pt x="99" y="367"/>
                  </a:lnTo>
                  <a:lnTo>
                    <a:pt x="105" y="422"/>
                  </a:lnTo>
                  <a:lnTo>
                    <a:pt x="43" y="467"/>
                  </a:lnTo>
                  <a:lnTo>
                    <a:pt x="24" y="522"/>
                  </a:lnTo>
                  <a:lnTo>
                    <a:pt x="43" y="522"/>
                  </a:lnTo>
                  <a:lnTo>
                    <a:pt x="31" y="534"/>
                  </a:lnTo>
                  <a:lnTo>
                    <a:pt x="43" y="545"/>
                  </a:lnTo>
                  <a:lnTo>
                    <a:pt x="69" y="557"/>
                  </a:lnTo>
                  <a:lnTo>
                    <a:pt x="55" y="590"/>
                  </a:lnTo>
                  <a:lnTo>
                    <a:pt x="61" y="611"/>
                  </a:lnTo>
                  <a:lnTo>
                    <a:pt x="74" y="611"/>
                  </a:lnTo>
                  <a:lnTo>
                    <a:pt x="99" y="557"/>
                  </a:lnTo>
                  <a:lnTo>
                    <a:pt x="87" y="590"/>
                  </a:lnTo>
                  <a:lnTo>
                    <a:pt x="99" y="645"/>
                  </a:lnTo>
                  <a:lnTo>
                    <a:pt x="93" y="668"/>
                  </a:lnTo>
                  <a:lnTo>
                    <a:pt x="119" y="634"/>
                  </a:lnTo>
                  <a:lnTo>
                    <a:pt x="137" y="668"/>
                  </a:lnTo>
                  <a:lnTo>
                    <a:pt x="143" y="645"/>
                  </a:lnTo>
                  <a:lnTo>
                    <a:pt x="149" y="668"/>
                  </a:lnTo>
                  <a:lnTo>
                    <a:pt x="175" y="645"/>
                  </a:lnTo>
                  <a:lnTo>
                    <a:pt x="143" y="747"/>
                  </a:lnTo>
                  <a:lnTo>
                    <a:pt x="119" y="768"/>
                  </a:lnTo>
                  <a:lnTo>
                    <a:pt x="119" y="791"/>
                  </a:lnTo>
                  <a:lnTo>
                    <a:pt x="93" y="791"/>
                  </a:lnTo>
                  <a:lnTo>
                    <a:pt x="69" y="835"/>
                  </a:lnTo>
                  <a:lnTo>
                    <a:pt x="99" y="801"/>
                  </a:lnTo>
                  <a:lnTo>
                    <a:pt x="124" y="801"/>
                  </a:lnTo>
                  <a:lnTo>
                    <a:pt x="143" y="778"/>
                  </a:lnTo>
                  <a:lnTo>
                    <a:pt x="137" y="757"/>
                  </a:lnTo>
                  <a:lnTo>
                    <a:pt x="156" y="757"/>
                  </a:lnTo>
                  <a:lnTo>
                    <a:pt x="211" y="678"/>
                  </a:lnTo>
                  <a:lnTo>
                    <a:pt x="225" y="657"/>
                  </a:lnTo>
                  <a:lnTo>
                    <a:pt x="211" y="634"/>
                  </a:lnTo>
                  <a:lnTo>
                    <a:pt x="268" y="534"/>
                  </a:lnTo>
                  <a:lnTo>
                    <a:pt x="275" y="490"/>
                  </a:lnTo>
                  <a:lnTo>
                    <a:pt x="268" y="534"/>
                  </a:lnTo>
                  <a:lnTo>
                    <a:pt x="286" y="522"/>
                  </a:lnTo>
                  <a:lnTo>
                    <a:pt x="275" y="545"/>
                  </a:lnTo>
                  <a:lnTo>
                    <a:pt x="294" y="557"/>
                  </a:lnTo>
                  <a:lnTo>
                    <a:pt x="255" y="557"/>
                  </a:lnTo>
                  <a:lnTo>
                    <a:pt x="249" y="611"/>
                  </a:lnTo>
                  <a:lnTo>
                    <a:pt x="262" y="601"/>
                  </a:lnTo>
                  <a:lnTo>
                    <a:pt x="249" y="634"/>
                  </a:lnTo>
                  <a:lnTo>
                    <a:pt x="299" y="601"/>
                  </a:lnTo>
                  <a:lnTo>
                    <a:pt x="305" y="566"/>
                  </a:lnTo>
                  <a:lnTo>
                    <a:pt x="299" y="557"/>
                  </a:lnTo>
                  <a:lnTo>
                    <a:pt x="312" y="534"/>
                  </a:lnTo>
                  <a:lnTo>
                    <a:pt x="305" y="557"/>
                  </a:lnTo>
                  <a:lnTo>
                    <a:pt x="331" y="545"/>
                  </a:lnTo>
                  <a:lnTo>
                    <a:pt x="324" y="566"/>
                  </a:lnTo>
                  <a:lnTo>
                    <a:pt x="368" y="601"/>
                  </a:lnTo>
                  <a:lnTo>
                    <a:pt x="431" y="611"/>
                  </a:lnTo>
                  <a:lnTo>
                    <a:pt x="438" y="590"/>
                  </a:lnTo>
                  <a:lnTo>
                    <a:pt x="450" y="601"/>
                  </a:lnTo>
                  <a:lnTo>
                    <a:pt x="438" y="624"/>
                  </a:lnTo>
                  <a:lnTo>
                    <a:pt x="456" y="645"/>
                  </a:lnTo>
                  <a:lnTo>
                    <a:pt x="462" y="624"/>
                  </a:lnTo>
                  <a:lnTo>
                    <a:pt x="443" y="590"/>
                  </a:lnTo>
                  <a:lnTo>
                    <a:pt x="419" y="590"/>
                  </a:lnTo>
                  <a:lnTo>
                    <a:pt x="419" y="100"/>
                  </a:lnTo>
                  <a:lnTo>
                    <a:pt x="249" y="56"/>
                  </a:lnTo>
                  <a:lnTo>
                    <a:pt x="244" y="33"/>
                  </a:lnTo>
                  <a:lnTo>
                    <a:pt x="199" y="10"/>
                  </a:lnTo>
                  <a:lnTo>
                    <a:pt x="193" y="33"/>
                  </a:lnTo>
                  <a:lnTo>
                    <a:pt x="180" y="33"/>
                  </a:lnTo>
                  <a:lnTo>
                    <a:pt x="193" y="10"/>
                  </a:lnTo>
                  <a:lnTo>
                    <a:pt x="175" y="0"/>
                  </a:lnTo>
                  <a:lnTo>
                    <a:pt x="156" y="33"/>
                  </a:lnTo>
                  <a:lnTo>
                    <a:pt x="124" y="33"/>
                  </a:lnTo>
                  <a:lnTo>
                    <a:pt x="124" y="67"/>
                  </a:lnTo>
                  <a:lnTo>
                    <a:pt x="124" y="44"/>
                  </a:lnTo>
                  <a:lnTo>
                    <a:pt x="93" y="67"/>
                  </a:lnTo>
                  <a:lnTo>
                    <a:pt x="99" y="88"/>
                  </a:lnTo>
                  <a:lnTo>
                    <a:pt x="87" y="77"/>
                  </a:lnTo>
                  <a:lnTo>
                    <a:pt x="69" y="121"/>
                  </a:lnTo>
                  <a:lnTo>
                    <a:pt x="24" y="144"/>
                  </a:lnTo>
                  <a:lnTo>
                    <a:pt x="31" y="167"/>
                  </a:lnTo>
                  <a:lnTo>
                    <a:pt x="18" y="167"/>
                  </a:lnTo>
                  <a:lnTo>
                    <a:pt x="69" y="234"/>
                  </a:lnTo>
                  <a:lnTo>
                    <a:pt x="130" y="278"/>
                  </a:lnTo>
                  <a:lnTo>
                    <a:pt x="93" y="267"/>
                  </a:lnTo>
                  <a:lnTo>
                    <a:pt x="93" y="290"/>
                  </a:lnTo>
                  <a:lnTo>
                    <a:pt x="105" y="290"/>
                  </a:lnTo>
                  <a:lnTo>
                    <a:pt x="93" y="300"/>
                  </a:lnTo>
                  <a:lnTo>
                    <a:pt x="69" y="290"/>
                  </a:lnTo>
                  <a:lnTo>
                    <a:pt x="69" y="267"/>
                  </a:lnTo>
                  <a:lnTo>
                    <a:pt x="50" y="267"/>
                  </a:lnTo>
                  <a:lnTo>
                    <a:pt x="0" y="3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43" name="Freeform 789"/>
            <p:cNvSpPr>
              <a:spLocks/>
            </p:cNvSpPr>
            <p:nvPr>
              <p:custDataLst>
                <p:tags r:id="rId637"/>
              </p:custDataLst>
            </p:nvPr>
          </p:nvSpPr>
          <p:spPr bwMode="auto">
            <a:xfrm>
              <a:off x="395536" y="2290763"/>
              <a:ext cx="677862" cy="663575"/>
            </a:xfrm>
            <a:custGeom>
              <a:avLst/>
              <a:gdLst>
                <a:gd name="T0" fmla="*/ 2147483647 w 462"/>
                <a:gd name="T1" fmla="*/ 2147483647 h 835"/>
                <a:gd name="T2" fmla="*/ 2147483647 w 462"/>
                <a:gd name="T3" fmla="*/ 2147483647 h 835"/>
                <a:gd name="T4" fmla="*/ 2147483647 w 462"/>
                <a:gd name="T5" fmla="*/ 2147483647 h 835"/>
                <a:gd name="T6" fmla="*/ 2147483647 w 462"/>
                <a:gd name="T7" fmla="*/ 2147483647 h 835"/>
                <a:gd name="T8" fmla="*/ 2147483647 w 462"/>
                <a:gd name="T9" fmla="*/ 2147483647 h 835"/>
                <a:gd name="T10" fmla="*/ 2147483647 w 462"/>
                <a:gd name="T11" fmla="*/ 2147483647 h 835"/>
                <a:gd name="T12" fmla="*/ 2147483647 w 462"/>
                <a:gd name="T13" fmla="*/ 2147483647 h 835"/>
                <a:gd name="T14" fmla="*/ 2147483647 w 462"/>
                <a:gd name="T15" fmla="*/ 2147483647 h 835"/>
                <a:gd name="T16" fmla="*/ 2147483647 w 462"/>
                <a:gd name="T17" fmla="*/ 2147483647 h 835"/>
                <a:gd name="T18" fmla="*/ 2147483647 w 462"/>
                <a:gd name="T19" fmla="*/ 2147483647 h 835"/>
                <a:gd name="T20" fmla="*/ 2147483647 w 462"/>
                <a:gd name="T21" fmla="*/ 2147483647 h 835"/>
                <a:gd name="T22" fmla="*/ 2147483647 w 462"/>
                <a:gd name="T23" fmla="*/ 2147483647 h 835"/>
                <a:gd name="T24" fmla="*/ 2147483647 w 462"/>
                <a:gd name="T25" fmla="*/ 2147483647 h 835"/>
                <a:gd name="T26" fmla="*/ 2147483647 w 462"/>
                <a:gd name="T27" fmla="*/ 2147483647 h 835"/>
                <a:gd name="T28" fmla="*/ 2147483647 w 462"/>
                <a:gd name="T29" fmla="*/ 2147483647 h 835"/>
                <a:gd name="T30" fmla="*/ 2147483647 w 462"/>
                <a:gd name="T31" fmla="*/ 2147483647 h 835"/>
                <a:gd name="T32" fmla="*/ 2147483647 w 462"/>
                <a:gd name="T33" fmla="*/ 2147483647 h 835"/>
                <a:gd name="T34" fmla="*/ 2147483647 w 462"/>
                <a:gd name="T35" fmla="*/ 2147483647 h 835"/>
                <a:gd name="T36" fmla="*/ 2147483647 w 462"/>
                <a:gd name="T37" fmla="*/ 2147483647 h 835"/>
                <a:gd name="T38" fmla="*/ 2147483647 w 462"/>
                <a:gd name="T39" fmla="*/ 2147483647 h 835"/>
                <a:gd name="T40" fmla="*/ 2147483647 w 462"/>
                <a:gd name="T41" fmla="*/ 2147483647 h 835"/>
                <a:gd name="T42" fmla="*/ 2147483647 w 462"/>
                <a:gd name="T43" fmla="*/ 2147483647 h 835"/>
                <a:gd name="T44" fmla="*/ 2147483647 w 462"/>
                <a:gd name="T45" fmla="*/ 2147483647 h 835"/>
                <a:gd name="T46" fmla="*/ 2147483647 w 462"/>
                <a:gd name="T47" fmla="*/ 2147483647 h 835"/>
                <a:gd name="T48" fmla="*/ 2147483647 w 462"/>
                <a:gd name="T49" fmla="*/ 2147483647 h 835"/>
                <a:gd name="T50" fmla="*/ 2147483647 w 462"/>
                <a:gd name="T51" fmla="*/ 2147483647 h 835"/>
                <a:gd name="T52" fmla="*/ 2147483647 w 462"/>
                <a:gd name="T53" fmla="*/ 2147483647 h 835"/>
                <a:gd name="T54" fmla="*/ 2147483647 w 462"/>
                <a:gd name="T55" fmla="*/ 2147483647 h 835"/>
                <a:gd name="T56" fmla="*/ 2147483647 w 462"/>
                <a:gd name="T57" fmla="*/ 2147483647 h 835"/>
                <a:gd name="T58" fmla="*/ 2147483647 w 462"/>
                <a:gd name="T59" fmla="*/ 2147483647 h 835"/>
                <a:gd name="T60" fmla="*/ 2147483647 w 462"/>
                <a:gd name="T61" fmla="*/ 2147483647 h 835"/>
                <a:gd name="T62" fmla="*/ 2147483647 w 462"/>
                <a:gd name="T63" fmla="*/ 2147483647 h 835"/>
                <a:gd name="T64" fmla="*/ 2147483647 w 462"/>
                <a:gd name="T65" fmla="*/ 2147483647 h 835"/>
                <a:gd name="T66" fmla="*/ 2147483647 w 462"/>
                <a:gd name="T67" fmla="*/ 2147483647 h 835"/>
                <a:gd name="T68" fmla="*/ 2147483647 w 462"/>
                <a:gd name="T69" fmla="*/ 2147483647 h 835"/>
                <a:gd name="T70" fmla="*/ 2147483647 w 462"/>
                <a:gd name="T71" fmla="*/ 2147483647 h 835"/>
                <a:gd name="T72" fmla="*/ 2147483647 w 462"/>
                <a:gd name="T73" fmla="*/ 0 h 835"/>
                <a:gd name="T74" fmla="*/ 2147483647 w 462"/>
                <a:gd name="T75" fmla="*/ 2147483647 h 835"/>
                <a:gd name="T76" fmla="*/ 2147483647 w 462"/>
                <a:gd name="T77" fmla="*/ 2147483647 h 835"/>
                <a:gd name="T78" fmla="*/ 2147483647 w 462"/>
                <a:gd name="T79" fmla="*/ 2147483647 h 835"/>
                <a:gd name="T80" fmla="*/ 2147483647 w 462"/>
                <a:gd name="T81" fmla="*/ 2147483647 h 835"/>
                <a:gd name="T82" fmla="*/ 2147483647 w 462"/>
                <a:gd name="T83" fmla="*/ 2147483647 h 835"/>
                <a:gd name="T84" fmla="*/ 2147483647 w 462"/>
                <a:gd name="T85" fmla="*/ 2147483647 h 835"/>
                <a:gd name="T86" fmla="*/ 2147483647 w 462"/>
                <a:gd name="T87" fmla="*/ 2147483647 h 835"/>
                <a:gd name="T88" fmla="*/ 2147483647 w 462"/>
                <a:gd name="T89" fmla="*/ 2147483647 h 835"/>
                <a:gd name="T90" fmla="*/ 2147483647 w 462"/>
                <a:gd name="T91" fmla="*/ 2147483647 h 835"/>
                <a:gd name="T92" fmla="*/ 2147483647 w 462"/>
                <a:gd name="T93" fmla="*/ 2147483647 h 83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62" h="835">
                  <a:moveTo>
                    <a:pt x="0" y="323"/>
                  </a:moveTo>
                  <a:lnTo>
                    <a:pt x="31" y="334"/>
                  </a:lnTo>
                  <a:lnTo>
                    <a:pt x="18" y="344"/>
                  </a:lnTo>
                  <a:lnTo>
                    <a:pt x="31" y="367"/>
                  </a:lnTo>
                  <a:lnTo>
                    <a:pt x="74" y="367"/>
                  </a:lnTo>
                  <a:lnTo>
                    <a:pt x="80" y="388"/>
                  </a:lnTo>
                  <a:lnTo>
                    <a:pt x="111" y="367"/>
                  </a:lnTo>
                  <a:lnTo>
                    <a:pt x="99" y="367"/>
                  </a:lnTo>
                  <a:lnTo>
                    <a:pt x="105" y="422"/>
                  </a:lnTo>
                  <a:lnTo>
                    <a:pt x="43" y="467"/>
                  </a:lnTo>
                  <a:lnTo>
                    <a:pt x="24" y="522"/>
                  </a:lnTo>
                  <a:lnTo>
                    <a:pt x="43" y="522"/>
                  </a:lnTo>
                  <a:lnTo>
                    <a:pt x="31" y="534"/>
                  </a:lnTo>
                  <a:lnTo>
                    <a:pt x="43" y="545"/>
                  </a:lnTo>
                  <a:lnTo>
                    <a:pt x="69" y="557"/>
                  </a:lnTo>
                  <a:lnTo>
                    <a:pt x="55" y="590"/>
                  </a:lnTo>
                  <a:lnTo>
                    <a:pt x="61" y="611"/>
                  </a:lnTo>
                  <a:lnTo>
                    <a:pt x="74" y="611"/>
                  </a:lnTo>
                  <a:lnTo>
                    <a:pt x="99" y="557"/>
                  </a:lnTo>
                  <a:lnTo>
                    <a:pt x="87" y="590"/>
                  </a:lnTo>
                  <a:lnTo>
                    <a:pt x="99" y="645"/>
                  </a:lnTo>
                  <a:lnTo>
                    <a:pt x="93" y="668"/>
                  </a:lnTo>
                  <a:lnTo>
                    <a:pt x="119" y="634"/>
                  </a:lnTo>
                  <a:lnTo>
                    <a:pt x="137" y="668"/>
                  </a:lnTo>
                  <a:lnTo>
                    <a:pt x="143" y="645"/>
                  </a:lnTo>
                  <a:lnTo>
                    <a:pt x="149" y="668"/>
                  </a:lnTo>
                  <a:lnTo>
                    <a:pt x="175" y="645"/>
                  </a:lnTo>
                  <a:lnTo>
                    <a:pt x="143" y="747"/>
                  </a:lnTo>
                  <a:lnTo>
                    <a:pt x="119" y="768"/>
                  </a:lnTo>
                  <a:lnTo>
                    <a:pt x="119" y="791"/>
                  </a:lnTo>
                  <a:lnTo>
                    <a:pt x="93" y="791"/>
                  </a:lnTo>
                  <a:lnTo>
                    <a:pt x="69" y="835"/>
                  </a:lnTo>
                  <a:lnTo>
                    <a:pt x="99" y="801"/>
                  </a:lnTo>
                  <a:lnTo>
                    <a:pt x="124" y="801"/>
                  </a:lnTo>
                  <a:lnTo>
                    <a:pt x="143" y="778"/>
                  </a:lnTo>
                  <a:lnTo>
                    <a:pt x="137" y="757"/>
                  </a:lnTo>
                  <a:lnTo>
                    <a:pt x="156" y="757"/>
                  </a:lnTo>
                  <a:lnTo>
                    <a:pt x="211" y="678"/>
                  </a:lnTo>
                  <a:lnTo>
                    <a:pt x="225" y="657"/>
                  </a:lnTo>
                  <a:lnTo>
                    <a:pt x="211" y="634"/>
                  </a:lnTo>
                  <a:lnTo>
                    <a:pt x="268" y="534"/>
                  </a:lnTo>
                  <a:lnTo>
                    <a:pt x="275" y="490"/>
                  </a:lnTo>
                  <a:lnTo>
                    <a:pt x="268" y="534"/>
                  </a:lnTo>
                  <a:lnTo>
                    <a:pt x="286" y="522"/>
                  </a:lnTo>
                  <a:lnTo>
                    <a:pt x="275" y="545"/>
                  </a:lnTo>
                  <a:lnTo>
                    <a:pt x="294" y="557"/>
                  </a:lnTo>
                  <a:lnTo>
                    <a:pt x="255" y="557"/>
                  </a:lnTo>
                  <a:lnTo>
                    <a:pt x="249" y="611"/>
                  </a:lnTo>
                  <a:lnTo>
                    <a:pt x="262" y="601"/>
                  </a:lnTo>
                  <a:lnTo>
                    <a:pt x="249" y="634"/>
                  </a:lnTo>
                  <a:lnTo>
                    <a:pt x="299" y="601"/>
                  </a:lnTo>
                  <a:lnTo>
                    <a:pt x="305" y="566"/>
                  </a:lnTo>
                  <a:lnTo>
                    <a:pt x="299" y="557"/>
                  </a:lnTo>
                  <a:lnTo>
                    <a:pt x="312" y="534"/>
                  </a:lnTo>
                  <a:lnTo>
                    <a:pt x="305" y="557"/>
                  </a:lnTo>
                  <a:lnTo>
                    <a:pt x="331" y="545"/>
                  </a:lnTo>
                  <a:lnTo>
                    <a:pt x="324" y="566"/>
                  </a:lnTo>
                  <a:lnTo>
                    <a:pt x="368" y="601"/>
                  </a:lnTo>
                  <a:lnTo>
                    <a:pt x="431" y="611"/>
                  </a:lnTo>
                  <a:lnTo>
                    <a:pt x="438" y="590"/>
                  </a:lnTo>
                  <a:lnTo>
                    <a:pt x="450" y="601"/>
                  </a:lnTo>
                  <a:lnTo>
                    <a:pt x="438" y="624"/>
                  </a:lnTo>
                  <a:lnTo>
                    <a:pt x="456" y="645"/>
                  </a:lnTo>
                  <a:lnTo>
                    <a:pt x="462" y="624"/>
                  </a:lnTo>
                  <a:lnTo>
                    <a:pt x="443" y="590"/>
                  </a:lnTo>
                  <a:lnTo>
                    <a:pt x="419" y="590"/>
                  </a:lnTo>
                  <a:lnTo>
                    <a:pt x="419" y="100"/>
                  </a:lnTo>
                  <a:lnTo>
                    <a:pt x="249" y="56"/>
                  </a:lnTo>
                  <a:lnTo>
                    <a:pt x="244" y="33"/>
                  </a:lnTo>
                  <a:lnTo>
                    <a:pt x="199" y="10"/>
                  </a:lnTo>
                  <a:lnTo>
                    <a:pt x="193" y="33"/>
                  </a:lnTo>
                  <a:lnTo>
                    <a:pt x="180" y="33"/>
                  </a:lnTo>
                  <a:lnTo>
                    <a:pt x="193" y="10"/>
                  </a:lnTo>
                  <a:lnTo>
                    <a:pt x="175" y="0"/>
                  </a:lnTo>
                  <a:lnTo>
                    <a:pt x="156" y="33"/>
                  </a:lnTo>
                  <a:lnTo>
                    <a:pt x="124" y="33"/>
                  </a:lnTo>
                  <a:lnTo>
                    <a:pt x="124" y="67"/>
                  </a:lnTo>
                  <a:lnTo>
                    <a:pt x="124" y="44"/>
                  </a:lnTo>
                  <a:lnTo>
                    <a:pt x="93" y="67"/>
                  </a:lnTo>
                  <a:lnTo>
                    <a:pt x="99" y="88"/>
                  </a:lnTo>
                  <a:lnTo>
                    <a:pt x="87" y="77"/>
                  </a:lnTo>
                  <a:lnTo>
                    <a:pt x="69" y="121"/>
                  </a:lnTo>
                  <a:lnTo>
                    <a:pt x="24" y="144"/>
                  </a:lnTo>
                  <a:lnTo>
                    <a:pt x="31" y="167"/>
                  </a:lnTo>
                  <a:lnTo>
                    <a:pt x="18" y="167"/>
                  </a:lnTo>
                  <a:lnTo>
                    <a:pt x="69" y="234"/>
                  </a:lnTo>
                  <a:lnTo>
                    <a:pt x="130" y="278"/>
                  </a:lnTo>
                  <a:lnTo>
                    <a:pt x="93" y="267"/>
                  </a:lnTo>
                  <a:lnTo>
                    <a:pt x="93" y="290"/>
                  </a:lnTo>
                  <a:lnTo>
                    <a:pt x="105" y="290"/>
                  </a:lnTo>
                  <a:lnTo>
                    <a:pt x="93" y="300"/>
                  </a:lnTo>
                  <a:lnTo>
                    <a:pt x="69" y="290"/>
                  </a:lnTo>
                  <a:lnTo>
                    <a:pt x="69" y="267"/>
                  </a:lnTo>
                  <a:lnTo>
                    <a:pt x="50" y="267"/>
                  </a:lnTo>
                  <a:lnTo>
                    <a:pt x="0" y="3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44" name="Freeform 790"/>
            <p:cNvSpPr>
              <a:spLocks/>
            </p:cNvSpPr>
            <p:nvPr>
              <p:custDataLst>
                <p:tags r:id="rId638"/>
              </p:custDataLst>
            </p:nvPr>
          </p:nvSpPr>
          <p:spPr bwMode="auto">
            <a:xfrm>
              <a:off x="395536" y="2290763"/>
              <a:ext cx="677862" cy="663575"/>
            </a:xfrm>
            <a:custGeom>
              <a:avLst/>
              <a:gdLst>
                <a:gd name="T0" fmla="*/ 2147483647 w 462"/>
                <a:gd name="T1" fmla="*/ 2147483647 h 835"/>
                <a:gd name="T2" fmla="*/ 2147483647 w 462"/>
                <a:gd name="T3" fmla="*/ 2147483647 h 835"/>
                <a:gd name="T4" fmla="*/ 2147483647 w 462"/>
                <a:gd name="T5" fmla="*/ 2147483647 h 835"/>
                <a:gd name="T6" fmla="*/ 2147483647 w 462"/>
                <a:gd name="T7" fmla="*/ 2147483647 h 835"/>
                <a:gd name="T8" fmla="*/ 2147483647 w 462"/>
                <a:gd name="T9" fmla="*/ 2147483647 h 835"/>
                <a:gd name="T10" fmla="*/ 2147483647 w 462"/>
                <a:gd name="T11" fmla="*/ 2147483647 h 835"/>
                <a:gd name="T12" fmla="*/ 2147483647 w 462"/>
                <a:gd name="T13" fmla="*/ 2147483647 h 835"/>
                <a:gd name="T14" fmla="*/ 2147483647 w 462"/>
                <a:gd name="T15" fmla="*/ 2147483647 h 835"/>
                <a:gd name="T16" fmla="*/ 2147483647 w 462"/>
                <a:gd name="T17" fmla="*/ 2147483647 h 835"/>
                <a:gd name="T18" fmla="*/ 2147483647 w 462"/>
                <a:gd name="T19" fmla="*/ 2147483647 h 835"/>
                <a:gd name="T20" fmla="*/ 2147483647 w 462"/>
                <a:gd name="T21" fmla="*/ 2147483647 h 835"/>
                <a:gd name="T22" fmla="*/ 2147483647 w 462"/>
                <a:gd name="T23" fmla="*/ 2147483647 h 835"/>
                <a:gd name="T24" fmla="*/ 2147483647 w 462"/>
                <a:gd name="T25" fmla="*/ 2147483647 h 835"/>
                <a:gd name="T26" fmla="*/ 2147483647 w 462"/>
                <a:gd name="T27" fmla="*/ 2147483647 h 835"/>
                <a:gd name="T28" fmla="*/ 2147483647 w 462"/>
                <a:gd name="T29" fmla="*/ 2147483647 h 835"/>
                <a:gd name="T30" fmla="*/ 2147483647 w 462"/>
                <a:gd name="T31" fmla="*/ 2147483647 h 835"/>
                <a:gd name="T32" fmla="*/ 2147483647 w 462"/>
                <a:gd name="T33" fmla="*/ 2147483647 h 835"/>
                <a:gd name="T34" fmla="*/ 2147483647 w 462"/>
                <a:gd name="T35" fmla="*/ 2147483647 h 835"/>
                <a:gd name="T36" fmla="*/ 2147483647 w 462"/>
                <a:gd name="T37" fmla="*/ 2147483647 h 835"/>
                <a:gd name="T38" fmla="*/ 2147483647 w 462"/>
                <a:gd name="T39" fmla="*/ 2147483647 h 835"/>
                <a:gd name="T40" fmla="*/ 2147483647 w 462"/>
                <a:gd name="T41" fmla="*/ 2147483647 h 835"/>
                <a:gd name="T42" fmla="*/ 2147483647 w 462"/>
                <a:gd name="T43" fmla="*/ 2147483647 h 835"/>
                <a:gd name="T44" fmla="*/ 2147483647 w 462"/>
                <a:gd name="T45" fmla="*/ 2147483647 h 835"/>
                <a:gd name="T46" fmla="*/ 2147483647 w 462"/>
                <a:gd name="T47" fmla="*/ 2147483647 h 835"/>
                <a:gd name="T48" fmla="*/ 2147483647 w 462"/>
                <a:gd name="T49" fmla="*/ 2147483647 h 835"/>
                <a:gd name="T50" fmla="*/ 2147483647 w 462"/>
                <a:gd name="T51" fmla="*/ 2147483647 h 835"/>
                <a:gd name="T52" fmla="*/ 2147483647 w 462"/>
                <a:gd name="T53" fmla="*/ 2147483647 h 835"/>
                <a:gd name="T54" fmla="*/ 2147483647 w 462"/>
                <a:gd name="T55" fmla="*/ 2147483647 h 835"/>
                <a:gd name="T56" fmla="*/ 2147483647 w 462"/>
                <a:gd name="T57" fmla="*/ 2147483647 h 835"/>
                <a:gd name="T58" fmla="*/ 2147483647 w 462"/>
                <a:gd name="T59" fmla="*/ 2147483647 h 835"/>
                <a:gd name="T60" fmla="*/ 2147483647 w 462"/>
                <a:gd name="T61" fmla="*/ 2147483647 h 835"/>
                <a:gd name="T62" fmla="*/ 2147483647 w 462"/>
                <a:gd name="T63" fmla="*/ 2147483647 h 835"/>
                <a:gd name="T64" fmla="*/ 2147483647 w 462"/>
                <a:gd name="T65" fmla="*/ 2147483647 h 835"/>
                <a:gd name="T66" fmla="*/ 2147483647 w 462"/>
                <a:gd name="T67" fmla="*/ 2147483647 h 835"/>
                <a:gd name="T68" fmla="*/ 2147483647 w 462"/>
                <a:gd name="T69" fmla="*/ 2147483647 h 835"/>
                <a:gd name="T70" fmla="*/ 2147483647 w 462"/>
                <a:gd name="T71" fmla="*/ 2147483647 h 835"/>
                <a:gd name="T72" fmla="*/ 2147483647 w 462"/>
                <a:gd name="T73" fmla="*/ 0 h 835"/>
                <a:gd name="T74" fmla="*/ 2147483647 w 462"/>
                <a:gd name="T75" fmla="*/ 2147483647 h 835"/>
                <a:gd name="T76" fmla="*/ 2147483647 w 462"/>
                <a:gd name="T77" fmla="*/ 2147483647 h 835"/>
                <a:gd name="T78" fmla="*/ 2147483647 w 462"/>
                <a:gd name="T79" fmla="*/ 2147483647 h 835"/>
                <a:gd name="T80" fmla="*/ 2147483647 w 462"/>
                <a:gd name="T81" fmla="*/ 2147483647 h 835"/>
                <a:gd name="T82" fmla="*/ 2147483647 w 462"/>
                <a:gd name="T83" fmla="*/ 2147483647 h 835"/>
                <a:gd name="T84" fmla="*/ 2147483647 w 462"/>
                <a:gd name="T85" fmla="*/ 2147483647 h 835"/>
                <a:gd name="T86" fmla="*/ 2147483647 w 462"/>
                <a:gd name="T87" fmla="*/ 2147483647 h 835"/>
                <a:gd name="T88" fmla="*/ 2147483647 w 462"/>
                <a:gd name="T89" fmla="*/ 2147483647 h 835"/>
                <a:gd name="T90" fmla="*/ 2147483647 w 462"/>
                <a:gd name="T91" fmla="*/ 2147483647 h 835"/>
                <a:gd name="T92" fmla="*/ 2147483647 w 462"/>
                <a:gd name="T93" fmla="*/ 2147483647 h 83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62" h="835">
                  <a:moveTo>
                    <a:pt x="0" y="323"/>
                  </a:moveTo>
                  <a:lnTo>
                    <a:pt x="31" y="334"/>
                  </a:lnTo>
                  <a:lnTo>
                    <a:pt x="18" y="344"/>
                  </a:lnTo>
                  <a:lnTo>
                    <a:pt x="31" y="367"/>
                  </a:lnTo>
                  <a:lnTo>
                    <a:pt x="74" y="367"/>
                  </a:lnTo>
                  <a:lnTo>
                    <a:pt x="80" y="388"/>
                  </a:lnTo>
                  <a:lnTo>
                    <a:pt x="111" y="367"/>
                  </a:lnTo>
                  <a:lnTo>
                    <a:pt x="99" y="367"/>
                  </a:lnTo>
                  <a:lnTo>
                    <a:pt x="105" y="422"/>
                  </a:lnTo>
                  <a:lnTo>
                    <a:pt x="43" y="467"/>
                  </a:lnTo>
                  <a:lnTo>
                    <a:pt x="24" y="522"/>
                  </a:lnTo>
                  <a:lnTo>
                    <a:pt x="43" y="522"/>
                  </a:lnTo>
                  <a:lnTo>
                    <a:pt x="31" y="534"/>
                  </a:lnTo>
                  <a:lnTo>
                    <a:pt x="43" y="545"/>
                  </a:lnTo>
                  <a:lnTo>
                    <a:pt x="69" y="557"/>
                  </a:lnTo>
                  <a:lnTo>
                    <a:pt x="55" y="590"/>
                  </a:lnTo>
                  <a:lnTo>
                    <a:pt x="61" y="611"/>
                  </a:lnTo>
                  <a:lnTo>
                    <a:pt x="74" y="611"/>
                  </a:lnTo>
                  <a:lnTo>
                    <a:pt x="99" y="557"/>
                  </a:lnTo>
                  <a:lnTo>
                    <a:pt x="87" y="590"/>
                  </a:lnTo>
                  <a:lnTo>
                    <a:pt x="99" y="645"/>
                  </a:lnTo>
                  <a:lnTo>
                    <a:pt x="93" y="668"/>
                  </a:lnTo>
                  <a:lnTo>
                    <a:pt x="119" y="634"/>
                  </a:lnTo>
                  <a:lnTo>
                    <a:pt x="137" y="668"/>
                  </a:lnTo>
                  <a:lnTo>
                    <a:pt x="143" y="645"/>
                  </a:lnTo>
                  <a:lnTo>
                    <a:pt x="149" y="668"/>
                  </a:lnTo>
                  <a:lnTo>
                    <a:pt x="175" y="645"/>
                  </a:lnTo>
                  <a:lnTo>
                    <a:pt x="143" y="747"/>
                  </a:lnTo>
                  <a:lnTo>
                    <a:pt x="119" y="768"/>
                  </a:lnTo>
                  <a:lnTo>
                    <a:pt x="119" y="791"/>
                  </a:lnTo>
                  <a:lnTo>
                    <a:pt x="93" y="791"/>
                  </a:lnTo>
                  <a:lnTo>
                    <a:pt x="69" y="835"/>
                  </a:lnTo>
                  <a:lnTo>
                    <a:pt x="99" y="801"/>
                  </a:lnTo>
                  <a:lnTo>
                    <a:pt x="124" y="801"/>
                  </a:lnTo>
                  <a:lnTo>
                    <a:pt x="143" y="778"/>
                  </a:lnTo>
                  <a:lnTo>
                    <a:pt x="137" y="757"/>
                  </a:lnTo>
                  <a:lnTo>
                    <a:pt x="156" y="757"/>
                  </a:lnTo>
                  <a:lnTo>
                    <a:pt x="211" y="678"/>
                  </a:lnTo>
                  <a:lnTo>
                    <a:pt x="225" y="657"/>
                  </a:lnTo>
                  <a:lnTo>
                    <a:pt x="211" y="634"/>
                  </a:lnTo>
                  <a:lnTo>
                    <a:pt x="268" y="534"/>
                  </a:lnTo>
                  <a:lnTo>
                    <a:pt x="275" y="490"/>
                  </a:lnTo>
                  <a:lnTo>
                    <a:pt x="268" y="534"/>
                  </a:lnTo>
                  <a:lnTo>
                    <a:pt x="286" y="522"/>
                  </a:lnTo>
                  <a:lnTo>
                    <a:pt x="275" y="545"/>
                  </a:lnTo>
                  <a:lnTo>
                    <a:pt x="294" y="557"/>
                  </a:lnTo>
                  <a:lnTo>
                    <a:pt x="255" y="557"/>
                  </a:lnTo>
                  <a:lnTo>
                    <a:pt x="249" y="611"/>
                  </a:lnTo>
                  <a:lnTo>
                    <a:pt x="262" y="601"/>
                  </a:lnTo>
                  <a:lnTo>
                    <a:pt x="249" y="634"/>
                  </a:lnTo>
                  <a:lnTo>
                    <a:pt x="299" y="601"/>
                  </a:lnTo>
                  <a:lnTo>
                    <a:pt x="305" y="566"/>
                  </a:lnTo>
                  <a:lnTo>
                    <a:pt x="299" y="557"/>
                  </a:lnTo>
                  <a:lnTo>
                    <a:pt x="312" y="534"/>
                  </a:lnTo>
                  <a:lnTo>
                    <a:pt x="305" y="557"/>
                  </a:lnTo>
                  <a:lnTo>
                    <a:pt x="331" y="545"/>
                  </a:lnTo>
                  <a:lnTo>
                    <a:pt x="324" y="566"/>
                  </a:lnTo>
                  <a:lnTo>
                    <a:pt x="368" y="601"/>
                  </a:lnTo>
                  <a:lnTo>
                    <a:pt x="431" y="611"/>
                  </a:lnTo>
                  <a:lnTo>
                    <a:pt x="438" y="590"/>
                  </a:lnTo>
                  <a:lnTo>
                    <a:pt x="450" y="601"/>
                  </a:lnTo>
                  <a:lnTo>
                    <a:pt x="438" y="624"/>
                  </a:lnTo>
                  <a:lnTo>
                    <a:pt x="456" y="645"/>
                  </a:lnTo>
                  <a:lnTo>
                    <a:pt x="462" y="624"/>
                  </a:lnTo>
                  <a:lnTo>
                    <a:pt x="443" y="590"/>
                  </a:lnTo>
                  <a:lnTo>
                    <a:pt x="419" y="590"/>
                  </a:lnTo>
                  <a:lnTo>
                    <a:pt x="419" y="100"/>
                  </a:lnTo>
                  <a:lnTo>
                    <a:pt x="249" y="56"/>
                  </a:lnTo>
                  <a:lnTo>
                    <a:pt x="244" y="33"/>
                  </a:lnTo>
                  <a:lnTo>
                    <a:pt x="199" y="10"/>
                  </a:lnTo>
                  <a:lnTo>
                    <a:pt x="193" y="33"/>
                  </a:lnTo>
                  <a:lnTo>
                    <a:pt x="180" y="33"/>
                  </a:lnTo>
                  <a:lnTo>
                    <a:pt x="193" y="10"/>
                  </a:lnTo>
                  <a:lnTo>
                    <a:pt x="175" y="0"/>
                  </a:lnTo>
                  <a:lnTo>
                    <a:pt x="156" y="33"/>
                  </a:lnTo>
                  <a:lnTo>
                    <a:pt x="124" y="33"/>
                  </a:lnTo>
                  <a:lnTo>
                    <a:pt x="124" y="67"/>
                  </a:lnTo>
                  <a:lnTo>
                    <a:pt x="124" y="44"/>
                  </a:lnTo>
                  <a:lnTo>
                    <a:pt x="93" y="67"/>
                  </a:lnTo>
                  <a:lnTo>
                    <a:pt x="99" y="88"/>
                  </a:lnTo>
                  <a:lnTo>
                    <a:pt x="87" y="77"/>
                  </a:lnTo>
                  <a:lnTo>
                    <a:pt x="69" y="121"/>
                  </a:lnTo>
                  <a:lnTo>
                    <a:pt x="24" y="144"/>
                  </a:lnTo>
                  <a:lnTo>
                    <a:pt x="31" y="167"/>
                  </a:lnTo>
                  <a:lnTo>
                    <a:pt x="18" y="167"/>
                  </a:lnTo>
                  <a:lnTo>
                    <a:pt x="69" y="234"/>
                  </a:lnTo>
                  <a:lnTo>
                    <a:pt x="130" y="278"/>
                  </a:lnTo>
                  <a:lnTo>
                    <a:pt x="93" y="267"/>
                  </a:lnTo>
                  <a:lnTo>
                    <a:pt x="93" y="290"/>
                  </a:lnTo>
                  <a:lnTo>
                    <a:pt x="105" y="290"/>
                  </a:lnTo>
                  <a:lnTo>
                    <a:pt x="93" y="300"/>
                  </a:lnTo>
                  <a:lnTo>
                    <a:pt x="69" y="290"/>
                  </a:lnTo>
                  <a:lnTo>
                    <a:pt x="69" y="267"/>
                  </a:lnTo>
                  <a:lnTo>
                    <a:pt x="50" y="267"/>
                  </a:lnTo>
                  <a:lnTo>
                    <a:pt x="0" y="3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45" name="Freeform 791"/>
            <p:cNvSpPr>
              <a:spLocks/>
            </p:cNvSpPr>
            <p:nvPr>
              <p:custDataLst>
                <p:tags r:id="rId639"/>
              </p:custDataLst>
            </p:nvPr>
          </p:nvSpPr>
          <p:spPr bwMode="auto">
            <a:xfrm>
              <a:off x="395536" y="2290763"/>
              <a:ext cx="677862" cy="663575"/>
            </a:xfrm>
            <a:custGeom>
              <a:avLst/>
              <a:gdLst>
                <a:gd name="T0" fmla="*/ 2147483647 w 462"/>
                <a:gd name="T1" fmla="*/ 2147483647 h 835"/>
                <a:gd name="T2" fmla="*/ 2147483647 w 462"/>
                <a:gd name="T3" fmla="*/ 2147483647 h 835"/>
                <a:gd name="T4" fmla="*/ 2147483647 w 462"/>
                <a:gd name="T5" fmla="*/ 2147483647 h 835"/>
                <a:gd name="T6" fmla="*/ 2147483647 w 462"/>
                <a:gd name="T7" fmla="*/ 2147483647 h 835"/>
                <a:gd name="T8" fmla="*/ 2147483647 w 462"/>
                <a:gd name="T9" fmla="*/ 2147483647 h 835"/>
                <a:gd name="T10" fmla="*/ 2147483647 w 462"/>
                <a:gd name="T11" fmla="*/ 2147483647 h 835"/>
                <a:gd name="T12" fmla="*/ 2147483647 w 462"/>
                <a:gd name="T13" fmla="*/ 2147483647 h 835"/>
                <a:gd name="T14" fmla="*/ 2147483647 w 462"/>
                <a:gd name="T15" fmla="*/ 2147483647 h 835"/>
                <a:gd name="T16" fmla="*/ 2147483647 w 462"/>
                <a:gd name="T17" fmla="*/ 2147483647 h 835"/>
                <a:gd name="T18" fmla="*/ 2147483647 w 462"/>
                <a:gd name="T19" fmla="*/ 2147483647 h 835"/>
                <a:gd name="T20" fmla="*/ 2147483647 w 462"/>
                <a:gd name="T21" fmla="*/ 2147483647 h 835"/>
                <a:gd name="T22" fmla="*/ 2147483647 w 462"/>
                <a:gd name="T23" fmla="*/ 2147483647 h 835"/>
                <a:gd name="T24" fmla="*/ 2147483647 w 462"/>
                <a:gd name="T25" fmla="*/ 2147483647 h 835"/>
                <a:gd name="T26" fmla="*/ 2147483647 w 462"/>
                <a:gd name="T27" fmla="*/ 2147483647 h 835"/>
                <a:gd name="T28" fmla="*/ 2147483647 w 462"/>
                <a:gd name="T29" fmla="*/ 2147483647 h 835"/>
                <a:gd name="T30" fmla="*/ 2147483647 w 462"/>
                <a:gd name="T31" fmla="*/ 2147483647 h 835"/>
                <a:gd name="T32" fmla="*/ 2147483647 w 462"/>
                <a:gd name="T33" fmla="*/ 2147483647 h 835"/>
                <a:gd name="T34" fmla="*/ 2147483647 w 462"/>
                <a:gd name="T35" fmla="*/ 2147483647 h 835"/>
                <a:gd name="T36" fmla="*/ 2147483647 w 462"/>
                <a:gd name="T37" fmla="*/ 2147483647 h 835"/>
                <a:gd name="T38" fmla="*/ 2147483647 w 462"/>
                <a:gd name="T39" fmla="*/ 2147483647 h 835"/>
                <a:gd name="T40" fmla="*/ 2147483647 w 462"/>
                <a:gd name="T41" fmla="*/ 2147483647 h 835"/>
                <a:gd name="T42" fmla="*/ 2147483647 w 462"/>
                <a:gd name="T43" fmla="*/ 2147483647 h 835"/>
                <a:gd name="T44" fmla="*/ 2147483647 w 462"/>
                <a:gd name="T45" fmla="*/ 2147483647 h 835"/>
                <a:gd name="T46" fmla="*/ 2147483647 w 462"/>
                <a:gd name="T47" fmla="*/ 2147483647 h 835"/>
                <a:gd name="T48" fmla="*/ 2147483647 w 462"/>
                <a:gd name="T49" fmla="*/ 2147483647 h 835"/>
                <a:gd name="T50" fmla="*/ 2147483647 w 462"/>
                <a:gd name="T51" fmla="*/ 2147483647 h 835"/>
                <a:gd name="T52" fmla="*/ 2147483647 w 462"/>
                <a:gd name="T53" fmla="*/ 2147483647 h 835"/>
                <a:gd name="T54" fmla="*/ 2147483647 w 462"/>
                <a:gd name="T55" fmla="*/ 2147483647 h 835"/>
                <a:gd name="T56" fmla="*/ 2147483647 w 462"/>
                <a:gd name="T57" fmla="*/ 2147483647 h 835"/>
                <a:gd name="T58" fmla="*/ 2147483647 w 462"/>
                <a:gd name="T59" fmla="*/ 2147483647 h 835"/>
                <a:gd name="T60" fmla="*/ 2147483647 w 462"/>
                <a:gd name="T61" fmla="*/ 2147483647 h 835"/>
                <a:gd name="T62" fmla="*/ 2147483647 w 462"/>
                <a:gd name="T63" fmla="*/ 2147483647 h 835"/>
                <a:gd name="T64" fmla="*/ 2147483647 w 462"/>
                <a:gd name="T65" fmla="*/ 2147483647 h 835"/>
                <a:gd name="T66" fmla="*/ 2147483647 w 462"/>
                <a:gd name="T67" fmla="*/ 2147483647 h 835"/>
                <a:gd name="T68" fmla="*/ 2147483647 w 462"/>
                <a:gd name="T69" fmla="*/ 2147483647 h 835"/>
                <a:gd name="T70" fmla="*/ 2147483647 w 462"/>
                <a:gd name="T71" fmla="*/ 2147483647 h 835"/>
                <a:gd name="T72" fmla="*/ 2147483647 w 462"/>
                <a:gd name="T73" fmla="*/ 0 h 835"/>
                <a:gd name="T74" fmla="*/ 2147483647 w 462"/>
                <a:gd name="T75" fmla="*/ 2147483647 h 835"/>
                <a:gd name="T76" fmla="*/ 2147483647 w 462"/>
                <a:gd name="T77" fmla="*/ 2147483647 h 835"/>
                <a:gd name="T78" fmla="*/ 2147483647 w 462"/>
                <a:gd name="T79" fmla="*/ 2147483647 h 835"/>
                <a:gd name="T80" fmla="*/ 2147483647 w 462"/>
                <a:gd name="T81" fmla="*/ 2147483647 h 835"/>
                <a:gd name="T82" fmla="*/ 2147483647 w 462"/>
                <a:gd name="T83" fmla="*/ 2147483647 h 835"/>
                <a:gd name="T84" fmla="*/ 2147483647 w 462"/>
                <a:gd name="T85" fmla="*/ 2147483647 h 835"/>
                <a:gd name="T86" fmla="*/ 2147483647 w 462"/>
                <a:gd name="T87" fmla="*/ 2147483647 h 835"/>
                <a:gd name="T88" fmla="*/ 2147483647 w 462"/>
                <a:gd name="T89" fmla="*/ 2147483647 h 835"/>
                <a:gd name="T90" fmla="*/ 2147483647 w 462"/>
                <a:gd name="T91" fmla="*/ 2147483647 h 835"/>
                <a:gd name="T92" fmla="*/ 2147483647 w 462"/>
                <a:gd name="T93" fmla="*/ 2147483647 h 83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62" h="835">
                  <a:moveTo>
                    <a:pt x="0" y="323"/>
                  </a:moveTo>
                  <a:lnTo>
                    <a:pt x="31" y="334"/>
                  </a:lnTo>
                  <a:lnTo>
                    <a:pt x="18" y="344"/>
                  </a:lnTo>
                  <a:lnTo>
                    <a:pt x="31" y="367"/>
                  </a:lnTo>
                  <a:lnTo>
                    <a:pt x="74" y="367"/>
                  </a:lnTo>
                  <a:lnTo>
                    <a:pt x="80" y="388"/>
                  </a:lnTo>
                  <a:lnTo>
                    <a:pt x="111" y="367"/>
                  </a:lnTo>
                  <a:lnTo>
                    <a:pt x="99" y="367"/>
                  </a:lnTo>
                  <a:lnTo>
                    <a:pt x="105" y="422"/>
                  </a:lnTo>
                  <a:lnTo>
                    <a:pt x="43" y="467"/>
                  </a:lnTo>
                  <a:lnTo>
                    <a:pt x="24" y="522"/>
                  </a:lnTo>
                  <a:lnTo>
                    <a:pt x="43" y="522"/>
                  </a:lnTo>
                  <a:lnTo>
                    <a:pt x="31" y="534"/>
                  </a:lnTo>
                  <a:lnTo>
                    <a:pt x="43" y="545"/>
                  </a:lnTo>
                  <a:lnTo>
                    <a:pt x="69" y="557"/>
                  </a:lnTo>
                  <a:lnTo>
                    <a:pt x="55" y="590"/>
                  </a:lnTo>
                  <a:lnTo>
                    <a:pt x="61" y="611"/>
                  </a:lnTo>
                  <a:lnTo>
                    <a:pt x="74" y="611"/>
                  </a:lnTo>
                  <a:lnTo>
                    <a:pt x="99" y="557"/>
                  </a:lnTo>
                  <a:lnTo>
                    <a:pt x="87" y="590"/>
                  </a:lnTo>
                  <a:lnTo>
                    <a:pt x="99" y="645"/>
                  </a:lnTo>
                  <a:lnTo>
                    <a:pt x="93" y="668"/>
                  </a:lnTo>
                  <a:lnTo>
                    <a:pt x="119" y="634"/>
                  </a:lnTo>
                  <a:lnTo>
                    <a:pt x="137" y="668"/>
                  </a:lnTo>
                  <a:lnTo>
                    <a:pt x="143" y="645"/>
                  </a:lnTo>
                  <a:lnTo>
                    <a:pt x="149" y="668"/>
                  </a:lnTo>
                  <a:lnTo>
                    <a:pt x="175" y="645"/>
                  </a:lnTo>
                  <a:lnTo>
                    <a:pt x="143" y="747"/>
                  </a:lnTo>
                  <a:lnTo>
                    <a:pt x="119" y="768"/>
                  </a:lnTo>
                  <a:lnTo>
                    <a:pt x="119" y="791"/>
                  </a:lnTo>
                  <a:lnTo>
                    <a:pt x="93" y="791"/>
                  </a:lnTo>
                  <a:lnTo>
                    <a:pt x="69" y="835"/>
                  </a:lnTo>
                  <a:lnTo>
                    <a:pt x="99" y="801"/>
                  </a:lnTo>
                  <a:lnTo>
                    <a:pt x="124" y="801"/>
                  </a:lnTo>
                  <a:lnTo>
                    <a:pt x="143" y="778"/>
                  </a:lnTo>
                  <a:lnTo>
                    <a:pt x="137" y="757"/>
                  </a:lnTo>
                  <a:lnTo>
                    <a:pt x="156" y="757"/>
                  </a:lnTo>
                  <a:lnTo>
                    <a:pt x="211" y="678"/>
                  </a:lnTo>
                  <a:lnTo>
                    <a:pt x="225" y="657"/>
                  </a:lnTo>
                  <a:lnTo>
                    <a:pt x="211" y="634"/>
                  </a:lnTo>
                  <a:lnTo>
                    <a:pt x="268" y="534"/>
                  </a:lnTo>
                  <a:lnTo>
                    <a:pt x="275" y="490"/>
                  </a:lnTo>
                  <a:lnTo>
                    <a:pt x="268" y="534"/>
                  </a:lnTo>
                  <a:lnTo>
                    <a:pt x="286" y="522"/>
                  </a:lnTo>
                  <a:lnTo>
                    <a:pt x="275" y="545"/>
                  </a:lnTo>
                  <a:lnTo>
                    <a:pt x="294" y="557"/>
                  </a:lnTo>
                  <a:lnTo>
                    <a:pt x="255" y="557"/>
                  </a:lnTo>
                  <a:lnTo>
                    <a:pt x="249" y="611"/>
                  </a:lnTo>
                  <a:lnTo>
                    <a:pt x="262" y="601"/>
                  </a:lnTo>
                  <a:lnTo>
                    <a:pt x="249" y="634"/>
                  </a:lnTo>
                  <a:lnTo>
                    <a:pt x="299" y="601"/>
                  </a:lnTo>
                  <a:lnTo>
                    <a:pt x="305" y="566"/>
                  </a:lnTo>
                  <a:lnTo>
                    <a:pt x="299" y="557"/>
                  </a:lnTo>
                  <a:lnTo>
                    <a:pt x="312" y="534"/>
                  </a:lnTo>
                  <a:lnTo>
                    <a:pt x="305" y="557"/>
                  </a:lnTo>
                  <a:lnTo>
                    <a:pt x="331" y="545"/>
                  </a:lnTo>
                  <a:lnTo>
                    <a:pt x="324" y="566"/>
                  </a:lnTo>
                  <a:lnTo>
                    <a:pt x="368" y="601"/>
                  </a:lnTo>
                  <a:lnTo>
                    <a:pt x="431" y="611"/>
                  </a:lnTo>
                  <a:lnTo>
                    <a:pt x="438" y="590"/>
                  </a:lnTo>
                  <a:lnTo>
                    <a:pt x="450" y="601"/>
                  </a:lnTo>
                  <a:lnTo>
                    <a:pt x="438" y="624"/>
                  </a:lnTo>
                  <a:lnTo>
                    <a:pt x="456" y="645"/>
                  </a:lnTo>
                  <a:lnTo>
                    <a:pt x="462" y="624"/>
                  </a:lnTo>
                  <a:lnTo>
                    <a:pt x="443" y="590"/>
                  </a:lnTo>
                  <a:lnTo>
                    <a:pt x="419" y="590"/>
                  </a:lnTo>
                  <a:lnTo>
                    <a:pt x="419" y="100"/>
                  </a:lnTo>
                  <a:lnTo>
                    <a:pt x="249" y="56"/>
                  </a:lnTo>
                  <a:lnTo>
                    <a:pt x="244" y="33"/>
                  </a:lnTo>
                  <a:lnTo>
                    <a:pt x="199" y="10"/>
                  </a:lnTo>
                  <a:lnTo>
                    <a:pt x="193" y="33"/>
                  </a:lnTo>
                  <a:lnTo>
                    <a:pt x="180" y="33"/>
                  </a:lnTo>
                  <a:lnTo>
                    <a:pt x="193" y="10"/>
                  </a:lnTo>
                  <a:lnTo>
                    <a:pt x="175" y="0"/>
                  </a:lnTo>
                  <a:lnTo>
                    <a:pt x="156" y="33"/>
                  </a:lnTo>
                  <a:lnTo>
                    <a:pt x="124" y="33"/>
                  </a:lnTo>
                  <a:lnTo>
                    <a:pt x="124" y="67"/>
                  </a:lnTo>
                  <a:lnTo>
                    <a:pt x="124" y="44"/>
                  </a:lnTo>
                  <a:lnTo>
                    <a:pt x="93" y="67"/>
                  </a:lnTo>
                  <a:lnTo>
                    <a:pt x="99" y="88"/>
                  </a:lnTo>
                  <a:lnTo>
                    <a:pt x="87" y="77"/>
                  </a:lnTo>
                  <a:lnTo>
                    <a:pt x="69" y="121"/>
                  </a:lnTo>
                  <a:lnTo>
                    <a:pt x="24" y="144"/>
                  </a:lnTo>
                  <a:lnTo>
                    <a:pt x="31" y="167"/>
                  </a:lnTo>
                  <a:lnTo>
                    <a:pt x="18" y="167"/>
                  </a:lnTo>
                  <a:lnTo>
                    <a:pt x="69" y="234"/>
                  </a:lnTo>
                  <a:lnTo>
                    <a:pt x="130" y="278"/>
                  </a:lnTo>
                  <a:lnTo>
                    <a:pt x="93" y="267"/>
                  </a:lnTo>
                  <a:lnTo>
                    <a:pt x="93" y="290"/>
                  </a:lnTo>
                  <a:lnTo>
                    <a:pt x="105" y="290"/>
                  </a:lnTo>
                  <a:lnTo>
                    <a:pt x="93" y="300"/>
                  </a:lnTo>
                  <a:lnTo>
                    <a:pt x="69" y="290"/>
                  </a:lnTo>
                  <a:lnTo>
                    <a:pt x="69" y="267"/>
                  </a:lnTo>
                  <a:lnTo>
                    <a:pt x="50" y="267"/>
                  </a:lnTo>
                  <a:lnTo>
                    <a:pt x="0" y="3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46" name="Freeform 792"/>
            <p:cNvSpPr>
              <a:spLocks/>
            </p:cNvSpPr>
            <p:nvPr>
              <p:custDataLst>
                <p:tags r:id="rId640"/>
              </p:custDataLst>
            </p:nvPr>
          </p:nvSpPr>
          <p:spPr bwMode="auto">
            <a:xfrm>
              <a:off x="695573" y="2849563"/>
              <a:ext cx="57150" cy="34925"/>
            </a:xfrm>
            <a:custGeom>
              <a:avLst/>
              <a:gdLst>
                <a:gd name="T0" fmla="*/ 0 w 39"/>
                <a:gd name="T1" fmla="*/ 2147483647 h 44"/>
                <a:gd name="T2" fmla="*/ 2147483647 w 39"/>
                <a:gd name="T3" fmla="*/ 2147483647 h 44"/>
                <a:gd name="T4" fmla="*/ 2147483647 w 39"/>
                <a:gd name="T5" fmla="*/ 2147483647 h 44"/>
                <a:gd name="T6" fmla="*/ 2147483647 w 39"/>
                <a:gd name="T7" fmla="*/ 0 h 44"/>
                <a:gd name="T8" fmla="*/ 2147483647 w 39"/>
                <a:gd name="T9" fmla="*/ 2147483647 h 44"/>
                <a:gd name="T10" fmla="*/ 0 w 39"/>
                <a:gd name="T11" fmla="*/ 2147483647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4">
                  <a:moveTo>
                    <a:pt x="0" y="21"/>
                  </a:moveTo>
                  <a:lnTo>
                    <a:pt x="6" y="44"/>
                  </a:lnTo>
                  <a:lnTo>
                    <a:pt x="39" y="11"/>
                  </a:lnTo>
                  <a:lnTo>
                    <a:pt x="13" y="0"/>
                  </a:lnTo>
                  <a:lnTo>
                    <a:pt x="13" y="1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47" name="Freeform 793"/>
            <p:cNvSpPr>
              <a:spLocks/>
            </p:cNvSpPr>
            <p:nvPr>
              <p:custDataLst>
                <p:tags r:id="rId641"/>
              </p:custDataLst>
            </p:nvPr>
          </p:nvSpPr>
          <p:spPr bwMode="auto">
            <a:xfrm>
              <a:off x="695573" y="2849563"/>
              <a:ext cx="57150" cy="34925"/>
            </a:xfrm>
            <a:custGeom>
              <a:avLst/>
              <a:gdLst>
                <a:gd name="T0" fmla="*/ 0 w 39"/>
                <a:gd name="T1" fmla="*/ 2147483647 h 44"/>
                <a:gd name="T2" fmla="*/ 2147483647 w 39"/>
                <a:gd name="T3" fmla="*/ 2147483647 h 44"/>
                <a:gd name="T4" fmla="*/ 2147483647 w 39"/>
                <a:gd name="T5" fmla="*/ 2147483647 h 44"/>
                <a:gd name="T6" fmla="*/ 2147483647 w 39"/>
                <a:gd name="T7" fmla="*/ 0 h 44"/>
                <a:gd name="T8" fmla="*/ 2147483647 w 39"/>
                <a:gd name="T9" fmla="*/ 2147483647 h 44"/>
                <a:gd name="T10" fmla="*/ 0 w 39"/>
                <a:gd name="T11" fmla="*/ 2147483647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4">
                  <a:moveTo>
                    <a:pt x="0" y="21"/>
                  </a:moveTo>
                  <a:lnTo>
                    <a:pt x="6" y="44"/>
                  </a:lnTo>
                  <a:lnTo>
                    <a:pt x="39" y="11"/>
                  </a:lnTo>
                  <a:lnTo>
                    <a:pt x="13" y="0"/>
                  </a:lnTo>
                  <a:lnTo>
                    <a:pt x="13" y="11"/>
                  </a:lnTo>
                  <a:lnTo>
                    <a:pt x="0" y="2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48" name="Freeform 794"/>
            <p:cNvSpPr>
              <a:spLocks/>
            </p:cNvSpPr>
            <p:nvPr>
              <p:custDataLst>
                <p:tags r:id="rId642"/>
              </p:custDataLst>
            </p:nvPr>
          </p:nvSpPr>
          <p:spPr bwMode="auto">
            <a:xfrm>
              <a:off x="695573" y="2849563"/>
              <a:ext cx="57150" cy="34925"/>
            </a:xfrm>
            <a:custGeom>
              <a:avLst/>
              <a:gdLst>
                <a:gd name="T0" fmla="*/ 0 w 39"/>
                <a:gd name="T1" fmla="*/ 2147483647 h 44"/>
                <a:gd name="T2" fmla="*/ 2147483647 w 39"/>
                <a:gd name="T3" fmla="*/ 2147483647 h 44"/>
                <a:gd name="T4" fmla="*/ 2147483647 w 39"/>
                <a:gd name="T5" fmla="*/ 2147483647 h 44"/>
                <a:gd name="T6" fmla="*/ 2147483647 w 39"/>
                <a:gd name="T7" fmla="*/ 0 h 44"/>
                <a:gd name="T8" fmla="*/ 2147483647 w 39"/>
                <a:gd name="T9" fmla="*/ 2147483647 h 44"/>
                <a:gd name="T10" fmla="*/ 0 w 39"/>
                <a:gd name="T11" fmla="*/ 2147483647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4">
                  <a:moveTo>
                    <a:pt x="0" y="21"/>
                  </a:moveTo>
                  <a:lnTo>
                    <a:pt x="6" y="44"/>
                  </a:lnTo>
                  <a:lnTo>
                    <a:pt x="39" y="11"/>
                  </a:lnTo>
                  <a:lnTo>
                    <a:pt x="13" y="0"/>
                  </a:lnTo>
                  <a:lnTo>
                    <a:pt x="13" y="1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49" name="Freeform 795"/>
            <p:cNvSpPr>
              <a:spLocks/>
            </p:cNvSpPr>
            <p:nvPr>
              <p:custDataLst>
                <p:tags r:id="rId643"/>
              </p:custDataLst>
            </p:nvPr>
          </p:nvSpPr>
          <p:spPr bwMode="auto">
            <a:xfrm>
              <a:off x="695573" y="2849563"/>
              <a:ext cx="57150" cy="34925"/>
            </a:xfrm>
            <a:custGeom>
              <a:avLst/>
              <a:gdLst>
                <a:gd name="T0" fmla="*/ 0 w 39"/>
                <a:gd name="T1" fmla="*/ 2147483647 h 44"/>
                <a:gd name="T2" fmla="*/ 2147483647 w 39"/>
                <a:gd name="T3" fmla="*/ 2147483647 h 44"/>
                <a:gd name="T4" fmla="*/ 2147483647 w 39"/>
                <a:gd name="T5" fmla="*/ 2147483647 h 44"/>
                <a:gd name="T6" fmla="*/ 2147483647 w 39"/>
                <a:gd name="T7" fmla="*/ 0 h 44"/>
                <a:gd name="T8" fmla="*/ 2147483647 w 39"/>
                <a:gd name="T9" fmla="*/ 2147483647 h 44"/>
                <a:gd name="T10" fmla="*/ 0 w 39"/>
                <a:gd name="T11" fmla="*/ 2147483647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4">
                  <a:moveTo>
                    <a:pt x="0" y="21"/>
                  </a:moveTo>
                  <a:lnTo>
                    <a:pt x="6" y="44"/>
                  </a:lnTo>
                  <a:lnTo>
                    <a:pt x="39" y="11"/>
                  </a:lnTo>
                  <a:lnTo>
                    <a:pt x="13" y="0"/>
                  </a:lnTo>
                  <a:lnTo>
                    <a:pt x="13" y="11"/>
                  </a:lnTo>
                  <a:lnTo>
                    <a:pt x="0" y="2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50" name="Freeform 796"/>
            <p:cNvSpPr>
              <a:spLocks/>
            </p:cNvSpPr>
            <p:nvPr>
              <p:custDataLst>
                <p:tags r:id="rId644"/>
              </p:custDataLst>
            </p:nvPr>
          </p:nvSpPr>
          <p:spPr bwMode="auto">
            <a:xfrm>
              <a:off x="1073398" y="2768600"/>
              <a:ext cx="184150" cy="185738"/>
            </a:xfrm>
            <a:custGeom>
              <a:avLst/>
              <a:gdLst>
                <a:gd name="T0" fmla="*/ 0 w 126"/>
                <a:gd name="T1" fmla="*/ 2147483647 h 234"/>
                <a:gd name="T2" fmla="*/ 2147483647 w 126"/>
                <a:gd name="T3" fmla="*/ 2147483647 h 234"/>
                <a:gd name="T4" fmla="*/ 2147483647 w 126"/>
                <a:gd name="T5" fmla="*/ 2147483647 h 234"/>
                <a:gd name="T6" fmla="*/ 2147483647 w 126"/>
                <a:gd name="T7" fmla="*/ 2147483647 h 234"/>
                <a:gd name="T8" fmla="*/ 2147483647 w 126"/>
                <a:gd name="T9" fmla="*/ 2147483647 h 234"/>
                <a:gd name="T10" fmla="*/ 2147483647 w 126"/>
                <a:gd name="T11" fmla="*/ 2147483647 h 234"/>
                <a:gd name="T12" fmla="*/ 2147483647 w 126"/>
                <a:gd name="T13" fmla="*/ 2147483647 h 234"/>
                <a:gd name="T14" fmla="*/ 2147483647 w 126"/>
                <a:gd name="T15" fmla="*/ 2147483647 h 234"/>
                <a:gd name="T16" fmla="*/ 2147483647 w 126"/>
                <a:gd name="T17" fmla="*/ 2147483647 h 234"/>
                <a:gd name="T18" fmla="*/ 2147483647 w 126"/>
                <a:gd name="T19" fmla="*/ 2147483647 h 234"/>
                <a:gd name="T20" fmla="*/ 2147483647 w 126"/>
                <a:gd name="T21" fmla="*/ 2147483647 h 234"/>
                <a:gd name="T22" fmla="*/ 2147483647 w 126"/>
                <a:gd name="T23" fmla="*/ 2147483647 h 234"/>
                <a:gd name="T24" fmla="*/ 2147483647 w 126"/>
                <a:gd name="T25" fmla="*/ 2147483647 h 234"/>
                <a:gd name="T26" fmla="*/ 2147483647 w 126"/>
                <a:gd name="T27" fmla="*/ 2147483647 h 234"/>
                <a:gd name="T28" fmla="*/ 2147483647 w 126"/>
                <a:gd name="T29" fmla="*/ 2147483647 h 234"/>
                <a:gd name="T30" fmla="*/ 2147483647 w 126"/>
                <a:gd name="T31" fmla="*/ 2147483647 h 234"/>
                <a:gd name="T32" fmla="*/ 2147483647 w 126"/>
                <a:gd name="T33" fmla="*/ 2147483647 h 234"/>
                <a:gd name="T34" fmla="*/ 2147483647 w 126"/>
                <a:gd name="T35" fmla="*/ 2147483647 h 234"/>
                <a:gd name="T36" fmla="*/ 2147483647 w 126"/>
                <a:gd name="T37" fmla="*/ 0 h 234"/>
                <a:gd name="T38" fmla="*/ 2147483647 w 126"/>
                <a:gd name="T39" fmla="*/ 2147483647 h 234"/>
                <a:gd name="T40" fmla="*/ 0 w 126"/>
                <a:gd name="T41" fmla="*/ 2147483647 h 2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6" h="234">
                  <a:moveTo>
                    <a:pt x="0" y="35"/>
                  </a:moveTo>
                  <a:lnTo>
                    <a:pt x="7" y="67"/>
                  </a:lnTo>
                  <a:lnTo>
                    <a:pt x="26" y="79"/>
                  </a:lnTo>
                  <a:lnTo>
                    <a:pt x="31" y="67"/>
                  </a:lnTo>
                  <a:lnTo>
                    <a:pt x="18" y="44"/>
                  </a:lnTo>
                  <a:lnTo>
                    <a:pt x="31" y="44"/>
                  </a:lnTo>
                  <a:lnTo>
                    <a:pt x="44" y="79"/>
                  </a:lnTo>
                  <a:lnTo>
                    <a:pt x="38" y="23"/>
                  </a:lnTo>
                  <a:lnTo>
                    <a:pt x="50" y="79"/>
                  </a:lnTo>
                  <a:lnTo>
                    <a:pt x="76" y="102"/>
                  </a:lnTo>
                  <a:lnTo>
                    <a:pt x="68" y="133"/>
                  </a:lnTo>
                  <a:lnTo>
                    <a:pt x="100" y="167"/>
                  </a:lnTo>
                  <a:lnTo>
                    <a:pt x="94" y="200"/>
                  </a:lnTo>
                  <a:lnTo>
                    <a:pt x="107" y="177"/>
                  </a:lnTo>
                  <a:lnTo>
                    <a:pt x="113" y="234"/>
                  </a:lnTo>
                  <a:lnTo>
                    <a:pt x="126" y="223"/>
                  </a:lnTo>
                  <a:lnTo>
                    <a:pt x="126" y="177"/>
                  </a:lnTo>
                  <a:lnTo>
                    <a:pt x="94" y="156"/>
                  </a:lnTo>
                  <a:lnTo>
                    <a:pt x="38" y="0"/>
                  </a:lnTo>
                  <a:lnTo>
                    <a:pt x="7" y="44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51" name="Freeform 797"/>
            <p:cNvSpPr>
              <a:spLocks/>
            </p:cNvSpPr>
            <p:nvPr>
              <p:custDataLst>
                <p:tags r:id="rId645"/>
              </p:custDataLst>
            </p:nvPr>
          </p:nvSpPr>
          <p:spPr bwMode="auto">
            <a:xfrm>
              <a:off x="1073398" y="2768600"/>
              <a:ext cx="184150" cy="185738"/>
            </a:xfrm>
            <a:custGeom>
              <a:avLst/>
              <a:gdLst>
                <a:gd name="T0" fmla="*/ 0 w 126"/>
                <a:gd name="T1" fmla="*/ 2147483647 h 234"/>
                <a:gd name="T2" fmla="*/ 2147483647 w 126"/>
                <a:gd name="T3" fmla="*/ 2147483647 h 234"/>
                <a:gd name="T4" fmla="*/ 2147483647 w 126"/>
                <a:gd name="T5" fmla="*/ 2147483647 h 234"/>
                <a:gd name="T6" fmla="*/ 2147483647 w 126"/>
                <a:gd name="T7" fmla="*/ 2147483647 h 234"/>
                <a:gd name="T8" fmla="*/ 2147483647 w 126"/>
                <a:gd name="T9" fmla="*/ 2147483647 h 234"/>
                <a:gd name="T10" fmla="*/ 2147483647 w 126"/>
                <a:gd name="T11" fmla="*/ 2147483647 h 234"/>
                <a:gd name="T12" fmla="*/ 2147483647 w 126"/>
                <a:gd name="T13" fmla="*/ 2147483647 h 234"/>
                <a:gd name="T14" fmla="*/ 2147483647 w 126"/>
                <a:gd name="T15" fmla="*/ 2147483647 h 234"/>
                <a:gd name="T16" fmla="*/ 2147483647 w 126"/>
                <a:gd name="T17" fmla="*/ 2147483647 h 234"/>
                <a:gd name="T18" fmla="*/ 2147483647 w 126"/>
                <a:gd name="T19" fmla="*/ 2147483647 h 234"/>
                <a:gd name="T20" fmla="*/ 2147483647 w 126"/>
                <a:gd name="T21" fmla="*/ 2147483647 h 234"/>
                <a:gd name="T22" fmla="*/ 2147483647 w 126"/>
                <a:gd name="T23" fmla="*/ 2147483647 h 234"/>
                <a:gd name="T24" fmla="*/ 2147483647 w 126"/>
                <a:gd name="T25" fmla="*/ 2147483647 h 234"/>
                <a:gd name="T26" fmla="*/ 2147483647 w 126"/>
                <a:gd name="T27" fmla="*/ 2147483647 h 234"/>
                <a:gd name="T28" fmla="*/ 2147483647 w 126"/>
                <a:gd name="T29" fmla="*/ 2147483647 h 234"/>
                <a:gd name="T30" fmla="*/ 2147483647 w 126"/>
                <a:gd name="T31" fmla="*/ 2147483647 h 234"/>
                <a:gd name="T32" fmla="*/ 2147483647 w 126"/>
                <a:gd name="T33" fmla="*/ 2147483647 h 234"/>
                <a:gd name="T34" fmla="*/ 2147483647 w 126"/>
                <a:gd name="T35" fmla="*/ 2147483647 h 234"/>
                <a:gd name="T36" fmla="*/ 2147483647 w 126"/>
                <a:gd name="T37" fmla="*/ 0 h 234"/>
                <a:gd name="T38" fmla="*/ 2147483647 w 126"/>
                <a:gd name="T39" fmla="*/ 2147483647 h 234"/>
                <a:gd name="T40" fmla="*/ 0 w 126"/>
                <a:gd name="T41" fmla="*/ 2147483647 h 2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6" h="234">
                  <a:moveTo>
                    <a:pt x="0" y="35"/>
                  </a:moveTo>
                  <a:lnTo>
                    <a:pt x="7" y="67"/>
                  </a:lnTo>
                  <a:lnTo>
                    <a:pt x="26" y="79"/>
                  </a:lnTo>
                  <a:lnTo>
                    <a:pt x="31" y="67"/>
                  </a:lnTo>
                  <a:lnTo>
                    <a:pt x="18" y="44"/>
                  </a:lnTo>
                  <a:lnTo>
                    <a:pt x="31" y="44"/>
                  </a:lnTo>
                  <a:lnTo>
                    <a:pt x="44" y="79"/>
                  </a:lnTo>
                  <a:lnTo>
                    <a:pt x="38" y="23"/>
                  </a:lnTo>
                  <a:lnTo>
                    <a:pt x="50" y="79"/>
                  </a:lnTo>
                  <a:lnTo>
                    <a:pt x="76" y="102"/>
                  </a:lnTo>
                  <a:lnTo>
                    <a:pt x="68" y="133"/>
                  </a:lnTo>
                  <a:lnTo>
                    <a:pt x="100" y="167"/>
                  </a:lnTo>
                  <a:lnTo>
                    <a:pt x="94" y="200"/>
                  </a:lnTo>
                  <a:lnTo>
                    <a:pt x="107" y="177"/>
                  </a:lnTo>
                  <a:lnTo>
                    <a:pt x="113" y="234"/>
                  </a:lnTo>
                  <a:lnTo>
                    <a:pt x="126" y="223"/>
                  </a:lnTo>
                  <a:lnTo>
                    <a:pt x="126" y="177"/>
                  </a:lnTo>
                  <a:lnTo>
                    <a:pt x="94" y="156"/>
                  </a:lnTo>
                  <a:lnTo>
                    <a:pt x="38" y="0"/>
                  </a:lnTo>
                  <a:lnTo>
                    <a:pt x="7" y="44"/>
                  </a:lnTo>
                  <a:lnTo>
                    <a:pt x="0" y="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52" name="Freeform 798"/>
            <p:cNvSpPr>
              <a:spLocks/>
            </p:cNvSpPr>
            <p:nvPr>
              <p:custDataLst>
                <p:tags r:id="rId646"/>
              </p:custDataLst>
            </p:nvPr>
          </p:nvSpPr>
          <p:spPr bwMode="auto">
            <a:xfrm>
              <a:off x="1073398" y="2768600"/>
              <a:ext cx="184150" cy="185738"/>
            </a:xfrm>
            <a:custGeom>
              <a:avLst/>
              <a:gdLst>
                <a:gd name="T0" fmla="*/ 0 w 126"/>
                <a:gd name="T1" fmla="*/ 2147483647 h 234"/>
                <a:gd name="T2" fmla="*/ 2147483647 w 126"/>
                <a:gd name="T3" fmla="*/ 2147483647 h 234"/>
                <a:gd name="T4" fmla="*/ 2147483647 w 126"/>
                <a:gd name="T5" fmla="*/ 2147483647 h 234"/>
                <a:gd name="T6" fmla="*/ 2147483647 w 126"/>
                <a:gd name="T7" fmla="*/ 2147483647 h 234"/>
                <a:gd name="T8" fmla="*/ 2147483647 w 126"/>
                <a:gd name="T9" fmla="*/ 2147483647 h 234"/>
                <a:gd name="T10" fmla="*/ 2147483647 w 126"/>
                <a:gd name="T11" fmla="*/ 2147483647 h 234"/>
                <a:gd name="T12" fmla="*/ 2147483647 w 126"/>
                <a:gd name="T13" fmla="*/ 2147483647 h 234"/>
                <a:gd name="T14" fmla="*/ 2147483647 w 126"/>
                <a:gd name="T15" fmla="*/ 2147483647 h 234"/>
                <a:gd name="T16" fmla="*/ 2147483647 w 126"/>
                <a:gd name="T17" fmla="*/ 2147483647 h 234"/>
                <a:gd name="T18" fmla="*/ 2147483647 w 126"/>
                <a:gd name="T19" fmla="*/ 2147483647 h 234"/>
                <a:gd name="T20" fmla="*/ 2147483647 w 126"/>
                <a:gd name="T21" fmla="*/ 2147483647 h 234"/>
                <a:gd name="T22" fmla="*/ 2147483647 w 126"/>
                <a:gd name="T23" fmla="*/ 2147483647 h 234"/>
                <a:gd name="T24" fmla="*/ 2147483647 w 126"/>
                <a:gd name="T25" fmla="*/ 2147483647 h 234"/>
                <a:gd name="T26" fmla="*/ 2147483647 w 126"/>
                <a:gd name="T27" fmla="*/ 2147483647 h 234"/>
                <a:gd name="T28" fmla="*/ 2147483647 w 126"/>
                <a:gd name="T29" fmla="*/ 2147483647 h 234"/>
                <a:gd name="T30" fmla="*/ 2147483647 w 126"/>
                <a:gd name="T31" fmla="*/ 2147483647 h 234"/>
                <a:gd name="T32" fmla="*/ 2147483647 w 126"/>
                <a:gd name="T33" fmla="*/ 2147483647 h 234"/>
                <a:gd name="T34" fmla="*/ 2147483647 w 126"/>
                <a:gd name="T35" fmla="*/ 2147483647 h 234"/>
                <a:gd name="T36" fmla="*/ 2147483647 w 126"/>
                <a:gd name="T37" fmla="*/ 0 h 234"/>
                <a:gd name="T38" fmla="*/ 2147483647 w 126"/>
                <a:gd name="T39" fmla="*/ 2147483647 h 234"/>
                <a:gd name="T40" fmla="*/ 0 w 126"/>
                <a:gd name="T41" fmla="*/ 2147483647 h 2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6" h="234">
                  <a:moveTo>
                    <a:pt x="0" y="35"/>
                  </a:moveTo>
                  <a:lnTo>
                    <a:pt x="7" y="67"/>
                  </a:lnTo>
                  <a:lnTo>
                    <a:pt x="26" y="79"/>
                  </a:lnTo>
                  <a:lnTo>
                    <a:pt x="31" y="67"/>
                  </a:lnTo>
                  <a:lnTo>
                    <a:pt x="18" y="44"/>
                  </a:lnTo>
                  <a:lnTo>
                    <a:pt x="31" y="44"/>
                  </a:lnTo>
                  <a:lnTo>
                    <a:pt x="44" y="79"/>
                  </a:lnTo>
                  <a:lnTo>
                    <a:pt x="38" y="23"/>
                  </a:lnTo>
                  <a:lnTo>
                    <a:pt x="50" y="79"/>
                  </a:lnTo>
                  <a:lnTo>
                    <a:pt x="76" y="102"/>
                  </a:lnTo>
                  <a:lnTo>
                    <a:pt x="68" y="133"/>
                  </a:lnTo>
                  <a:lnTo>
                    <a:pt x="100" y="167"/>
                  </a:lnTo>
                  <a:lnTo>
                    <a:pt x="94" y="200"/>
                  </a:lnTo>
                  <a:lnTo>
                    <a:pt x="107" y="177"/>
                  </a:lnTo>
                  <a:lnTo>
                    <a:pt x="113" y="234"/>
                  </a:lnTo>
                  <a:lnTo>
                    <a:pt x="126" y="223"/>
                  </a:lnTo>
                  <a:lnTo>
                    <a:pt x="126" y="177"/>
                  </a:lnTo>
                  <a:lnTo>
                    <a:pt x="94" y="156"/>
                  </a:lnTo>
                  <a:lnTo>
                    <a:pt x="38" y="0"/>
                  </a:lnTo>
                  <a:lnTo>
                    <a:pt x="7" y="44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53" name="Freeform 799"/>
            <p:cNvSpPr>
              <a:spLocks/>
            </p:cNvSpPr>
            <p:nvPr>
              <p:custDataLst>
                <p:tags r:id="rId647"/>
              </p:custDataLst>
            </p:nvPr>
          </p:nvSpPr>
          <p:spPr bwMode="auto">
            <a:xfrm>
              <a:off x="1073398" y="2768600"/>
              <a:ext cx="184150" cy="185738"/>
            </a:xfrm>
            <a:custGeom>
              <a:avLst/>
              <a:gdLst>
                <a:gd name="T0" fmla="*/ 0 w 126"/>
                <a:gd name="T1" fmla="*/ 2147483647 h 234"/>
                <a:gd name="T2" fmla="*/ 2147483647 w 126"/>
                <a:gd name="T3" fmla="*/ 2147483647 h 234"/>
                <a:gd name="T4" fmla="*/ 2147483647 w 126"/>
                <a:gd name="T5" fmla="*/ 2147483647 h 234"/>
                <a:gd name="T6" fmla="*/ 2147483647 w 126"/>
                <a:gd name="T7" fmla="*/ 2147483647 h 234"/>
                <a:gd name="T8" fmla="*/ 2147483647 w 126"/>
                <a:gd name="T9" fmla="*/ 2147483647 h 234"/>
                <a:gd name="T10" fmla="*/ 2147483647 w 126"/>
                <a:gd name="T11" fmla="*/ 2147483647 h 234"/>
                <a:gd name="T12" fmla="*/ 2147483647 w 126"/>
                <a:gd name="T13" fmla="*/ 2147483647 h 234"/>
                <a:gd name="T14" fmla="*/ 2147483647 w 126"/>
                <a:gd name="T15" fmla="*/ 2147483647 h 234"/>
                <a:gd name="T16" fmla="*/ 2147483647 w 126"/>
                <a:gd name="T17" fmla="*/ 2147483647 h 234"/>
                <a:gd name="T18" fmla="*/ 2147483647 w 126"/>
                <a:gd name="T19" fmla="*/ 2147483647 h 234"/>
                <a:gd name="T20" fmla="*/ 2147483647 w 126"/>
                <a:gd name="T21" fmla="*/ 2147483647 h 234"/>
                <a:gd name="T22" fmla="*/ 2147483647 w 126"/>
                <a:gd name="T23" fmla="*/ 2147483647 h 234"/>
                <a:gd name="T24" fmla="*/ 2147483647 w 126"/>
                <a:gd name="T25" fmla="*/ 2147483647 h 234"/>
                <a:gd name="T26" fmla="*/ 2147483647 w 126"/>
                <a:gd name="T27" fmla="*/ 2147483647 h 234"/>
                <a:gd name="T28" fmla="*/ 2147483647 w 126"/>
                <a:gd name="T29" fmla="*/ 2147483647 h 234"/>
                <a:gd name="T30" fmla="*/ 2147483647 w 126"/>
                <a:gd name="T31" fmla="*/ 2147483647 h 234"/>
                <a:gd name="T32" fmla="*/ 2147483647 w 126"/>
                <a:gd name="T33" fmla="*/ 2147483647 h 234"/>
                <a:gd name="T34" fmla="*/ 2147483647 w 126"/>
                <a:gd name="T35" fmla="*/ 2147483647 h 234"/>
                <a:gd name="T36" fmla="*/ 2147483647 w 126"/>
                <a:gd name="T37" fmla="*/ 0 h 234"/>
                <a:gd name="T38" fmla="*/ 2147483647 w 126"/>
                <a:gd name="T39" fmla="*/ 2147483647 h 234"/>
                <a:gd name="T40" fmla="*/ 0 w 126"/>
                <a:gd name="T41" fmla="*/ 2147483647 h 2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6" h="234">
                  <a:moveTo>
                    <a:pt x="0" y="35"/>
                  </a:moveTo>
                  <a:lnTo>
                    <a:pt x="7" y="67"/>
                  </a:lnTo>
                  <a:lnTo>
                    <a:pt x="26" y="79"/>
                  </a:lnTo>
                  <a:lnTo>
                    <a:pt x="31" y="67"/>
                  </a:lnTo>
                  <a:lnTo>
                    <a:pt x="18" y="44"/>
                  </a:lnTo>
                  <a:lnTo>
                    <a:pt x="31" y="44"/>
                  </a:lnTo>
                  <a:lnTo>
                    <a:pt x="44" y="79"/>
                  </a:lnTo>
                  <a:lnTo>
                    <a:pt x="38" y="23"/>
                  </a:lnTo>
                  <a:lnTo>
                    <a:pt x="50" y="79"/>
                  </a:lnTo>
                  <a:lnTo>
                    <a:pt x="76" y="102"/>
                  </a:lnTo>
                  <a:lnTo>
                    <a:pt x="68" y="133"/>
                  </a:lnTo>
                  <a:lnTo>
                    <a:pt x="100" y="167"/>
                  </a:lnTo>
                  <a:lnTo>
                    <a:pt x="94" y="200"/>
                  </a:lnTo>
                  <a:lnTo>
                    <a:pt x="107" y="177"/>
                  </a:lnTo>
                  <a:lnTo>
                    <a:pt x="113" y="234"/>
                  </a:lnTo>
                  <a:lnTo>
                    <a:pt x="126" y="223"/>
                  </a:lnTo>
                  <a:lnTo>
                    <a:pt x="126" y="177"/>
                  </a:lnTo>
                  <a:lnTo>
                    <a:pt x="94" y="156"/>
                  </a:lnTo>
                  <a:lnTo>
                    <a:pt x="38" y="0"/>
                  </a:lnTo>
                  <a:lnTo>
                    <a:pt x="7" y="44"/>
                  </a:lnTo>
                  <a:lnTo>
                    <a:pt x="0" y="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54" name="Freeform 800"/>
            <p:cNvSpPr>
              <a:spLocks/>
            </p:cNvSpPr>
            <p:nvPr>
              <p:custDataLst>
                <p:tags r:id="rId648"/>
              </p:custDataLst>
            </p:nvPr>
          </p:nvSpPr>
          <p:spPr bwMode="auto">
            <a:xfrm>
              <a:off x="1117848" y="2830513"/>
              <a:ext cx="28575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2147483647 h 32"/>
                <a:gd name="T6" fmla="*/ 2147483647 w 19"/>
                <a:gd name="T7" fmla="*/ 2147483647 h 32"/>
                <a:gd name="T8" fmla="*/ 2147483647 w 19"/>
                <a:gd name="T9" fmla="*/ 2147483647 h 32"/>
                <a:gd name="T10" fmla="*/ 2147483647 w 19"/>
                <a:gd name="T11" fmla="*/ 2147483647 h 32"/>
                <a:gd name="T12" fmla="*/ 0 w 19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7" y="32"/>
                  </a:lnTo>
                  <a:lnTo>
                    <a:pt x="7" y="23"/>
                  </a:lnTo>
                  <a:lnTo>
                    <a:pt x="19" y="32"/>
                  </a:lnTo>
                  <a:lnTo>
                    <a:pt x="7" y="23"/>
                  </a:lnTo>
                  <a:lnTo>
                    <a:pt x="19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55" name="Freeform 801"/>
            <p:cNvSpPr>
              <a:spLocks/>
            </p:cNvSpPr>
            <p:nvPr>
              <p:custDataLst>
                <p:tags r:id="rId649"/>
              </p:custDataLst>
            </p:nvPr>
          </p:nvSpPr>
          <p:spPr bwMode="auto">
            <a:xfrm>
              <a:off x="1117848" y="2830513"/>
              <a:ext cx="28575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2147483647 h 32"/>
                <a:gd name="T6" fmla="*/ 2147483647 w 19"/>
                <a:gd name="T7" fmla="*/ 2147483647 h 32"/>
                <a:gd name="T8" fmla="*/ 2147483647 w 19"/>
                <a:gd name="T9" fmla="*/ 2147483647 h 32"/>
                <a:gd name="T10" fmla="*/ 2147483647 w 19"/>
                <a:gd name="T11" fmla="*/ 2147483647 h 32"/>
                <a:gd name="T12" fmla="*/ 0 w 19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7" y="32"/>
                  </a:lnTo>
                  <a:lnTo>
                    <a:pt x="7" y="23"/>
                  </a:lnTo>
                  <a:lnTo>
                    <a:pt x="19" y="32"/>
                  </a:lnTo>
                  <a:lnTo>
                    <a:pt x="7" y="23"/>
                  </a:lnTo>
                  <a:lnTo>
                    <a:pt x="19" y="9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56" name="Freeform 802"/>
            <p:cNvSpPr>
              <a:spLocks/>
            </p:cNvSpPr>
            <p:nvPr>
              <p:custDataLst>
                <p:tags r:id="rId650"/>
              </p:custDataLst>
            </p:nvPr>
          </p:nvSpPr>
          <p:spPr bwMode="auto">
            <a:xfrm>
              <a:off x="1117848" y="2830513"/>
              <a:ext cx="28575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2147483647 h 32"/>
                <a:gd name="T6" fmla="*/ 2147483647 w 19"/>
                <a:gd name="T7" fmla="*/ 2147483647 h 32"/>
                <a:gd name="T8" fmla="*/ 2147483647 w 19"/>
                <a:gd name="T9" fmla="*/ 2147483647 h 32"/>
                <a:gd name="T10" fmla="*/ 2147483647 w 19"/>
                <a:gd name="T11" fmla="*/ 2147483647 h 32"/>
                <a:gd name="T12" fmla="*/ 0 w 19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7" y="32"/>
                  </a:lnTo>
                  <a:lnTo>
                    <a:pt x="7" y="23"/>
                  </a:lnTo>
                  <a:lnTo>
                    <a:pt x="19" y="32"/>
                  </a:lnTo>
                  <a:lnTo>
                    <a:pt x="7" y="23"/>
                  </a:lnTo>
                  <a:lnTo>
                    <a:pt x="19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57" name="Freeform 803"/>
            <p:cNvSpPr>
              <a:spLocks/>
            </p:cNvSpPr>
            <p:nvPr>
              <p:custDataLst>
                <p:tags r:id="rId651"/>
              </p:custDataLst>
            </p:nvPr>
          </p:nvSpPr>
          <p:spPr bwMode="auto">
            <a:xfrm>
              <a:off x="1117848" y="2830513"/>
              <a:ext cx="28575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2147483647 h 32"/>
                <a:gd name="T6" fmla="*/ 2147483647 w 19"/>
                <a:gd name="T7" fmla="*/ 2147483647 h 32"/>
                <a:gd name="T8" fmla="*/ 2147483647 w 19"/>
                <a:gd name="T9" fmla="*/ 2147483647 h 32"/>
                <a:gd name="T10" fmla="*/ 2147483647 w 19"/>
                <a:gd name="T11" fmla="*/ 2147483647 h 32"/>
                <a:gd name="T12" fmla="*/ 0 w 19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7" y="32"/>
                  </a:lnTo>
                  <a:lnTo>
                    <a:pt x="7" y="23"/>
                  </a:lnTo>
                  <a:lnTo>
                    <a:pt x="19" y="32"/>
                  </a:lnTo>
                  <a:lnTo>
                    <a:pt x="7" y="23"/>
                  </a:lnTo>
                  <a:lnTo>
                    <a:pt x="19" y="9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58" name="Freeform 804"/>
            <p:cNvSpPr>
              <a:spLocks/>
            </p:cNvSpPr>
            <p:nvPr>
              <p:custDataLst>
                <p:tags r:id="rId652"/>
              </p:custDataLst>
            </p:nvPr>
          </p:nvSpPr>
          <p:spPr bwMode="auto">
            <a:xfrm>
              <a:off x="1127373" y="2857500"/>
              <a:ext cx="26988" cy="44450"/>
            </a:xfrm>
            <a:custGeom>
              <a:avLst/>
              <a:gdLst>
                <a:gd name="T0" fmla="*/ 0 w 19"/>
                <a:gd name="T1" fmla="*/ 0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0 w 19"/>
                <a:gd name="T7" fmla="*/ 0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56">
                  <a:moveTo>
                    <a:pt x="0" y="0"/>
                  </a:moveTo>
                  <a:lnTo>
                    <a:pt x="19" y="12"/>
                  </a:lnTo>
                  <a:lnTo>
                    <a:pt x="19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59" name="Freeform 805"/>
            <p:cNvSpPr>
              <a:spLocks/>
            </p:cNvSpPr>
            <p:nvPr>
              <p:custDataLst>
                <p:tags r:id="rId653"/>
              </p:custDataLst>
            </p:nvPr>
          </p:nvSpPr>
          <p:spPr bwMode="auto">
            <a:xfrm>
              <a:off x="1127373" y="2857500"/>
              <a:ext cx="26988" cy="44450"/>
            </a:xfrm>
            <a:custGeom>
              <a:avLst/>
              <a:gdLst>
                <a:gd name="T0" fmla="*/ 0 w 19"/>
                <a:gd name="T1" fmla="*/ 0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0 w 19"/>
                <a:gd name="T7" fmla="*/ 0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56">
                  <a:moveTo>
                    <a:pt x="0" y="0"/>
                  </a:moveTo>
                  <a:lnTo>
                    <a:pt x="19" y="12"/>
                  </a:lnTo>
                  <a:lnTo>
                    <a:pt x="19" y="56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60" name="Freeform 806"/>
            <p:cNvSpPr>
              <a:spLocks/>
            </p:cNvSpPr>
            <p:nvPr>
              <p:custDataLst>
                <p:tags r:id="rId654"/>
              </p:custDataLst>
            </p:nvPr>
          </p:nvSpPr>
          <p:spPr bwMode="auto">
            <a:xfrm>
              <a:off x="1127373" y="2857500"/>
              <a:ext cx="26988" cy="44450"/>
            </a:xfrm>
            <a:custGeom>
              <a:avLst/>
              <a:gdLst>
                <a:gd name="T0" fmla="*/ 0 w 19"/>
                <a:gd name="T1" fmla="*/ 0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0 w 19"/>
                <a:gd name="T7" fmla="*/ 0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56">
                  <a:moveTo>
                    <a:pt x="0" y="0"/>
                  </a:moveTo>
                  <a:lnTo>
                    <a:pt x="19" y="12"/>
                  </a:lnTo>
                  <a:lnTo>
                    <a:pt x="19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61" name="Freeform 807"/>
            <p:cNvSpPr>
              <a:spLocks/>
            </p:cNvSpPr>
            <p:nvPr>
              <p:custDataLst>
                <p:tags r:id="rId655"/>
              </p:custDataLst>
            </p:nvPr>
          </p:nvSpPr>
          <p:spPr bwMode="auto">
            <a:xfrm>
              <a:off x="1127373" y="2857500"/>
              <a:ext cx="26988" cy="44450"/>
            </a:xfrm>
            <a:custGeom>
              <a:avLst/>
              <a:gdLst>
                <a:gd name="T0" fmla="*/ 0 w 19"/>
                <a:gd name="T1" fmla="*/ 0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0 w 19"/>
                <a:gd name="T7" fmla="*/ 0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56">
                  <a:moveTo>
                    <a:pt x="0" y="0"/>
                  </a:moveTo>
                  <a:lnTo>
                    <a:pt x="19" y="12"/>
                  </a:lnTo>
                  <a:lnTo>
                    <a:pt x="19" y="56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62" name="Freeform 808"/>
            <p:cNvSpPr>
              <a:spLocks/>
            </p:cNvSpPr>
            <p:nvPr>
              <p:custDataLst>
                <p:tags r:id="rId656"/>
              </p:custDataLst>
            </p:nvPr>
          </p:nvSpPr>
          <p:spPr bwMode="auto">
            <a:xfrm>
              <a:off x="1146423" y="2838450"/>
              <a:ext cx="25400" cy="26988"/>
            </a:xfrm>
            <a:custGeom>
              <a:avLst/>
              <a:gdLst>
                <a:gd name="T0" fmla="*/ 0 w 18"/>
                <a:gd name="T1" fmla="*/ 0 h 35"/>
                <a:gd name="T2" fmla="*/ 2147483647 w 18"/>
                <a:gd name="T3" fmla="*/ 2147483647 h 35"/>
                <a:gd name="T4" fmla="*/ 2147483647 w 18"/>
                <a:gd name="T5" fmla="*/ 2147483647 h 35"/>
                <a:gd name="T6" fmla="*/ 2147483647 w 18"/>
                <a:gd name="T7" fmla="*/ 0 h 35"/>
                <a:gd name="T8" fmla="*/ 2147483647 w 18"/>
                <a:gd name="T9" fmla="*/ 2147483647 h 35"/>
                <a:gd name="T10" fmla="*/ 2147483647 w 18"/>
                <a:gd name="T11" fmla="*/ 0 h 35"/>
                <a:gd name="T12" fmla="*/ 0 w 18"/>
                <a:gd name="T13" fmla="*/ 0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35">
                  <a:moveTo>
                    <a:pt x="0" y="0"/>
                  </a:moveTo>
                  <a:lnTo>
                    <a:pt x="6" y="35"/>
                  </a:lnTo>
                  <a:lnTo>
                    <a:pt x="12" y="35"/>
                  </a:lnTo>
                  <a:lnTo>
                    <a:pt x="12" y="0"/>
                  </a:lnTo>
                  <a:lnTo>
                    <a:pt x="18" y="23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63" name="Freeform 809"/>
            <p:cNvSpPr>
              <a:spLocks/>
            </p:cNvSpPr>
            <p:nvPr>
              <p:custDataLst>
                <p:tags r:id="rId657"/>
              </p:custDataLst>
            </p:nvPr>
          </p:nvSpPr>
          <p:spPr bwMode="auto">
            <a:xfrm>
              <a:off x="1146423" y="2838450"/>
              <a:ext cx="25400" cy="26988"/>
            </a:xfrm>
            <a:custGeom>
              <a:avLst/>
              <a:gdLst>
                <a:gd name="T0" fmla="*/ 0 w 18"/>
                <a:gd name="T1" fmla="*/ 0 h 35"/>
                <a:gd name="T2" fmla="*/ 2147483647 w 18"/>
                <a:gd name="T3" fmla="*/ 2147483647 h 35"/>
                <a:gd name="T4" fmla="*/ 2147483647 w 18"/>
                <a:gd name="T5" fmla="*/ 2147483647 h 35"/>
                <a:gd name="T6" fmla="*/ 2147483647 w 18"/>
                <a:gd name="T7" fmla="*/ 0 h 35"/>
                <a:gd name="T8" fmla="*/ 2147483647 w 18"/>
                <a:gd name="T9" fmla="*/ 2147483647 h 35"/>
                <a:gd name="T10" fmla="*/ 2147483647 w 18"/>
                <a:gd name="T11" fmla="*/ 0 h 35"/>
                <a:gd name="T12" fmla="*/ 0 w 18"/>
                <a:gd name="T13" fmla="*/ 0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35">
                  <a:moveTo>
                    <a:pt x="0" y="0"/>
                  </a:moveTo>
                  <a:lnTo>
                    <a:pt x="6" y="35"/>
                  </a:lnTo>
                  <a:lnTo>
                    <a:pt x="12" y="35"/>
                  </a:lnTo>
                  <a:lnTo>
                    <a:pt x="12" y="0"/>
                  </a:lnTo>
                  <a:lnTo>
                    <a:pt x="18" y="23"/>
                  </a:ln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64" name="Freeform 810"/>
            <p:cNvSpPr>
              <a:spLocks/>
            </p:cNvSpPr>
            <p:nvPr>
              <p:custDataLst>
                <p:tags r:id="rId658"/>
              </p:custDataLst>
            </p:nvPr>
          </p:nvSpPr>
          <p:spPr bwMode="auto">
            <a:xfrm>
              <a:off x="1146423" y="2838450"/>
              <a:ext cx="25400" cy="26988"/>
            </a:xfrm>
            <a:custGeom>
              <a:avLst/>
              <a:gdLst>
                <a:gd name="T0" fmla="*/ 0 w 18"/>
                <a:gd name="T1" fmla="*/ 0 h 35"/>
                <a:gd name="T2" fmla="*/ 2147483647 w 18"/>
                <a:gd name="T3" fmla="*/ 2147483647 h 35"/>
                <a:gd name="T4" fmla="*/ 2147483647 w 18"/>
                <a:gd name="T5" fmla="*/ 2147483647 h 35"/>
                <a:gd name="T6" fmla="*/ 2147483647 w 18"/>
                <a:gd name="T7" fmla="*/ 0 h 35"/>
                <a:gd name="T8" fmla="*/ 2147483647 w 18"/>
                <a:gd name="T9" fmla="*/ 2147483647 h 35"/>
                <a:gd name="T10" fmla="*/ 2147483647 w 18"/>
                <a:gd name="T11" fmla="*/ 0 h 35"/>
                <a:gd name="T12" fmla="*/ 0 w 18"/>
                <a:gd name="T13" fmla="*/ 0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35">
                  <a:moveTo>
                    <a:pt x="0" y="0"/>
                  </a:moveTo>
                  <a:lnTo>
                    <a:pt x="6" y="35"/>
                  </a:lnTo>
                  <a:lnTo>
                    <a:pt x="12" y="35"/>
                  </a:lnTo>
                  <a:lnTo>
                    <a:pt x="12" y="0"/>
                  </a:lnTo>
                  <a:lnTo>
                    <a:pt x="18" y="23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65" name="Freeform 811"/>
            <p:cNvSpPr>
              <a:spLocks/>
            </p:cNvSpPr>
            <p:nvPr>
              <p:custDataLst>
                <p:tags r:id="rId659"/>
              </p:custDataLst>
            </p:nvPr>
          </p:nvSpPr>
          <p:spPr bwMode="auto">
            <a:xfrm>
              <a:off x="1146423" y="2838450"/>
              <a:ext cx="25400" cy="26988"/>
            </a:xfrm>
            <a:custGeom>
              <a:avLst/>
              <a:gdLst>
                <a:gd name="T0" fmla="*/ 0 w 18"/>
                <a:gd name="T1" fmla="*/ 0 h 35"/>
                <a:gd name="T2" fmla="*/ 2147483647 w 18"/>
                <a:gd name="T3" fmla="*/ 2147483647 h 35"/>
                <a:gd name="T4" fmla="*/ 2147483647 w 18"/>
                <a:gd name="T5" fmla="*/ 2147483647 h 35"/>
                <a:gd name="T6" fmla="*/ 2147483647 w 18"/>
                <a:gd name="T7" fmla="*/ 0 h 35"/>
                <a:gd name="T8" fmla="*/ 2147483647 w 18"/>
                <a:gd name="T9" fmla="*/ 2147483647 h 35"/>
                <a:gd name="T10" fmla="*/ 2147483647 w 18"/>
                <a:gd name="T11" fmla="*/ 0 h 35"/>
                <a:gd name="T12" fmla="*/ 0 w 18"/>
                <a:gd name="T13" fmla="*/ 0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35">
                  <a:moveTo>
                    <a:pt x="0" y="0"/>
                  </a:moveTo>
                  <a:lnTo>
                    <a:pt x="6" y="35"/>
                  </a:lnTo>
                  <a:lnTo>
                    <a:pt x="12" y="35"/>
                  </a:lnTo>
                  <a:lnTo>
                    <a:pt x="12" y="0"/>
                  </a:lnTo>
                  <a:lnTo>
                    <a:pt x="18" y="23"/>
                  </a:ln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66" name="Freeform 812"/>
            <p:cNvSpPr>
              <a:spLocks/>
            </p:cNvSpPr>
            <p:nvPr>
              <p:custDataLst>
                <p:tags r:id="rId660"/>
              </p:custDataLst>
            </p:nvPr>
          </p:nvSpPr>
          <p:spPr bwMode="auto">
            <a:xfrm>
              <a:off x="1163886" y="2874963"/>
              <a:ext cx="26987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19" y="32"/>
                  </a:lnTo>
                  <a:lnTo>
                    <a:pt x="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67" name="Freeform 813"/>
            <p:cNvSpPr>
              <a:spLocks/>
            </p:cNvSpPr>
            <p:nvPr>
              <p:custDataLst>
                <p:tags r:id="rId661"/>
              </p:custDataLst>
            </p:nvPr>
          </p:nvSpPr>
          <p:spPr bwMode="auto">
            <a:xfrm>
              <a:off x="1163886" y="2874963"/>
              <a:ext cx="26987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19" y="32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68" name="Freeform 814"/>
            <p:cNvSpPr>
              <a:spLocks/>
            </p:cNvSpPr>
            <p:nvPr>
              <p:custDataLst>
                <p:tags r:id="rId662"/>
              </p:custDataLst>
            </p:nvPr>
          </p:nvSpPr>
          <p:spPr bwMode="auto">
            <a:xfrm>
              <a:off x="1163886" y="2874963"/>
              <a:ext cx="26987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19" y="32"/>
                  </a:lnTo>
                  <a:lnTo>
                    <a:pt x="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69" name="Freeform 815"/>
            <p:cNvSpPr>
              <a:spLocks/>
            </p:cNvSpPr>
            <p:nvPr>
              <p:custDataLst>
                <p:tags r:id="rId663"/>
              </p:custDataLst>
            </p:nvPr>
          </p:nvSpPr>
          <p:spPr bwMode="auto">
            <a:xfrm>
              <a:off x="1163886" y="2874963"/>
              <a:ext cx="26987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19" y="32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70" name="Freeform 816"/>
            <p:cNvSpPr>
              <a:spLocks/>
            </p:cNvSpPr>
            <p:nvPr>
              <p:custDataLst>
                <p:tags r:id="rId664"/>
              </p:custDataLst>
            </p:nvPr>
          </p:nvSpPr>
          <p:spPr bwMode="auto">
            <a:xfrm>
              <a:off x="1171823" y="2903538"/>
              <a:ext cx="26988" cy="41275"/>
            </a:xfrm>
            <a:custGeom>
              <a:avLst/>
              <a:gdLst>
                <a:gd name="T0" fmla="*/ 0 w 18"/>
                <a:gd name="T1" fmla="*/ 0 h 54"/>
                <a:gd name="T2" fmla="*/ 2147483647 w 18"/>
                <a:gd name="T3" fmla="*/ 2147483647 h 54"/>
                <a:gd name="T4" fmla="*/ 2147483647 w 18"/>
                <a:gd name="T5" fmla="*/ 2147483647 h 54"/>
                <a:gd name="T6" fmla="*/ 0 w 18"/>
                <a:gd name="T7" fmla="*/ 0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4">
                  <a:moveTo>
                    <a:pt x="0" y="0"/>
                  </a:moveTo>
                  <a:lnTo>
                    <a:pt x="18" y="21"/>
                  </a:lnTo>
                  <a:lnTo>
                    <a:pt x="18" y="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71" name="Freeform 817"/>
            <p:cNvSpPr>
              <a:spLocks/>
            </p:cNvSpPr>
            <p:nvPr>
              <p:custDataLst>
                <p:tags r:id="rId665"/>
              </p:custDataLst>
            </p:nvPr>
          </p:nvSpPr>
          <p:spPr bwMode="auto">
            <a:xfrm>
              <a:off x="1171823" y="2903538"/>
              <a:ext cx="26988" cy="41275"/>
            </a:xfrm>
            <a:custGeom>
              <a:avLst/>
              <a:gdLst>
                <a:gd name="T0" fmla="*/ 0 w 18"/>
                <a:gd name="T1" fmla="*/ 0 h 54"/>
                <a:gd name="T2" fmla="*/ 2147483647 w 18"/>
                <a:gd name="T3" fmla="*/ 2147483647 h 54"/>
                <a:gd name="T4" fmla="*/ 2147483647 w 18"/>
                <a:gd name="T5" fmla="*/ 2147483647 h 54"/>
                <a:gd name="T6" fmla="*/ 0 w 18"/>
                <a:gd name="T7" fmla="*/ 0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4">
                  <a:moveTo>
                    <a:pt x="0" y="0"/>
                  </a:moveTo>
                  <a:lnTo>
                    <a:pt x="18" y="21"/>
                  </a:lnTo>
                  <a:lnTo>
                    <a:pt x="18" y="54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72" name="Freeform 818"/>
            <p:cNvSpPr>
              <a:spLocks/>
            </p:cNvSpPr>
            <p:nvPr>
              <p:custDataLst>
                <p:tags r:id="rId666"/>
              </p:custDataLst>
            </p:nvPr>
          </p:nvSpPr>
          <p:spPr bwMode="auto">
            <a:xfrm>
              <a:off x="1171823" y="2903538"/>
              <a:ext cx="26988" cy="41275"/>
            </a:xfrm>
            <a:custGeom>
              <a:avLst/>
              <a:gdLst>
                <a:gd name="T0" fmla="*/ 0 w 18"/>
                <a:gd name="T1" fmla="*/ 0 h 54"/>
                <a:gd name="T2" fmla="*/ 2147483647 w 18"/>
                <a:gd name="T3" fmla="*/ 2147483647 h 54"/>
                <a:gd name="T4" fmla="*/ 2147483647 w 18"/>
                <a:gd name="T5" fmla="*/ 2147483647 h 54"/>
                <a:gd name="T6" fmla="*/ 0 w 18"/>
                <a:gd name="T7" fmla="*/ 0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4">
                  <a:moveTo>
                    <a:pt x="0" y="0"/>
                  </a:moveTo>
                  <a:lnTo>
                    <a:pt x="18" y="21"/>
                  </a:lnTo>
                  <a:lnTo>
                    <a:pt x="18" y="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73" name="Freeform 819"/>
            <p:cNvSpPr>
              <a:spLocks/>
            </p:cNvSpPr>
            <p:nvPr>
              <p:custDataLst>
                <p:tags r:id="rId667"/>
              </p:custDataLst>
            </p:nvPr>
          </p:nvSpPr>
          <p:spPr bwMode="auto">
            <a:xfrm>
              <a:off x="1171823" y="2903538"/>
              <a:ext cx="26988" cy="41275"/>
            </a:xfrm>
            <a:custGeom>
              <a:avLst/>
              <a:gdLst>
                <a:gd name="T0" fmla="*/ 0 w 18"/>
                <a:gd name="T1" fmla="*/ 0 h 54"/>
                <a:gd name="T2" fmla="*/ 2147483647 w 18"/>
                <a:gd name="T3" fmla="*/ 2147483647 h 54"/>
                <a:gd name="T4" fmla="*/ 2147483647 w 18"/>
                <a:gd name="T5" fmla="*/ 2147483647 h 54"/>
                <a:gd name="T6" fmla="*/ 0 w 18"/>
                <a:gd name="T7" fmla="*/ 0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4">
                  <a:moveTo>
                    <a:pt x="0" y="0"/>
                  </a:moveTo>
                  <a:lnTo>
                    <a:pt x="18" y="21"/>
                  </a:lnTo>
                  <a:lnTo>
                    <a:pt x="18" y="54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74" name="Freeform 820"/>
            <p:cNvSpPr>
              <a:spLocks/>
            </p:cNvSpPr>
            <p:nvPr>
              <p:custDataLst>
                <p:tags r:id="rId668"/>
              </p:custDataLst>
            </p:nvPr>
          </p:nvSpPr>
          <p:spPr bwMode="auto">
            <a:xfrm>
              <a:off x="1219448" y="2909888"/>
              <a:ext cx="26988" cy="34925"/>
            </a:xfrm>
            <a:custGeom>
              <a:avLst/>
              <a:gdLst>
                <a:gd name="T0" fmla="*/ 0 w 18"/>
                <a:gd name="T1" fmla="*/ 2147483647 h 44"/>
                <a:gd name="T2" fmla="*/ 2147483647 w 18"/>
                <a:gd name="T3" fmla="*/ 0 h 44"/>
                <a:gd name="T4" fmla="*/ 2147483647 w 18"/>
                <a:gd name="T5" fmla="*/ 2147483647 h 44"/>
                <a:gd name="T6" fmla="*/ 0 w 1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44">
                  <a:moveTo>
                    <a:pt x="0" y="23"/>
                  </a:moveTo>
                  <a:lnTo>
                    <a:pt x="5" y="0"/>
                  </a:lnTo>
                  <a:lnTo>
                    <a:pt x="18" y="4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75" name="Freeform 821"/>
            <p:cNvSpPr>
              <a:spLocks/>
            </p:cNvSpPr>
            <p:nvPr>
              <p:custDataLst>
                <p:tags r:id="rId669"/>
              </p:custDataLst>
            </p:nvPr>
          </p:nvSpPr>
          <p:spPr bwMode="auto">
            <a:xfrm>
              <a:off x="1219448" y="2909888"/>
              <a:ext cx="26988" cy="34925"/>
            </a:xfrm>
            <a:custGeom>
              <a:avLst/>
              <a:gdLst>
                <a:gd name="T0" fmla="*/ 0 w 18"/>
                <a:gd name="T1" fmla="*/ 2147483647 h 44"/>
                <a:gd name="T2" fmla="*/ 2147483647 w 18"/>
                <a:gd name="T3" fmla="*/ 0 h 44"/>
                <a:gd name="T4" fmla="*/ 2147483647 w 18"/>
                <a:gd name="T5" fmla="*/ 2147483647 h 44"/>
                <a:gd name="T6" fmla="*/ 0 w 1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44">
                  <a:moveTo>
                    <a:pt x="0" y="23"/>
                  </a:moveTo>
                  <a:lnTo>
                    <a:pt x="5" y="0"/>
                  </a:lnTo>
                  <a:lnTo>
                    <a:pt x="18" y="44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76" name="Freeform 822"/>
            <p:cNvSpPr>
              <a:spLocks/>
            </p:cNvSpPr>
            <p:nvPr>
              <p:custDataLst>
                <p:tags r:id="rId670"/>
              </p:custDataLst>
            </p:nvPr>
          </p:nvSpPr>
          <p:spPr bwMode="auto">
            <a:xfrm>
              <a:off x="1219448" y="2909888"/>
              <a:ext cx="26988" cy="34925"/>
            </a:xfrm>
            <a:custGeom>
              <a:avLst/>
              <a:gdLst>
                <a:gd name="T0" fmla="*/ 0 w 18"/>
                <a:gd name="T1" fmla="*/ 2147483647 h 44"/>
                <a:gd name="T2" fmla="*/ 2147483647 w 18"/>
                <a:gd name="T3" fmla="*/ 0 h 44"/>
                <a:gd name="T4" fmla="*/ 2147483647 w 18"/>
                <a:gd name="T5" fmla="*/ 2147483647 h 44"/>
                <a:gd name="T6" fmla="*/ 0 w 1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44">
                  <a:moveTo>
                    <a:pt x="0" y="23"/>
                  </a:moveTo>
                  <a:lnTo>
                    <a:pt x="5" y="0"/>
                  </a:lnTo>
                  <a:lnTo>
                    <a:pt x="18" y="4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77" name="Freeform 823"/>
            <p:cNvSpPr>
              <a:spLocks/>
            </p:cNvSpPr>
            <p:nvPr>
              <p:custDataLst>
                <p:tags r:id="rId671"/>
              </p:custDataLst>
            </p:nvPr>
          </p:nvSpPr>
          <p:spPr bwMode="auto">
            <a:xfrm>
              <a:off x="1219448" y="2909888"/>
              <a:ext cx="26988" cy="34925"/>
            </a:xfrm>
            <a:custGeom>
              <a:avLst/>
              <a:gdLst>
                <a:gd name="T0" fmla="*/ 0 w 18"/>
                <a:gd name="T1" fmla="*/ 2147483647 h 44"/>
                <a:gd name="T2" fmla="*/ 2147483647 w 18"/>
                <a:gd name="T3" fmla="*/ 0 h 44"/>
                <a:gd name="T4" fmla="*/ 2147483647 w 18"/>
                <a:gd name="T5" fmla="*/ 2147483647 h 44"/>
                <a:gd name="T6" fmla="*/ 0 w 1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44">
                  <a:moveTo>
                    <a:pt x="0" y="23"/>
                  </a:moveTo>
                  <a:lnTo>
                    <a:pt x="5" y="0"/>
                  </a:lnTo>
                  <a:lnTo>
                    <a:pt x="18" y="44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78" name="Freeform 824"/>
            <p:cNvSpPr>
              <a:spLocks/>
            </p:cNvSpPr>
            <p:nvPr>
              <p:custDataLst>
                <p:tags r:id="rId672"/>
              </p:custDataLst>
            </p:nvPr>
          </p:nvSpPr>
          <p:spPr bwMode="auto">
            <a:xfrm>
              <a:off x="1384548" y="3140075"/>
              <a:ext cx="1309688" cy="706438"/>
            </a:xfrm>
            <a:custGeom>
              <a:avLst/>
              <a:gdLst>
                <a:gd name="T0" fmla="*/ 2147483647 w 893"/>
                <a:gd name="T1" fmla="*/ 2147483647 h 889"/>
                <a:gd name="T2" fmla="*/ 2147483647 w 893"/>
                <a:gd name="T3" fmla="*/ 2147483647 h 889"/>
                <a:gd name="T4" fmla="*/ 2147483647 w 893"/>
                <a:gd name="T5" fmla="*/ 2147483647 h 889"/>
                <a:gd name="T6" fmla="*/ 2147483647 w 893"/>
                <a:gd name="T7" fmla="*/ 2147483647 h 889"/>
                <a:gd name="T8" fmla="*/ 2147483647 w 893"/>
                <a:gd name="T9" fmla="*/ 2147483647 h 889"/>
                <a:gd name="T10" fmla="*/ 2147483647 w 893"/>
                <a:gd name="T11" fmla="*/ 2147483647 h 889"/>
                <a:gd name="T12" fmla="*/ 2147483647 w 893"/>
                <a:gd name="T13" fmla="*/ 2147483647 h 889"/>
                <a:gd name="T14" fmla="*/ 2147483647 w 893"/>
                <a:gd name="T15" fmla="*/ 2147483647 h 889"/>
                <a:gd name="T16" fmla="*/ 2147483647 w 893"/>
                <a:gd name="T17" fmla="*/ 2147483647 h 889"/>
                <a:gd name="T18" fmla="*/ 2147483647 w 893"/>
                <a:gd name="T19" fmla="*/ 2147483647 h 889"/>
                <a:gd name="T20" fmla="*/ 2147483647 w 893"/>
                <a:gd name="T21" fmla="*/ 2147483647 h 889"/>
                <a:gd name="T22" fmla="*/ 2147483647 w 893"/>
                <a:gd name="T23" fmla="*/ 2147483647 h 889"/>
                <a:gd name="T24" fmla="*/ 2147483647 w 893"/>
                <a:gd name="T25" fmla="*/ 2147483647 h 889"/>
                <a:gd name="T26" fmla="*/ 2147483647 w 893"/>
                <a:gd name="T27" fmla="*/ 2147483647 h 889"/>
                <a:gd name="T28" fmla="*/ 2147483647 w 893"/>
                <a:gd name="T29" fmla="*/ 2147483647 h 889"/>
                <a:gd name="T30" fmla="*/ 2147483647 w 893"/>
                <a:gd name="T31" fmla="*/ 2147483647 h 889"/>
                <a:gd name="T32" fmla="*/ 2147483647 w 893"/>
                <a:gd name="T33" fmla="*/ 2147483647 h 889"/>
                <a:gd name="T34" fmla="*/ 2147483647 w 893"/>
                <a:gd name="T35" fmla="*/ 2147483647 h 889"/>
                <a:gd name="T36" fmla="*/ 2147483647 w 893"/>
                <a:gd name="T37" fmla="*/ 2147483647 h 889"/>
                <a:gd name="T38" fmla="*/ 2147483647 w 893"/>
                <a:gd name="T39" fmla="*/ 2147483647 h 889"/>
                <a:gd name="T40" fmla="*/ 2147483647 w 893"/>
                <a:gd name="T41" fmla="*/ 2147483647 h 889"/>
                <a:gd name="T42" fmla="*/ 2147483647 w 893"/>
                <a:gd name="T43" fmla="*/ 2147483647 h 889"/>
                <a:gd name="T44" fmla="*/ 2147483647 w 893"/>
                <a:gd name="T45" fmla="*/ 2147483647 h 889"/>
                <a:gd name="T46" fmla="*/ 2147483647 w 893"/>
                <a:gd name="T47" fmla="*/ 2147483647 h 889"/>
                <a:gd name="T48" fmla="*/ 2147483647 w 893"/>
                <a:gd name="T49" fmla="*/ 2147483647 h 889"/>
                <a:gd name="T50" fmla="*/ 2147483647 w 893"/>
                <a:gd name="T51" fmla="*/ 2147483647 h 889"/>
                <a:gd name="T52" fmla="*/ 2147483647 w 893"/>
                <a:gd name="T53" fmla="*/ 2147483647 h 889"/>
                <a:gd name="T54" fmla="*/ 2147483647 w 893"/>
                <a:gd name="T55" fmla="*/ 2147483647 h 889"/>
                <a:gd name="T56" fmla="*/ 2147483647 w 893"/>
                <a:gd name="T57" fmla="*/ 2147483647 h 889"/>
                <a:gd name="T58" fmla="*/ 2147483647 w 893"/>
                <a:gd name="T59" fmla="*/ 2147483647 h 889"/>
                <a:gd name="T60" fmla="*/ 2147483647 w 893"/>
                <a:gd name="T61" fmla="*/ 2147483647 h 889"/>
                <a:gd name="T62" fmla="*/ 2147483647 w 893"/>
                <a:gd name="T63" fmla="*/ 2147483647 h 889"/>
                <a:gd name="T64" fmla="*/ 2147483647 w 893"/>
                <a:gd name="T65" fmla="*/ 2147483647 h 889"/>
                <a:gd name="T66" fmla="*/ 2147483647 w 893"/>
                <a:gd name="T67" fmla="*/ 2147483647 h 889"/>
                <a:gd name="T68" fmla="*/ 2147483647 w 893"/>
                <a:gd name="T69" fmla="*/ 2147483647 h 889"/>
                <a:gd name="T70" fmla="*/ 2147483647 w 893"/>
                <a:gd name="T71" fmla="*/ 2147483647 h 889"/>
                <a:gd name="T72" fmla="*/ 2147483647 w 893"/>
                <a:gd name="T73" fmla="*/ 2147483647 h 889"/>
                <a:gd name="T74" fmla="*/ 2147483647 w 893"/>
                <a:gd name="T75" fmla="*/ 2147483647 h 889"/>
                <a:gd name="T76" fmla="*/ 2147483647 w 893"/>
                <a:gd name="T77" fmla="*/ 2147483647 h 889"/>
                <a:gd name="T78" fmla="*/ 2147483647 w 893"/>
                <a:gd name="T79" fmla="*/ 2147483647 h 889"/>
                <a:gd name="T80" fmla="*/ 2147483647 w 893"/>
                <a:gd name="T81" fmla="*/ 2147483647 h 889"/>
                <a:gd name="T82" fmla="*/ 2147483647 w 893"/>
                <a:gd name="T83" fmla="*/ 2147483647 h 889"/>
                <a:gd name="T84" fmla="*/ 2147483647 w 893"/>
                <a:gd name="T85" fmla="*/ 2147483647 h 889"/>
                <a:gd name="T86" fmla="*/ 2147483647 w 893"/>
                <a:gd name="T87" fmla="*/ 2147483647 h 889"/>
                <a:gd name="T88" fmla="*/ 2147483647 w 893"/>
                <a:gd name="T89" fmla="*/ 0 h 889"/>
                <a:gd name="T90" fmla="*/ 2147483647 w 893"/>
                <a:gd name="T91" fmla="*/ 2147483647 h 889"/>
                <a:gd name="T92" fmla="*/ 2147483647 w 893"/>
                <a:gd name="T93" fmla="*/ 2147483647 h 889"/>
                <a:gd name="T94" fmla="*/ 0 w 893"/>
                <a:gd name="T95" fmla="*/ 2147483647 h 88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893" h="889">
                  <a:moveTo>
                    <a:pt x="0" y="44"/>
                  </a:moveTo>
                  <a:lnTo>
                    <a:pt x="6" y="123"/>
                  </a:lnTo>
                  <a:lnTo>
                    <a:pt x="19" y="132"/>
                  </a:lnTo>
                  <a:lnTo>
                    <a:pt x="12" y="132"/>
                  </a:lnTo>
                  <a:lnTo>
                    <a:pt x="0" y="355"/>
                  </a:lnTo>
                  <a:lnTo>
                    <a:pt x="25" y="443"/>
                  </a:lnTo>
                  <a:lnTo>
                    <a:pt x="38" y="443"/>
                  </a:lnTo>
                  <a:lnTo>
                    <a:pt x="30" y="466"/>
                  </a:lnTo>
                  <a:lnTo>
                    <a:pt x="62" y="566"/>
                  </a:lnTo>
                  <a:lnTo>
                    <a:pt x="94" y="589"/>
                  </a:lnTo>
                  <a:lnTo>
                    <a:pt x="112" y="645"/>
                  </a:lnTo>
                  <a:lnTo>
                    <a:pt x="149" y="633"/>
                  </a:lnTo>
                  <a:lnTo>
                    <a:pt x="213" y="678"/>
                  </a:lnTo>
                  <a:lnTo>
                    <a:pt x="282" y="668"/>
                  </a:lnTo>
                  <a:lnTo>
                    <a:pt x="324" y="756"/>
                  </a:lnTo>
                  <a:lnTo>
                    <a:pt x="356" y="733"/>
                  </a:lnTo>
                  <a:lnTo>
                    <a:pt x="393" y="845"/>
                  </a:lnTo>
                  <a:lnTo>
                    <a:pt x="424" y="866"/>
                  </a:lnTo>
                  <a:lnTo>
                    <a:pt x="424" y="801"/>
                  </a:lnTo>
                  <a:lnTo>
                    <a:pt x="456" y="768"/>
                  </a:lnTo>
                  <a:lnTo>
                    <a:pt x="456" y="733"/>
                  </a:lnTo>
                  <a:lnTo>
                    <a:pt x="506" y="733"/>
                  </a:lnTo>
                  <a:lnTo>
                    <a:pt x="543" y="756"/>
                  </a:lnTo>
                  <a:lnTo>
                    <a:pt x="543" y="722"/>
                  </a:lnTo>
                  <a:lnTo>
                    <a:pt x="531" y="712"/>
                  </a:lnTo>
                  <a:lnTo>
                    <a:pt x="562" y="712"/>
                  </a:lnTo>
                  <a:lnTo>
                    <a:pt x="569" y="699"/>
                  </a:lnTo>
                  <a:lnTo>
                    <a:pt x="569" y="722"/>
                  </a:lnTo>
                  <a:lnTo>
                    <a:pt x="631" y="722"/>
                  </a:lnTo>
                  <a:lnTo>
                    <a:pt x="650" y="756"/>
                  </a:lnTo>
                  <a:lnTo>
                    <a:pt x="650" y="812"/>
                  </a:lnTo>
                  <a:lnTo>
                    <a:pt x="668" y="889"/>
                  </a:lnTo>
                  <a:lnTo>
                    <a:pt x="681" y="889"/>
                  </a:lnTo>
                  <a:lnTo>
                    <a:pt x="687" y="835"/>
                  </a:lnTo>
                  <a:lnTo>
                    <a:pt x="668" y="699"/>
                  </a:lnTo>
                  <a:lnTo>
                    <a:pt x="681" y="633"/>
                  </a:lnTo>
                  <a:lnTo>
                    <a:pt x="756" y="534"/>
                  </a:lnTo>
                  <a:lnTo>
                    <a:pt x="744" y="511"/>
                  </a:lnTo>
                  <a:lnTo>
                    <a:pt x="756" y="511"/>
                  </a:lnTo>
                  <a:lnTo>
                    <a:pt x="750" y="478"/>
                  </a:lnTo>
                  <a:lnTo>
                    <a:pt x="750" y="443"/>
                  </a:lnTo>
                  <a:lnTo>
                    <a:pt x="737" y="422"/>
                  </a:lnTo>
                  <a:lnTo>
                    <a:pt x="750" y="434"/>
                  </a:lnTo>
                  <a:lnTo>
                    <a:pt x="744" y="399"/>
                  </a:lnTo>
                  <a:lnTo>
                    <a:pt x="756" y="388"/>
                  </a:lnTo>
                  <a:lnTo>
                    <a:pt x="756" y="466"/>
                  </a:lnTo>
                  <a:lnTo>
                    <a:pt x="768" y="422"/>
                  </a:lnTo>
                  <a:lnTo>
                    <a:pt x="762" y="378"/>
                  </a:lnTo>
                  <a:lnTo>
                    <a:pt x="768" y="399"/>
                  </a:lnTo>
                  <a:lnTo>
                    <a:pt x="787" y="334"/>
                  </a:lnTo>
                  <a:lnTo>
                    <a:pt x="850" y="299"/>
                  </a:lnTo>
                  <a:lnTo>
                    <a:pt x="831" y="278"/>
                  </a:lnTo>
                  <a:lnTo>
                    <a:pt x="843" y="234"/>
                  </a:lnTo>
                  <a:lnTo>
                    <a:pt x="893" y="190"/>
                  </a:lnTo>
                  <a:lnTo>
                    <a:pt x="893" y="167"/>
                  </a:lnTo>
                  <a:lnTo>
                    <a:pt x="881" y="144"/>
                  </a:lnTo>
                  <a:lnTo>
                    <a:pt x="881" y="100"/>
                  </a:lnTo>
                  <a:lnTo>
                    <a:pt x="856" y="78"/>
                  </a:lnTo>
                  <a:lnTo>
                    <a:pt x="837" y="167"/>
                  </a:lnTo>
                  <a:lnTo>
                    <a:pt x="756" y="199"/>
                  </a:lnTo>
                  <a:lnTo>
                    <a:pt x="750" y="234"/>
                  </a:lnTo>
                  <a:lnTo>
                    <a:pt x="706" y="246"/>
                  </a:lnTo>
                  <a:lnTo>
                    <a:pt x="712" y="255"/>
                  </a:lnTo>
                  <a:lnTo>
                    <a:pt x="662" y="311"/>
                  </a:lnTo>
                  <a:lnTo>
                    <a:pt x="643" y="311"/>
                  </a:lnTo>
                  <a:lnTo>
                    <a:pt x="643" y="290"/>
                  </a:lnTo>
                  <a:lnTo>
                    <a:pt x="643" y="278"/>
                  </a:lnTo>
                  <a:lnTo>
                    <a:pt x="650" y="267"/>
                  </a:lnTo>
                  <a:lnTo>
                    <a:pt x="657" y="255"/>
                  </a:lnTo>
                  <a:lnTo>
                    <a:pt x="643" y="211"/>
                  </a:lnTo>
                  <a:lnTo>
                    <a:pt x="631" y="221"/>
                  </a:lnTo>
                  <a:lnTo>
                    <a:pt x="637" y="167"/>
                  </a:lnTo>
                  <a:lnTo>
                    <a:pt x="612" y="144"/>
                  </a:lnTo>
                  <a:lnTo>
                    <a:pt x="593" y="190"/>
                  </a:lnTo>
                  <a:lnTo>
                    <a:pt x="588" y="290"/>
                  </a:lnTo>
                  <a:lnTo>
                    <a:pt x="575" y="299"/>
                  </a:lnTo>
                  <a:lnTo>
                    <a:pt x="569" y="246"/>
                  </a:lnTo>
                  <a:lnTo>
                    <a:pt x="581" y="167"/>
                  </a:lnTo>
                  <a:lnTo>
                    <a:pt x="569" y="176"/>
                  </a:lnTo>
                  <a:lnTo>
                    <a:pt x="588" y="144"/>
                  </a:lnTo>
                  <a:lnTo>
                    <a:pt x="631" y="132"/>
                  </a:lnTo>
                  <a:lnTo>
                    <a:pt x="625" y="123"/>
                  </a:lnTo>
                  <a:lnTo>
                    <a:pt x="618" y="123"/>
                  </a:lnTo>
                  <a:lnTo>
                    <a:pt x="562" y="100"/>
                  </a:lnTo>
                  <a:lnTo>
                    <a:pt x="569" y="78"/>
                  </a:lnTo>
                  <a:lnTo>
                    <a:pt x="531" y="111"/>
                  </a:lnTo>
                  <a:lnTo>
                    <a:pt x="506" y="111"/>
                  </a:lnTo>
                  <a:lnTo>
                    <a:pt x="538" y="53"/>
                  </a:lnTo>
                  <a:lnTo>
                    <a:pt x="469" y="23"/>
                  </a:lnTo>
                  <a:lnTo>
                    <a:pt x="456" y="0"/>
                  </a:lnTo>
                  <a:lnTo>
                    <a:pt x="456" y="23"/>
                  </a:lnTo>
                  <a:lnTo>
                    <a:pt x="25" y="23"/>
                  </a:lnTo>
                  <a:lnTo>
                    <a:pt x="38" y="53"/>
                  </a:lnTo>
                  <a:lnTo>
                    <a:pt x="25" y="78"/>
                  </a:lnTo>
                  <a:lnTo>
                    <a:pt x="25" y="5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79" name="Group 825"/>
            <p:cNvGrpSpPr>
              <a:grpSpLocks/>
            </p:cNvGrpSpPr>
            <p:nvPr>
              <p:custDataLst>
                <p:tags r:id="rId673"/>
              </p:custDataLst>
            </p:nvPr>
          </p:nvGrpSpPr>
          <p:grpSpPr bwMode="auto">
            <a:xfrm>
              <a:off x="1384548" y="3140075"/>
              <a:ext cx="1309688" cy="706438"/>
              <a:chOff x="1006" y="1796"/>
              <a:chExt cx="893" cy="44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85" name="Freeform 826"/>
              <p:cNvSpPr>
                <a:spLocks/>
              </p:cNvSpPr>
              <p:nvPr/>
            </p:nvSpPr>
            <p:spPr bwMode="auto">
              <a:xfrm>
                <a:off x="1006" y="1796"/>
                <a:ext cx="893" cy="445"/>
              </a:xfrm>
              <a:custGeom>
                <a:avLst/>
                <a:gdLst>
                  <a:gd name="T0" fmla="*/ 6 w 893"/>
                  <a:gd name="T1" fmla="*/ 1 h 889"/>
                  <a:gd name="T2" fmla="*/ 12 w 893"/>
                  <a:gd name="T3" fmla="*/ 1 h 889"/>
                  <a:gd name="T4" fmla="*/ 25 w 893"/>
                  <a:gd name="T5" fmla="*/ 1 h 889"/>
                  <a:gd name="T6" fmla="*/ 30 w 893"/>
                  <a:gd name="T7" fmla="*/ 1 h 889"/>
                  <a:gd name="T8" fmla="*/ 94 w 893"/>
                  <a:gd name="T9" fmla="*/ 1 h 889"/>
                  <a:gd name="T10" fmla="*/ 149 w 893"/>
                  <a:gd name="T11" fmla="*/ 1 h 889"/>
                  <a:gd name="T12" fmla="*/ 282 w 893"/>
                  <a:gd name="T13" fmla="*/ 1 h 889"/>
                  <a:gd name="T14" fmla="*/ 356 w 893"/>
                  <a:gd name="T15" fmla="*/ 1 h 889"/>
                  <a:gd name="T16" fmla="*/ 424 w 893"/>
                  <a:gd name="T17" fmla="*/ 1 h 889"/>
                  <a:gd name="T18" fmla="*/ 456 w 893"/>
                  <a:gd name="T19" fmla="*/ 1 h 889"/>
                  <a:gd name="T20" fmla="*/ 506 w 893"/>
                  <a:gd name="T21" fmla="*/ 1 h 889"/>
                  <a:gd name="T22" fmla="*/ 543 w 893"/>
                  <a:gd name="T23" fmla="*/ 1 h 889"/>
                  <a:gd name="T24" fmla="*/ 562 w 893"/>
                  <a:gd name="T25" fmla="*/ 1 h 889"/>
                  <a:gd name="T26" fmla="*/ 569 w 893"/>
                  <a:gd name="T27" fmla="*/ 1 h 889"/>
                  <a:gd name="T28" fmla="*/ 650 w 893"/>
                  <a:gd name="T29" fmla="*/ 1 h 889"/>
                  <a:gd name="T30" fmla="*/ 668 w 893"/>
                  <a:gd name="T31" fmla="*/ 1 h 889"/>
                  <a:gd name="T32" fmla="*/ 687 w 893"/>
                  <a:gd name="T33" fmla="*/ 1 h 889"/>
                  <a:gd name="T34" fmla="*/ 681 w 893"/>
                  <a:gd name="T35" fmla="*/ 1 h 889"/>
                  <a:gd name="T36" fmla="*/ 744 w 893"/>
                  <a:gd name="T37" fmla="*/ 1 h 889"/>
                  <a:gd name="T38" fmla="*/ 750 w 893"/>
                  <a:gd name="T39" fmla="*/ 1 h 889"/>
                  <a:gd name="T40" fmla="*/ 737 w 893"/>
                  <a:gd name="T41" fmla="*/ 1 h 889"/>
                  <a:gd name="T42" fmla="*/ 744 w 893"/>
                  <a:gd name="T43" fmla="*/ 1 h 889"/>
                  <a:gd name="T44" fmla="*/ 756 w 893"/>
                  <a:gd name="T45" fmla="*/ 1 h 889"/>
                  <a:gd name="T46" fmla="*/ 762 w 893"/>
                  <a:gd name="T47" fmla="*/ 1 h 889"/>
                  <a:gd name="T48" fmla="*/ 787 w 893"/>
                  <a:gd name="T49" fmla="*/ 1 h 889"/>
                  <a:gd name="T50" fmla="*/ 831 w 893"/>
                  <a:gd name="T51" fmla="*/ 1 h 889"/>
                  <a:gd name="T52" fmla="*/ 893 w 893"/>
                  <a:gd name="T53" fmla="*/ 1 h 889"/>
                  <a:gd name="T54" fmla="*/ 881 w 893"/>
                  <a:gd name="T55" fmla="*/ 1 h 889"/>
                  <a:gd name="T56" fmla="*/ 856 w 893"/>
                  <a:gd name="T57" fmla="*/ 1 h 889"/>
                  <a:gd name="T58" fmla="*/ 756 w 893"/>
                  <a:gd name="T59" fmla="*/ 1 h 889"/>
                  <a:gd name="T60" fmla="*/ 706 w 893"/>
                  <a:gd name="T61" fmla="*/ 1 h 889"/>
                  <a:gd name="T62" fmla="*/ 662 w 893"/>
                  <a:gd name="T63" fmla="*/ 1 h 889"/>
                  <a:gd name="T64" fmla="*/ 643 w 893"/>
                  <a:gd name="T65" fmla="*/ 1 h 889"/>
                  <a:gd name="T66" fmla="*/ 650 w 893"/>
                  <a:gd name="T67" fmla="*/ 1 h 889"/>
                  <a:gd name="T68" fmla="*/ 643 w 893"/>
                  <a:gd name="T69" fmla="*/ 1 h 889"/>
                  <a:gd name="T70" fmla="*/ 637 w 893"/>
                  <a:gd name="T71" fmla="*/ 1 h 889"/>
                  <a:gd name="T72" fmla="*/ 593 w 893"/>
                  <a:gd name="T73" fmla="*/ 1 h 889"/>
                  <a:gd name="T74" fmla="*/ 575 w 893"/>
                  <a:gd name="T75" fmla="*/ 1 h 889"/>
                  <a:gd name="T76" fmla="*/ 581 w 893"/>
                  <a:gd name="T77" fmla="*/ 1 h 889"/>
                  <a:gd name="T78" fmla="*/ 588 w 893"/>
                  <a:gd name="T79" fmla="*/ 1 h 889"/>
                  <a:gd name="T80" fmla="*/ 625 w 893"/>
                  <a:gd name="T81" fmla="*/ 1 h 889"/>
                  <a:gd name="T82" fmla="*/ 562 w 893"/>
                  <a:gd name="T83" fmla="*/ 1 h 889"/>
                  <a:gd name="T84" fmla="*/ 531 w 893"/>
                  <a:gd name="T85" fmla="*/ 1 h 889"/>
                  <a:gd name="T86" fmla="*/ 538 w 893"/>
                  <a:gd name="T87" fmla="*/ 1 h 889"/>
                  <a:gd name="T88" fmla="*/ 456 w 893"/>
                  <a:gd name="T89" fmla="*/ 0 h 889"/>
                  <a:gd name="T90" fmla="*/ 25 w 893"/>
                  <a:gd name="T91" fmla="*/ 1 h 889"/>
                  <a:gd name="T92" fmla="*/ 25 w 893"/>
                  <a:gd name="T93" fmla="*/ 1 h 889"/>
                  <a:gd name="T94" fmla="*/ 0 w 893"/>
                  <a:gd name="T95" fmla="*/ 1 h 88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893" h="889">
                    <a:moveTo>
                      <a:pt x="0" y="44"/>
                    </a:moveTo>
                    <a:lnTo>
                      <a:pt x="6" y="123"/>
                    </a:lnTo>
                    <a:lnTo>
                      <a:pt x="19" y="132"/>
                    </a:lnTo>
                    <a:lnTo>
                      <a:pt x="12" y="132"/>
                    </a:lnTo>
                    <a:lnTo>
                      <a:pt x="0" y="355"/>
                    </a:lnTo>
                    <a:lnTo>
                      <a:pt x="25" y="443"/>
                    </a:lnTo>
                    <a:lnTo>
                      <a:pt x="38" y="443"/>
                    </a:lnTo>
                    <a:lnTo>
                      <a:pt x="30" y="466"/>
                    </a:lnTo>
                    <a:lnTo>
                      <a:pt x="62" y="566"/>
                    </a:lnTo>
                    <a:lnTo>
                      <a:pt x="94" y="589"/>
                    </a:lnTo>
                    <a:lnTo>
                      <a:pt x="112" y="645"/>
                    </a:lnTo>
                    <a:lnTo>
                      <a:pt x="149" y="633"/>
                    </a:lnTo>
                    <a:lnTo>
                      <a:pt x="213" y="678"/>
                    </a:lnTo>
                    <a:lnTo>
                      <a:pt x="282" y="668"/>
                    </a:lnTo>
                    <a:lnTo>
                      <a:pt x="324" y="756"/>
                    </a:lnTo>
                    <a:lnTo>
                      <a:pt x="356" y="733"/>
                    </a:lnTo>
                    <a:lnTo>
                      <a:pt x="393" y="845"/>
                    </a:lnTo>
                    <a:lnTo>
                      <a:pt x="424" y="866"/>
                    </a:lnTo>
                    <a:lnTo>
                      <a:pt x="424" y="801"/>
                    </a:lnTo>
                    <a:lnTo>
                      <a:pt x="456" y="768"/>
                    </a:lnTo>
                    <a:lnTo>
                      <a:pt x="456" y="733"/>
                    </a:lnTo>
                    <a:lnTo>
                      <a:pt x="506" y="733"/>
                    </a:lnTo>
                    <a:lnTo>
                      <a:pt x="543" y="756"/>
                    </a:lnTo>
                    <a:lnTo>
                      <a:pt x="543" y="722"/>
                    </a:lnTo>
                    <a:lnTo>
                      <a:pt x="531" y="712"/>
                    </a:lnTo>
                    <a:lnTo>
                      <a:pt x="562" y="712"/>
                    </a:lnTo>
                    <a:lnTo>
                      <a:pt x="569" y="699"/>
                    </a:lnTo>
                    <a:lnTo>
                      <a:pt x="569" y="722"/>
                    </a:lnTo>
                    <a:lnTo>
                      <a:pt x="631" y="722"/>
                    </a:lnTo>
                    <a:lnTo>
                      <a:pt x="650" y="756"/>
                    </a:lnTo>
                    <a:lnTo>
                      <a:pt x="650" y="812"/>
                    </a:lnTo>
                    <a:lnTo>
                      <a:pt x="668" y="889"/>
                    </a:lnTo>
                    <a:lnTo>
                      <a:pt x="681" y="889"/>
                    </a:lnTo>
                    <a:lnTo>
                      <a:pt x="687" y="835"/>
                    </a:lnTo>
                    <a:lnTo>
                      <a:pt x="668" y="699"/>
                    </a:lnTo>
                    <a:lnTo>
                      <a:pt x="681" y="633"/>
                    </a:lnTo>
                    <a:lnTo>
                      <a:pt x="756" y="534"/>
                    </a:lnTo>
                    <a:lnTo>
                      <a:pt x="744" y="511"/>
                    </a:lnTo>
                    <a:lnTo>
                      <a:pt x="756" y="511"/>
                    </a:lnTo>
                    <a:lnTo>
                      <a:pt x="750" y="478"/>
                    </a:lnTo>
                    <a:lnTo>
                      <a:pt x="750" y="443"/>
                    </a:lnTo>
                    <a:lnTo>
                      <a:pt x="737" y="422"/>
                    </a:lnTo>
                    <a:lnTo>
                      <a:pt x="750" y="434"/>
                    </a:lnTo>
                    <a:lnTo>
                      <a:pt x="744" y="399"/>
                    </a:lnTo>
                    <a:lnTo>
                      <a:pt x="756" y="388"/>
                    </a:lnTo>
                    <a:lnTo>
                      <a:pt x="756" y="466"/>
                    </a:lnTo>
                    <a:lnTo>
                      <a:pt x="768" y="422"/>
                    </a:lnTo>
                    <a:lnTo>
                      <a:pt x="762" y="378"/>
                    </a:lnTo>
                    <a:lnTo>
                      <a:pt x="768" y="399"/>
                    </a:lnTo>
                    <a:lnTo>
                      <a:pt x="787" y="334"/>
                    </a:lnTo>
                    <a:lnTo>
                      <a:pt x="850" y="299"/>
                    </a:lnTo>
                    <a:lnTo>
                      <a:pt x="831" y="278"/>
                    </a:lnTo>
                    <a:lnTo>
                      <a:pt x="843" y="234"/>
                    </a:lnTo>
                    <a:lnTo>
                      <a:pt x="893" y="190"/>
                    </a:lnTo>
                    <a:lnTo>
                      <a:pt x="893" y="167"/>
                    </a:lnTo>
                    <a:lnTo>
                      <a:pt x="881" y="144"/>
                    </a:lnTo>
                    <a:lnTo>
                      <a:pt x="881" y="100"/>
                    </a:lnTo>
                    <a:lnTo>
                      <a:pt x="856" y="78"/>
                    </a:lnTo>
                    <a:lnTo>
                      <a:pt x="837" y="167"/>
                    </a:lnTo>
                    <a:lnTo>
                      <a:pt x="756" y="199"/>
                    </a:lnTo>
                    <a:lnTo>
                      <a:pt x="750" y="234"/>
                    </a:lnTo>
                    <a:lnTo>
                      <a:pt x="706" y="246"/>
                    </a:lnTo>
                    <a:lnTo>
                      <a:pt x="712" y="255"/>
                    </a:lnTo>
                    <a:lnTo>
                      <a:pt x="662" y="311"/>
                    </a:lnTo>
                    <a:lnTo>
                      <a:pt x="643" y="311"/>
                    </a:lnTo>
                    <a:lnTo>
                      <a:pt x="643" y="290"/>
                    </a:lnTo>
                    <a:lnTo>
                      <a:pt x="643" y="278"/>
                    </a:lnTo>
                    <a:lnTo>
                      <a:pt x="650" y="267"/>
                    </a:lnTo>
                    <a:lnTo>
                      <a:pt x="657" y="255"/>
                    </a:lnTo>
                    <a:lnTo>
                      <a:pt x="643" y="211"/>
                    </a:lnTo>
                    <a:lnTo>
                      <a:pt x="631" y="221"/>
                    </a:lnTo>
                    <a:lnTo>
                      <a:pt x="637" y="167"/>
                    </a:lnTo>
                    <a:lnTo>
                      <a:pt x="612" y="144"/>
                    </a:lnTo>
                    <a:lnTo>
                      <a:pt x="593" y="190"/>
                    </a:lnTo>
                    <a:lnTo>
                      <a:pt x="588" y="290"/>
                    </a:lnTo>
                    <a:lnTo>
                      <a:pt x="575" y="299"/>
                    </a:lnTo>
                    <a:lnTo>
                      <a:pt x="569" y="246"/>
                    </a:lnTo>
                    <a:lnTo>
                      <a:pt x="581" y="167"/>
                    </a:lnTo>
                    <a:lnTo>
                      <a:pt x="569" y="176"/>
                    </a:lnTo>
                    <a:lnTo>
                      <a:pt x="588" y="144"/>
                    </a:lnTo>
                    <a:lnTo>
                      <a:pt x="631" y="132"/>
                    </a:lnTo>
                    <a:lnTo>
                      <a:pt x="625" y="123"/>
                    </a:lnTo>
                    <a:lnTo>
                      <a:pt x="618" y="123"/>
                    </a:lnTo>
                    <a:lnTo>
                      <a:pt x="562" y="100"/>
                    </a:lnTo>
                    <a:lnTo>
                      <a:pt x="569" y="78"/>
                    </a:lnTo>
                    <a:lnTo>
                      <a:pt x="531" y="111"/>
                    </a:lnTo>
                    <a:lnTo>
                      <a:pt x="506" y="111"/>
                    </a:lnTo>
                    <a:lnTo>
                      <a:pt x="538" y="53"/>
                    </a:lnTo>
                    <a:lnTo>
                      <a:pt x="469" y="23"/>
                    </a:lnTo>
                    <a:lnTo>
                      <a:pt x="456" y="0"/>
                    </a:lnTo>
                    <a:lnTo>
                      <a:pt x="456" y="23"/>
                    </a:lnTo>
                    <a:lnTo>
                      <a:pt x="25" y="23"/>
                    </a:lnTo>
                    <a:lnTo>
                      <a:pt x="38" y="53"/>
                    </a:lnTo>
                    <a:lnTo>
                      <a:pt x="25" y="78"/>
                    </a:lnTo>
                    <a:lnTo>
                      <a:pt x="25" y="53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86" name="Freeform 827"/>
              <p:cNvSpPr>
                <a:spLocks/>
              </p:cNvSpPr>
              <p:nvPr/>
            </p:nvSpPr>
            <p:spPr bwMode="auto">
              <a:xfrm>
                <a:off x="1006" y="1796"/>
                <a:ext cx="893" cy="445"/>
              </a:xfrm>
              <a:custGeom>
                <a:avLst/>
                <a:gdLst>
                  <a:gd name="T0" fmla="*/ 6 w 893"/>
                  <a:gd name="T1" fmla="*/ 1 h 889"/>
                  <a:gd name="T2" fmla="*/ 12 w 893"/>
                  <a:gd name="T3" fmla="*/ 1 h 889"/>
                  <a:gd name="T4" fmla="*/ 25 w 893"/>
                  <a:gd name="T5" fmla="*/ 1 h 889"/>
                  <a:gd name="T6" fmla="*/ 30 w 893"/>
                  <a:gd name="T7" fmla="*/ 1 h 889"/>
                  <a:gd name="T8" fmla="*/ 94 w 893"/>
                  <a:gd name="T9" fmla="*/ 1 h 889"/>
                  <a:gd name="T10" fmla="*/ 149 w 893"/>
                  <a:gd name="T11" fmla="*/ 1 h 889"/>
                  <a:gd name="T12" fmla="*/ 282 w 893"/>
                  <a:gd name="T13" fmla="*/ 1 h 889"/>
                  <a:gd name="T14" fmla="*/ 356 w 893"/>
                  <a:gd name="T15" fmla="*/ 1 h 889"/>
                  <a:gd name="T16" fmla="*/ 424 w 893"/>
                  <a:gd name="T17" fmla="*/ 1 h 889"/>
                  <a:gd name="T18" fmla="*/ 456 w 893"/>
                  <a:gd name="T19" fmla="*/ 1 h 889"/>
                  <a:gd name="T20" fmla="*/ 506 w 893"/>
                  <a:gd name="T21" fmla="*/ 1 h 889"/>
                  <a:gd name="T22" fmla="*/ 543 w 893"/>
                  <a:gd name="T23" fmla="*/ 1 h 889"/>
                  <a:gd name="T24" fmla="*/ 562 w 893"/>
                  <a:gd name="T25" fmla="*/ 1 h 889"/>
                  <a:gd name="T26" fmla="*/ 569 w 893"/>
                  <a:gd name="T27" fmla="*/ 1 h 889"/>
                  <a:gd name="T28" fmla="*/ 650 w 893"/>
                  <a:gd name="T29" fmla="*/ 1 h 889"/>
                  <a:gd name="T30" fmla="*/ 668 w 893"/>
                  <a:gd name="T31" fmla="*/ 1 h 889"/>
                  <a:gd name="T32" fmla="*/ 687 w 893"/>
                  <a:gd name="T33" fmla="*/ 1 h 889"/>
                  <a:gd name="T34" fmla="*/ 681 w 893"/>
                  <a:gd name="T35" fmla="*/ 1 h 889"/>
                  <a:gd name="T36" fmla="*/ 744 w 893"/>
                  <a:gd name="T37" fmla="*/ 1 h 889"/>
                  <a:gd name="T38" fmla="*/ 750 w 893"/>
                  <a:gd name="T39" fmla="*/ 1 h 889"/>
                  <a:gd name="T40" fmla="*/ 737 w 893"/>
                  <a:gd name="T41" fmla="*/ 1 h 889"/>
                  <a:gd name="T42" fmla="*/ 744 w 893"/>
                  <a:gd name="T43" fmla="*/ 1 h 889"/>
                  <a:gd name="T44" fmla="*/ 756 w 893"/>
                  <a:gd name="T45" fmla="*/ 1 h 889"/>
                  <a:gd name="T46" fmla="*/ 762 w 893"/>
                  <a:gd name="T47" fmla="*/ 1 h 889"/>
                  <a:gd name="T48" fmla="*/ 787 w 893"/>
                  <a:gd name="T49" fmla="*/ 1 h 889"/>
                  <a:gd name="T50" fmla="*/ 831 w 893"/>
                  <a:gd name="T51" fmla="*/ 1 h 889"/>
                  <a:gd name="T52" fmla="*/ 893 w 893"/>
                  <a:gd name="T53" fmla="*/ 1 h 889"/>
                  <a:gd name="T54" fmla="*/ 881 w 893"/>
                  <a:gd name="T55" fmla="*/ 1 h 889"/>
                  <a:gd name="T56" fmla="*/ 856 w 893"/>
                  <a:gd name="T57" fmla="*/ 1 h 889"/>
                  <a:gd name="T58" fmla="*/ 756 w 893"/>
                  <a:gd name="T59" fmla="*/ 1 h 889"/>
                  <a:gd name="T60" fmla="*/ 706 w 893"/>
                  <a:gd name="T61" fmla="*/ 1 h 889"/>
                  <a:gd name="T62" fmla="*/ 662 w 893"/>
                  <a:gd name="T63" fmla="*/ 1 h 889"/>
                  <a:gd name="T64" fmla="*/ 643 w 893"/>
                  <a:gd name="T65" fmla="*/ 1 h 889"/>
                  <a:gd name="T66" fmla="*/ 650 w 893"/>
                  <a:gd name="T67" fmla="*/ 1 h 889"/>
                  <a:gd name="T68" fmla="*/ 643 w 893"/>
                  <a:gd name="T69" fmla="*/ 1 h 889"/>
                  <a:gd name="T70" fmla="*/ 637 w 893"/>
                  <a:gd name="T71" fmla="*/ 1 h 889"/>
                  <a:gd name="T72" fmla="*/ 593 w 893"/>
                  <a:gd name="T73" fmla="*/ 1 h 889"/>
                  <a:gd name="T74" fmla="*/ 575 w 893"/>
                  <a:gd name="T75" fmla="*/ 1 h 889"/>
                  <a:gd name="T76" fmla="*/ 581 w 893"/>
                  <a:gd name="T77" fmla="*/ 1 h 889"/>
                  <a:gd name="T78" fmla="*/ 588 w 893"/>
                  <a:gd name="T79" fmla="*/ 1 h 889"/>
                  <a:gd name="T80" fmla="*/ 625 w 893"/>
                  <a:gd name="T81" fmla="*/ 1 h 889"/>
                  <a:gd name="T82" fmla="*/ 562 w 893"/>
                  <a:gd name="T83" fmla="*/ 1 h 889"/>
                  <a:gd name="T84" fmla="*/ 531 w 893"/>
                  <a:gd name="T85" fmla="*/ 1 h 889"/>
                  <a:gd name="T86" fmla="*/ 538 w 893"/>
                  <a:gd name="T87" fmla="*/ 1 h 889"/>
                  <a:gd name="T88" fmla="*/ 456 w 893"/>
                  <a:gd name="T89" fmla="*/ 0 h 889"/>
                  <a:gd name="T90" fmla="*/ 25 w 893"/>
                  <a:gd name="T91" fmla="*/ 1 h 889"/>
                  <a:gd name="T92" fmla="*/ 25 w 893"/>
                  <a:gd name="T93" fmla="*/ 1 h 889"/>
                  <a:gd name="T94" fmla="*/ 0 w 893"/>
                  <a:gd name="T95" fmla="*/ 1 h 88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893" h="889">
                    <a:moveTo>
                      <a:pt x="0" y="44"/>
                    </a:moveTo>
                    <a:lnTo>
                      <a:pt x="6" y="123"/>
                    </a:lnTo>
                    <a:lnTo>
                      <a:pt x="19" y="132"/>
                    </a:lnTo>
                    <a:lnTo>
                      <a:pt x="12" y="132"/>
                    </a:lnTo>
                    <a:lnTo>
                      <a:pt x="0" y="355"/>
                    </a:lnTo>
                    <a:lnTo>
                      <a:pt x="25" y="443"/>
                    </a:lnTo>
                    <a:lnTo>
                      <a:pt x="38" y="443"/>
                    </a:lnTo>
                    <a:lnTo>
                      <a:pt x="30" y="466"/>
                    </a:lnTo>
                    <a:lnTo>
                      <a:pt x="62" y="566"/>
                    </a:lnTo>
                    <a:lnTo>
                      <a:pt x="94" y="589"/>
                    </a:lnTo>
                    <a:lnTo>
                      <a:pt x="112" y="645"/>
                    </a:lnTo>
                    <a:lnTo>
                      <a:pt x="149" y="633"/>
                    </a:lnTo>
                    <a:lnTo>
                      <a:pt x="213" y="678"/>
                    </a:lnTo>
                    <a:lnTo>
                      <a:pt x="282" y="668"/>
                    </a:lnTo>
                    <a:lnTo>
                      <a:pt x="324" y="756"/>
                    </a:lnTo>
                    <a:lnTo>
                      <a:pt x="356" y="733"/>
                    </a:lnTo>
                    <a:lnTo>
                      <a:pt x="393" y="845"/>
                    </a:lnTo>
                    <a:lnTo>
                      <a:pt x="424" y="866"/>
                    </a:lnTo>
                    <a:lnTo>
                      <a:pt x="424" y="801"/>
                    </a:lnTo>
                    <a:lnTo>
                      <a:pt x="456" y="768"/>
                    </a:lnTo>
                    <a:lnTo>
                      <a:pt x="456" y="733"/>
                    </a:lnTo>
                    <a:lnTo>
                      <a:pt x="506" y="733"/>
                    </a:lnTo>
                    <a:lnTo>
                      <a:pt x="543" y="756"/>
                    </a:lnTo>
                    <a:lnTo>
                      <a:pt x="543" y="722"/>
                    </a:lnTo>
                    <a:lnTo>
                      <a:pt x="531" y="712"/>
                    </a:lnTo>
                    <a:lnTo>
                      <a:pt x="562" y="712"/>
                    </a:lnTo>
                    <a:lnTo>
                      <a:pt x="569" y="699"/>
                    </a:lnTo>
                    <a:lnTo>
                      <a:pt x="569" y="722"/>
                    </a:lnTo>
                    <a:lnTo>
                      <a:pt x="631" y="722"/>
                    </a:lnTo>
                    <a:lnTo>
                      <a:pt x="650" y="756"/>
                    </a:lnTo>
                    <a:lnTo>
                      <a:pt x="650" y="812"/>
                    </a:lnTo>
                    <a:lnTo>
                      <a:pt x="668" y="889"/>
                    </a:lnTo>
                    <a:lnTo>
                      <a:pt x="681" y="889"/>
                    </a:lnTo>
                    <a:lnTo>
                      <a:pt x="687" y="835"/>
                    </a:lnTo>
                    <a:lnTo>
                      <a:pt x="668" y="699"/>
                    </a:lnTo>
                    <a:lnTo>
                      <a:pt x="681" y="633"/>
                    </a:lnTo>
                    <a:lnTo>
                      <a:pt x="756" y="534"/>
                    </a:lnTo>
                    <a:lnTo>
                      <a:pt x="744" y="511"/>
                    </a:lnTo>
                    <a:lnTo>
                      <a:pt x="756" y="511"/>
                    </a:lnTo>
                    <a:lnTo>
                      <a:pt x="750" y="478"/>
                    </a:lnTo>
                    <a:lnTo>
                      <a:pt x="750" y="443"/>
                    </a:lnTo>
                    <a:lnTo>
                      <a:pt x="737" y="422"/>
                    </a:lnTo>
                    <a:lnTo>
                      <a:pt x="750" y="434"/>
                    </a:lnTo>
                    <a:lnTo>
                      <a:pt x="744" y="399"/>
                    </a:lnTo>
                    <a:lnTo>
                      <a:pt x="756" y="388"/>
                    </a:lnTo>
                    <a:lnTo>
                      <a:pt x="756" y="466"/>
                    </a:lnTo>
                    <a:lnTo>
                      <a:pt x="768" y="422"/>
                    </a:lnTo>
                    <a:lnTo>
                      <a:pt x="762" y="378"/>
                    </a:lnTo>
                    <a:lnTo>
                      <a:pt x="768" y="399"/>
                    </a:lnTo>
                    <a:lnTo>
                      <a:pt x="787" y="334"/>
                    </a:lnTo>
                    <a:lnTo>
                      <a:pt x="850" y="299"/>
                    </a:lnTo>
                    <a:lnTo>
                      <a:pt x="831" y="278"/>
                    </a:lnTo>
                    <a:lnTo>
                      <a:pt x="843" y="234"/>
                    </a:lnTo>
                    <a:lnTo>
                      <a:pt x="893" y="190"/>
                    </a:lnTo>
                    <a:lnTo>
                      <a:pt x="893" y="167"/>
                    </a:lnTo>
                    <a:lnTo>
                      <a:pt x="881" y="144"/>
                    </a:lnTo>
                    <a:lnTo>
                      <a:pt x="881" y="100"/>
                    </a:lnTo>
                    <a:lnTo>
                      <a:pt x="856" y="78"/>
                    </a:lnTo>
                    <a:lnTo>
                      <a:pt x="837" y="167"/>
                    </a:lnTo>
                    <a:lnTo>
                      <a:pt x="756" y="199"/>
                    </a:lnTo>
                    <a:lnTo>
                      <a:pt x="750" y="234"/>
                    </a:lnTo>
                    <a:lnTo>
                      <a:pt x="706" y="246"/>
                    </a:lnTo>
                    <a:lnTo>
                      <a:pt x="712" y="255"/>
                    </a:lnTo>
                    <a:lnTo>
                      <a:pt x="662" y="311"/>
                    </a:lnTo>
                    <a:lnTo>
                      <a:pt x="643" y="311"/>
                    </a:lnTo>
                    <a:lnTo>
                      <a:pt x="643" y="290"/>
                    </a:lnTo>
                    <a:lnTo>
                      <a:pt x="643" y="278"/>
                    </a:lnTo>
                    <a:lnTo>
                      <a:pt x="650" y="267"/>
                    </a:lnTo>
                    <a:lnTo>
                      <a:pt x="657" y="255"/>
                    </a:lnTo>
                    <a:lnTo>
                      <a:pt x="643" y="211"/>
                    </a:lnTo>
                    <a:lnTo>
                      <a:pt x="631" y="221"/>
                    </a:lnTo>
                    <a:lnTo>
                      <a:pt x="637" y="167"/>
                    </a:lnTo>
                    <a:lnTo>
                      <a:pt x="612" y="144"/>
                    </a:lnTo>
                    <a:lnTo>
                      <a:pt x="593" y="190"/>
                    </a:lnTo>
                    <a:lnTo>
                      <a:pt x="588" y="290"/>
                    </a:lnTo>
                    <a:lnTo>
                      <a:pt x="575" y="299"/>
                    </a:lnTo>
                    <a:lnTo>
                      <a:pt x="569" y="246"/>
                    </a:lnTo>
                    <a:lnTo>
                      <a:pt x="581" y="167"/>
                    </a:lnTo>
                    <a:lnTo>
                      <a:pt x="569" y="176"/>
                    </a:lnTo>
                    <a:lnTo>
                      <a:pt x="588" y="144"/>
                    </a:lnTo>
                    <a:lnTo>
                      <a:pt x="631" y="132"/>
                    </a:lnTo>
                    <a:lnTo>
                      <a:pt x="625" y="123"/>
                    </a:lnTo>
                    <a:lnTo>
                      <a:pt x="618" y="123"/>
                    </a:lnTo>
                    <a:lnTo>
                      <a:pt x="562" y="100"/>
                    </a:lnTo>
                    <a:lnTo>
                      <a:pt x="569" y="78"/>
                    </a:lnTo>
                    <a:lnTo>
                      <a:pt x="531" y="111"/>
                    </a:lnTo>
                    <a:lnTo>
                      <a:pt x="506" y="111"/>
                    </a:lnTo>
                    <a:lnTo>
                      <a:pt x="538" y="53"/>
                    </a:lnTo>
                    <a:lnTo>
                      <a:pt x="469" y="23"/>
                    </a:lnTo>
                    <a:lnTo>
                      <a:pt x="456" y="0"/>
                    </a:lnTo>
                    <a:lnTo>
                      <a:pt x="456" y="23"/>
                    </a:lnTo>
                    <a:lnTo>
                      <a:pt x="25" y="23"/>
                    </a:lnTo>
                    <a:lnTo>
                      <a:pt x="38" y="53"/>
                    </a:lnTo>
                    <a:lnTo>
                      <a:pt x="25" y="78"/>
                    </a:lnTo>
                    <a:lnTo>
                      <a:pt x="25" y="53"/>
                    </a:lnTo>
                    <a:lnTo>
                      <a:pt x="0" y="44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80" name="Freeform 828"/>
            <p:cNvSpPr>
              <a:spLocks/>
            </p:cNvSpPr>
            <p:nvPr>
              <p:custDataLst>
                <p:tags r:id="rId674"/>
              </p:custDataLst>
            </p:nvPr>
          </p:nvSpPr>
          <p:spPr bwMode="auto">
            <a:xfrm>
              <a:off x="1384548" y="3140075"/>
              <a:ext cx="1309688" cy="706438"/>
            </a:xfrm>
            <a:custGeom>
              <a:avLst/>
              <a:gdLst>
                <a:gd name="T0" fmla="*/ 2147483647 w 893"/>
                <a:gd name="T1" fmla="*/ 2147483647 h 889"/>
                <a:gd name="T2" fmla="*/ 2147483647 w 893"/>
                <a:gd name="T3" fmla="*/ 2147483647 h 889"/>
                <a:gd name="T4" fmla="*/ 2147483647 w 893"/>
                <a:gd name="T5" fmla="*/ 2147483647 h 889"/>
                <a:gd name="T6" fmla="*/ 2147483647 w 893"/>
                <a:gd name="T7" fmla="*/ 2147483647 h 889"/>
                <a:gd name="T8" fmla="*/ 2147483647 w 893"/>
                <a:gd name="T9" fmla="*/ 2147483647 h 889"/>
                <a:gd name="T10" fmla="*/ 2147483647 w 893"/>
                <a:gd name="T11" fmla="*/ 2147483647 h 889"/>
                <a:gd name="T12" fmla="*/ 2147483647 w 893"/>
                <a:gd name="T13" fmla="*/ 2147483647 h 889"/>
                <a:gd name="T14" fmla="*/ 2147483647 w 893"/>
                <a:gd name="T15" fmla="*/ 2147483647 h 889"/>
                <a:gd name="T16" fmla="*/ 2147483647 w 893"/>
                <a:gd name="T17" fmla="*/ 2147483647 h 889"/>
                <a:gd name="T18" fmla="*/ 2147483647 w 893"/>
                <a:gd name="T19" fmla="*/ 2147483647 h 889"/>
                <a:gd name="T20" fmla="*/ 2147483647 w 893"/>
                <a:gd name="T21" fmla="*/ 2147483647 h 889"/>
                <a:gd name="T22" fmla="*/ 2147483647 w 893"/>
                <a:gd name="T23" fmla="*/ 2147483647 h 889"/>
                <a:gd name="T24" fmla="*/ 2147483647 w 893"/>
                <a:gd name="T25" fmla="*/ 2147483647 h 889"/>
                <a:gd name="T26" fmla="*/ 2147483647 w 893"/>
                <a:gd name="T27" fmla="*/ 2147483647 h 889"/>
                <a:gd name="T28" fmla="*/ 2147483647 w 893"/>
                <a:gd name="T29" fmla="*/ 2147483647 h 889"/>
                <a:gd name="T30" fmla="*/ 2147483647 w 893"/>
                <a:gd name="T31" fmla="*/ 2147483647 h 889"/>
                <a:gd name="T32" fmla="*/ 2147483647 w 893"/>
                <a:gd name="T33" fmla="*/ 2147483647 h 889"/>
                <a:gd name="T34" fmla="*/ 2147483647 w 893"/>
                <a:gd name="T35" fmla="*/ 2147483647 h 889"/>
                <a:gd name="T36" fmla="*/ 2147483647 w 893"/>
                <a:gd name="T37" fmla="*/ 2147483647 h 889"/>
                <a:gd name="T38" fmla="*/ 2147483647 w 893"/>
                <a:gd name="T39" fmla="*/ 2147483647 h 889"/>
                <a:gd name="T40" fmla="*/ 2147483647 w 893"/>
                <a:gd name="T41" fmla="*/ 2147483647 h 889"/>
                <a:gd name="T42" fmla="*/ 2147483647 w 893"/>
                <a:gd name="T43" fmla="*/ 2147483647 h 889"/>
                <a:gd name="T44" fmla="*/ 2147483647 w 893"/>
                <a:gd name="T45" fmla="*/ 2147483647 h 889"/>
                <a:gd name="T46" fmla="*/ 2147483647 w 893"/>
                <a:gd name="T47" fmla="*/ 2147483647 h 889"/>
                <a:gd name="T48" fmla="*/ 2147483647 w 893"/>
                <a:gd name="T49" fmla="*/ 2147483647 h 889"/>
                <a:gd name="T50" fmla="*/ 2147483647 w 893"/>
                <a:gd name="T51" fmla="*/ 2147483647 h 889"/>
                <a:gd name="T52" fmla="*/ 2147483647 w 893"/>
                <a:gd name="T53" fmla="*/ 2147483647 h 889"/>
                <a:gd name="T54" fmla="*/ 2147483647 w 893"/>
                <a:gd name="T55" fmla="*/ 2147483647 h 889"/>
                <a:gd name="T56" fmla="*/ 2147483647 w 893"/>
                <a:gd name="T57" fmla="*/ 2147483647 h 889"/>
                <a:gd name="T58" fmla="*/ 2147483647 w 893"/>
                <a:gd name="T59" fmla="*/ 2147483647 h 889"/>
                <a:gd name="T60" fmla="*/ 2147483647 w 893"/>
                <a:gd name="T61" fmla="*/ 2147483647 h 889"/>
                <a:gd name="T62" fmla="*/ 2147483647 w 893"/>
                <a:gd name="T63" fmla="*/ 2147483647 h 889"/>
                <a:gd name="T64" fmla="*/ 2147483647 w 893"/>
                <a:gd name="T65" fmla="*/ 2147483647 h 889"/>
                <a:gd name="T66" fmla="*/ 2147483647 w 893"/>
                <a:gd name="T67" fmla="*/ 2147483647 h 889"/>
                <a:gd name="T68" fmla="*/ 2147483647 w 893"/>
                <a:gd name="T69" fmla="*/ 2147483647 h 889"/>
                <a:gd name="T70" fmla="*/ 2147483647 w 893"/>
                <a:gd name="T71" fmla="*/ 2147483647 h 889"/>
                <a:gd name="T72" fmla="*/ 2147483647 w 893"/>
                <a:gd name="T73" fmla="*/ 2147483647 h 889"/>
                <a:gd name="T74" fmla="*/ 2147483647 w 893"/>
                <a:gd name="T75" fmla="*/ 2147483647 h 889"/>
                <a:gd name="T76" fmla="*/ 2147483647 w 893"/>
                <a:gd name="T77" fmla="*/ 2147483647 h 889"/>
                <a:gd name="T78" fmla="*/ 2147483647 w 893"/>
                <a:gd name="T79" fmla="*/ 2147483647 h 889"/>
                <a:gd name="T80" fmla="*/ 2147483647 w 893"/>
                <a:gd name="T81" fmla="*/ 2147483647 h 889"/>
                <a:gd name="T82" fmla="*/ 2147483647 w 893"/>
                <a:gd name="T83" fmla="*/ 2147483647 h 889"/>
                <a:gd name="T84" fmla="*/ 2147483647 w 893"/>
                <a:gd name="T85" fmla="*/ 2147483647 h 889"/>
                <a:gd name="T86" fmla="*/ 2147483647 w 893"/>
                <a:gd name="T87" fmla="*/ 2147483647 h 889"/>
                <a:gd name="T88" fmla="*/ 2147483647 w 893"/>
                <a:gd name="T89" fmla="*/ 0 h 889"/>
                <a:gd name="T90" fmla="*/ 2147483647 w 893"/>
                <a:gd name="T91" fmla="*/ 2147483647 h 889"/>
                <a:gd name="T92" fmla="*/ 2147483647 w 893"/>
                <a:gd name="T93" fmla="*/ 2147483647 h 889"/>
                <a:gd name="T94" fmla="*/ 0 w 893"/>
                <a:gd name="T95" fmla="*/ 2147483647 h 88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893" h="889">
                  <a:moveTo>
                    <a:pt x="0" y="44"/>
                  </a:moveTo>
                  <a:lnTo>
                    <a:pt x="6" y="123"/>
                  </a:lnTo>
                  <a:lnTo>
                    <a:pt x="19" y="132"/>
                  </a:lnTo>
                  <a:lnTo>
                    <a:pt x="12" y="132"/>
                  </a:lnTo>
                  <a:lnTo>
                    <a:pt x="0" y="355"/>
                  </a:lnTo>
                  <a:lnTo>
                    <a:pt x="25" y="443"/>
                  </a:lnTo>
                  <a:lnTo>
                    <a:pt x="38" y="443"/>
                  </a:lnTo>
                  <a:lnTo>
                    <a:pt x="30" y="466"/>
                  </a:lnTo>
                  <a:lnTo>
                    <a:pt x="62" y="566"/>
                  </a:lnTo>
                  <a:lnTo>
                    <a:pt x="94" y="589"/>
                  </a:lnTo>
                  <a:lnTo>
                    <a:pt x="112" y="645"/>
                  </a:lnTo>
                  <a:lnTo>
                    <a:pt x="149" y="633"/>
                  </a:lnTo>
                  <a:lnTo>
                    <a:pt x="213" y="678"/>
                  </a:lnTo>
                  <a:lnTo>
                    <a:pt x="282" y="668"/>
                  </a:lnTo>
                  <a:lnTo>
                    <a:pt x="324" y="756"/>
                  </a:lnTo>
                  <a:lnTo>
                    <a:pt x="356" y="733"/>
                  </a:lnTo>
                  <a:lnTo>
                    <a:pt x="393" y="845"/>
                  </a:lnTo>
                  <a:lnTo>
                    <a:pt x="424" y="866"/>
                  </a:lnTo>
                  <a:lnTo>
                    <a:pt x="424" y="801"/>
                  </a:lnTo>
                  <a:lnTo>
                    <a:pt x="456" y="768"/>
                  </a:lnTo>
                  <a:lnTo>
                    <a:pt x="456" y="733"/>
                  </a:lnTo>
                  <a:lnTo>
                    <a:pt x="506" y="733"/>
                  </a:lnTo>
                  <a:lnTo>
                    <a:pt x="543" y="756"/>
                  </a:lnTo>
                  <a:lnTo>
                    <a:pt x="543" y="722"/>
                  </a:lnTo>
                  <a:lnTo>
                    <a:pt x="531" y="712"/>
                  </a:lnTo>
                  <a:lnTo>
                    <a:pt x="562" y="712"/>
                  </a:lnTo>
                  <a:lnTo>
                    <a:pt x="569" y="699"/>
                  </a:lnTo>
                  <a:lnTo>
                    <a:pt x="569" y="722"/>
                  </a:lnTo>
                  <a:lnTo>
                    <a:pt x="631" y="722"/>
                  </a:lnTo>
                  <a:lnTo>
                    <a:pt x="650" y="756"/>
                  </a:lnTo>
                  <a:lnTo>
                    <a:pt x="650" y="812"/>
                  </a:lnTo>
                  <a:lnTo>
                    <a:pt x="668" y="889"/>
                  </a:lnTo>
                  <a:lnTo>
                    <a:pt x="681" y="889"/>
                  </a:lnTo>
                  <a:lnTo>
                    <a:pt x="687" y="835"/>
                  </a:lnTo>
                  <a:lnTo>
                    <a:pt x="668" y="699"/>
                  </a:lnTo>
                  <a:lnTo>
                    <a:pt x="681" y="633"/>
                  </a:lnTo>
                  <a:lnTo>
                    <a:pt x="756" y="534"/>
                  </a:lnTo>
                  <a:lnTo>
                    <a:pt x="744" y="511"/>
                  </a:lnTo>
                  <a:lnTo>
                    <a:pt x="756" y="511"/>
                  </a:lnTo>
                  <a:lnTo>
                    <a:pt x="750" y="478"/>
                  </a:lnTo>
                  <a:lnTo>
                    <a:pt x="750" y="443"/>
                  </a:lnTo>
                  <a:lnTo>
                    <a:pt x="737" y="422"/>
                  </a:lnTo>
                  <a:lnTo>
                    <a:pt x="750" y="434"/>
                  </a:lnTo>
                  <a:lnTo>
                    <a:pt x="744" y="399"/>
                  </a:lnTo>
                  <a:lnTo>
                    <a:pt x="756" y="388"/>
                  </a:lnTo>
                  <a:lnTo>
                    <a:pt x="756" y="466"/>
                  </a:lnTo>
                  <a:lnTo>
                    <a:pt x="768" y="422"/>
                  </a:lnTo>
                  <a:lnTo>
                    <a:pt x="762" y="378"/>
                  </a:lnTo>
                  <a:lnTo>
                    <a:pt x="768" y="399"/>
                  </a:lnTo>
                  <a:lnTo>
                    <a:pt x="787" y="334"/>
                  </a:lnTo>
                  <a:lnTo>
                    <a:pt x="850" y="299"/>
                  </a:lnTo>
                  <a:lnTo>
                    <a:pt x="831" y="278"/>
                  </a:lnTo>
                  <a:lnTo>
                    <a:pt x="843" y="234"/>
                  </a:lnTo>
                  <a:lnTo>
                    <a:pt x="893" y="190"/>
                  </a:lnTo>
                  <a:lnTo>
                    <a:pt x="893" y="167"/>
                  </a:lnTo>
                  <a:lnTo>
                    <a:pt x="881" y="144"/>
                  </a:lnTo>
                  <a:lnTo>
                    <a:pt x="881" y="100"/>
                  </a:lnTo>
                  <a:lnTo>
                    <a:pt x="856" y="78"/>
                  </a:lnTo>
                  <a:lnTo>
                    <a:pt x="837" y="167"/>
                  </a:lnTo>
                  <a:lnTo>
                    <a:pt x="756" y="199"/>
                  </a:lnTo>
                  <a:lnTo>
                    <a:pt x="750" y="234"/>
                  </a:lnTo>
                  <a:lnTo>
                    <a:pt x="706" y="246"/>
                  </a:lnTo>
                  <a:lnTo>
                    <a:pt x="712" y="255"/>
                  </a:lnTo>
                  <a:lnTo>
                    <a:pt x="662" y="311"/>
                  </a:lnTo>
                  <a:lnTo>
                    <a:pt x="643" y="311"/>
                  </a:lnTo>
                  <a:lnTo>
                    <a:pt x="643" y="290"/>
                  </a:lnTo>
                  <a:lnTo>
                    <a:pt x="643" y="278"/>
                  </a:lnTo>
                  <a:lnTo>
                    <a:pt x="650" y="267"/>
                  </a:lnTo>
                  <a:lnTo>
                    <a:pt x="657" y="255"/>
                  </a:lnTo>
                  <a:lnTo>
                    <a:pt x="643" y="211"/>
                  </a:lnTo>
                  <a:lnTo>
                    <a:pt x="631" y="221"/>
                  </a:lnTo>
                  <a:lnTo>
                    <a:pt x="637" y="167"/>
                  </a:lnTo>
                  <a:lnTo>
                    <a:pt x="612" y="144"/>
                  </a:lnTo>
                  <a:lnTo>
                    <a:pt x="593" y="190"/>
                  </a:lnTo>
                  <a:lnTo>
                    <a:pt x="588" y="290"/>
                  </a:lnTo>
                  <a:lnTo>
                    <a:pt x="575" y="299"/>
                  </a:lnTo>
                  <a:lnTo>
                    <a:pt x="569" y="246"/>
                  </a:lnTo>
                  <a:lnTo>
                    <a:pt x="581" y="167"/>
                  </a:lnTo>
                  <a:lnTo>
                    <a:pt x="569" y="176"/>
                  </a:lnTo>
                  <a:lnTo>
                    <a:pt x="588" y="144"/>
                  </a:lnTo>
                  <a:lnTo>
                    <a:pt x="631" y="132"/>
                  </a:lnTo>
                  <a:lnTo>
                    <a:pt x="625" y="123"/>
                  </a:lnTo>
                  <a:lnTo>
                    <a:pt x="618" y="123"/>
                  </a:lnTo>
                  <a:lnTo>
                    <a:pt x="562" y="100"/>
                  </a:lnTo>
                  <a:lnTo>
                    <a:pt x="569" y="78"/>
                  </a:lnTo>
                  <a:lnTo>
                    <a:pt x="531" y="111"/>
                  </a:lnTo>
                  <a:lnTo>
                    <a:pt x="506" y="111"/>
                  </a:lnTo>
                  <a:lnTo>
                    <a:pt x="538" y="53"/>
                  </a:lnTo>
                  <a:lnTo>
                    <a:pt x="469" y="23"/>
                  </a:lnTo>
                  <a:lnTo>
                    <a:pt x="456" y="0"/>
                  </a:lnTo>
                  <a:lnTo>
                    <a:pt x="456" y="23"/>
                  </a:lnTo>
                  <a:lnTo>
                    <a:pt x="25" y="23"/>
                  </a:lnTo>
                  <a:lnTo>
                    <a:pt x="38" y="53"/>
                  </a:lnTo>
                  <a:lnTo>
                    <a:pt x="25" y="78"/>
                  </a:lnTo>
                  <a:lnTo>
                    <a:pt x="25" y="5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81" name="Group 829"/>
            <p:cNvGrpSpPr>
              <a:grpSpLocks/>
            </p:cNvGrpSpPr>
            <p:nvPr>
              <p:custDataLst>
                <p:tags r:id="rId675"/>
              </p:custDataLst>
            </p:nvPr>
          </p:nvGrpSpPr>
          <p:grpSpPr bwMode="auto">
            <a:xfrm>
              <a:off x="1384548" y="3140075"/>
              <a:ext cx="1309688" cy="706438"/>
              <a:chOff x="1006" y="1796"/>
              <a:chExt cx="893" cy="445"/>
            </a:xfrm>
            <a:solidFill>
              <a:schemeClr val="tx2"/>
            </a:solidFill>
          </p:grpSpPr>
          <p:sp>
            <p:nvSpPr>
              <p:cNvPr id="983" name="Freeform 830"/>
              <p:cNvSpPr>
                <a:spLocks/>
              </p:cNvSpPr>
              <p:nvPr/>
            </p:nvSpPr>
            <p:spPr bwMode="auto">
              <a:xfrm>
                <a:off x="1006" y="1796"/>
                <a:ext cx="893" cy="445"/>
              </a:xfrm>
              <a:custGeom>
                <a:avLst/>
                <a:gdLst>
                  <a:gd name="T0" fmla="*/ 6 w 893"/>
                  <a:gd name="T1" fmla="*/ 1 h 889"/>
                  <a:gd name="T2" fmla="*/ 12 w 893"/>
                  <a:gd name="T3" fmla="*/ 1 h 889"/>
                  <a:gd name="T4" fmla="*/ 25 w 893"/>
                  <a:gd name="T5" fmla="*/ 1 h 889"/>
                  <a:gd name="T6" fmla="*/ 30 w 893"/>
                  <a:gd name="T7" fmla="*/ 1 h 889"/>
                  <a:gd name="T8" fmla="*/ 94 w 893"/>
                  <a:gd name="T9" fmla="*/ 1 h 889"/>
                  <a:gd name="T10" fmla="*/ 149 w 893"/>
                  <a:gd name="T11" fmla="*/ 1 h 889"/>
                  <a:gd name="T12" fmla="*/ 282 w 893"/>
                  <a:gd name="T13" fmla="*/ 1 h 889"/>
                  <a:gd name="T14" fmla="*/ 356 w 893"/>
                  <a:gd name="T15" fmla="*/ 1 h 889"/>
                  <a:gd name="T16" fmla="*/ 424 w 893"/>
                  <a:gd name="T17" fmla="*/ 1 h 889"/>
                  <a:gd name="T18" fmla="*/ 456 w 893"/>
                  <a:gd name="T19" fmla="*/ 1 h 889"/>
                  <a:gd name="T20" fmla="*/ 506 w 893"/>
                  <a:gd name="T21" fmla="*/ 1 h 889"/>
                  <a:gd name="T22" fmla="*/ 543 w 893"/>
                  <a:gd name="T23" fmla="*/ 1 h 889"/>
                  <a:gd name="T24" fmla="*/ 562 w 893"/>
                  <a:gd name="T25" fmla="*/ 1 h 889"/>
                  <a:gd name="T26" fmla="*/ 569 w 893"/>
                  <a:gd name="T27" fmla="*/ 1 h 889"/>
                  <a:gd name="T28" fmla="*/ 650 w 893"/>
                  <a:gd name="T29" fmla="*/ 1 h 889"/>
                  <a:gd name="T30" fmla="*/ 668 w 893"/>
                  <a:gd name="T31" fmla="*/ 1 h 889"/>
                  <a:gd name="T32" fmla="*/ 687 w 893"/>
                  <a:gd name="T33" fmla="*/ 1 h 889"/>
                  <a:gd name="T34" fmla="*/ 681 w 893"/>
                  <a:gd name="T35" fmla="*/ 1 h 889"/>
                  <a:gd name="T36" fmla="*/ 744 w 893"/>
                  <a:gd name="T37" fmla="*/ 1 h 889"/>
                  <a:gd name="T38" fmla="*/ 750 w 893"/>
                  <a:gd name="T39" fmla="*/ 1 h 889"/>
                  <a:gd name="T40" fmla="*/ 737 w 893"/>
                  <a:gd name="T41" fmla="*/ 1 h 889"/>
                  <a:gd name="T42" fmla="*/ 744 w 893"/>
                  <a:gd name="T43" fmla="*/ 1 h 889"/>
                  <a:gd name="T44" fmla="*/ 756 w 893"/>
                  <a:gd name="T45" fmla="*/ 1 h 889"/>
                  <a:gd name="T46" fmla="*/ 762 w 893"/>
                  <a:gd name="T47" fmla="*/ 1 h 889"/>
                  <a:gd name="T48" fmla="*/ 787 w 893"/>
                  <a:gd name="T49" fmla="*/ 1 h 889"/>
                  <a:gd name="T50" fmla="*/ 831 w 893"/>
                  <a:gd name="T51" fmla="*/ 1 h 889"/>
                  <a:gd name="T52" fmla="*/ 893 w 893"/>
                  <a:gd name="T53" fmla="*/ 1 h 889"/>
                  <a:gd name="T54" fmla="*/ 881 w 893"/>
                  <a:gd name="T55" fmla="*/ 1 h 889"/>
                  <a:gd name="T56" fmla="*/ 856 w 893"/>
                  <a:gd name="T57" fmla="*/ 1 h 889"/>
                  <a:gd name="T58" fmla="*/ 756 w 893"/>
                  <a:gd name="T59" fmla="*/ 1 h 889"/>
                  <a:gd name="T60" fmla="*/ 706 w 893"/>
                  <a:gd name="T61" fmla="*/ 1 h 889"/>
                  <a:gd name="T62" fmla="*/ 662 w 893"/>
                  <a:gd name="T63" fmla="*/ 1 h 889"/>
                  <a:gd name="T64" fmla="*/ 643 w 893"/>
                  <a:gd name="T65" fmla="*/ 1 h 889"/>
                  <a:gd name="T66" fmla="*/ 650 w 893"/>
                  <a:gd name="T67" fmla="*/ 1 h 889"/>
                  <a:gd name="T68" fmla="*/ 643 w 893"/>
                  <a:gd name="T69" fmla="*/ 1 h 889"/>
                  <a:gd name="T70" fmla="*/ 637 w 893"/>
                  <a:gd name="T71" fmla="*/ 1 h 889"/>
                  <a:gd name="T72" fmla="*/ 593 w 893"/>
                  <a:gd name="T73" fmla="*/ 1 h 889"/>
                  <a:gd name="T74" fmla="*/ 575 w 893"/>
                  <a:gd name="T75" fmla="*/ 1 h 889"/>
                  <a:gd name="T76" fmla="*/ 581 w 893"/>
                  <a:gd name="T77" fmla="*/ 1 h 889"/>
                  <a:gd name="T78" fmla="*/ 588 w 893"/>
                  <a:gd name="T79" fmla="*/ 1 h 889"/>
                  <a:gd name="T80" fmla="*/ 625 w 893"/>
                  <a:gd name="T81" fmla="*/ 1 h 889"/>
                  <a:gd name="T82" fmla="*/ 562 w 893"/>
                  <a:gd name="T83" fmla="*/ 1 h 889"/>
                  <a:gd name="T84" fmla="*/ 531 w 893"/>
                  <a:gd name="T85" fmla="*/ 1 h 889"/>
                  <a:gd name="T86" fmla="*/ 538 w 893"/>
                  <a:gd name="T87" fmla="*/ 1 h 889"/>
                  <a:gd name="T88" fmla="*/ 456 w 893"/>
                  <a:gd name="T89" fmla="*/ 0 h 889"/>
                  <a:gd name="T90" fmla="*/ 25 w 893"/>
                  <a:gd name="T91" fmla="*/ 1 h 889"/>
                  <a:gd name="T92" fmla="*/ 25 w 893"/>
                  <a:gd name="T93" fmla="*/ 1 h 889"/>
                  <a:gd name="T94" fmla="*/ 0 w 893"/>
                  <a:gd name="T95" fmla="*/ 1 h 88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893" h="889">
                    <a:moveTo>
                      <a:pt x="0" y="44"/>
                    </a:moveTo>
                    <a:lnTo>
                      <a:pt x="6" y="123"/>
                    </a:lnTo>
                    <a:lnTo>
                      <a:pt x="19" y="132"/>
                    </a:lnTo>
                    <a:lnTo>
                      <a:pt x="12" y="132"/>
                    </a:lnTo>
                    <a:lnTo>
                      <a:pt x="0" y="355"/>
                    </a:lnTo>
                    <a:lnTo>
                      <a:pt x="25" y="443"/>
                    </a:lnTo>
                    <a:lnTo>
                      <a:pt x="38" y="443"/>
                    </a:lnTo>
                    <a:lnTo>
                      <a:pt x="30" y="466"/>
                    </a:lnTo>
                    <a:lnTo>
                      <a:pt x="62" y="566"/>
                    </a:lnTo>
                    <a:lnTo>
                      <a:pt x="94" y="589"/>
                    </a:lnTo>
                    <a:lnTo>
                      <a:pt x="112" y="645"/>
                    </a:lnTo>
                    <a:lnTo>
                      <a:pt x="149" y="633"/>
                    </a:lnTo>
                    <a:lnTo>
                      <a:pt x="213" y="678"/>
                    </a:lnTo>
                    <a:lnTo>
                      <a:pt x="282" y="668"/>
                    </a:lnTo>
                    <a:lnTo>
                      <a:pt x="324" y="756"/>
                    </a:lnTo>
                    <a:lnTo>
                      <a:pt x="356" y="733"/>
                    </a:lnTo>
                    <a:lnTo>
                      <a:pt x="393" y="845"/>
                    </a:lnTo>
                    <a:lnTo>
                      <a:pt x="424" y="866"/>
                    </a:lnTo>
                    <a:lnTo>
                      <a:pt x="424" y="801"/>
                    </a:lnTo>
                    <a:lnTo>
                      <a:pt x="456" y="768"/>
                    </a:lnTo>
                    <a:lnTo>
                      <a:pt x="456" y="733"/>
                    </a:lnTo>
                    <a:lnTo>
                      <a:pt x="506" y="733"/>
                    </a:lnTo>
                    <a:lnTo>
                      <a:pt x="543" y="756"/>
                    </a:lnTo>
                    <a:lnTo>
                      <a:pt x="543" y="722"/>
                    </a:lnTo>
                    <a:lnTo>
                      <a:pt x="531" y="712"/>
                    </a:lnTo>
                    <a:lnTo>
                      <a:pt x="562" y="712"/>
                    </a:lnTo>
                    <a:lnTo>
                      <a:pt x="569" y="699"/>
                    </a:lnTo>
                    <a:lnTo>
                      <a:pt x="569" y="722"/>
                    </a:lnTo>
                    <a:lnTo>
                      <a:pt x="631" y="722"/>
                    </a:lnTo>
                    <a:lnTo>
                      <a:pt x="650" y="756"/>
                    </a:lnTo>
                    <a:lnTo>
                      <a:pt x="650" y="812"/>
                    </a:lnTo>
                    <a:lnTo>
                      <a:pt x="668" y="889"/>
                    </a:lnTo>
                    <a:lnTo>
                      <a:pt x="681" y="889"/>
                    </a:lnTo>
                    <a:lnTo>
                      <a:pt x="687" y="835"/>
                    </a:lnTo>
                    <a:lnTo>
                      <a:pt x="668" y="699"/>
                    </a:lnTo>
                    <a:lnTo>
                      <a:pt x="681" y="633"/>
                    </a:lnTo>
                    <a:lnTo>
                      <a:pt x="756" y="534"/>
                    </a:lnTo>
                    <a:lnTo>
                      <a:pt x="744" y="511"/>
                    </a:lnTo>
                    <a:lnTo>
                      <a:pt x="756" y="511"/>
                    </a:lnTo>
                    <a:lnTo>
                      <a:pt x="750" y="478"/>
                    </a:lnTo>
                    <a:lnTo>
                      <a:pt x="750" y="443"/>
                    </a:lnTo>
                    <a:lnTo>
                      <a:pt x="737" y="422"/>
                    </a:lnTo>
                    <a:lnTo>
                      <a:pt x="750" y="434"/>
                    </a:lnTo>
                    <a:lnTo>
                      <a:pt x="744" y="399"/>
                    </a:lnTo>
                    <a:lnTo>
                      <a:pt x="756" y="388"/>
                    </a:lnTo>
                    <a:lnTo>
                      <a:pt x="756" y="466"/>
                    </a:lnTo>
                    <a:lnTo>
                      <a:pt x="768" y="422"/>
                    </a:lnTo>
                    <a:lnTo>
                      <a:pt x="762" y="378"/>
                    </a:lnTo>
                    <a:lnTo>
                      <a:pt x="768" y="399"/>
                    </a:lnTo>
                    <a:lnTo>
                      <a:pt x="787" y="334"/>
                    </a:lnTo>
                    <a:lnTo>
                      <a:pt x="850" y="299"/>
                    </a:lnTo>
                    <a:lnTo>
                      <a:pt x="831" y="278"/>
                    </a:lnTo>
                    <a:lnTo>
                      <a:pt x="843" y="234"/>
                    </a:lnTo>
                    <a:lnTo>
                      <a:pt x="893" y="190"/>
                    </a:lnTo>
                    <a:lnTo>
                      <a:pt x="893" y="167"/>
                    </a:lnTo>
                    <a:lnTo>
                      <a:pt x="881" y="144"/>
                    </a:lnTo>
                    <a:lnTo>
                      <a:pt x="881" y="100"/>
                    </a:lnTo>
                    <a:lnTo>
                      <a:pt x="856" y="78"/>
                    </a:lnTo>
                    <a:lnTo>
                      <a:pt x="837" y="167"/>
                    </a:lnTo>
                    <a:lnTo>
                      <a:pt x="756" y="199"/>
                    </a:lnTo>
                    <a:lnTo>
                      <a:pt x="750" y="234"/>
                    </a:lnTo>
                    <a:lnTo>
                      <a:pt x="706" y="246"/>
                    </a:lnTo>
                    <a:lnTo>
                      <a:pt x="712" y="255"/>
                    </a:lnTo>
                    <a:lnTo>
                      <a:pt x="662" y="311"/>
                    </a:lnTo>
                    <a:lnTo>
                      <a:pt x="643" y="311"/>
                    </a:lnTo>
                    <a:lnTo>
                      <a:pt x="643" y="290"/>
                    </a:lnTo>
                    <a:lnTo>
                      <a:pt x="643" y="278"/>
                    </a:lnTo>
                    <a:lnTo>
                      <a:pt x="650" y="267"/>
                    </a:lnTo>
                    <a:lnTo>
                      <a:pt x="657" y="255"/>
                    </a:lnTo>
                    <a:lnTo>
                      <a:pt x="643" y="211"/>
                    </a:lnTo>
                    <a:lnTo>
                      <a:pt x="631" y="221"/>
                    </a:lnTo>
                    <a:lnTo>
                      <a:pt x="637" y="167"/>
                    </a:lnTo>
                    <a:lnTo>
                      <a:pt x="612" y="144"/>
                    </a:lnTo>
                    <a:lnTo>
                      <a:pt x="593" y="190"/>
                    </a:lnTo>
                    <a:lnTo>
                      <a:pt x="588" y="290"/>
                    </a:lnTo>
                    <a:lnTo>
                      <a:pt x="575" y="299"/>
                    </a:lnTo>
                    <a:lnTo>
                      <a:pt x="569" y="246"/>
                    </a:lnTo>
                    <a:lnTo>
                      <a:pt x="581" y="167"/>
                    </a:lnTo>
                    <a:lnTo>
                      <a:pt x="569" y="176"/>
                    </a:lnTo>
                    <a:lnTo>
                      <a:pt x="588" y="144"/>
                    </a:lnTo>
                    <a:lnTo>
                      <a:pt x="631" y="132"/>
                    </a:lnTo>
                    <a:lnTo>
                      <a:pt x="625" y="123"/>
                    </a:lnTo>
                    <a:lnTo>
                      <a:pt x="618" y="123"/>
                    </a:lnTo>
                    <a:lnTo>
                      <a:pt x="562" y="100"/>
                    </a:lnTo>
                    <a:lnTo>
                      <a:pt x="569" y="78"/>
                    </a:lnTo>
                    <a:lnTo>
                      <a:pt x="531" y="111"/>
                    </a:lnTo>
                    <a:lnTo>
                      <a:pt x="506" y="111"/>
                    </a:lnTo>
                    <a:lnTo>
                      <a:pt x="538" y="53"/>
                    </a:lnTo>
                    <a:lnTo>
                      <a:pt x="469" y="23"/>
                    </a:lnTo>
                    <a:lnTo>
                      <a:pt x="456" y="0"/>
                    </a:lnTo>
                    <a:lnTo>
                      <a:pt x="456" y="23"/>
                    </a:lnTo>
                    <a:lnTo>
                      <a:pt x="25" y="23"/>
                    </a:lnTo>
                    <a:lnTo>
                      <a:pt x="38" y="53"/>
                    </a:lnTo>
                    <a:lnTo>
                      <a:pt x="25" y="78"/>
                    </a:lnTo>
                    <a:lnTo>
                      <a:pt x="25" y="53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84" name="Freeform 831"/>
              <p:cNvSpPr>
                <a:spLocks/>
              </p:cNvSpPr>
              <p:nvPr/>
            </p:nvSpPr>
            <p:spPr bwMode="auto">
              <a:xfrm>
                <a:off x="1006" y="1796"/>
                <a:ext cx="893" cy="445"/>
              </a:xfrm>
              <a:custGeom>
                <a:avLst/>
                <a:gdLst>
                  <a:gd name="T0" fmla="*/ 6 w 893"/>
                  <a:gd name="T1" fmla="*/ 1 h 889"/>
                  <a:gd name="T2" fmla="*/ 12 w 893"/>
                  <a:gd name="T3" fmla="*/ 1 h 889"/>
                  <a:gd name="T4" fmla="*/ 25 w 893"/>
                  <a:gd name="T5" fmla="*/ 1 h 889"/>
                  <a:gd name="T6" fmla="*/ 30 w 893"/>
                  <a:gd name="T7" fmla="*/ 1 h 889"/>
                  <a:gd name="T8" fmla="*/ 94 w 893"/>
                  <a:gd name="T9" fmla="*/ 1 h 889"/>
                  <a:gd name="T10" fmla="*/ 149 w 893"/>
                  <a:gd name="T11" fmla="*/ 1 h 889"/>
                  <a:gd name="T12" fmla="*/ 282 w 893"/>
                  <a:gd name="T13" fmla="*/ 1 h 889"/>
                  <a:gd name="T14" fmla="*/ 356 w 893"/>
                  <a:gd name="T15" fmla="*/ 1 h 889"/>
                  <a:gd name="T16" fmla="*/ 424 w 893"/>
                  <a:gd name="T17" fmla="*/ 1 h 889"/>
                  <a:gd name="T18" fmla="*/ 456 w 893"/>
                  <a:gd name="T19" fmla="*/ 1 h 889"/>
                  <a:gd name="T20" fmla="*/ 506 w 893"/>
                  <a:gd name="T21" fmla="*/ 1 h 889"/>
                  <a:gd name="T22" fmla="*/ 543 w 893"/>
                  <a:gd name="T23" fmla="*/ 1 h 889"/>
                  <a:gd name="T24" fmla="*/ 562 w 893"/>
                  <a:gd name="T25" fmla="*/ 1 h 889"/>
                  <a:gd name="T26" fmla="*/ 569 w 893"/>
                  <a:gd name="T27" fmla="*/ 1 h 889"/>
                  <a:gd name="T28" fmla="*/ 650 w 893"/>
                  <a:gd name="T29" fmla="*/ 1 h 889"/>
                  <a:gd name="T30" fmla="*/ 668 w 893"/>
                  <a:gd name="T31" fmla="*/ 1 h 889"/>
                  <a:gd name="T32" fmla="*/ 687 w 893"/>
                  <a:gd name="T33" fmla="*/ 1 h 889"/>
                  <a:gd name="T34" fmla="*/ 681 w 893"/>
                  <a:gd name="T35" fmla="*/ 1 h 889"/>
                  <a:gd name="T36" fmla="*/ 744 w 893"/>
                  <a:gd name="T37" fmla="*/ 1 h 889"/>
                  <a:gd name="T38" fmla="*/ 750 w 893"/>
                  <a:gd name="T39" fmla="*/ 1 h 889"/>
                  <a:gd name="T40" fmla="*/ 737 w 893"/>
                  <a:gd name="T41" fmla="*/ 1 h 889"/>
                  <a:gd name="T42" fmla="*/ 744 w 893"/>
                  <a:gd name="T43" fmla="*/ 1 h 889"/>
                  <a:gd name="T44" fmla="*/ 756 w 893"/>
                  <a:gd name="T45" fmla="*/ 1 h 889"/>
                  <a:gd name="T46" fmla="*/ 762 w 893"/>
                  <a:gd name="T47" fmla="*/ 1 h 889"/>
                  <a:gd name="T48" fmla="*/ 787 w 893"/>
                  <a:gd name="T49" fmla="*/ 1 h 889"/>
                  <a:gd name="T50" fmla="*/ 831 w 893"/>
                  <a:gd name="T51" fmla="*/ 1 h 889"/>
                  <a:gd name="T52" fmla="*/ 893 w 893"/>
                  <a:gd name="T53" fmla="*/ 1 h 889"/>
                  <a:gd name="T54" fmla="*/ 881 w 893"/>
                  <a:gd name="T55" fmla="*/ 1 h 889"/>
                  <a:gd name="T56" fmla="*/ 856 w 893"/>
                  <a:gd name="T57" fmla="*/ 1 h 889"/>
                  <a:gd name="T58" fmla="*/ 756 w 893"/>
                  <a:gd name="T59" fmla="*/ 1 h 889"/>
                  <a:gd name="T60" fmla="*/ 706 w 893"/>
                  <a:gd name="T61" fmla="*/ 1 h 889"/>
                  <a:gd name="T62" fmla="*/ 662 w 893"/>
                  <a:gd name="T63" fmla="*/ 1 h 889"/>
                  <a:gd name="T64" fmla="*/ 643 w 893"/>
                  <a:gd name="T65" fmla="*/ 1 h 889"/>
                  <a:gd name="T66" fmla="*/ 650 w 893"/>
                  <a:gd name="T67" fmla="*/ 1 h 889"/>
                  <a:gd name="T68" fmla="*/ 643 w 893"/>
                  <a:gd name="T69" fmla="*/ 1 h 889"/>
                  <a:gd name="T70" fmla="*/ 637 w 893"/>
                  <a:gd name="T71" fmla="*/ 1 h 889"/>
                  <a:gd name="T72" fmla="*/ 593 w 893"/>
                  <a:gd name="T73" fmla="*/ 1 h 889"/>
                  <a:gd name="T74" fmla="*/ 575 w 893"/>
                  <a:gd name="T75" fmla="*/ 1 h 889"/>
                  <a:gd name="T76" fmla="*/ 581 w 893"/>
                  <a:gd name="T77" fmla="*/ 1 h 889"/>
                  <a:gd name="T78" fmla="*/ 588 w 893"/>
                  <a:gd name="T79" fmla="*/ 1 h 889"/>
                  <a:gd name="T80" fmla="*/ 625 w 893"/>
                  <a:gd name="T81" fmla="*/ 1 h 889"/>
                  <a:gd name="T82" fmla="*/ 562 w 893"/>
                  <a:gd name="T83" fmla="*/ 1 h 889"/>
                  <a:gd name="T84" fmla="*/ 531 w 893"/>
                  <a:gd name="T85" fmla="*/ 1 h 889"/>
                  <a:gd name="T86" fmla="*/ 538 w 893"/>
                  <a:gd name="T87" fmla="*/ 1 h 889"/>
                  <a:gd name="T88" fmla="*/ 456 w 893"/>
                  <a:gd name="T89" fmla="*/ 0 h 889"/>
                  <a:gd name="T90" fmla="*/ 25 w 893"/>
                  <a:gd name="T91" fmla="*/ 1 h 889"/>
                  <a:gd name="T92" fmla="*/ 25 w 893"/>
                  <a:gd name="T93" fmla="*/ 1 h 889"/>
                  <a:gd name="T94" fmla="*/ 0 w 893"/>
                  <a:gd name="T95" fmla="*/ 1 h 88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893" h="889">
                    <a:moveTo>
                      <a:pt x="0" y="44"/>
                    </a:moveTo>
                    <a:lnTo>
                      <a:pt x="6" y="123"/>
                    </a:lnTo>
                    <a:lnTo>
                      <a:pt x="19" y="132"/>
                    </a:lnTo>
                    <a:lnTo>
                      <a:pt x="12" y="132"/>
                    </a:lnTo>
                    <a:lnTo>
                      <a:pt x="0" y="355"/>
                    </a:lnTo>
                    <a:lnTo>
                      <a:pt x="25" y="443"/>
                    </a:lnTo>
                    <a:lnTo>
                      <a:pt x="38" y="443"/>
                    </a:lnTo>
                    <a:lnTo>
                      <a:pt x="30" y="466"/>
                    </a:lnTo>
                    <a:lnTo>
                      <a:pt x="62" y="566"/>
                    </a:lnTo>
                    <a:lnTo>
                      <a:pt x="94" y="589"/>
                    </a:lnTo>
                    <a:lnTo>
                      <a:pt x="112" y="645"/>
                    </a:lnTo>
                    <a:lnTo>
                      <a:pt x="149" y="633"/>
                    </a:lnTo>
                    <a:lnTo>
                      <a:pt x="213" y="678"/>
                    </a:lnTo>
                    <a:lnTo>
                      <a:pt x="282" y="668"/>
                    </a:lnTo>
                    <a:lnTo>
                      <a:pt x="324" y="756"/>
                    </a:lnTo>
                    <a:lnTo>
                      <a:pt x="356" y="733"/>
                    </a:lnTo>
                    <a:lnTo>
                      <a:pt x="393" y="845"/>
                    </a:lnTo>
                    <a:lnTo>
                      <a:pt x="424" y="866"/>
                    </a:lnTo>
                    <a:lnTo>
                      <a:pt x="424" y="801"/>
                    </a:lnTo>
                    <a:lnTo>
                      <a:pt x="456" y="768"/>
                    </a:lnTo>
                    <a:lnTo>
                      <a:pt x="456" y="733"/>
                    </a:lnTo>
                    <a:lnTo>
                      <a:pt x="506" y="733"/>
                    </a:lnTo>
                    <a:lnTo>
                      <a:pt x="543" y="756"/>
                    </a:lnTo>
                    <a:lnTo>
                      <a:pt x="543" y="722"/>
                    </a:lnTo>
                    <a:lnTo>
                      <a:pt x="531" y="712"/>
                    </a:lnTo>
                    <a:lnTo>
                      <a:pt x="562" y="712"/>
                    </a:lnTo>
                    <a:lnTo>
                      <a:pt x="569" y="699"/>
                    </a:lnTo>
                    <a:lnTo>
                      <a:pt x="569" y="722"/>
                    </a:lnTo>
                    <a:lnTo>
                      <a:pt x="631" y="722"/>
                    </a:lnTo>
                    <a:lnTo>
                      <a:pt x="650" y="756"/>
                    </a:lnTo>
                    <a:lnTo>
                      <a:pt x="650" y="812"/>
                    </a:lnTo>
                    <a:lnTo>
                      <a:pt x="668" y="889"/>
                    </a:lnTo>
                    <a:lnTo>
                      <a:pt x="681" y="889"/>
                    </a:lnTo>
                    <a:lnTo>
                      <a:pt x="687" y="835"/>
                    </a:lnTo>
                    <a:lnTo>
                      <a:pt x="668" y="699"/>
                    </a:lnTo>
                    <a:lnTo>
                      <a:pt x="681" y="633"/>
                    </a:lnTo>
                    <a:lnTo>
                      <a:pt x="756" y="534"/>
                    </a:lnTo>
                    <a:lnTo>
                      <a:pt x="744" y="511"/>
                    </a:lnTo>
                    <a:lnTo>
                      <a:pt x="756" y="511"/>
                    </a:lnTo>
                    <a:lnTo>
                      <a:pt x="750" y="478"/>
                    </a:lnTo>
                    <a:lnTo>
                      <a:pt x="750" y="443"/>
                    </a:lnTo>
                    <a:lnTo>
                      <a:pt x="737" y="422"/>
                    </a:lnTo>
                    <a:lnTo>
                      <a:pt x="750" y="434"/>
                    </a:lnTo>
                    <a:lnTo>
                      <a:pt x="744" y="399"/>
                    </a:lnTo>
                    <a:lnTo>
                      <a:pt x="756" y="388"/>
                    </a:lnTo>
                    <a:lnTo>
                      <a:pt x="756" y="466"/>
                    </a:lnTo>
                    <a:lnTo>
                      <a:pt x="768" y="422"/>
                    </a:lnTo>
                    <a:lnTo>
                      <a:pt x="762" y="378"/>
                    </a:lnTo>
                    <a:lnTo>
                      <a:pt x="768" y="399"/>
                    </a:lnTo>
                    <a:lnTo>
                      <a:pt x="787" y="334"/>
                    </a:lnTo>
                    <a:lnTo>
                      <a:pt x="850" y="299"/>
                    </a:lnTo>
                    <a:lnTo>
                      <a:pt x="831" y="278"/>
                    </a:lnTo>
                    <a:lnTo>
                      <a:pt x="843" y="234"/>
                    </a:lnTo>
                    <a:lnTo>
                      <a:pt x="893" y="190"/>
                    </a:lnTo>
                    <a:lnTo>
                      <a:pt x="893" y="167"/>
                    </a:lnTo>
                    <a:lnTo>
                      <a:pt x="881" y="144"/>
                    </a:lnTo>
                    <a:lnTo>
                      <a:pt x="881" y="100"/>
                    </a:lnTo>
                    <a:lnTo>
                      <a:pt x="856" y="78"/>
                    </a:lnTo>
                    <a:lnTo>
                      <a:pt x="837" y="167"/>
                    </a:lnTo>
                    <a:lnTo>
                      <a:pt x="756" y="199"/>
                    </a:lnTo>
                    <a:lnTo>
                      <a:pt x="750" y="234"/>
                    </a:lnTo>
                    <a:lnTo>
                      <a:pt x="706" y="246"/>
                    </a:lnTo>
                    <a:lnTo>
                      <a:pt x="712" y="255"/>
                    </a:lnTo>
                    <a:lnTo>
                      <a:pt x="662" y="311"/>
                    </a:lnTo>
                    <a:lnTo>
                      <a:pt x="643" y="311"/>
                    </a:lnTo>
                    <a:lnTo>
                      <a:pt x="643" y="290"/>
                    </a:lnTo>
                    <a:lnTo>
                      <a:pt x="643" y="278"/>
                    </a:lnTo>
                    <a:lnTo>
                      <a:pt x="650" y="267"/>
                    </a:lnTo>
                    <a:lnTo>
                      <a:pt x="657" y="255"/>
                    </a:lnTo>
                    <a:lnTo>
                      <a:pt x="643" y="211"/>
                    </a:lnTo>
                    <a:lnTo>
                      <a:pt x="631" y="221"/>
                    </a:lnTo>
                    <a:lnTo>
                      <a:pt x="637" y="167"/>
                    </a:lnTo>
                    <a:lnTo>
                      <a:pt x="612" y="144"/>
                    </a:lnTo>
                    <a:lnTo>
                      <a:pt x="593" y="190"/>
                    </a:lnTo>
                    <a:lnTo>
                      <a:pt x="588" y="290"/>
                    </a:lnTo>
                    <a:lnTo>
                      <a:pt x="575" y="299"/>
                    </a:lnTo>
                    <a:lnTo>
                      <a:pt x="569" y="246"/>
                    </a:lnTo>
                    <a:lnTo>
                      <a:pt x="581" y="167"/>
                    </a:lnTo>
                    <a:lnTo>
                      <a:pt x="569" y="176"/>
                    </a:lnTo>
                    <a:lnTo>
                      <a:pt x="588" y="144"/>
                    </a:lnTo>
                    <a:lnTo>
                      <a:pt x="631" y="132"/>
                    </a:lnTo>
                    <a:lnTo>
                      <a:pt x="625" y="123"/>
                    </a:lnTo>
                    <a:lnTo>
                      <a:pt x="618" y="123"/>
                    </a:lnTo>
                    <a:lnTo>
                      <a:pt x="562" y="100"/>
                    </a:lnTo>
                    <a:lnTo>
                      <a:pt x="569" y="78"/>
                    </a:lnTo>
                    <a:lnTo>
                      <a:pt x="531" y="111"/>
                    </a:lnTo>
                    <a:lnTo>
                      <a:pt x="506" y="111"/>
                    </a:lnTo>
                    <a:lnTo>
                      <a:pt x="538" y="53"/>
                    </a:lnTo>
                    <a:lnTo>
                      <a:pt x="469" y="23"/>
                    </a:lnTo>
                    <a:lnTo>
                      <a:pt x="456" y="0"/>
                    </a:lnTo>
                    <a:lnTo>
                      <a:pt x="456" y="23"/>
                    </a:lnTo>
                    <a:lnTo>
                      <a:pt x="25" y="23"/>
                    </a:lnTo>
                    <a:lnTo>
                      <a:pt x="38" y="53"/>
                    </a:lnTo>
                    <a:lnTo>
                      <a:pt x="25" y="78"/>
                    </a:lnTo>
                    <a:lnTo>
                      <a:pt x="25" y="53"/>
                    </a:lnTo>
                    <a:lnTo>
                      <a:pt x="0" y="44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82" name="Freeform 832"/>
            <p:cNvSpPr>
              <a:spLocks/>
            </p:cNvSpPr>
            <p:nvPr>
              <p:custDataLst>
                <p:tags r:id="rId676"/>
              </p:custDataLst>
            </p:nvPr>
          </p:nvSpPr>
          <p:spPr bwMode="auto">
            <a:xfrm>
              <a:off x="8690223" y="2627313"/>
              <a:ext cx="74613" cy="26987"/>
            </a:xfrm>
            <a:custGeom>
              <a:avLst/>
              <a:gdLst>
                <a:gd name="T0" fmla="*/ 0 w 51"/>
                <a:gd name="T1" fmla="*/ 2147483647 h 35"/>
                <a:gd name="T2" fmla="*/ 2147483647 w 51"/>
                <a:gd name="T3" fmla="*/ 0 h 35"/>
                <a:gd name="T4" fmla="*/ 2147483647 w 51"/>
                <a:gd name="T5" fmla="*/ 2147483647 h 35"/>
                <a:gd name="T6" fmla="*/ 2147483647 w 51"/>
                <a:gd name="T7" fmla="*/ 2147483647 h 35"/>
                <a:gd name="T8" fmla="*/ 0 w 51"/>
                <a:gd name="T9" fmla="*/ 2147483647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35">
                  <a:moveTo>
                    <a:pt x="0" y="12"/>
                  </a:moveTo>
                  <a:lnTo>
                    <a:pt x="33" y="0"/>
                  </a:lnTo>
                  <a:lnTo>
                    <a:pt x="51" y="12"/>
                  </a:lnTo>
                  <a:lnTo>
                    <a:pt x="45" y="3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83" name="Freeform 833"/>
            <p:cNvSpPr>
              <a:spLocks/>
            </p:cNvSpPr>
            <p:nvPr>
              <p:custDataLst>
                <p:tags r:id="rId677"/>
              </p:custDataLst>
            </p:nvPr>
          </p:nvSpPr>
          <p:spPr bwMode="auto">
            <a:xfrm>
              <a:off x="8690223" y="2627313"/>
              <a:ext cx="74613" cy="26987"/>
            </a:xfrm>
            <a:custGeom>
              <a:avLst/>
              <a:gdLst>
                <a:gd name="T0" fmla="*/ 0 w 51"/>
                <a:gd name="T1" fmla="*/ 2147483647 h 35"/>
                <a:gd name="T2" fmla="*/ 2147483647 w 51"/>
                <a:gd name="T3" fmla="*/ 0 h 35"/>
                <a:gd name="T4" fmla="*/ 2147483647 w 51"/>
                <a:gd name="T5" fmla="*/ 2147483647 h 35"/>
                <a:gd name="T6" fmla="*/ 2147483647 w 51"/>
                <a:gd name="T7" fmla="*/ 2147483647 h 35"/>
                <a:gd name="T8" fmla="*/ 0 w 51"/>
                <a:gd name="T9" fmla="*/ 2147483647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35">
                  <a:moveTo>
                    <a:pt x="0" y="12"/>
                  </a:moveTo>
                  <a:lnTo>
                    <a:pt x="33" y="0"/>
                  </a:lnTo>
                  <a:lnTo>
                    <a:pt x="51" y="12"/>
                  </a:lnTo>
                  <a:lnTo>
                    <a:pt x="45" y="35"/>
                  </a:lnTo>
                  <a:lnTo>
                    <a:pt x="0" y="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84" name="Freeform 834"/>
            <p:cNvSpPr>
              <a:spLocks/>
            </p:cNvSpPr>
            <p:nvPr>
              <p:custDataLst>
                <p:tags r:id="rId678"/>
              </p:custDataLst>
            </p:nvPr>
          </p:nvSpPr>
          <p:spPr bwMode="auto">
            <a:xfrm>
              <a:off x="8690223" y="2627313"/>
              <a:ext cx="74613" cy="26987"/>
            </a:xfrm>
            <a:custGeom>
              <a:avLst/>
              <a:gdLst>
                <a:gd name="T0" fmla="*/ 0 w 51"/>
                <a:gd name="T1" fmla="*/ 2147483647 h 35"/>
                <a:gd name="T2" fmla="*/ 2147483647 w 51"/>
                <a:gd name="T3" fmla="*/ 0 h 35"/>
                <a:gd name="T4" fmla="*/ 2147483647 w 51"/>
                <a:gd name="T5" fmla="*/ 2147483647 h 35"/>
                <a:gd name="T6" fmla="*/ 2147483647 w 51"/>
                <a:gd name="T7" fmla="*/ 2147483647 h 35"/>
                <a:gd name="T8" fmla="*/ 0 w 51"/>
                <a:gd name="T9" fmla="*/ 2147483647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35">
                  <a:moveTo>
                    <a:pt x="0" y="12"/>
                  </a:moveTo>
                  <a:lnTo>
                    <a:pt x="33" y="0"/>
                  </a:lnTo>
                  <a:lnTo>
                    <a:pt x="51" y="12"/>
                  </a:lnTo>
                  <a:lnTo>
                    <a:pt x="45" y="3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85" name="Freeform 835"/>
            <p:cNvSpPr>
              <a:spLocks/>
            </p:cNvSpPr>
            <p:nvPr>
              <p:custDataLst>
                <p:tags r:id="rId679"/>
              </p:custDataLst>
            </p:nvPr>
          </p:nvSpPr>
          <p:spPr bwMode="auto">
            <a:xfrm>
              <a:off x="8690223" y="2627313"/>
              <a:ext cx="74613" cy="26987"/>
            </a:xfrm>
            <a:custGeom>
              <a:avLst/>
              <a:gdLst>
                <a:gd name="T0" fmla="*/ 0 w 51"/>
                <a:gd name="T1" fmla="*/ 2147483647 h 35"/>
                <a:gd name="T2" fmla="*/ 2147483647 w 51"/>
                <a:gd name="T3" fmla="*/ 0 h 35"/>
                <a:gd name="T4" fmla="*/ 2147483647 w 51"/>
                <a:gd name="T5" fmla="*/ 2147483647 h 35"/>
                <a:gd name="T6" fmla="*/ 2147483647 w 51"/>
                <a:gd name="T7" fmla="*/ 2147483647 h 35"/>
                <a:gd name="T8" fmla="*/ 0 w 51"/>
                <a:gd name="T9" fmla="*/ 2147483647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35">
                  <a:moveTo>
                    <a:pt x="0" y="12"/>
                  </a:moveTo>
                  <a:lnTo>
                    <a:pt x="33" y="0"/>
                  </a:lnTo>
                  <a:lnTo>
                    <a:pt x="51" y="12"/>
                  </a:lnTo>
                  <a:lnTo>
                    <a:pt x="45" y="35"/>
                  </a:lnTo>
                  <a:lnTo>
                    <a:pt x="0" y="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86" name="Freeform 836"/>
            <p:cNvSpPr>
              <a:spLocks/>
            </p:cNvSpPr>
            <p:nvPr>
              <p:custDataLst>
                <p:tags r:id="rId680"/>
              </p:custDataLst>
            </p:nvPr>
          </p:nvSpPr>
          <p:spPr bwMode="auto">
            <a:xfrm>
              <a:off x="2887911" y="5280025"/>
              <a:ext cx="119062" cy="141288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0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2147483647 h 179"/>
                <a:gd name="T14" fmla="*/ 0 w 81"/>
                <a:gd name="T15" fmla="*/ 2147483647 h 1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1" h="179">
                  <a:moveTo>
                    <a:pt x="0" y="144"/>
                  </a:moveTo>
                  <a:lnTo>
                    <a:pt x="19" y="10"/>
                  </a:lnTo>
                  <a:lnTo>
                    <a:pt x="24" y="0"/>
                  </a:lnTo>
                  <a:lnTo>
                    <a:pt x="74" y="66"/>
                  </a:lnTo>
                  <a:lnTo>
                    <a:pt x="81" y="100"/>
                  </a:lnTo>
                  <a:lnTo>
                    <a:pt x="81" y="135"/>
                  </a:lnTo>
                  <a:lnTo>
                    <a:pt x="55" y="179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87" name="Freeform 837"/>
            <p:cNvSpPr>
              <a:spLocks/>
            </p:cNvSpPr>
            <p:nvPr>
              <p:custDataLst>
                <p:tags r:id="rId681"/>
              </p:custDataLst>
            </p:nvPr>
          </p:nvSpPr>
          <p:spPr bwMode="auto">
            <a:xfrm>
              <a:off x="2887911" y="5280025"/>
              <a:ext cx="119062" cy="141288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0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2147483647 h 179"/>
                <a:gd name="T14" fmla="*/ 0 w 81"/>
                <a:gd name="T15" fmla="*/ 2147483647 h 1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1" h="179">
                  <a:moveTo>
                    <a:pt x="0" y="144"/>
                  </a:moveTo>
                  <a:lnTo>
                    <a:pt x="19" y="10"/>
                  </a:lnTo>
                  <a:lnTo>
                    <a:pt x="24" y="0"/>
                  </a:lnTo>
                  <a:lnTo>
                    <a:pt x="74" y="66"/>
                  </a:lnTo>
                  <a:lnTo>
                    <a:pt x="81" y="100"/>
                  </a:lnTo>
                  <a:lnTo>
                    <a:pt x="81" y="135"/>
                  </a:lnTo>
                  <a:lnTo>
                    <a:pt x="55" y="179"/>
                  </a:lnTo>
                  <a:lnTo>
                    <a:pt x="0" y="1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88" name="Freeform 838"/>
            <p:cNvSpPr>
              <a:spLocks/>
            </p:cNvSpPr>
            <p:nvPr>
              <p:custDataLst>
                <p:tags r:id="rId682"/>
              </p:custDataLst>
            </p:nvPr>
          </p:nvSpPr>
          <p:spPr bwMode="auto">
            <a:xfrm>
              <a:off x="2887911" y="5280025"/>
              <a:ext cx="119062" cy="141288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0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2147483647 h 179"/>
                <a:gd name="T14" fmla="*/ 0 w 81"/>
                <a:gd name="T15" fmla="*/ 2147483647 h 1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1" h="179">
                  <a:moveTo>
                    <a:pt x="0" y="144"/>
                  </a:moveTo>
                  <a:lnTo>
                    <a:pt x="19" y="10"/>
                  </a:lnTo>
                  <a:lnTo>
                    <a:pt x="24" y="0"/>
                  </a:lnTo>
                  <a:lnTo>
                    <a:pt x="74" y="66"/>
                  </a:lnTo>
                  <a:lnTo>
                    <a:pt x="81" y="100"/>
                  </a:lnTo>
                  <a:lnTo>
                    <a:pt x="81" y="135"/>
                  </a:lnTo>
                  <a:lnTo>
                    <a:pt x="55" y="179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89" name="Freeform 839"/>
            <p:cNvSpPr>
              <a:spLocks/>
            </p:cNvSpPr>
            <p:nvPr>
              <p:custDataLst>
                <p:tags r:id="rId683"/>
              </p:custDataLst>
            </p:nvPr>
          </p:nvSpPr>
          <p:spPr bwMode="auto">
            <a:xfrm>
              <a:off x="2887911" y="5280025"/>
              <a:ext cx="119062" cy="141288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0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2147483647 h 179"/>
                <a:gd name="T14" fmla="*/ 0 w 81"/>
                <a:gd name="T15" fmla="*/ 2147483647 h 1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1" h="179">
                  <a:moveTo>
                    <a:pt x="0" y="144"/>
                  </a:moveTo>
                  <a:lnTo>
                    <a:pt x="19" y="10"/>
                  </a:lnTo>
                  <a:lnTo>
                    <a:pt x="24" y="0"/>
                  </a:lnTo>
                  <a:lnTo>
                    <a:pt x="74" y="66"/>
                  </a:lnTo>
                  <a:lnTo>
                    <a:pt x="81" y="100"/>
                  </a:lnTo>
                  <a:lnTo>
                    <a:pt x="81" y="135"/>
                  </a:lnTo>
                  <a:lnTo>
                    <a:pt x="55" y="179"/>
                  </a:lnTo>
                  <a:lnTo>
                    <a:pt x="0" y="1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90" name="Freeform 840"/>
            <p:cNvSpPr>
              <a:spLocks/>
            </p:cNvSpPr>
            <p:nvPr>
              <p:custDataLst>
                <p:tags r:id="rId684"/>
              </p:custDataLst>
            </p:nvPr>
          </p:nvSpPr>
          <p:spPr bwMode="auto">
            <a:xfrm>
              <a:off x="2557711" y="4191000"/>
              <a:ext cx="303212" cy="292100"/>
            </a:xfrm>
            <a:custGeom>
              <a:avLst/>
              <a:gdLst>
                <a:gd name="T0" fmla="*/ 0 w 207"/>
                <a:gd name="T1" fmla="*/ 2147483647 h 369"/>
                <a:gd name="T2" fmla="*/ 2147483647 w 207"/>
                <a:gd name="T3" fmla="*/ 2147483647 h 369"/>
                <a:gd name="T4" fmla="*/ 2147483647 w 207"/>
                <a:gd name="T5" fmla="*/ 2147483647 h 369"/>
                <a:gd name="T6" fmla="*/ 2147483647 w 207"/>
                <a:gd name="T7" fmla="*/ 2147483647 h 369"/>
                <a:gd name="T8" fmla="*/ 2147483647 w 207"/>
                <a:gd name="T9" fmla="*/ 2147483647 h 369"/>
                <a:gd name="T10" fmla="*/ 2147483647 w 207"/>
                <a:gd name="T11" fmla="*/ 2147483647 h 369"/>
                <a:gd name="T12" fmla="*/ 2147483647 w 207"/>
                <a:gd name="T13" fmla="*/ 2147483647 h 369"/>
                <a:gd name="T14" fmla="*/ 2147483647 w 207"/>
                <a:gd name="T15" fmla="*/ 2147483647 h 369"/>
                <a:gd name="T16" fmla="*/ 2147483647 w 207"/>
                <a:gd name="T17" fmla="*/ 2147483647 h 369"/>
                <a:gd name="T18" fmla="*/ 2147483647 w 207"/>
                <a:gd name="T19" fmla="*/ 2147483647 h 369"/>
                <a:gd name="T20" fmla="*/ 2147483647 w 207"/>
                <a:gd name="T21" fmla="*/ 2147483647 h 369"/>
                <a:gd name="T22" fmla="*/ 2147483647 w 207"/>
                <a:gd name="T23" fmla="*/ 2147483647 h 369"/>
                <a:gd name="T24" fmla="*/ 2147483647 w 207"/>
                <a:gd name="T25" fmla="*/ 2147483647 h 369"/>
                <a:gd name="T26" fmla="*/ 2147483647 w 207"/>
                <a:gd name="T27" fmla="*/ 2147483647 h 369"/>
                <a:gd name="T28" fmla="*/ 2147483647 w 207"/>
                <a:gd name="T29" fmla="*/ 2147483647 h 369"/>
                <a:gd name="T30" fmla="*/ 2147483647 w 207"/>
                <a:gd name="T31" fmla="*/ 2147483647 h 369"/>
                <a:gd name="T32" fmla="*/ 2147483647 w 207"/>
                <a:gd name="T33" fmla="*/ 2147483647 h 369"/>
                <a:gd name="T34" fmla="*/ 2147483647 w 207"/>
                <a:gd name="T35" fmla="*/ 2147483647 h 369"/>
                <a:gd name="T36" fmla="*/ 2147483647 w 207"/>
                <a:gd name="T37" fmla="*/ 2147483647 h 369"/>
                <a:gd name="T38" fmla="*/ 2147483647 w 207"/>
                <a:gd name="T39" fmla="*/ 2147483647 h 369"/>
                <a:gd name="T40" fmla="*/ 2147483647 w 207"/>
                <a:gd name="T41" fmla="*/ 2147483647 h 369"/>
                <a:gd name="T42" fmla="*/ 2147483647 w 207"/>
                <a:gd name="T43" fmla="*/ 2147483647 h 369"/>
                <a:gd name="T44" fmla="*/ 2147483647 w 207"/>
                <a:gd name="T45" fmla="*/ 0 h 369"/>
                <a:gd name="T46" fmla="*/ 2147483647 w 207"/>
                <a:gd name="T47" fmla="*/ 2147483647 h 369"/>
                <a:gd name="T48" fmla="*/ 2147483647 w 207"/>
                <a:gd name="T49" fmla="*/ 2147483647 h 369"/>
                <a:gd name="T50" fmla="*/ 2147483647 w 207"/>
                <a:gd name="T51" fmla="*/ 2147483647 h 369"/>
                <a:gd name="T52" fmla="*/ 2147483647 w 207"/>
                <a:gd name="T53" fmla="*/ 2147483647 h 369"/>
                <a:gd name="T54" fmla="*/ 2147483647 w 207"/>
                <a:gd name="T55" fmla="*/ 2147483647 h 369"/>
                <a:gd name="T56" fmla="*/ 2147483647 w 207"/>
                <a:gd name="T57" fmla="*/ 2147483647 h 369"/>
                <a:gd name="T58" fmla="*/ 0 w 207"/>
                <a:gd name="T59" fmla="*/ 2147483647 h 36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7" h="369">
                  <a:moveTo>
                    <a:pt x="0" y="100"/>
                  </a:moveTo>
                  <a:lnTo>
                    <a:pt x="18" y="157"/>
                  </a:lnTo>
                  <a:lnTo>
                    <a:pt x="50" y="167"/>
                  </a:lnTo>
                  <a:lnTo>
                    <a:pt x="56" y="190"/>
                  </a:lnTo>
                  <a:lnTo>
                    <a:pt x="87" y="190"/>
                  </a:lnTo>
                  <a:lnTo>
                    <a:pt x="82" y="301"/>
                  </a:lnTo>
                  <a:lnTo>
                    <a:pt x="101" y="346"/>
                  </a:lnTo>
                  <a:lnTo>
                    <a:pt x="112" y="369"/>
                  </a:lnTo>
                  <a:lnTo>
                    <a:pt x="151" y="323"/>
                  </a:lnTo>
                  <a:lnTo>
                    <a:pt x="138" y="313"/>
                  </a:lnTo>
                  <a:lnTo>
                    <a:pt x="131" y="257"/>
                  </a:lnTo>
                  <a:lnTo>
                    <a:pt x="157" y="267"/>
                  </a:lnTo>
                  <a:lnTo>
                    <a:pt x="195" y="223"/>
                  </a:lnTo>
                  <a:lnTo>
                    <a:pt x="181" y="190"/>
                  </a:lnTo>
                  <a:lnTo>
                    <a:pt x="200" y="167"/>
                  </a:lnTo>
                  <a:lnTo>
                    <a:pt x="188" y="144"/>
                  </a:lnTo>
                  <a:lnTo>
                    <a:pt x="207" y="123"/>
                  </a:lnTo>
                  <a:lnTo>
                    <a:pt x="188" y="123"/>
                  </a:lnTo>
                  <a:lnTo>
                    <a:pt x="188" y="90"/>
                  </a:lnTo>
                  <a:lnTo>
                    <a:pt x="157" y="56"/>
                  </a:lnTo>
                  <a:lnTo>
                    <a:pt x="170" y="46"/>
                  </a:lnTo>
                  <a:lnTo>
                    <a:pt x="82" y="56"/>
                  </a:lnTo>
                  <a:lnTo>
                    <a:pt x="50" y="0"/>
                  </a:lnTo>
                  <a:lnTo>
                    <a:pt x="50" y="23"/>
                  </a:lnTo>
                  <a:lnTo>
                    <a:pt x="25" y="46"/>
                  </a:lnTo>
                  <a:lnTo>
                    <a:pt x="32" y="90"/>
                  </a:lnTo>
                  <a:lnTo>
                    <a:pt x="25" y="100"/>
                  </a:lnTo>
                  <a:lnTo>
                    <a:pt x="18" y="69"/>
                  </a:lnTo>
                  <a:lnTo>
                    <a:pt x="25" y="11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91" name="Group 841"/>
            <p:cNvGrpSpPr>
              <a:grpSpLocks/>
            </p:cNvGrpSpPr>
            <p:nvPr>
              <p:custDataLst>
                <p:tags r:id="rId685"/>
              </p:custDataLst>
            </p:nvPr>
          </p:nvGrpSpPr>
          <p:grpSpPr bwMode="auto">
            <a:xfrm>
              <a:off x="2557711" y="4191000"/>
              <a:ext cx="303212" cy="292100"/>
              <a:chOff x="1806" y="2458"/>
              <a:chExt cx="207" cy="184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81" name="Freeform 842"/>
              <p:cNvSpPr>
                <a:spLocks/>
              </p:cNvSpPr>
              <p:nvPr/>
            </p:nvSpPr>
            <p:spPr bwMode="auto">
              <a:xfrm>
                <a:off x="1806" y="2458"/>
                <a:ext cx="207" cy="184"/>
              </a:xfrm>
              <a:custGeom>
                <a:avLst/>
                <a:gdLst>
                  <a:gd name="T0" fmla="*/ 0 w 207"/>
                  <a:gd name="T1" fmla="*/ 0 h 369"/>
                  <a:gd name="T2" fmla="*/ 18 w 207"/>
                  <a:gd name="T3" fmla="*/ 0 h 369"/>
                  <a:gd name="T4" fmla="*/ 50 w 207"/>
                  <a:gd name="T5" fmla="*/ 0 h 369"/>
                  <a:gd name="T6" fmla="*/ 56 w 207"/>
                  <a:gd name="T7" fmla="*/ 0 h 369"/>
                  <a:gd name="T8" fmla="*/ 87 w 207"/>
                  <a:gd name="T9" fmla="*/ 0 h 369"/>
                  <a:gd name="T10" fmla="*/ 82 w 207"/>
                  <a:gd name="T11" fmla="*/ 0 h 369"/>
                  <a:gd name="T12" fmla="*/ 101 w 207"/>
                  <a:gd name="T13" fmla="*/ 0 h 369"/>
                  <a:gd name="T14" fmla="*/ 112 w 207"/>
                  <a:gd name="T15" fmla="*/ 0 h 369"/>
                  <a:gd name="T16" fmla="*/ 151 w 207"/>
                  <a:gd name="T17" fmla="*/ 0 h 369"/>
                  <a:gd name="T18" fmla="*/ 138 w 207"/>
                  <a:gd name="T19" fmla="*/ 0 h 369"/>
                  <a:gd name="T20" fmla="*/ 131 w 207"/>
                  <a:gd name="T21" fmla="*/ 0 h 369"/>
                  <a:gd name="T22" fmla="*/ 157 w 207"/>
                  <a:gd name="T23" fmla="*/ 0 h 369"/>
                  <a:gd name="T24" fmla="*/ 195 w 207"/>
                  <a:gd name="T25" fmla="*/ 0 h 369"/>
                  <a:gd name="T26" fmla="*/ 181 w 207"/>
                  <a:gd name="T27" fmla="*/ 0 h 369"/>
                  <a:gd name="T28" fmla="*/ 200 w 207"/>
                  <a:gd name="T29" fmla="*/ 0 h 369"/>
                  <a:gd name="T30" fmla="*/ 188 w 207"/>
                  <a:gd name="T31" fmla="*/ 0 h 369"/>
                  <a:gd name="T32" fmla="*/ 207 w 207"/>
                  <a:gd name="T33" fmla="*/ 0 h 369"/>
                  <a:gd name="T34" fmla="*/ 188 w 207"/>
                  <a:gd name="T35" fmla="*/ 0 h 369"/>
                  <a:gd name="T36" fmla="*/ 188 w 207"/>
                  <a:gd name="T37" fmla="*/ 0 h 369"/>
                  <a:gd name="T38" fmla="*/ 157 w 207"/>
                  <a:gd name="T39" fmla="*/ 0 h 369"/>
                  <a:gd name="T40" fmla="*/ 170 w 207"/>
                  <a:gd name="T41" fmla="*/ 0 h 369"/>
                  <a:gd name="T42" fmla="*/ 82 w 207"/>
                  <a:gd name="T43" fmla="*/ 0 h 369"/>
                  <a:gd name="T44" fmla="*/ 50 w 207"/>
                  <a:gd name="T45" fmla="*/ 0 h 369"/>
                  <a:gd name="T46" fmla="*/ 50 w 207"/>
                  <a:gd name="T47" fmla="*/ 0 h 369"/>
                  <a:gd name="T48" fmla="*/ 25 w 207"/>
                  <a:gd name="T49" fmla="*/ 0 h 369"/>
                  <a:gd name="T50" fmla="*/ 32 w 207"/>
                  <a:gd name="T51" fmla="*/ 0 h 369"/>
                  <a:gd name="T52" fmla="*/ 25 w 207"/>
                  <a:gd name="T53" fmla="*/ 0 h 369"/>
                  <a:gd name="T54" fmla="*/ 18 w 207"/>
                  <a:gd name="T55" fmla="*/ 0 h 369"/>
                  <a:gd name="T56" fmla="*/ 25 w 207"/>
                  <a:gd name="T57" fmla="*/ 0 h 369"/>
                  <a:gd name="T58" fmla="*/ 0 w 207"/>
                  <a:gd name="T59" fmla="*/ 0 h 36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207" h="369">
                    <a:moveTo>
                      <a:pt x="0" y="100"/>
                    </a:moveTo>
                    <a:lnTo>
                      <a:pt x="18" y="157"/>
                    </a:lnTo>
                    <a:lnTo>
                      <a:pt x="50" y="167"/>
                    </a:lnTo>
                    <a:lnTo>
                      <a:pt x="56" y="190"/>
                    </a:lnTo>
                    <a:lnTo>
                      <a:pt x="87" y="190"/>
                    </a:lnTo>
                    <a:lnTo>
                      <a:pt x="82" y="301"/>
                    </a:lnTo>
                    <a:lnTo>
                      <a:pt x="101" y="346"/>
                    </a:lnTo>
                    <a:lnTo>
                      <a:pt x="112" y="369"/>
                    </a:lnTo>
                    <a:lnTo>
                      <a:pt x="151" y="323"/>
                    </a:lnTo>
                    <a:lnTo>
                      <a:pt x="138" y="313"/>
                    </a:lnTo>
                    <a:lnTo>
                      <a:pt x="131" y="257"/>
                    </a:lnTo>
                    <a:lnTo>
                      <a:pt x="157" y="267"/>
                    </a:lnTo>
                    <a:lnTo>
                      <a:pt x="195" y="223"/>
                    </a:lnTo>
                    <a:lnTo>
                      <a:pt x="181" y="190"/>
                    </a:lnTo>
                    <a:lnTo>
                      <a:pt x="200" y="167"/>
                    </a:lnTo>
                    <a:lnTo>
                      <a:pt x="188" y="144"/>
                    </a:lnTo>
                    <a:lnTo>
                      <a:pt x="207" y="123"/>
                    </a:lnTo>
                    <a:lnTo>
                      <a:pt x="188" y="123"/>
                    </a:lnTo>
                    <a:lnTo>
                      <a:pt x="188" y="90"/>
                    </a:lnTo>
                    <a:lnTo>
                      <a:pt x="157" y="56"/>
                    </a:lnTo>
                    <a:lnTo>
                      <a:pt x="170" y="46"/>
                    </a:lnTo>
                    <a:lnTo>
                      <a:pt x="82" y="56"/>
                    </a:lnTo>
                    <a:lnTo>
                      <a:pt x="50" y="0"/>
                    </a:lnTo>
                    <a:lnTo>
                      <a:pt x="50" y="23"/>
                    </a:lnTo>
                    <a:lnTo>
                      <a:pt x="25" y="46"/>
                    </a:lnTo>
                    <a:lnTo>
                      <a:pt x="32" y="90"/>
                    </a:lnTo>
                    <a:lnTo>
                      <a:pt x="25" y="100"/>
                    </a:lnTo>
                    <a:lnTo>
                      <a:pt x="18" y="69"/>
                    </a:lnTo>
                    <a:lnTo>
                      <a:pt x="25" y="11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82" name="Freeform 843"/>
              <p:cNvSpPr>
                <a:spLocks/>
              </p:cNvSpPr>
              <p:nvPr/>
            </p:nvSpPr>
            <p:spPr bwMode="auto">
              <a:xfrm>
                <a:off x="1806" y="2458"/>
                <a:ext cx="207" cy="184"/>
              </a:xfrm>
              <a:custGeom>
                <a:avLst/>
                <a:gdLst>
                  <a:gd name="T0" fmla="*/ 0 w 207"/>
                  <a:gd name="T1" fmla="*/ 0 h 369"/>
                  <a:gd name="T2" fmla="*/ 18 w 207"/>
                  <a:gd name="T3" fmla="*/ 0 h 369"/>
                  <a:gd name="T4" fmla="*/ 50 w 207"/>
                  <a:gd name="T5" fmla="*/ 0 h 369"/>
                  <a:gd name="T6" fmla="*/ 56 w 207"/>
                  <a:gd name="T7" fmla="*/ 0 h 369"/>
                  <a:gd name="T8" fmla="*/ 87 w 207"/>
                  <a:gd name="T9" fmla="*/ 0 h 369"/>
                  <a:gd name="T10" fmla="*/ 82 w 207"/>
                  <a:gd name="T11" fmla="*/ 0 h 369"/>
                  <a:gd name="T12" fmla="*/ 101 w 207"/>
                  <a:gd name="T13" fmla="*/ 0 h 369"/>
                  <a:gd name="T14" fmla="*/ 112 w 207"/>
                  <a:gd name="T15" fmla="*/ 0 h 369"/>
                  <a:gd name="T16" fmla="*/ 151 w 207"/>
                  <a:gd name="T17" fmla="*/ 0 h 369"/>
                  <a:gd name="T18" fmla="*/ 138 w 207"/>
                  <a:gd name="T19" fmla="*/ 0 h 369"/>
                  <a:gd name="T20" fmla="*/ 131 w 207"/>
                  <a:gd name="T21" fmla="*/ 0 h 369"/>
                  <a:gd name="T22" fmla="*/ 157 w 207"/>
                  <a:gd name="T23" fmla="*/ 0 h 369"/>
                  <a:gd name="T24" fmla="*/ 195 w 207"/>
                  <a:gd name="T25" fmla="*/ 0 h 369"/>
                  <a:gd name="T26" fmla="*/ 181 w 207"/>
                  <a:gd name="T27" fmla="*/ 0 h 369"/>
                  <a:gd name="T28" fmla="*/ 200 w 207"/>
                  <a:gd name="T29" fmla="*/ 0 h 369"/>
                  <a:gd name="T30" fmla="*/ 188 w 207"/>
                  <a:gd name="T31" fmla="*/ 0 h 369"/>
                  <a:gd name="T32" fmla="*/ 207 w 207"/>
                  <a:gd name="T33" fmla="*/ 0 h 369"/>
                  <a:gd name="T34" fmla="*/ 188 w 207"/>
                  <a:gd name="T35" fmla="*/ 0 h 369"/>
                  <a:gd name="T36" fmla="*/ 188 w 207"/>
                  <a:gd name="T37" fmla="*/ 0 h 369"/>
                  <a:gd name="T38" fmla="*/ 157 w 207"/>
                  <a:gd name="T39" fmla="*/ 0 h 369"/>
                  <a:gd name="T40" fmla="*/ 170 w 207"/>
                  <a:gd name="T41" fmla="*/ 0 h 369"/>
                  <a:gd name="T42" fmla="*/ 82 w 207"/>
                  <a:gd name="T43" fmla="*/ 0 h 369"/>
                  <a:gd name="T44" fmla="*/ 50 w 207"/>
                  <a:gd name="T45" fmla="*/ 0 h 369"/>
                  <a:gd name="T46" fmla="*/ 50 w 207"/>
                  <a:gd name="T47" fmla="*/ 0 h 369"/>
                  <a:gd name="T48" fmla="*/ 25 w 207"/>
                  <a:gd name="T49" fmla="*/ 0 h 369"/>
                  <a:gd name="T50" fmla="*/ 32 w 207"/>
                  <a:gd name="T51" fmla="*/ 0 h 369"/>
                  <a:gd name="T52" fmla="*/ 25 w 207"/>
                  <a:gd name="T53" fmla="*/ 0 h 369"/>
                  <a:gd name="T54" fmla="*/ 18 w 207"/>
                  <a:gd name="T55" fmla="*/ 0 h 369"/>
                  <a:gd name="T56" fmla="*/ 25 w 207"/>
                  <a:gd name="T57" fmla="*/ 0 h 369"/>
                  <a:gd name="T58" fmla="*/ 0 w 207"/>
                  <a:gd name="T59" fmla="*/ 0 h 36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207" h="369">
                    <a:moveTo>
                      <a:pt x="0" y="100"/>
                    </a:moveTo>
                    <a:lnTo>
                      <a:pt x="18" y="157"/>
                    </a:lnTo>
                    <a:lnTo>
                      <a:pt x="50" y="167"/>
                    </a:lnTo>
                    <a:lnTo>
                      <a:pt x="56" y="190"/>
                    </a:lnTo>
                    <a:lnTo>
                      <a:pt x="87" y="190"/>
                    </a:lnTo>
                    <a:lnTo>
                      <a:pt x="82" y="301"/>
                    </a:lnTo>
                    <a:lnTo>
                      <a:pt x="101" y="346"/>
                    </a:lnTo>
                    <a:lnTo>
                      <a:pt x="112" y="369"/>
                    </a:lnTo>
                    <a:lnTo>
                      <a:pt x="151" y="323"/>
                    </a:lnTo>
                    <a:lnTo>
                      <a:pt x="138" y="313"/>
                    </a:lnTo>
                    <a:lnTo>
                      <a:pt x="131" y="257"/>
                    </a:lnTo>
                    <a:lnTo>
                      <a:pt x="157" y="267"/>
                    </a:lnTo>
                    <a:lnTo>
                      <a:pt x="195" y="223"/>
                    </a:lnTo>
                    <a:lnTo>
                      <a:pt x="181" y="190"/>
                    </a:lnTo>
                    <a:lnTo>
                      <a:pt x="200" y="167"/>
                    </a:lnTo>
                    <a:lnTo>
                      <a:pt x="188" y="144"/>
                    </a:lnTo>
                    <a:lnTo>
                      <a:pt x="207" y="123"/>
                    </a:lnTo>
                    <a:lnTo>
                      <a:pt x="188" y="123"/>
                    </a:lnTo>
                    <a:lnTo>
                      <a:pt x="188" y="90"/>
                    </a:lnTo>
                    <a:lnTo>
                      <a:pt x="157" y="56"/>
                    </a:lnTo>
                    <a:lnTo>
                      <a:pt x="170" y="46"/>
                    </a:lnTo>
                    <a:lnTo>
                      <a:pt x="82" y="56"/>
                    </a:lnTo>
                    <a:lnTo>
                      <a:pt x="50" y="0"/>
                    </a:lnTo>
                    <a:lnTo>
                      <a:pt x="50" y="23"/>
                    </a:lnTo>
                    <a:lnTo>
                      <a:pt x="25" y="46"/>
                    </a:lnTo>
                    <a:lnTo>
                      <a:pt x="32" y="90"/>
                    </a:lnTo>
                    <a:lnTo>
                      <a:pt x="25" y="100"/>
                    </a:lnTo>
                    <a:lnTo>
                      <a:pt x="18" y="69"/>
                    </a:lnTo>
                    <a:lnTo>
                      <a:pt x="25" y="11"/>
                    </a:lnTo>
                    <a:lnTo>
                      <a:pt x="0" y="100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92" name="Freeform 844"/>
            <p:cNvSpPr>
              <a:spLocks/>
            </p:cNvSpPr>
            <p:nvPr>
              <p:custDataLst>
                <p:tags r:id="rId686"/>
              </p:custDataLst>
            </p:nvPr>
          </p:nvSpPr>
          <p:spPr bwMode="auto">
            <a:xfrm>
              <a:off x="2557711" y="4191000"/>
              <a:ext cx="303212" cy="292100"/>
            </a:xfrm>
            <a:custGeom>
              <a:avLst/>
              <a:gdLst>
                <a:gd name="T0" fmla="*/ 0 w 207"/>
                <a:gd name="T1" fmla="*/ 2147483647 h 369"/>
                <a:gd name="T2" fmla="*/ 2147483647 w 207"/>
                <a:gd name="T3" fmla="*/ 2147483647 h 369"/>
                <a:gd name="T4" fmla="*/ 2147483647 w 207"/>
                <a:gd name="T5" fmla="*/ 2147483647 h 369"/>
                <a:gd name="T6" fmla="*/ 2147483647 w 207"/>
                <a:gd name="T7" fmla="*/ 2147483647 h 369"/>
                <a:gd name="T8" fmla="*/ 2147483647 w 207"/>
                <a:gd name="T9" fmla="*/ 2147483647 h 369"/>
                <a:gd name="T10" fmla="*/ 2147483647 w 207"/>
                <a:gd name="T11" fmla="*/ 2147483647 h 369"/>
                <a:gd name="T12" fmla="*/ 2147483647 w 207"/>
                <a:gd name="T13" fmla="*/ 2147483647 h 369"/>
                <a:gd name="T14" fmla="*/ 2147483647 w 207"/>
                <a:gd name="T15" fmla="*/ 2147483647 h 369"/>
                <a:gd name="T16" fmla="*/ 2147483647 w 207"/>
                <a:gd name="T17" fmla="*/ 2147483647 h 369"/>
                <a:gd name="T18" fmla="*/ 2147483647 w 207"/>
                <a:gd name="T19" fmla="*/ 2147483647 h 369"/>
                <a:gd name="T20" fmla="*/ 2147483647 w 207"/>
                <a:gd name="T21" fmla="*/ 2147483647 h 369"/>
                <a:gd name="T22" fmla="*/ 2147483647 w 207"/>
                <a:gd name="T23" fmla="*/ 2147483647 h 369"/>
                <a:gd name="T24" fmla="*/ 2147483647 w 207"/>
                <a:gd name="T25" fmla="*/ 2147483647 h 369"/>
                <a:gd name="T26" fmla="*/ 2147483647 w 207"/>
                <a:gd name="T27" fmla="*/ 2147483647 h 369"/>
                <a:gd name="T28" fmla="*/ 2147483647 w 207"/>
                <a:gd name="T29" fmla="*/ 2147483647 h 369"/>
                <a:gd name="T30" fmla="*/ 2147483647 w 207"/>
                <a:gd name="T31" fmla="*/ 2147483647 h 369"/>
                <a:gd name="T32" fmla="*/ 2147483647 w 207"/>
                <a:gd name="T33" fmla="*/ 2147483647 h 369"/>
                <a:gd name="T34" fmla="*/ 2147483647 w 207"/>
                <a:gd name="T35" fmla="*/ 2147483647 h 369"/>
                <a:gd name="T36" fmla="*/ 2147483647 w 207"/>
                <a:gd name="T37" fmla="*/ 2147483647 h 369"/>
                <a:gd name="T38" fmla="*/ 2147483647 w 207"/>
                <a:gd name="T39" fmla="*/ 2147483647 h 369"/>
                <a:gd name="T40" fmla="*/ 2147483647 w 207"/>
                <a:gd name="T41" fmla="*/ 2147483647 h 369"/>
                <a:gd name="T42" fmla="*/ 2147483647 w 207"/>
                <a:gd name="T43" fmla="*/ 2147483647 h 369"/>
                <a:gd name="T44" fmla="*/ 2147483647 w 207"/>
                <a:gd name="T45" fmla="*/ 0 h 369"/>
                <a:gd name="T46" fmla="*/ 2147483647 w 207"/>
                <a:gd name="T47" fmla="*/ 2147483647 h 369"/>
                <a:gd name="T48" fmla="*/ 2147483647 w 207"/>
                <a:gd name="T49" fmla="*/ 2147483647 h 369"/>
                <a:gd name="T50" fmla="*/ 2147483647 w 207"/>
                <a:gd name="T51" fmla="*/ 2147483647 h 369"/>
                <a:gd name="T52" fmla="*/ 2147483647 w 207"/>
                <a:gd name="T53" fmla="*/ 2147483647 h 369"/>
                <a:gd name="T54" fmla="*/ 2147483647 w 207"/>
                <a:gd name="T55" fmla="*/ 2147483647 h 369"/>
                <a:gd name="T56" fmla="*/ 2147483647 w 207"/>
                <a:gd name="T57" fmla="*/ 2147483647 h 369"/>
                <a:gd name="T58" fmla="*/ 0 w 207"/>
                <a:gd name="T59" fmla="*/ 2147483647 h 36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7" h="369">
                  <a:moveTo>
                    <a:pt x="0" y="100"/>
                  </a:moveTo>
                  <a:lnTo>
                    <a:pt x="18" y="157"/>
                  </a:lnTo>
                  <a:lnTo>
                    <a:pt x="50" y="167"/>
                  </a:lnTo>
                  <a:lnTo>
                    <a:pt x="56" y="190"/>
                  </a:lnTo>
                  <a:lnTo>
                    <a:pt x="87" y="190"/>
                  </a:lnTo>
                  <a:lnTo>
                    <a:pt x="82" y="301"/>
                  </a:lnTo>
                  <a:lnTo>
                    <a:pt x="101" y="346"/>
                  </a:lnTo>
                  <a:lnTo>
                    <a:pt x="112" y="369"/>
                  </a:lnTo>
                  <a:lnTo>
                    <a:pt x="151" y="323"/>
                  </a:lnTo>
                  <a:lnTo>
                    <a:pt x="138" y="313"/>
                  </a:lnTo>
                  <a:lnTo>
                    <a:pt x="131" y="257"/>
                  </a:lnTo>
                  <a:lnTo>
                    <a:pt x="157" y="267"/>
                  </a:lnTo>
                  <a:lnTo>
                    <a:pt x="195" y="223"/>
                  </a:lnTo>
                  <a:lnTo>
                    <a:pt x="181" y="190"/>
                  </a:lnTo>
                  <a:lnTo>
                    <a:pt x="200" y="167"/>
                  </a:lnTo>
                  <a:lnTo>
                    <a:pt x="188" y="144"/>
                  </a:lnTo>
                  <a:lnTo>
                    <a:pt x="207" y="123"/>
                  </a:lnTo>
                  <a:lnTo>
                    <a:pt x="188" y="123"/>
                  </a:lnTo>
                  <a:lnTo>
                    <a:pt x="188" y="90"/>
                  </a:lnTo>
                  <a:lnTo>
                    <a:pt x="157" y="56"/>
                  </a:lnTo>
                  <a:lnTo>
                    <a:pt x="170" y="46"/>
                  </a:lnTo>
                  <a:lnTo>
                    <a:pt x="82" y="56"/>
                  </a:lnTo>
                  <a:lnTo>
                    <a:pt x="50" y="0"/>
                  </a:lnTo>
                  <a:lnTo>
                    <a:pt x="50" y="23"/>
                  </a:lnTo>
                  <a:lnTo>
                    <a:pt x="25" y="46"/>
                  </a:lnTo>
                  <a:lnTo>
                    <a:pt x="32" y="90"/>
                  </a:lnTo>
                  <a:lnTo>
                    <a:pt x="25" y="100"/>
                  </a:lnTo>
                  <a:lnTo>
                    <a:pt x="18" y="69"/>
                  </a:lnTo>
                  <a:lnTo>
                    <a:pt x="25" y="11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693" name="Group 845"/>
            <p:cNvGrpSpPr>
              <a:grpSpLocks/>
            </p:cNvGrpSpPr>
            <p:nvPr>
              <p:custDataLst>
                <p:tags r:id="rId687"/>
              </p:custDataLst>
            </p:nvPr>
          </p:nvGrpSpPr>
          <p:grpSpPr bwMode="auto">
            <a:xfrm>
              <a:off x="2557711" y="4191000"/>
              <a:ext cx="303212" cy="292100"/>
              <a:chOff x="1806" y="2458"/>
              <a:chExt cx="207" cy="184"/>
            </a:xfrm>
            <a:solidFill>
              <a:schemeClr val="bg2">
                <a:lumMod val="50000"/>
              </a:schemeClr>
            </a:solidFill>
          </p:grpSpPr>
          <p:sp>
            <p:nvSpPr>
              <p:cNvPr id="979" name="Freeform 846"/>
              <p:cNvSpPr>
                <a:spLocks/>
              </p:cNvSpPr>
              <p:nvPr/>
            </p:nvSpPr>
            <p:spPr bwMode="auto">
              <a:xfrm>
                <a:off x="1806" y="2458"/>
                <a:ext cx="207" cy="184"/>
              </a:xfrm>
              <a:custGeom>
                <a:avLst/>
                <a:gdLst>
                  <a:gd name="T0" fmla="*/ 0 w 207"/>
                  <a:gd name="T1" fmla="*/ 0 h 369"/>
                  <a:gd name="T2" fmla="*/ 18 w 207"/>
                  <a:gd name="T3" fmla="*/ 0 h 369"/>
                  <a:gd name="T4" fmla="*/ 50 w 207"/>
                  <a:gd name="T5" fmla="*/ 0 h 369"/>
                  <a:gd name="T6" fmla="*/ 56 w 207"/>
                  <a:gd name="T7" fmla="*/ 0 h 369"/>
                  <a:gd name="T8" fmla="*/ 87 w 207"/>
                  <a:gd name="T9" fmla="*/ 0 h 369"/>
                  <a:gd name="T10" fmla="*/ 82 w 207"/>
                  <a:gd name="T11" fmla="*/ 0 h 369"/>
                  <a:gd name="T12" fmla="*/ 101 w 207"/>
                  <a:gd name="T13" fmla="*/ 0 h 369"/>
                  <a:gd name="T14" fmla="*/ 112 w 207"/>
                  <a:gd name="T15" fmla="*/ 0 h 369"/>
                  <a:gd name="T16" fmla="*/ 151 w 207"/>
                  <a:gd name="T17" fmla="*/ 0 h 369"/>
                  <a:gd name="T18" fmla="*/ 138 w 207"/>
                  <a:gd name="T19" fmla="*/ 0 h 369"/>
                  <a:gd name="T20" fmla="*/ 131 w 207"/>
                  <a:gd name="T21" fmla="*/ 0 h 369"/>
                  <a:gd name="T22" fmla="*/ 157 w 207"/>
                  <a:gd name="T23" fmla="*/ 0 h 369"/>
                  <a:gd name="T24" fmla="*/ 195 w 207"/>
                  <a:gd name="T25" fmla="*/ 0 h 369"/>
                  <a:gd name="T26" fmla="*/ 181 w 207"/>
                  <a:gd name="T27" fmla="*/ 0 h 369"/>
                  <a:gd name="T28" fmla="*/ 200 w 207"/>
                  <a:gd name="T29" fmla="*/ 0 h 369"/>
                  <a:gd name="T30" fmla="*/ 188 w 207"/>
                  <a:gd name="T31" fmla="*/ 0 h 369"/>
                  <a:gd name="T32" fmla="*/ 207 w 207"/>
                  <a:gd name="T33" fmla="*/ 0 h 369"/>
                  <a:gd name="T34" fmla="*/ 188 w 207"/>
                  <a:gd name="T35" fmla="*/ 0 h 369"/>
                  <a:gd name="T36" fmla="*/ 188 w 207"/>
                  <a:gd name="T37" fmla="*/ 0 h 369"/>
                  <a:gd name="T38" fmla="*/ 157 w 207"/>
                  <a:gd name="T39" fmla="*/ 0 h 369"/>
                  <a:gd name="T40" fmla="*/ 170 w 207"/>
                  <a:gd name="T41" fmla="*/ 0 h 369"/>
                  <a:gd name="T42" fmla="*/ 82 w 207"/>
                  <a:gd name="T43" fmla="*/ 0 h 369"/>
                  <a:gd name="T44" fmla="*/ 50 w 207"/>
                  <a:gd name="T45" fmla="*/ 0 h 369"/>
                  <a:gd name="T46" fmla="*/ 50 w 207"/>
                  <a:gd name="T47" fmla="*/ 0 h 369"/>
                  <a:gd name="T48" fmla="*/ 25 w 207"/>
                  <a:gd name="T49" fmla="*/ 0 h 369"/>
                  <a:gd name="T50" fmla="*/ 32 w 207"/>
                  <a:gd name="T51" fmla="*/ 0 h 369"/>
                  <a:gd name="T52" fmla="*/ 25 w 207"/>
                  <a:gd name="T53" fmla="*/ 0 h 369"/>
                  <a:gd name="T54" fmla="*/ 18 w 207"/>
                  <a:gd name="T55" fmla="*/ 0 h 369"/>
                  <a:gd name="T56" fmla="*/ 25 w 207"/>
                  <a:gd name="T57" fmla="*/ 0 h 369"/>
                  <a:gd name="T58" fmla="*/ 0 w 207"/>
                  <a:gd name="T59" fmla="*/ 0 h 36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207" h="369">
                    <a:moveTo>
                      <a:pt x="0" y="100"/>
                    </a:moveTo>
                    <a:lnTo>
                      <a:pt x="18" y="157"/>
                    </a:lnTo>
                    <a:lnTo>
                      <a:pt x="50" y="167"/>
                    </a:lnTo>
                    <a:lnTo>
                      <a:pt x="56" y="190"/>
                    </a:lnTo>
                    <a:lnTo>
                      <a:pt x="87" y="190"/>
                    </a:lnTo>
                    <a:lnTo>
                      <a:pt x="82" y="301"/>
                    </a:lnTo>
                    <a:lnTo>
                      <a:pt x="101" y="346"/>
                    </a:lnTo>
                    <a:lnTo>
                      <a:pt x="112" y="369"/>
                    </a:lnTo>
                    <a:lnTo>
                      <a:pt x="151" y="323"/>
                    </a:lnTo>
                    <a:lnTo>
                      <a:pt x="138" y="313"/>
                    </a:lnTo>
                    <a:lnTo>
                      <a:pt x="131" y="257"/>
                    </a:lnTo>
                    <a:lnTo>
                      <a:pt x="157" y="267"/>
                    </a:lnTo>
                    <a:lnTo>
                      <a:pt x="195" y="223"/>
                    </a:lnTo>
                    <a:lnTo>
                      <a:pt x="181" y="190"/>
                    </a:lnTo>
                    <a:lnTo>
                      <a:pt x="200" y="167"/>
                    </a:lnTo>
                    <a:lnTo>
                      <a:pt x="188" y="144"/>
                    </a:lnTo>
                    <a:lnTo>
                      <a:pt x="207" y="123"/>
                    </a:lnTo>
                    <a:lnTo>
                      <a:pt x="188" y="123"/>
                    </a:lnTo>
                    <a:lnTo>
                      <a:pt x="188" y="90"/>
                    </a:lnTo>
                    <a:lnTo>
                      <a:pt x="157" y="56"/>
                    </a:lnTo>
                    <a:lnTo>
                      <a:pt x="170" y="46"/>
                    </a:lnTo>
                    <a:lnTo>
                      <a:pt x="82" y="56"/>
                    </a:lnTo>
                    <a:lnTo>
                      <a:pt x="50" y="0"/>
                    </a:lnTo>
                    <a:lnTo>
                      <a:pt x="50" y="23"/>
                    </a:lnTo>
                    <a:lnTo>
                      <a:pt x="25" y="46"/>
                    </a:lnTo>
                    <a:lnTo>
                      <a:pt x="32" y="90"/>
                    </a:lnTo>
                    <a:lnTo>
                      <a:pt x="25" y="100"/>
                    </a:lnTo>
                    <a:lnTo>
                      <a:pt x="18" y="69"/>
                    </a:lnTo>
                    <a:lnTo>
                      <a:pt x="25" y="11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80" name="Freeform 847"/>
              <p:cNvSpPr>
                <a:spLocks/>
              </p:cNvSpPr>
              <p:nvPr/>
            </p:nvSpPr>
            <p:spPr bwMode="auto">
              <a:xfrm>
                <a:off x="1806" y="2458"/>
                <a:ext cx="207" cy="184"/>
              </a:xfrm>
              <a:custGeom>
                <a:avLst/>
                <a:gdLst>
                  <a:gd name="T0" fmla="*/ 0 w 207"/>
                  <a:gd name="T1" fmla="*/ 0 h 369"/>
                  <a:gd name="T2" fmla="*/ 18 w 207"/>
                  <a:gd name="T3" fmla="*/ 0 h 369"/>
                  <a:gd name="T4" fmla="*/ 50 w 207"/>
                  <a:gd name="T5" fmla="*/ 0 h 369"/>
                  <a:gd name="T6" fmla="*/ 56 w 207"/>
                  <a:gd name="T7" fmla="*/ 0 h 369"/>
                  <a:gd name="T8" fmla="*/ 87 w 207"/>
                  <a:gd name="T9" fmla="*/ 0 h 369"/>
                  <a:gd name="T10" fmla="*/ 82 w 207"/>
                  <a:gd name="T11" fmla="*/ 0 h 369"/>
                  <a:gd name="T12" fmla="*/ 101 w 207"/>
                  <a:gd name="T13" fmla="*/ 0 h 369"/>
                  <a:gd name="T14" fmla="*/ 112 w 207"/>
                  <a:gd name="T15" fmla="*/ 0 h 369"/>
                  <a:gd name="T16" fmla="*/ 151 w 207"/>
                  <a:gd name="T17" fmla="*/ 0 h 369"/>
                  <a:gd name="T18" fmla="*/ 138 w 207"/>
                  <a:gd name="T19" fmla="*/ 0 h 369"/>
                  <a:gd name="T20" fmla="*/ 131 w 207"/>
                  <a:gd name="T21" fmla="*/ 0 h 369"/>
                  <a:gd name="T22" fmla="*/ 157 w 207"/>
                  <a:gd name="T23" fmla="*/ 0 h 369"/>
                  <a:gd name="T24" fmla="*/ 195 w 207"/>
                  <a:gd name="T25" fmla="*/ 0 h 369"/>
                  <a:gd name="T26" fmla="*/ 181 w 207"/>
                  <a:gd name="T27" fmla="*/ 0 h 369"/>
                  <a:gd name="T28" fmla="*/ 200 w 207"/>
                  <a:gd name="T29" fmla="*/ 0 h 369"/>
                  <a:gd name="T30" fmla="*/ 188 w 207"/>
                  <a:gd name="T31" fmla="*/ 0 h 369"/>
                  <a:gd name="T32" fmla="*/ 207 w 207"/>
                  <a:gd name="T33" fmla="*/ 0 h 369"/>
                  <a:gd name="T34" fmla="*/ 188 w 207"/>
                  <a:gd name="T35" fmla="*/ 0 h 369"/>
                  <a:gd name="T36" fmla="*/ 188 w 207"/>
                  <a:gd name="T37" fmla="*/ 0 h 369"/>
                  <a:gd name="T38" fmla="*/ 157 w 207"/>
                  <a:gd name="T39" fmla="*/ 0 h 369"/>
                  <a:gd name="T40" fmla="*/ 170 w 207"/>
                  <a:gd name="T41" fmla="*/ 0 h 369"/>
                  <a:gd name="T42" fmla="*/ 82 w 207"/>
                  <a:gd name="T43" fmla="*/ 0 h 369"/>
                  <a:gd name="T44" fmla="*/ 50 w 207"/>
                  <a:gd name="T45" fmla="*/ 0 h 369"/>
                  <a:gd name="T46" fmla="*/ 50 w 207"/>
                  <a:gd name="T47" fmla="*/ 0 h 369"/>
                  <a:gd name="T48" fmla="*/ 25 w 207"/>
                  <a:gd name="T49" fmla="*/ 0 h 369"/>
                  <a:gd name="T50" fmla="*/ 32 w 207"/>
                  <a:gd name="T51" fmla="*/ 0 h 369"/>
                  <a:gd name="T52" fmla="*/ 25 w 207"/>
                  <a:gd name="T53" fmla="*/ 0 h 369"/>
                  <a:gd name="T54" fmla="*/ 18 w 207"/>
                  <a:gd name="T55" fmla="*/ 0 h 369"/>
                  <a:gd name="T56" fmla="*/ 25 w 207"/>
                  <a:gd name="T57" fmla="*/ 0 h 369"/>
                  <a:gd name="T58" fmla="*/ 0 w 207"/>
                  <a:gd name="T59" fmla="*/ 0 h 36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207" h="369">
                    <a:moveTo>
                      <a:pt x="0" y="100"/>
                    </a:moveTo>
                    <a:lnTo>
                      <a:pt x="18" y="157"/>
                    </a:lnTo>
                    <a:lnTo>
                      <a:pt x="50" y="167"/>
                    </a:lnTo>
                    <a:lnTo>
                      <a:pt x="56" y="190"/>
                    </a:lnTo>
                    <a:lnTo>
                      <a:pt x="87" y="190"/>
                    </a:lnTo>
                    <a:lnTo>
                      <a:pt x="82" y="301"/>
                    </a:lnTo>
                    <a:lnTo>
                      <a:pt x="101" y="346"/>
                    </a:lnTo>
                    <a:lnTo>
                      <a:pt x="112" y="369"/>
                    </a:lnTo>
                    <a:lnTo>
                      <a:pt x="151" y="323"/>
                    </a:lnTo>
                    <a:lnTo>
                      <a:pt x="138" y="313"/>
                    </a:lnTo>
                    <a:lnTo>
                      <a:pt x="131" y="257"/>
                    </a:lnTo>
                    <a:lnTo>
                      <a:pt x="157" y="267"/>
                    </a:lnTo>
                    <a:lnTo>
                      <a:pt x="195" y="223"/>
                    </a:lnTo>
                    <a:lnTo>
                      <a:pt x="181" y="190"/>
                    </a:lnTo>
                    <a:lnTo>
                      <a:pt x="200" y="167"/>
                    </a:lnTo>
                    <a:lnTo>
                      <a:pt x="188" y="144"/>
                    </a:lnTo>
                    <a:lnTo>
                      <a:pt x="207" y="123"/>
                    </a:lnTo>
                    <a:lnTo>
                      <a:pt x="188" y="123"/>
                    </a:lnTo>
                    <a:lnTo>
                      <a:pt x="188" y="90"/>
                    </a:lnTo>
                    <a:lnTo>
                      <a:pt x="157" y="56"/>
                    </a:lnTo>
                    <a:lnTo>
                      <a:pt x="170" y="46"/>
                    </a:lnTo>
                    <a:lnTo>
                      <a:pt x="82" y="56"/>
                    </a:lnTo>
                    <a:lnTo>
                      <a:pt x="50" y="0"/>
                    </a:lnTo>
                    <a:lnTo>
                      <a:pt x="50" y="23"/>
                    </a:lnTo>
                    <a:lnTo>
                      <a:pt x="25" y="46"/>
                    </a:lnTo>
                    <a:lnTo>
                      <a:pt x="32" y="90"/>
                    </a:lnTo>
                    <a:lnTo>
                      <a:pt x="25" y="100"/>
                    </a:lnTo>
                    <a:lnTo>
                      <a:pt x="18" y="69"/>
                    </a:lnTo>
                    <a:lnTo>
                      <a:pt x="25" y="11"/>
                    </a:lnTo>
                    <a:lnTo>
                      <a:pt x="0" y="100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694" name="Freeform 848"/>
            <p:cNvSpPr>
              <a:spLocks/>
            </p:cNvSpPr>
            <p:nvPr>
              <p:custDataLst>
                <p:tags r:id="rId688"/>
              </p:custDataLst>
            </p:nvPr>
          </p:nvSpPr>
          <p:spPr bwMode="auto">
            <a:xfrm>
              <a:off x="6737598" y="3900488"/>
              <a:ext cx="157163" cy="381000"/>
            </a:xfrm>
            <a:custGeom>
              <a:avLst/>
              <a:gdLst>
                <a:gd name="T0" fmla="*/ 0 w 107"/>
                <a:gd name="T1" fmla="*/ 2147483647 h 480"/>
                <a:gd name="T2" fmla="*/ 2147483647 w 107"/>
                <a:gd name="T3" fmla="*/ 2147483647 h 480"/>
                <a:gd name="T4" fmla="*/ 2147483647 w 107"/>
                <a:gd name="T5" fmla="*/ 2147483647 h 480"/>
                <a:gd name="T6" fmla="*/ 2147483647 w 107"/>
                <a:gd name="T7" fmla="*/ 2147483647 h 480"/>
                <a:gd name="T8" fmla="*/ 2147483647 w 107"/>
                <a:gd name="T9" fmla="*/ 2147483647 h 480"/>
                <a:gd name="T10" fmla="*/ 2147483647 w 107"/>
                <a:gd name="T11" fmla="*/ 2147483647 h 480"/>
                <a:gd name="T12" fmla="*/ 2147483647 w 107"/>
                <a:gd name="T13" fmla="*/ 2147483647 h 480"/>
                <a:gd name="T14" fmla="*/ 2147483647 w 107"/>
                <a:gd name="T15" fmla="*/ 2147483647 h 480"/>
                <a:gd name="T16" fmla="*/ 2147483647 w 107"/>
                <a:gd name="T17" fmla="*/ 2147483647 h 480"/>
                <a:gd name="T18" fmla="*/ 2147483647 w 107"/>
                <a:gd name="T19" fmla="*/ 2147483647 h 480"/>
                <a:gd name="T20" fmla="*/ 2147483647 w 107"/>
                <a:gd name="T21" fmla="*/ 2147483647 h 480"/>
                <a:gd name="T22" fmla="*/ 2147483647 w 107"/>
                <a:gd name="T23" fmla="*/ 2147483647 h 480"/>
                <a:gd name="T24" fmla="*/ 2147483647 w 107"/>
                <a:gd name="T25" fmla="*/ 2147483647 h 480"/>
                <a:gd name="T26" fmla="*/ 2147483647 w 107"/>
                <a:gd name="T27" fmla="*/ 2147483647 h 480"/>
                <a:gd name="T28" fmla="*/ 2147483647 w 107"/>
                <a:gd name="T29" fmla="*/ 2147483647 h 480"/>
                <a:gd name="T30" fmla="*/ 2147483647 w 107"/>
                <a:gd name="T31" fmla="*/ 2147483647 h 480"/>
                <a:gd name="T32" fmla="*/ 2147483647 w 107"/>
                <a:gd name="T33" fmla="*/ 2147483647 h 480"/>
                <a:gd name="T34" fmla="*/ 2147483647 w 107"/>
                <a:gd name="T35" fmla="*/ 0 h 480"/>
                <a:gd name="T36" fmla="*/ 0 w 107"/>
                <a:gd name="T37" fmla="*/ 2147483647 h 4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7" h="480">
                  <a:moveTo>
                    <a:pt x="0" y="33"/>
                  </a:moveTo>
                  <a:lnTo>
                    <a:pt x="19" y="77"/>
                  </a:lnTo>
                  <a:lnTo>
                    <a:pt x="38" y="102"/>
                  </a:lnTo>
                  <a:lnTo>
                    <a:pt x="26" y="135"/>
                  </a:lnTo>
                  <a:lnTo>
                    <a:pt x="64" y="200"/>
                  </a:lnTo>
                  <a:lnTo>
                    <a:pt x="82" y="290"/>
                  </a:lnTo>
                  <a:lnTo>
                    <a:pt x="82" y="357"/>
                  </a:lnTo>
                  <a:lnTo>
                    <a:pt x="38" y="423"/>
                  </a:lnTo>
                  <a:lnTo>
                    <a:pt x="45" y="480"/>
                  </a:lnTo>
                  <a:lnTo>
                    <a:pt x="64" y="436"/>
                  </a:lnTo>
                  <a:lnTo>
                    <a:pt x="69" y="457"/>
                  </a:lnTo>
                  <a:lnTo>
                    <a:pt x="69" y="423"/>
                  </a:lnTo>
                  <a:lnTo>
                    <a:pt x="107" y="378"/>
                  </a:lnTo>
                  <a:lnTo>
                    <a:pt x="100" y="269"/>
                  </a:lnTo>
                  <a:lnTo>
                    <a:pt x="50" y="146"/>
                  </a:lnTo>
                  <a:lnTo>
                    <a:pt x="58" y="112"/>
                  </a:lnTo>
                  <a:lnTo>
                    <a:pt x="88" y="56"/>
                  </a:lnTo>
                  <a:lnTo>
                    <a:pt x="45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95" name="Freeform 849"/>
            <p:cNvSpPr>
              <a:spLocks/>
            </p:cNvSpPr>
            <p:nvPr>
              <p:custDataLst>
                <p:tags r:id="rId689"/>
              </p:custDataLst>
            </p:nvPr>
          </p:nvSpPr>
          <p:spPr bwMode="auto">
            <a:xfrm>
              <a:off x="6737598" y="3900488"/>
              <a:ext cx="157163" cy="381000"/>
            </a:xfrm>
            <a:custGeom>
              <a:avLst/>
              <a:gdLst>
                <a:gd name="T0" fmla="*/ 0 w 107"/>
                <a:gd name="T1" fmla="*/ 2147483647 h 480"/>
                <a:gd name="T2" fmla="*/ 2147483647 w 107"/>
                <a:gd name="T3" fmla="*/ 2147483647 h 480"/>
                <a:gd name="T4" fmla="*/ 2147483647 w 107"/>
                <a:gd name="T5" fmla="*/ 2147483647 h 480"/>
                <a:gd name="T6" fmla="*/ 2147483647 w 107"/>
                <a:gd name="T7" fmla="*/ 2147483647 h 480"/>
                <a:gd name="T8" fmla="*/ 2147483647 w 107"/>
                <a:gd name="T9" fmla="*/ 2147483647 h 480"/>
                <a:gd name="T10" fmla="*/ 2147483647 w 107"/>
                <a:gd name="T11" fmla="*/ 2147483647 h 480"/>
                <a:gd name="T12" fmla="*/ 2147483647 w 107"/>
                <a:gd name="T13" fmla="*/ 2147483647 h 480"/>
                <a:gd name="T14" fmla="*/ 2147483647 w 107"/>
                <a:gd name="T15" fmla="*/ 2147483647 h 480"/>
                <a:gd name="T16" fmla="*/ 2147483647 w 107"/>
                <a:gd name="T17" fmla="*/ 2147483647 h 480"/>
                <a:gd name="T18" fmla="*/ 2147483647 w 107"/>
                <a:gd name="T19" fmla="*/ 2147483647 h 480"/>
                <a:gd name="T20" fmla="*/ 2147483647 w 107"/>
                <a:gd name="T21" fmla="*/ 2147483647 h 480"/>
                <a:gd name="T22" fmla="*/ 2147483647 w 107"/>
                <a:gd name="T23" fmla="*/ 2147483647 h 480"/>
                <a:gd name="T24" fmla="*/ 2147483647 w 107"/>
                <a:gd name="T25" fmla="*/ 2147483647 h 480"/>
                <a:gd name="T26" fmla="*/ 2147483647 w 107"/>
                <a:gd name="T27" fmla="*/ 2147483647 h 480"/>
                <a:gd name="T28" fmla="*/ 2147483647 w 107"/>
                <a:gd name="T29" fmla="*/ 2147483647 h 480"/>
                <a:gd name="T30" fmla="*/ 2147483647 w 107"/>
                <a:gd name="T31" fmla="*/ 2147483647 h 480"/>
                <a:gd name="T32" fmla="*/ 2147483647 w 107"/>
                <a:gd name="T33" fmla="*/ 2147483647 h 480"/>
                <a:gd name="T34" fmla="*/ 2147483647 w 107"/>
                <a:gd name="T35" fmla="*/ 0 h 480"/>
                <a:gd name="T36" fmla="*/ 0 w 107"/>
                <a:gd name="T37" fmla="*/ 2147483647 h 4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7" h="480">
                  <a:moveTo>
                    <a:pt x="0" y="33"/>
                  </a:moveTo>
                  <a:lnTo>
                    <a:pt x="19" y="77"/>
                  </a:lnTo>
                  <a:lnTo>
                    <a:pt x="38" y="102"/>
                  </a:lnTo>
                  <a:lnTo>
                    <a:pt x="26" y="135"/>
                  </a:lnTo>
                  <a:lnTo>
                    <a:pt x="64" y="200"/>
                  </a:lnTo>
                  <a:lnTo>
                    <a:pt x="82" y="290"/>
                  </a:lnTo>
                  <a:lnTo>
                    <a:pt x="82" y="357"/>
                  </a:lnTo>
                  <a:lnTo>
                    <a:pt x="38" y="423"/>
                  </a:lnTo>
                  <a:lnTo>
                    <a:pt x="45" y="480"/>
                  </a:lnTo>
                  <a:lnTo>
                    <a:pt x="64" y="436"/>
                  </a:lnTo>
                  <a:lnTo>
                    <a:pt x="69" y="457"/>
                  </a:lnTo>
                  <a:lnTo>
                    <a:pt x="69" y="423"/>
                  </a:lnTo>
                  <a:lnTo>
                    <a:pt x="107" y="378"/>
                  </a:lnTo>
                  <a:lnTo>
                    <a:pt x="100" y="269"/>
                  </a:lnTo>
                  <a:lnTo>
                    <a:pt x="50" y="146"/>
                  </a:lnTo>
                  <a:lnTo>
                    <a:pt x="58" y="112"/>
                  </a:lnTo>
                  <a:lnTo>
                    <a:pt x="88" y="56"/>
                  </a:lnTo>
                  <a:lnTo>
                    <a:pt x="45" y="0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96" name="Freeform 850"/>
            <p:cNvSpPr>
              <a:spLocks/>
            </p:cNvSpPr>
            <p:nvPr>
              <p:custDataLst>
                <p:tags r:id="rId690"/>
              </p:custDataLst>
            </p:nvPr>
          </p:nvSpPr>
          <p:spPr bwMode="auto">
            <a:xfrm>
              <a:off x="6737598" y="3900488"/>
              <a:ext cx="157163" cy="381000"/>
            </a:xfrm>
            <a:custGeom>
              <a:avLst/>
              <a:gdLst>
                <a:gd name="T0" fmla="*/ 0 w 107"/>
                <a:gd name="T1" fmla="*/ 2147483647 h 480"/>
                <a:gd name="T2" fmla="*/ 2147483647 w 107"/>
                <a:gd name="T3" fmla="*/ 2147483647 h 480"/>
                <a:gd name="T4" fmla="*/ 2147483647 w 107"/>
                <a:gd name="T5" fmla="*/ 2147483647 h 480"/>
                <a:gd name="T6" fmla="*/ 2147483647 w 107"/>
                <a:gd name="T7" fmla="*/ 2147483647 h 480"/>
                <a:gd name="T8" fmla="*/ 2147483647 w 107"/>
                <a:gd name="T9" fmla="*/ 2147483647 h 480"/>
                <a:gd name="T10" fmla="*/ 2147483647 w 107"/>
                <a:gd name="T11" fmla="*/ 2147483647 h 480"/>
                <a:gd name="T12" fmla="*/ 2147483647 w 107"/>
                <a:gd name="T13" fmla="*/ 2147483647 h 480"/>
                <a:gd name="T14" fmla="*/ 2147483647 w 107"/>
                <a:gd name="T15" fmla="*/ 2147483647 h 480"/>
                <a:gd name="T16" fmla="*/ 2147483647 w 107"/>
                <a:gd name="T17" fmla="*/ 2147483647 h 480"/>
                <a:gd name="T18" fmla="*/ 2147483647 w 107"/>
                <a:gd name="T19" fmla="*/ 2147483647 h 480"/>
                <a:gd name="T20" fmla="*/ 2147483647 w 107"/>
                <a:gd name="T21" fmla="*/ 2147483647 h 480"/>
                <a:gd name="T22" fmla="*/ 2147483647 w 107"/>
                <a:gd name="T23" fmla="*/ 2147483647 h 480"/>
                <a:gd name="T24" fmla="*/ 2147483647 w 107"/>
                <a:gd name="T25" fmla="*/ 2147483647 h 480"/>
                <a:gd name="T26" fmla="*/ 2147483647 w 107"/>
                <a:gd name="T27" fmla="*/ 2147483647 h 480"/>
                <a:gd name="T28" fmla="*/ 2147483647 w 107"/>
                <a:gd name="T29" fmla="*/ 2147483647 h 480"/>
                <a:gd name="T30" fmla="*/ 2147483647 w 107"/>
                <a:gd name="T31" fmla="*/ 2147483647 h 480"/>
                <a:gd name="T32" fmla="*/ 2147483647 w 107"/>
                <a:gd name="T33" fmla="*/ 2147483647 h 480"/>
                <a:gd name="T34" fmla="*/ 2147483647 w 107"/>
                <a:gd name="T35" fmla="*/ 0 h 480"/>
                <a:gd name="T36" fmla="*/ 0 w 107"/>
                <a:gd name="T37" fmla="*/ 2147483647 h 4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7" h="480">
                  <a:moveTo>
                    <a:pt x="0" y="33"/>
                  </a:moveTo>
                  <a:lnTo>
                    <a:pt x="19" y="77"/>
                  </a:lnTo>
                  <a:lnTo>
                    <a:pt x="38" y="102"/>
                  </a:lnTo>
                  <a:lnTo>
                    <a:pt x="26" y="135"/>
                  </a:lnTo>
                  <a:lnTo>
                    <a:pt x="64" y="200"/>
                  </a:lnTo>
                  <a:lnTo>
                    <a:pt x="82" y="290"/>
                  </a:lnTo>
                  <a:lnTo>
                    <a:pt x="82" y="357"/>
                  </a:lnTo>
                  <a:lnTo>
                    <a:pt x="38" y="423"/>
                  </a:lnTo>
                  <a:lnTo>
                    <a:pt x="45" y="480"/>
                  </a:lnTo>
                  <a:lnTo>
                    <a:pt x="64" y="436"/>
                  </a:lnTo>
                  <a:lnTo>
                    <a:pt x="69" y="457"/>
                  </a:lnTo>
                  <a:lnTo>
                    <a:pt x="69" y="423"/>
                  </a:lnTo>
                  <a:lnTo>
                    <a:pt x="107" y="378"/>
                  </a:lnTo>
                  <a:lnTo>
                    <a:pt x="100" y="269"/>
                  </a:lnTo>
                  <a:lnTo>
                    <a:pt x="50" y="146"/>
                  </a:lnTo>
                  <a:lnTo>
                    <a:pt x="58" y="112"/>
                  </a:lnTo>
                  <a:lnTo>
                    <a:pt x="88" y="56"/>
                  </a:lnTo>
                  <a:lnTo>
                    <a:pt x="45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97" name="Freeform 851"/>
            <p:cNvSpPr>
              <a:spLocks/>
            </p:cNvSpPr>
            <p:nvPr>
              <p:custDataLst>
                <p:tags r:id="rId691"/>
              </p:custDataLst>
            </p:nvPr>
          </p:nvSpPr>
          <p:spPr bwMode="auto">
            <a:xfrm>
              <a:off x="6737598" y="3900488"/>
              <a:ext cx="157163" cy="381000"/>
            </a:xfrm>
            <a:custGeom>
              <a:avLst/>
              <a:gdLst>
                <a:gd name="T0" fmla="*/ 0 w 107"/>
                <a:gd name="T1" fmla="*/ 2147483647 h 480"/>
                <a:gd name="T2" fmla="*/ 2147483647 w 107"/>
                <a:gd name="T3" fmla="*/ 2147483647 h 480"/>
                <a:gd name="T4" fmla="*/ 2147483647 w 107"/>
                <a:gd name="T5" fmla="*/ 2147483647 h 480"/>
                <a:gd name="T6" fmla="*/ 2147483647 w 107"/>
                <a:gd name="T7" fmla="*/ 2147483647 h 480"/>
                <a:gd name="T8" fmla="*/ 2147483647 w 107"/>
                <a:gd name="T9" fmla="*/ 2147483647 h 480"/>
                <a:gd name="T10" fmla="*/ 2147483647 w 107"/>
                <a:gd name="T11" fmla="*/ 2147483647 h 480"/>
                <a:gd name="T12" fmla="*/ 2147483647 w 107"/>
                <a:gd name="T13" fmla="*/ 2147483647 h 480"/>
                <a:gd name="T14" fmla="*/ 2147483647 w 107"/>
                <a:gd name="T15" fmla="*/ 2147483647 h 480"/>
                <a:gd name="T16" fmla="*/ 2147483647 w 107"/>
                <a:gd name="T17" fmla="*/ 2147483647 h 480"/>
                <a:gd name="T18" fmla="*/ 2147483647 w 107"/>
                <a:gd name="T19" fmla="*/ 2147483647 h 480"/>
                <a:gd name="T20" fmla="*/ 2147483647 w 107"/>
                <a:gd name="T21" fmla="*/ 2147483647 h 480"/>
                <a:gd name="T22" fmla="*/ 2147483647 w 107"/>
                <a:gd name="T23" fmla="*/ 2147483647 h 480"/>
                <a:gd name="T24" fmla="*/ 2147483647 w 107"/>
                <a:gd name="T25" fmla="*/ 2147483647 h 480"/>
                <a:gd name="T26" fmla="*/ 2147483647 w 107"/>
                <a:gd name="T27" fmla="*/ 2147483647 h 480"/>
                <a:gd name="T28" fmla="*/ 2147483647 w 107"/>
                <a:gd name="T29" fmla="*/ 2147483647 h 480"/>
                <a:gd name="T30" fmla="*/ 2147483647 w 107"/>
                <a:gd name="T31" fmla="*/ 2147483647 h 480"/>
                <a:gd name="T32" fmla="*/ 2147483647 w 107"/>
                <a:gd name="T33" fmla="*/ 2147483647 h 480"/>
                <a:gd name="T34" fmla="*/ 2147483647 w 107"/>
                <a:gd name="T35" fmla="*/ 0 h 480"/>
                <a:gd name="T36" fmla="*/ 0 w 107"/>
                <a:gd name="T37" fmla="*/ 2147483647 h 4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7" h="480">
                  <a:moveTo>
                    <a:pt x="0" y="33"/>
                  </a:moveTo>
                  <a:lnTo>
                    <a:pt x="19" y="77"/>
                  </a:lnTo>
                  <a:lnTo>
                    <a:pt x="38" y="102"/>
                  </a:lnTo>
                  <a:lnTo>
                    <a:pt x="26" y="135"/>
                  </a:lnTo>
                  <a:lnTo>
                    <a:pt x="64" y="200"/>
                  </a:lnTo>
                  <a:lnTo>
                    <a:pt x="82" y="290"/>
                  </a:lnTo>
                  <a:lnTo>
                    <a:pt x="82" y="357"/>
                  </a:lnTo>
                  <a:lnTo>
                    <a:pt x="38" y="423"/>
                  </a:lnTo>
                  <a:lnTo>
                    <a:pt x="45" y="480"/>
                  </a:lnTo>
                  <a:lnTo>
                    <a:pt x="64" y="436"/>
                  </a:lnTo>
                  <a:lnTo>
                    <a:pt x="69" y="457"/>
                  </a:lnTo>
                  <a:lnTo>
                    <a:pt x="69" y="423"/>
                  </a:lnTo>
                  <a:lnTo>
                    <a:pt x="107" y="378"/>
                  </a:lnTo>
                  <a:lnTo>
                    <a:pt x="100" y="269"/>
                  </a:lnTo>
                  <a:lnTo>
                    <a:pt x="50" y="146"/>
                  </a:lnTo>
                  <a:lnTo>
                    <a:pt x="58" y="112"/>
                  </a:lnTo>
                  <a:lnTo>
                    <a:pt x="88" y="56"/>
                  </a:lnTo>
                  <a:lnTo>
                    <a:pt x="45" y="0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98" name="Freeform 852"/>
            <p:cNvSpPr>
              <a:spLocks/>
            </p:cNvSpPr>
            <p:nvPr>
              <p:custDataLst>
                <p:tags r:id="rId692"/>
              </p:custDataLst>
            </p:nvPr>
          </p:nvSpPr>
          <p:spPr bwMode="auto">
            <a:xfrm>
              <a:off x="5400923" y="4016375"/>
              <a:ext cx="219075" cy="166688"/>
            </a:xfrm>
            <a:custGeom>
              <a:avLst/>
              <a:gdLst>
                <a:gd name="T0" fmla="*/ 0 w 149"/>
                <a:gd name="T1" fmla="*/ 2147483647 h 211"/>
                <a:gd name="T2" fmla="*/ 2147483647 w 149"/>
                <a:gd name="T3" fmla="*/ 2147483647 h 211"/>
                <a:gd name="T4" fmla="*/ 2147483647 w 149"/>
                <a:gd name="T5" fmla="*/ 2147483647 h 211"/>
                <a:gd name="T6" fmla="*/ 2147483647 w 149"/>
                <a:gd name="T7" fmla="*/ 2147483647 h 211"/>
                <a:gd name="T8" fmla="*/ 2147483647 w 149"/>
                <a:gd name="T9" fmla="*/ 2147483647 h 211"/>
                <a:gd name="T10" fmla="*/ 2147483647 w 149"/>
                <a:gd name="T11" fmla="*/ 0 h 211"/>
                <a:gd name="T12" fmla="*/ 2147483647 w 149"/>
                <a:gd name="T13" fmla="*/ 2147483647 h 211"/>
                <a:gd name="T14" fmla="*/ 2147483647 w 149"/>
                <a:gd name="T15" fmla="*/ 2147483647 h 211"/>
                <a:gd name="T16" fmla="*/ 2147483647 w 149"/>
                <a:gd name="T17" fmla="*/ 2147483647 h 211"/>
                <a:gd name="T18" fmla="*/ 0 w 149"/>
                <a:gd name="T19" fmla="*/ 2147483647 h 2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9" h="211">
                  <a:moveTo>
                    <a:pt x="0" y="211"/>
                  </a:moveTo>
                  <a:lnTo>
                    <a:pt x="37" y="156"/>
                  </a:lnTo>
                  <a:lnTo>
                    <a:pt x="31" y="144"/>
                  </a:lnTo>
                  <a:lnTo>
                    <a:pt x="43" y="110"/>
                  </a:lnTo>
                  <a:lnTo>
                    <a:pt x="81" y="21"/>
                  </a:lnTo>
                  <a:lnTo>
                    <a:pt x="131" y="0"/>
                  </a:lnTo>
                  <a:lnTo>
                    <a:pt x="149" y="79"/>
                  </a:lnTo>
                  <a:lnTo>
                    <a:pt x="138" y="110"/>
                  </a:lnTo>
                  <a:lnTo>
                    <a:pt x="81" y="167"/>
                  </a:lnTo>
                  <a:lnTo>
                    <a:pt x="0" y="2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699" name="Freeform 853"/>
            <p:cNvSpPr>
              <a:spLocks/>
            </p:cNvSpPr>
            <p:nvPr>
              <p:custDataLst>
                <p:tags r:id="rId693"/>
              </p:custDataLst>
            </p:nvPr>
          </p:nvSpPr>
          <p:spPr bwMode="auto">
            <a:xfrm>
              <a:off x="5400923" y="4016375"/>
              <a:ext cx="219075" cy="166688"/>
            </a:xfrm>
            <a:custGeom>
              <a:avLst/>
              <a:gdLst>
                <a:gd name="T0" fmla="*/ 0 w 149"/>
                <a:gd name="T1" fmla="*/ 2147483647 h 211"/>
                <a:gd name="T2" fmla="*/ 2147483647 w 149"/>
                <a:gd name="T3" fmla="*/ 2147483647 h 211"/>
                <a:gd name="T4" fmla="*/ 2147483647 w 149"/>
                <a:gd name="T5" fmla="*/ 2147483647 h 211"/>
                <a:gd name="T6" fmla="*/ 2147483647 w 149"/>
                <a:gd name="T7" fmla="*/ 2147483647 h 211"/>
                <a:gd name="T8" fmla="*/ 2147483647 w 149"/>
                <a:gd name="T9" fmla="*/ 2147483647 h 211"/>
                <a:gd name="T10" fmla="*/ 2147483647 w 149"/>
                <a:gd name="T11" fmla="*/ 0 h 211"/>
                <a:gd name="T12" fmla="*/ 2147483647 w 149"/>
                <a:gd name="T13" fmla="*/ 2147483647 h 211"/>
                <a:gd name="T14" fmla="*/ 2147483647 w 149"/>
                <a:gd name="T15" fmla="*/ 2147483647 h 211"/>
                <a:gd name="T16" fmla="*/ 2147483647 w 149"/>
                <a:gd name="T17" fmla="*/ 2147483647 h 211"/>
                <a:gd name="T18" fmla="*/ 0 w 149"/>
                <a:gd name="T19" fmla="*/ 2147483647 h 2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9" h="211">
                  <a:moveTo>
                    <a:pt x="0" y="211"/>
                  </a:moveTo>
                  <a:lnTo>
                    <a:pt x="37" y="156"/>
                  </a:lnTo>
                  <a:lnTo>
                    <a:pt x="31" y="144"/>
                  </a:lnTo>
                  <a:lnTo>
                    <a:pt x="43" y="110"/>
                  </a:lnTo>
                  <a:lnTo>
                    <a:pt x="81" y="21"/>
                  </a:lnTo>
                  <a:lnTo>
                    <a:pt x="131" y="0"/>
                  </a:lnTo>
                  <a:lnTo>
                    <a:pt x="149" y="79"/>
                  </a:lnTo>
                  <a:lnTo>
                    <a:pt x="138" y="110"/>
                  </a:lnTo>
                  <a:lnTo>
                    <a:pt x="81" y="167"/>
                  </a:lnTo>
                  <a:lnTo>
                    <a:pt x="0" y="2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00" name="Freeform 854"/>
            <p:cNvSpPr>
              <a:spLocks/>
            </p:cNvSpPr>
            <p:nvPr>
              <p:custDataLst>
                <p:tags r:id="rId694"/>
              </p:custDataLst>
            </p:nvPr>
          </p:nvSpPr>
          <p:spPr bwMode="auto">
            <a:xfrm>
              <a:off x="5400923" y="4016375"/>
              <a:ext cx="219075" cy="166688"/>
            </a:xfrm>
            <a:custGeom>
              <a:avLst/>
              <a:gdLst>
                <a:gd name="T0" fmla="*/ 0 w 149"/>
                <a:gd name="T1" fmla="*/ 2147483647 h 211"/>
                <a:gd name="T2" fmla="*/ 2147483647 w 149"/>
                <a:gd name="T3" fmla="*/ 2147483647 h 211"/>
                <a:gd name="T4" fmla="*/ 2147483647 w 149"/>
                <a:gd name="T5" fmla="*/ 2147483647 h 211"/>
                <a:gd name="T6" fmla="*/ 2147483647 w 149"/>
                <a:gd name="T7" fmla="*/ 2147483647 h 211"/>
                <a:gd name="T8" fmla="*/ 2147483647 w 149"/>
                <a:gd name="T9" fmla="*/ 2147483647 h 211"/>
                <a:gd name="T10" fmla="*/ 2147483647 w 149"/>
                <a:gd name="T11" fmla="*/ 0 h 211"/>
                <a:gd name="T12" fmla="*/ 2147483647 w 149"/>
                <a:gd name="T13" fmla="*/ 2147483647 h 211"/>
                <a:gd name="T14" fmla="*/ 2147483647 w 149"/>
                <a:gd name="T15" fmla="*/ 2147483647 h 211"/>
                <a:gd name="T16" fmla="*/ 2147483647 w 149"/>
                <a:gd name="T17" fmla="*/ 2147483647 h 211"/>
                <a:gd name="T18" fmla="*/ 0 w 149"/>
                <a:gd name="T19" fmla="*/ 2147483647 h 2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9" h="211">
                  <a:moveTo>
                    <a:pt x="0" y="211"/>
                  </a:moveTo>
                  <a:lnTo>
                    <a:pt x="37" y="156"/>
                  </a:lnTo>
                  <a:lnTo>
                    <a:pt x="31" y="144"/>
                  </a:lnTo>
                  <a:lnTo>
                    <a:pt x="43" y="110"/>
                  </a:lnTo>
                  <a:lnTo>
                    <a:pt x="81" y="21"/>
                  </a:lnTo>
                  <a:lnTo>
                    <a:pt x="131" y="0"/>
                  </a:lnTo>
                  <a:lnTo>
                    <a:pt x="149" y="79"/>
                  </a:lnTo>
                  <a:lnTo>
                    <a:pt x="138" y="110"/>
                  </a:lnTo>
                  <a:lnTo>
                    <a:pt x="81" y="167"/>
                  </a:lnTo>
                  <a:lnTo>
                    <a:pt x="0" y="2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01" name="Freeform 855"/>
            <p:cNvSpPr>
              <a:spLocks/>
            </p:cNvSpPr>
            <p:nvPr>
              <p:custDataLst>
                <p:tags r:id="rId695"/>
              </p:custDataLst>
            </p:nvPr>
          </p:nvSpPr>
          <p:spPr bwMode="auto">
            <a:xfrm>
              <a:off x="5381873" y="4059238"/>
              <a:ext cx="82550" cy="123825"/>
            </a:xfrm>
            <a:custGeom>
              <a:avLst/>
              <a:gdLst>
                <a:gd name="T0" fmla="*/ 0 w 56"/>
                <a:gd name="T1" fmla="*/ 2147483647 h 155"/>
                <a:gd name="T2" fmla="*/ 2147483647 w 56"/>
                <a:gd name="T3" fmla="*/ 2147483647 h 155"/>
                <a:gd name="T4" fmla="*/ 2147483647 w 56"/>
                <a:gd name="T5" fmla="*/ 2147483647 h 155"/>
                <a:gd name="T6" fmla="*/ 2147483647 w 56"/>
                <a:gd name="T7" fmla="*/ 2147483647 h 155"/>
                <a:gd name="T8" fmla="*/ 2147483647 w 56"/>
                <a:gd name="T9" fmla="*/ 2147483647 h 155"/>
                <a:gd name="T10" fmla="*/ 2147483647 w 56"/>
                <a:gd name="T11" fmla="*/ 2147483647 h 155"/>
                <a:gd name="T12" fmla="*/ 2147483647 w 56"/>
                <a:gd name="T13" fmla="*/ 0 h 155"/>
                <a:gd name="T14" fmla="*/ 0 w 56"/>
                <a:gd name="T15" fmla="*/ 2147483647 h 15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155">
                  <a:moveTo>
                    <a:pt x="0" y="32"/>
                  </a:moveTo>
                  <a:lnTo>
                    <a:pt x="12" y="155"/>
                  </a:lnTo>
                  <a:lnTo>
                    <a:pt x="51" y="100"/>
                  </a:lnTo>
                  <a:lnTo>
                    <a:pt x="44" y="88"/>
                  </a:lnTo>
                  <a:lnTo>
                    <a:pt x="56" y="55"/>
                  </a:lnTo>
                  <a:lnTo>
                    <a:pt x="56" y="23"/>
                  </a:lnTo>
                  <a:lnTo>
                    <a:pt x="25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02" name="Freeform 856"/>
            <p:cNvSpPr>
              <a:spLocks/>
            </p:cNvSpPr>
            <p:nvPr>
              <p:custDataLst>
                <p:tags r:id="rId696"/>
              </p:custDataLst>
            </p:nvPr>
          </p:nvSpPr>
          <p:spPr bwMode="auto">
            <a:xfrm>
              <a:off x="5381873" y="4059238"/>
              <a:ext cx="82550" cy="123825"/>
            </a:xfrm>
            <a:custGeom>
              <a:avLst/>
              <a:gdLst>
                <a:gd name="T0" fmla="*/ 0 w 56"/>
                <a:gd name="T1" fmla="*/ 2147483647 h 155"/>
                <a:gd name="T2" fmla="*/ 2147483647 w 56"/>
                <a:gd name="T3" fmla="*/ 2147483647 h 155"/>
                <a:gd name="T4" fmla="*/ 2147483647 w 56"/>
                <a:gd name="T5" fmla="*/ 2147483647 h 155"/>
                <a:gd name="T6" fmla="*/ 2147483647 w 56"/>
                <a:gd name="T7" fmla="*/ 2147483647 h 155"/>
                <a:gd name="T8" fmla="*/ 2147483647 w 56"/>
                <a:gd name="T9" fmla="*/ 2147483647 h 155"/>
                <a:gd name="T10" fmla="*/ 2147483647 w 56"/>
                <a:gd name="T11" fmla="*/ 2147483647 h 155"/>
                <a:gd name="T12" fmla="*/ 2147483647 w 56"/>
                <a:gd name="T13" fmla="*/ 0 h 155"/>
                <a:gd name="T14" fmla="*/ 0 w 56"/>
                <a:gd name="T15" fmla="*/ 2147483647 h 15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155">
                  <a:moveTo>
                    <a:pt x="0" y="32"/>
                  </a:moveTo>
                  <a:lnTo>
                    <a:pt x="12" y="155"/>
                  </a:lnTo>
                  <a:lnTo>
                    <a:pt x="51" y="100"/>
                  </a:lnTo>
                  <a:lnTo>
                    <a:pt x="44" y="88"/>
                  </a:lnTo>
                  <a:lnTo>
                    <a:pt x="56" y="55"/>
                  </a:lnTo>
                  <a:lnTo>
                    <a:pt x="56" y="23"/>
                  </a:lnTo>
                  <a:lnTo>
                    <a:pt x="25" y="0"/>
                  </a:lnTo>
                  <a:lnTo>
                    <a:pt x="0" y="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03" name="Freeform 857"/>
            <p:cNvSpPr>
              <a:spLocks/>
            </p:cNvSpPr>
            <p:nvPr>
              <p:custDataLst>
                <p:tags r:id="rId697"/>
              </p:custDataLst>
            </p:nvPr>
          </p:nvSpPr>
          <p:spPr bwMode="auto">
            <a:xfrm>
              <a:off x="5381873" y="4059238"/>
              <a:ext cx="82550" cy="123825"/>
            </a:xfrm>
            <a:custGeom>
              <a:avLst/>
              <a:gdLst>
                <a:gd name="T0" fmla="*/ 0 w 56"/>
                <a:gd name="T1" fmla="*/ 2147483647 h 155"/>
                <a:gd name="T2" fmla="*/ 2147483647 w 56"/>
                <a:gd name="T3" fmla="*/ 2147483647 h 155"/>
                <a:gd name="T4" fmla="*/ 2147483647 w 56"/>
                <a:gd name="T5" fmla="*/ 2147483647 h 155"/>
                <a:gd name="T6" fmla="*/ 2147483647 w 56"/>
                <a:gd name="T7" fmla="*/ 2147483647 h 155"/>
                <a:gd name="T8" fmla="*/ 2147483647 w 56"/>
                <a:gd name="T9" fmla="*/ 2147483647 h 155"/>
                <a:gd name="T10" fmla="*/ 2147483647 w 56"/>
                <a:gd name="T11" fmla="*/ 2147483647 h 155"/>
                <a:gd name="T12" fmla="*/ 2147483647 w 56"/>
                <a:gd name="T13" fmla="*/ 0 h 155"/>
                <a:gd name="T14" fmla="*/ 0 w 56"/>
                <a:gd name="T15" fmla="*/ 2147483647 h 15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155">
                  <a:moveTo>
                    <a:pt x="0" y="32"/>
                  </a:moveTo>
                  <a:lnTo>
                    <a:pt x="12" y="155"/>
                  </a:lnTo>
                  <a:lnTo>
                    <a:pt x="51" y="100"/>
                  </a:lnTo>
                  <a:lnTo>
                    <a:pt x="44" y="88"/>
                  </a:lnTo>
                  <a:lnTo>
                    <a:pt x="56" y="55"/>
                  </a:lnTo>
                  <a:lnTo>
                    <a:pt x="56" y="23"/>
                  </a:lnTo>
                  <a:lnTo>
                    <a:pt x="25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704" name="Group 858"/>
            <p:cNvGrpSpPr>
              <a:grpSpLocks/>
            </p:cNvGrpSpPr>
            <p:nvPr>
              <p:custDataLst>
                <p:tags r:id="rId698"/>
              </p:custDataLst>
            </p:nvPr>
          </p:nvGrpSpPr>
          <p:grpSpPr bwMode="auto">
            <a:xfrm>
              <a:off x="5381873" y="4016375"/>
              <a:ext cx="238125" cy="166688"/>
              <a:chOff x="3608" y="2348"/>
              <a:chExt cx="162" cy="10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77" name="Freeform 859"/>
              <p:cNvSpPr>
                <a:spLocks/>
              </p:cNvSpPr>
              <p:nvPr/>
            </p:nvSpPr>
            <p:spPr bwMode="auto">
              <a:xfrm>
                <a:off x="3621" y="2348"/>
                <a:ext cx="149" cy="105"/>
              </a:xfrm>
              <a:custGeom>
                <a:avLst/>
                <a:gdLst>
                  <a:gd name="T0" fmla="*/ 0 w 149"/>
                  <a:gd name="T1" fmla="*/ 0 h 211"/>
                  <a:gd name="T2" fmla="*/ 37 w 149"/>
                  <a:gd name="T3" fmla="*/ 0 h 211"/>
                  <a:gd name="T4" fmla="*/ 31 w 149"/>
                  <a:gd name="T5" fmla="*/ 0 h 211"/>
                  <a:gd name="T6" fmla="*/ 43 w 149"/>
                  <a:gd name="T7" fmla="*/ 0 h 211"/>
                  <a:gd name="T8" fmla="*/ 81 w 149"/>
                  <a:gd name="T9" fmla="*/ 0 h 211"/>
                  <a:gd name="T10" fmla="*/ 131 w 149"/>
                  <a:gd name="T11" fmla="*/ 0 h 211"/>
                  <a:gd name="T12" fmla="*/ 149 w 149"/>
                  <a:gd name="T13" fmla="*/ 0 h 211"/>
                  <a:gd name="T14" fmla="*/ 138 w 149"/>
                  <a:gd name="T15" fmla="*/ 0 h 211"/>
                  <a:gd name="T16" fmla="*/ 81 w 149"/>
                  <a:gd name="T17" fmla="*/ 0 h 211"/>
                  <a:gd name="T18" fmla="*/ 0 w 149"/>
                  <a:gd name="T19" fmla="*/ 0 h 2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49" h="211">
                    <a:moveTo>
                      <a:pt x="0" y="211"/>
                    </a:moveTo>
                    <a:lnTo>
                      <a:pt x="37" y="156"/>
                    </a:lnTo>
                    <a:lnTo>
                      <a:pt x="31" y="144"/>
                    </a:lnTo>
                    <a:lnTo>
                      <a:pt x="43" y="110"/>
                    </a:lnTo>
                    <a:lnTo>
                      <a:pt x="81" y="21"/>
                    </a:lnTo>
                    <a:lnTo>
                      <a:pt x="131" y="0"/>
                    </a:lnTo>
                    <a:lnTo>
                      <a:pt x="149" y="79"/>
                    </a:lnTo>
                    <a:lnTo>
                      <a:pt x="138" y="110"/>
                    </a:lnTo>
                    <a:lnTo>
                      <a:pt x="81" y="167"/>
                    </a:lnTo>
                    <a:lnTo>
                      <a:pt x="0" y="211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78" name="Freeform 860"/>
              <p:cNvSpPr>
                <a:spLocks/>
              </p:cNvSpPr>
              <p:nvPr/>
            </p:nvSpPr>
            <p:spPr bwMode="auto">
              <a:xfrm>
                <a:off x="3608" y="2375"/>
                <a:ext cx="56" cy="78"/>
              </a:xfrm>
              <a:custGeom>
                <a:avLst/>
                <a:gdLst>
                  <a:gd name="T0" fmla="*/ 0 w 56"/>
                  <a:gd name="T1" fmla="*/ 1 h 155"/>
                  <a:gd name="T2" fmla="*/ 12 w 56"/>
                  <a:gd name="T3" fmla="*/ 1 h 155"/>
                  <a:gd name="T4" fmla="*/ 51 w 56"/>
                  <a:gd name="T5" fmla="*/ 1 h 155"/>
                  <a:gd name="T6" fmla="*/ 44 w 56"/>
                  <a:gd name="T7" fmla="*/ 1 h 155"/>
                  <a:gd name="T8" fmla="*/ 56 w 56"/>
                  <a:gd name="T9" fmla="*/ 1 h 155"/>
                  <a:gd name="T10" fmla="*/ 56 w 56"/>
                  <a:gd name="T11" fmla="*/ 1 h 155"/>
                  <a:gd name="T12" fmla="*/ 25 w 56"/>
                  <a:gd name="T13" fmla="*/ 0 h 155"/>
                  <a:gd name="T14" fmla="*/ 0 w 56"/>
                  <a:gd name="T15" fmla="*/ 1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6" h="155">
                    <a:moveTo>
                      <a:pt x="0" y="32"/>
                    </a:moveTo>
                    <a:lnTo>
                      <a:pt x="12" y="155"/>
                    </a:lnTo>
                    <a:lnTo>
                      <a:pt x="51" y="100"/>
                    </a:lnTo>
                    <a:lnTo>
                      <a:pt x="44" y="88"/>
                    </a:lnTo>
                    <a:lnTo>
                      <a:pt x="56" y="55"/>
                    </a:lnTo>
                    <a:lnTo>
                      <a:pt x="56" y="23"/>
                    </a:lnTo>
                    <a:lnTo>
                      <a:pt x="25" y="0"/>
                    </a:lnTo>
                    <a:lnTo>
                      <a:pt x="0" y="32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705" name="Freeform 861"/>
            <p:cNvSpPr>
              <a:spLocks/>
            </p:cNvSpPr>
            <p:nvPr>
              <p:custDataLst>
                <p:tags r:id="rId699"/>
              </p:custDataLst>
            </p:nvPr>
          </p:nvSpPr>
          <p:spPr bwMode="auto">
            <a:xfrm>
              <a:off x="4723061" y="3219450"/>
              <a:ext cx="209550" cy="185738"/>
            </a:xfrm>
            <a:custGeom>
              <a:avLst/>
              <a:gdLst>
                <a:gd name="T0" fmla="*/ 0 w 143"/>
                <a:gd name="T1" fmla="*/ 2147483647 h 234"/>
                <a:gd name="T2" fmla="*/ 0 w 143"/>
                <a:gd name="T3" fmla="*/ 2147483647 h 234"/>
                <a:gd name="T4" fmla="*/ 2147483647 w 143"/>
                <a:gd name="T5" fmla="*/ 0 h 234"/>
                <a:gd name="T6" fmla="*/ 2147483647 w 143"/>
                <a:gd name="T7" fmla="*/ 2147483647 h 234"/>
                <a:gd name="T8" fmla="*/ 2147483647 w 143"/>
                <a:gd name="T9" fmla="*/ 2147483647 h 234"/>
                <a:gd name="T10" fmla="*/ 2147483647 w 143"/>
                <a:gd name="T11" fmla="*/ 2147483647 h 234"/>
                <a:gd name="T12" fmla="*/ 2147483647 w 143"/>
                <a:gd name="T13" fmla="*/ 2147483647 h 234"/>
                <a:gd name="T14" fmla="*/ 2147483647 w 143"/>
                <a:gd name="T15" fmla="*/ 2147483647 h 234"/>
                <a:gd name="T16" fmla="*/ 2147483647 w 143"/>
                <a:gd name="T17" fmla="*/ 2147483647 h 234"/>
                <a:gd name="T18" fmla="*/ 2147483647 w 143"/>
                <a:gd name="T19" fmla="*/ 2147483647 h 234"/>
                <a:gd name="T20" fmla="*/ 2147483647 w 143"/>
                <a:gd name="T21" fmla="*/ 2147483647 h 234"/>
                <a:gd name="T22" fmla="*/ 2147483647 w 143"/>
                <a:gd name="T23" fmla="*/ 2147483647 h 234"/>
                <a:gd name="T24" fmla="*/ 2147483647 w 143"/>
                <a:gd name="T25" fmla="*/ 2147483647 h 234"/>
                <a:gd name="T26" fmla="*/ 0 w 143"/>
                <a:gd name="T27" fmla="*/ 2147483647 h 234"/>
                <a:gd name="T28" fmla="*/ 0 w 143"/>
                <a:gd name="T29" fmla="*/ 2147483647 h 2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3" h="234">
                  <a:moveTo>
                    <a:pt x="0" y="55"/>
                  </a:moveTo>
                  <a:lnTo>
                    <a:pt x="0" y="23"/>
                  </a:lnTo>
                  <a:lnTo>
                    <a:pt x="37" y="0"/>
                  </a:lnTo>
                  <a:lnTo>
                    <a:pt x="68" y="44"/>
                  </a:lnTo>
                  <a:lnTo>
                    <a:pt x="100" y="32"/>
                  </a:lnTo>
                  <a:lnTo>
                    <a:pt x="137" y="101"/>
                  </a:lnTo>
                  <a:lnTo>
                    <a:pt x="137" y="178"/>
                  </a:lnTo>
                  <a:lnTo>
                    <a:pt x="143" y="211"/>
                  </a:lnTo>
                  <a:lnTo>
                    <a:pt x="111" y="234"/>
                  </a:lnTo>
                  <a:lnTo>
                    <a:pt x="100" y="167"/>
                  </a:lnTo>
                  <a:lnTo>
                    <a:pt x="87" y="190"/>
                  </a:lnTo>
                  <a:lnTo>
                    <a:pt x="37" y="134"/>
                  </a:lnTo>
                  <a:lnTo>
                    <a:pt x="12" y="67"/>
                  </a:lnTo>
                  <a:lnTo>
                    <a:pt x="0" y="78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06" name="Freeform 862"/>
            <p:cNvSpPr>
              <a:spLocks/>
            </p:cNvSpPr>
            <p:nvPr>
              <p:custDataLst>
                <p:tags r:id="rId700"/>
              </p:custDataLst>
            </p:nvPr>
          </p:nvSpPr>
          <p:spPr bwMode="auto">
            <a:xfrm>
              <a:off x="4723061" y="3219450"/>
              <a:ext cx="209550" cy="185738"/>
            </a:xfrm>
            <a:custGeom>
              <a:avLst/>
              <a:gdLst>
                <a:gd name="T0" fmla="*/ 0 w 143"/>
                <a:gd name="T1" fmla="*/ 2147483647 h 234"/>
                <a:gd name="T2" fmla="*/ 0 w 143"/>
                <a:gd name="T3" fmla="*/ 2147483647 h 234"/>
                <a:gd name="T4" fmla="*/ 2147483647 w 143"/>
                <a:gd name="T5" fmla="*/ 0 h 234"/>
                <a:gd name="T6" fmla="*/ 2147483647 w 143"/>
                <a:gd name="T7" fmla="*/ 2147483647 h 234"/>
                <a:gd name="T8" fmla="*/ 2147483647 w 143"/>
                <a:gd name="T9" fmla="*/ 2147483647 h 234"/>
                <a:gd name="T10" fmla="*/ 2147483647 w 143"/>
                <a:gd name="T11" fmla="*/ 2147483647 h 234"/>
                <a:gd name="T12" fmla="*/ 2147483647 w 143"/>
                <a:gd name="T13" fmla="*/ 2147483647 h 234"/>
                <a:gd name="T14" fmla="*/ 2147483647 w 143"/>
                <a:gd name="T15" fmla="*/ 2147483647 h 234"/>
                <a:gd name="T16" fmla="*/ 2147483647 w 143"/>
                <a:gd name="T17" fmla="*/ 2147483647 h 234"/>
                <a:gd name="T18" fmla="*/ 2147483647 w 143"/>
                <a:gd name="T19" fmla="*/ 2147483647 h 234"/>
                <a:gd name="T20" fmla="*/ 2147483647 w 143"/>
                <a:gd name="T21" fmla="*/ 2147483647 h 234"/>
                <a:gd name="T22" fmla="*/ 2147483647 w 143"/>
                <a:gd name="T23" fmla="*/ 2147483647 h 234"/>
                <a:gd name="T24" fmla="*/ 2147483647 w 143"/>
                <a:gd name="T25" fmla="*/ 2147483647 h 234"/>
                <a:gd name="T26" fmla="*/ 0 w 143"/>
                <a:gd name="T27" fmla="*/ 2147483647 h 234"/>
                <a:gd name="T28" fmla="*/ 0 w 143"/>
                <a:gd name="T29" fmla="*/ 2147483647 h 2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3" h="234">
                  <a:moveTo>
                    <a:pt x="0" y="55"/>
                  </a:moveTo>
                  <a:lnTo>
                    <a:pt x="0" y="23"/>
                  </a:lnTo>
                  <a:lnTo>
                    <a:pt x="37" y="0"/>
                  </a:lnTo>
                  <a:lnTo>
                    <a:pt x="68" y="44"/>
                  </a:lnTo>
                  <a:lnTo>
                    <a:pt x="100" y="32"/>
                  </a:lnTo>
                  <a:lnTo>
                    <a:pt x="137" y="101"/>
                  </a:lnTo>
                  <a:lnTo>
                    <a:pt x="137" y="178"/>
                  </a:lnTo>
                  <a:lnTo>
                    <a:pt x="143" y="211"/>
                  </a:lnTo>
                  <a:lnTo>
                    <a:pt x="111" y="234"/>
                  </a:lnTo>
                  <a:lnTo>
                    <a:pt x="100" y="167"/>
                  </a:lnTo>
                  <a:lnTo>
                    <a:pt x="87" y="190"/>
                  </a:lnTo>
                  <a:lnTo>
                    <a:pt x="37" y="134"/>
                  </a:lnTo>
                  <a:lnTo>
                    <a:pt x="12" y="67"/>
                  </a:lnTo>
                  <a:lnTo>
                    <a:pt x="0" y="78"/>
                  </a:lnTo>
                  <a:lnTo>
                    <a:pt x="0" y="5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07" name="Freeform 863"/>
            <p:cNvSpPr>
              <a:spLocks/>
            </p:cNvSpPr>
            <p:nvPr>
              <p:custDataLst>
                <p:tags r:id="rId701"/>
              </p:custDataLst>
            </p:nvPr>
          </p:nvSpPr>
          <p:spPr bwMode="auto">
            <a:xfrm>
              <a:off x="4723061" y="3219450"/>
              <a:ext cx="209550" cy="185738"/>
            </a:xfrm>
            <a:custGeom>
              <a:avLst/>
              <a:gdLst>
                <a:gd name="T0" fmla="*/ 0 w 143"/>
                <a:gd name="T1" fmla="*/ 2147483647 h 234"/>
                <a:gd name="T2" fmla="*/ 0 w 143"/>
                <a:gd name="T3" fmla="*/ 2147483647 h 234"/>
                <a:gd name="T4" fmla="*/ 2147483647 w 143"/>
                <a:gd name="T5" fmla="*/ 0 h 234"/>
                <a:gd name="T6" fmla="*/ 2147483647 w 143"/>
                <a:gd name="T7" fmla="*/ 2147483647 h 234"/>
                <a:gd name="T8" fmla="*/ 2147483647 w 143"/>
                <a:gd name="T9" fmla="*/ 2147483647 h 234"/>
                <a:gd name="T10" fmla="*/ 2147483647 w 143"/>
                <a:gd name="T11" fmla="*/ 2147483647 h 234"/>
                <a:gd name="T12" fmla="*/ 2147483647 w 143"/>
                <a:gd name="T13" fmla="*/ 2147483647 h 234"/>
                <a:gd name="T14" fmla="*/ 2147483647 w 143"/>
                <a:gd name="T15" fmla="*/ 2147483647 h 234"/>
                <a:gd name="T16" fmla="*/ 2147483647 w 143"/>
                <a:gd name="T17" fmla="*/ 2147483647 h 234"/>
                <a:gd name="T18" fmla="*/ 2147483647 w 143"/>
                <a:gd name="T19" fmla="*/ 2147483647 h 234"/>
                <a:gd name="T20" fmla="*/ 2147483647 w 143"/>
                <a:gd name="T21" fmla="*/ 2147483647 h 234"/>
                <a:gd name="T22" fmla="*/ 2147483647 w 143"/>
                <a:gd name="T23" fmla="*/ 2147483647 h 234"/>
                <a:gd name="T24" fmla="*/ 2147483647 w 143"/>
                <a:gd name="T25" fmla="*/ 2147483647 h 234"/>
                <a:gd name="T26" fmla="*/ 0 w 143"/>
                <a:gd name="T27" fmla="*/ 2147483647 h 234"/>
                <a:gd name="T28" fmla="*/ 0 w 143"/>
                <a:gd name="T29" fmla="*/ 2147483647 h 2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3" h="234">
                  <a:moveTo>
                    <a:pt x="0" y="55"/>
                  </a:moveTo>
                  <a:lnTo>
                    <a:pt x="0" y="23"/>
                  </a:lnTo>
                  <a:lnTo>
                    <a:pt x="37" y="0"/>
                  </a:lnTo>
                  <a:lnTo>
                    <a:pt x="68" y="44"/>
                  </a:lnTo>
                  <a:lnTo>
                    <a:pt x="100" y="32"/>
                  </a:lnTo>
                  <a:lnTo>
                    <a:pt x="137" y="101"/>
                  </a:lnTo>
                  <a:lnTo>
                    <a:pt x="137" y="178"/>
                  </a:lnTo>
                  <a:lnTo>
                    <a:pt x="143" y="211"/>
                  </a:lnTo>
                  <a:lnTo>
                    <a:pt x="111" y="234"/>
                  </a:lnTo>
                  <a:lnTo>
                    <a:pt x="100" y="167"/>
                  </a:lnTo>
                  <a:lnTo>
                    <a:pt x="87" y="190"/>
                  </a:lnTo>
                  <a:lnTo>
                    <a:pt x="37" y="134"/>
                  </a:lnTo>
                  <a:lnTo>
                    <a:pt x="12" y="67"/>
                  </a:lnTo>
                  <a:lnTo>
                    <a:pt x="0" y="78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08" name="Freeform 864"/>
            <p:cNvSpPr>
              <a:spLocks/>
            </p:cNvSpPr>
            <p:nvPr>
              <p:custDataLst>
                <p:tags r:id="rId702"/>
              </p:custDataLst>
            </p:nvPr>
          </p:nvSpPr>
          <p:spPr bwMode="auto">
            <a:xfrm>
              <a:off x="4723061" y="3219450"/>
              <a:ext cx="209550" cy="185738"/>
            </a:xfrm>
            <a:custGeom>
              <a:avLst/>
              <a:gdLst>
                <a:gd name="T0" fmla="*/ 0 w 143"/>
                <a:gd name="T1" fmla="*/ 2147483647 h 234"/>
                <a:gd name="T2" fmla="*/ 0 w 143"/>
                <a:gd name="T3" fmla="*/ 2147483647 h 234"/>
                <a:gd name="T4" fmla="*/ 2147483647 w 143"/>
                <a:gd name="T5" fmla="*/ 0 h 234"/>
                <a:gd name="T6" fmla="*/ 2147483647 w 143"/>
                <a:gd name="T7" fmla="*/ 2147483647 h 234"/>
                <a:gd name="T8" fmla="*/ 2147483647 w 143"/>
                <a:gd name="T9" fmla="*/ 2147483647 h 234"/>
                <a:gd name="T10" fmla="*/ 2147483647 w 143"/>
                <a:gd name="T11" fmla="*/ 2147483647 h 234"/>
                <a:gd name="T12" fmla="*/ 2147483647 w 143"/>
                <a:gd name="T13" fmla="*/ 2147483647 h 234"/>
                <a:gd name="T14" fmla="*/ 2147483647 w 143"/>
                <a:gd name="T15" fmla="*/ 2147483647 h 234"/>
                <a:gd name="T16" fmla="*/ 2147483647 w 143"/>
                <a:gd name="T17" fmla="*/ 2147483647 h 234"/>
                <a:gd name="T18" fmla="*/ 2147483647 w 143"/>
                <a:gd name="T19" fmla="*/ 2147483647 h 234"/>
                <a:gd name="T20" fmla="*/ 2147483647 w 143"/>
                <a:gd name="T21" fmla="*/ 2147483647 h 234"/>
                <a:gd name="T22" fmla="*/ 2147483647 w 143"/>
                <a:gd name="T23" fmla="*/ 2147483647 h 234"/>
                <a:gd name="T24" fmla="*/ 2147483647 w 143"/>
                <a:gd name="T25" fmla="*/ 2147483647 h 234"/>
                <a:gd name="T26" fmla="*/ 0 w 143"/>
                <a:gd name="T27" fmla="*/ 2147483647 h 234"/>
                <a:gd name="T28" fmla="*/ 0 w 143"/>
                <a:gd name="T29" fmla="*/ 2147483647 h 2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3" h="234">
                  <a:moveTo>
                    <a:pt x="0" y="55"/>
                  </a:moveTo>
                  <a:lnTo>
                    <a:pt x="0" y="23"/>
                  </a:lnTo>
                  <a:lnTo>
                    <a:pt x="37" y="0"/>
                  </a:lnTo>
                  <a:lnTo>
                    <a:pt x="68" y="44"/>
                  </a:lnTo>
                  <a:lnTo>
                    <a:pt x="100" y="32"/>
                  </a:lnTo>
                  <a:lnTo>
                    <a:pt x="137" y="101"/>
                  </a:lnTo>
                  <a:lnTo>
                    <a:pt x="137" y="178"/>
                  </a:lnTo>
                  <a:lnTo>
                    <a:pt x="143" y="211"/>
                  </a:lnTo>
                  <a:lnTo>
                    <a:pt x="111" y="234"/>
                  </a:lnTo>
                  <a:lnTo>
                    <a:pt x="100" y="167"/>
                  </a:lnTo>
                  <a:lnTo>
                    <a:pt x="87" y="190"/>
                  </a:lnTo>
                  <a:lnTo>
                    <a:pt x="37" y="134"/>
                  </a:lnTo>
                  <a:lnTo>
                    <a:pt x="12" y="67"/>
                  </a:lnTo>
                  <a:lnTo>
                    <a:pt x="0" y="78"/>
                  </a:lnTo>
                  <a:lnTo>
                    <a:pt x="0" y="55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09" name="Freeform 865"/>
            <p:cNvSpPr>
              <a:spLocks/>
            </p:cNvSpPr>
            <p:nvPr>
              <p:custDataLst>
                <p:tags r:id="rId703"/>
              </p:custDataLst>
            </p:nvPr>
          </p:nvSpPr>
          <p:spPr bwMode="auto">
            <a:xfrm>
              <a:off x="4669086" y="4641850"/>
              <a:ext cx="290512" cy="320675"/>
            </a:xfrm>
            <a:custGeom>
              <a:avLst/>
              <a:gdLst>
                <a:gd name="T0" fmla="*/ 0 w 198"/>
                <a:gd name="T1" fmla="*/ 2147483647 h 404"/>
                <a:gd name="T2" fmla="*/ 2147483647 w 198"/>
                <a:gd name="T3" fmla="*/ 2147483647 h 404"/>
                <a:gd name="T4" fmla="*/ 2147483647 w 198"/>
                <a:gd name="T5" fmla="*/ 2147483647 h 404"/>
                <a:gd name="T6" fmla="*/ 2147483647 w 198"/>
                <a:gd name="T7" fmla="*/ 2147483647 h 404"/>
                <a:gd name="T8" fmla="*/ 2147483647 w 198"/>
                <a:gd name="T9" fmla="*/ 2147483647 h 404"/>
                <a:gd name="T10" fmla="*/ 2147483647 w 198"/>
                <a:gd name="T11" fmla="*/ 2147483647 h 404"/>
                <a:gd name="T12" fmla="*/ 2147483647 w 198"/>
                <a:gd name="T13" fmla="*/ 2147483647 h 404"/>
                <a:gd name="T14" fmla="*/ 2147483647 w 198"/>
                <a:gd name="T15" fmla="*/ 2147483647 h 404"/>
                <a:gd name="T16" fmla="*/ 2147483647 w 198"/>
                <a:gd name="T17" fmla="*/ 2147483647 h 404"/>
                <a:gd name="T18" fmla="*/ 2147483647 w 198"/>
                <a:gd name="T19" fmla="*/ 2147483647 h 404"/>
                <a:gd name="T20" fmla="*/ 2147483647 w 198"/>
                <a:gd name="T21" fmla="*/ 2147483647 h 404"/>
                <a:gd name="T22" fmla="*/ 2147483647 w 198"/>
                <a:gd name="T23" fmla="*/ 2147483647 h 404"/>
                <a:gd name="T24" fmla="*/ 2147483647 w 198"/>
                <a:gd name="T25" fmla="*/ 2147483647 h 404"/>
                <a:gd name="T26" fmla="*/ 2147483647 w 198"/>
                <a:gd name="T27" fmla="*/ 2147483647 h 404"/>
                <a:gd name="T28" fmla="*/ 2147483647 w 198"/>
                <a:gd name="T29" fmla="*/ 0 h 404"/>
                <a:gd name="T30" fmla="*/ 2147483647 w 198"/>
                <a:gd name="T31" fmla="*/ 2147483647 h 404"/>
                <a:gd name="T32" fmla="*/ 2147483647 w 198"/>
                <a:gd name="T33" fmla="*/ 2147483647 h 404"/>
                <a:gd name="T34" fmla="*/ 0 w 198"/>
                <a:gd name="T35" fmla="*/ 2147483647 h 40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98" h="404">
                  <a:moveTo>
                    <a:pt x="0" y="381"/>
                  </a:moveTo>
                  <a:lnTo>
                    <a:pt x="31" y="369"/>
                  </a:lnTo>
                  <a:lnTo>
                    <a:pt x="155" y="404"/>
                  </a:lnTo>
                  <a:lnTo>
                    <a:pt x="180" y="381"/>
                  </a:lnTo>
                  <a:lnTo>
                    <a:pt x="162" y="358"/>
                  </a:lnTo>
                  <a:lnTo>
                    <a:pt x="162" y="237"/>
                  </a:lnTo>
                  <a:lnTo>
                    <a:pt x="198" y="237"/>
                  </a:lnTo>
                  <a:lnTo>
                    <a:pt x="193" y="168"/>
                  </a:lnTo>
                  <a:lnTo>
                    <a:pt x="162" y="179"/>
                  </a:lnTo>
                  <a:lnTo>
                    <a:pt x="162" y="56"/>
                  </a:lnTo>
                  <a:lnTo>
                    <a:pt x="143" y="45"/>
                  </a:lnTo>
                  <a:lnTo>
                    <a:pt x="124" y="45"/>
                  </a:lnTo>
                  <a:lnTo>
                    <a:pt x="118" y="79"/>
                  </a:lnTo>
                  <a:lnTo>
                    <a:pt x="99" y="79"/>
                  </a:lnTo>
                  <a:lnTo>
                    <a:pt x="74" y="0"/>
                  </a:lnTo>
                  <a:lnTo>
                    <a:pt x="12" y="23"/>
                  </a:lnTo>
                  <a:lnTo>
                    <a:pt x="37" y="168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10" name="Freeform 866"/>
            <p:cNvSpPr>
              <a:spLocks/>
            </p:cNvSpPr>
            <p:nvPr>
              <p:custDataLst>
                <p:tags r:id="rId704"/>
              </p:custDataLst>
            </p:nvPr>
          </p:nvSpPr>
          <p:spPr bwMode="auto">
            <a:xfrm>
              <a:off x="4669086" y="4641850"/>
              <a:ext cx="290512" cy="320675"/>
            </a:xfrm>
            <a:custGeom>
              <a:avLst/>
              <a:gdLst>
                <a:gd name="T0" fmla="*/ 0 w 198"/>
                <a:gd name="T1" fmla="*/ 2147483647 h 404"/>
                <a:gd name="T2" fmla="*/ 2147483647 w 198"/>
                <a:gd name="T3" fmla="*/ 2147483647 h 404"/>
                <a:gd name="T4" fmla="*/ 2147483647 w 198"/>
                <a:gd name="T5" fmla="*/ 2147483647 h 404"/>
                <a:gd name="T6" fmla="*/ 2147483647 w 198"/>
                <a:gd name="T7" fmla="*/ 2147483647 h 404"/>
                <a:gd name="T8" fmla="*/ 2147483647 w 198"/>
                <a:gd name="T9" fmla="*/ 2147483647 h 404"/>
                <a:gd name="T10" fmla="*/ 2147483647 w 198"/>
                <a:gd name="T11" fmla="*/ 2147483647 h 404"/>
                <a:gd name="T12" fmla="*/ 2147483647 w 198"/>
                <a:gd name="T13" fmla="*/ 2147483647 h 404"/>
                <a:gd name="T14" fmla="*/ 2147483647 w 198"/>
                <a:gd name="T15" fmla="*/ 2147483647 h 404"/>
                <a:gd name="T16" fmla="*/ 2147483647 w 198"/>
                <a:gd name="T17" fmla="*/ 2147483647 h 404"/>
                <a:gd name="T18" fmla="*/ 2147483647 w 198"/>
                <a:gd name="T19" fmla="*/ 2147483647 h 404"/>
                <a:gd name="T20" fmla="*/ 2147483647 w 198"/>
                <a:gd name="T21" fmla="*/ 2147483647 h 404"/>
                <a:gd name="T22" fmla="*/ 2147483647 w 198"/>
                <a:gd name="T23" fmla="*/ 2147483647 h 404"/>
                <a:gd name="T24" fmla="*/ 2147483647 w 198"/>
                <a:gd name="T25" fmla="*/ 2147483647 h 404"/>
                <a:gd name="T26" fmla="*/ 2147483647 w 198"/>
                <a:gd name="T27" fmla="*/ 2147483647 h 404"/>
                <a:gd name="T28" fmla="*/ 2147483647 w 198"/>
                <a:gd name="T29" fmla="*/ 0 h 404"/>
                <a:gd name="T30" fmla="*/ 2147483647 w 198"/>
                <a:gd name="T31" fmla="*/ 2147483647 h 404"/>
                <a:gd name="T32" fmla="*/ 2147483647 w 198"/>
                <a:gd name="T33" fmla="*/ 2147483647 h 404"/>
                <a:gd name="T34" fmla="*/ 0 w 198"/>
                <a:gd name="T35" fmla="*/ 2147483647 h 40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98" h="404">
                  <a:moveTo>
                    <a:pt x="0" y="381"/>
                  </a:moveTo>
                  <a:lnTo>
                    <a:pt x="31" y="369"/>
                  </a:lnTo>
                  <a:lnTo>
                    <a:pt x="155" y="404"/>
                  </a:lnTo>
                  <a:lnTo>
                    <a:pt x="180" y="381"/>
                  </a:lnTo>
                  <a:lnTo>
                    <a:pt x="162" y="358"/>
                  </a:lnTo>
                  <a:lnTo>
                    <a:pt x="162" y="237"/>
                  </a:lnTo>
                  <a:lnTo>
                    <a:pt x="198" y="237"/>
                  </a:lnTo>
                  <a:lnTo>
                    <a:pt x="193" y="168"/>
                  </a:lnTo>
                  <a:lnTo>
                    <a:pt x="162" y="179"/>
                  </a:lnTo>
                  <a:lnTo>
                    <a:pt x="162" y="56"/>
                  </a:lnTo>
                  <a:lnTo>
                    <a:pt x="143" y="45"/>
                  </a:lnTo>
                  <a:lnTo>
                    <a:pt x="124" y="45"/>
                  </a:lnTo>
                  <a:lnTo>
                    <a:pt x="118" y="79"/>
                  </a:lnTo>
                  <a:lnTo>
                    <a:pt x="99" y="79"/>
                  </a:lnTo>
                  <a:lnTo>
                    <a:pt x="74" y="0"/>
                  </a:lnTo>
                  <a:lnTo>
                    <a:pt x="12" y="23"/>
                  </a:lnTo>
                  <a:lnTo>
                    <a:pt x="37" y="168"/>
                  </a:lnTo>
                  <a:lnTo>
                    <a:pt x="0" y="38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11" name="Freeform 867"/>
            <p:cNvSpPr>
              <a:spLocks/>
            </p:cNvSpPr>
            <p:nvPr>
              <p:custDataLst>
                <p:tags r:id="rId705"/>
              </p:custDataLst>
            </p:nvPr>
          </p:nvSpPr>
          <p:spPr bwMode="auto">
            <a:xfrm>
              <a:off x="4669086" y="4641850"/>
              <a:ext cx="290512" cy="320675"/>
            </a:xfrm>
            <a:custGeom>
              <a:avLst/>
              <a:gdLst>
                <a:gd name="T0" fmla="*/ 0 w 198"/>
                <a:gd name="T1" fmla="*/ 2147483647 h 404"/>
                <a:gd name="T2" fmla="*/ 2147483647 w 198"/>
                <a:gd name="T3" fmla="*/ 2147483647 h 404"/>
                <a:gd name="T4" fmla="*/ 2147483647 w 198"/>
                <a:gd name="T5" fmla="*/ 2147483647 h 404"/>
                <a:gd name="T6" fmla="*/ 2147483647 w 198"/>
                <a:gd name="T7" fmla="*/ 2147483647 h 404"/>
                <a:gd name="T8" fmla="*/ 2147483647 w 198"/>
                <a:gd name="T9" fmla="*/ 2147483647 h 404"/>
                <a:gd name="T10" fmla="*/ 2147483647 w 198"/>
                <a:gd name="T11" fmla="*/ 2147483647 h 404"/>
                <a:gd name="T12" fmla="*/ 2147483647 w 198"/>
                <a:gd name="T13" fmla="*/ 2147483647 h 404"/>
                <a:gd name="T14" fmla="*/ 2147483647 w 198"/>
                <a:gd name="T15" fmla="*/ 2147483647 h 404"/>
                <a:gd name="T16" fmla="*/ 2147483647 w 198"/>
                <a:gd name="T17" fmla="*/ 2147483647 h 404"/>
                <a:gd name="T18" fmla="*/ 2147483647 w 198"/>
                <a:gd name="T19" fmla="*/ 2147483647 h 404"/>
                <a:gd name="T20" fmla="*/ 2147483647 w 198"/>
                <a:gd name="T21" fmla="*/ 2147483647 h 404"/>
                <a:gd name="T22" fmla="*/ 2147483647 w 198"/>
                <a:gd name="T23" fmla="*/ 2147483647 h 404"/>
                <a:gd name="T24" fmla="*/ 2147483647 w 198"/>
                <a:gd name="T25" fmla="*/ 2147483647 h 404"/>
                <a:gd name="T26" fmla="*/ 2147483647 w 198"/>
                <a:gd name="T27" fmla="*/ 2147483647 h 404"/>
                <a:gd name="T28" fmla="*/ 2147483647 w 198"/>
                <a:gd name="T29" fmla="*/ 0 h 404"/>
                <a:gd name="T30" fmla="*/ 2147483647 w 198"/>
                <a:gd name="T31" fmla="*/ 2147483647 h 404"/>
                <a:gd name="T32" fmla="*/ 2147483647 w 198"/>
                <a:gd name="T33" fmla="*/ 2147483647 h 404"/>
                <a:gd name="T34" fmla="*/ 0 w 198"/>
                <a:gd name="T35" fmla="*/ 2147483647 h 40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98" h="404">
                  <a:moveTo>
                    <a:pt x="0" y="381"/>
                  </a:moveTo>
                  <a:lnTo>
                    <a:pt x="31" y="369"/>
                  </a:lnTo>
                  <a:lnTo>
                    <a:pt x="155" y="404"/>
                  </a:lnTo>
                  <a:lnTo>
                    <a:pt x="180" y="381"/>
                  </a:lnTo>
                  <a:lnTo>
                    <a:pt x="162" y="358"/>
                  </a:lnTo>
                  <a:lnTo>
                    <a:pt x="162" y="237"/>
                  </a:lnTo>
                  <a:lnTo>
                    <a:pt x="198" y="237"/>
                  </a:lnTo>
                  <a:lnTo>
                    <a:pt x="193" y="168"/>
                  </a:lnTo>
                  <a:lnTo>
                    <a:pt x="162" y="179"/>
                  </a:lnTo>
                  <a:lnTo>
                    <a:pt x="162" y="56"/>
                  </a:lnTo>
                  <a:lnTo>
                    <a:pt x="143" y="45"/>
                  </a:lnTo>
                  <a:lnTo>
                    <a:pt x="124" y="45"/>
                  </a:lnTo>
                  <a:lnTo>
                    <a:pt x="118" y="79"/>
                  </a:lnTo>
                  <a:lnTo>
                    <a:pt x="99" y="79"/>
                  </a:lnTo>
                  <a:lnTo>
                    <a:pt x="74" y="0"/>
                  </a:lnTo>
                  <a:lnTo>
                    <a:pt x="12" y="23"/>
                  </a:lnTo>
                  <a:lnTo>
                    <a:pt x="37" y="168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12" name="Freeform 868"/>
            <p:cNvSpPr>
              <a:spLocks/>
            </p:cNvSpPr>
            <p:nvPr>
              <p:custDataLst>
                <p:tags r:id="rId706"/>
              </p:custDataLst>
            </p:nvPr>
          </p:nvSpPr>
          <p:spPr bwMode="auto">
            <a:xfrm>
              <a:off x="4669086" y="4641850"/>
              <a:ext cx="290512" cy="320675"/>
            </a:xfrm>
            <a:custGeom>
              <a:avLst/>
              <a:gdLst>
                <a:gd name="T0" fmla="*/ 0 w 198"/>
                <a:gd name="T1" fmla="*/ 2147483647 h 404"/>
                <a:gd name="T2" fmla="*/ 2147483647 w 198"/>
                <a:gd name="T3" fmla="*/ 2147483647 h 404"/>
                <a:gd name="T4" fmla="*/ 2147483647 w 198"/>
                <a:gd name="T5" fmla="*/ 2147483647 h 404"/>
                <a:gd name="T6" fmla="*/ 2147483647 w 198"/>
                <a:gd name="T7" fmla="*/ 2147483647 h 404"/>
                <a:gd name="T8" fmla="*/ 2147483647 w 198"/>
                <a:gd name="T9" fmla="*/ 2147483647 h 404"/>
                <a:gd name="T10" fmla="*/ 2147483647 w 198"/>
                <a:gd name="T11" fmla="*/ 2147483647 h 404"/>
                <a:gd name="T12" fmla="*/ 2147483647 w 198"/>
                <a:gd name="T13" fmla="*/ 2147483647 h 404"/>
                <a:gd name="T14" fmla="*/ 2147483647 w 198"/>
                <a:gd name="T15" fmla="*/ 2147483647 h 404"/>
                <a:gd name="T16" fmla="*/ 2147483647 w 198"/>
                <a:gd name="T17" fmla="*/ 2147483647 h 404"/>
                <a:gd name="T18" fmla="*/ 2147483647 w 198"/>
                <a:gd name="T19" fmla="*/ 2147483647 h 404"/>
                <a:gd name="T20" fmla="*/ 2147483647 w 198"/>
                <a:gd name="T21" fmla="*/ 2147483647 h 404"/>
                <a:gd name="T22" fmla="*/ 2147483647 w 198"/>
                <a:gd name="T23" fmla="*/ 2147483647 h 404"/>
                <a:gd name="T24" fmla="*/ 2147483647 w 198"/>
                <a:gd name="T25" fmla="*/ 2147483647 h 404"/>
                <a:gd name="T26" fmla="*/ 2147483647 w 198"/>
                <a:gd name="T27" fmla="*/ 2147483647 h 404"/>
                <a:gd name="T28" fmla="*/ 2147483647 w 198"/>
                <a:gd name="T29" fmla="*/ 0 h 404"/>
                <a:gd name="T30" fmla="*/ 2147483647 w 198"/>
                <a:gd name="T31" fmla="*/ 2147483647 h 404"/>
                <a:gd name="T32" fmla="*/ 2147483647 w 198"/>
                <a:gd name="T33" fmla="*/ 2147483647 h 404"/>
                <a:gd name="T34" fmla="*/ 0 w 198"/>
                <a:gd name="T35" fmla="*/ 2147483647 h 40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98" h="404">
                  <a:moveTo>
                    <a:pt x="0" y="381"/>
                  </a:moveTo>
                  <a:lnTo>
                    <a:pt x="31" y="369"/>
                  </a:lnTo>
                  <a:lnTo>
                    <a:pt x="155" y="404"/>
                  </a:lnTo>
                  <a:lnTo>
                    <a:pt x="180" y="381"/>
                  </a:lnTo>
                  <a:lnTo>
                    <a:pt x="162" y="358"/>
                  </a:lnTo>
                  <a:lnTo>
                    <a:pt x="162" y="237"/>
                  </a:lnTo>
                  <a:lnTo>
                    <a:pt x="198" y="237"/>
                  </a:lnTo>
                  <a:lnTo>
                    <a:pt x="193" y="168"/>
                  </a:lnTo>
                  <a:lnTo>
                    <a:pt x="162" y="179"/>
                  </a:lnTo>
                  <a:lnTo>
                    <a:pt x="162" y="56"/>
                  </a:lnTo>
                  <a:lnTo>
                    <a:pt x="143" y="45"/>
                  </a:lnTo>
                  <a:lnTo>
                    <a:pt x="124" y="45"/>
                  </a:lnTo>
                  <a:lnTo>
                    <a:pt x="118" y="79"/>
                  </a:lnTo>
                  <a:lnTo>
                    <a:pt x="99" y="79"/>
                  </a:lnTo>
                  <a:lnTo>
                    <a:pt x="74" y="0"/>
                  </a:lnTo>
                  <a:lnTo>
                    <a:pt x="12" y="23"/>
                  </a:lnTo>
                  <a:lnTo>
                    <a:pt x="37" y="168"/>
                  </a:lnTo>
                  <a:lnTo>
                    <a:pt x="0" y="38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13" name="Freeform 869"/>
            <p:cNvSpPr>
              <a:spLocks/>
            </p:cNvSpPr>
            <p:nvPr>
              <p:custDataLst>
                <p:tags r:id="rId707"/>
              </p:custDataLst>
            </p:nvPr>
          </p:nvSpPr>
          <p:spPr bwMode="auto">
            <a:xfrm>
              <a:off x="4677023" y="4616450"/>
              <a:ext cx="26988" cy="25400"/>
            </a:xfrm>
            <a:custGeom>
              <a:avLst/>
              <a:gdLst>
                <a:gd name="T0" fmla="*/ 0 w 19"/>
                <a:gd name="T1" fmla="*/ 2147483647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11"/>
                  </a:moveTo>
                  <a:lnTo>
                    <a:pt x="6" y="32"/>
                  </a:lnTo>
                  <a:lnTo>
                    <a:pt x="19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14" name="Freeform 870"/>
            <p:cNvSpPr>
              <a:spLocks/>
            </p:cNvSpPr>
            <p:nvPr>
              <p:custDataLst>
                <p:tags r:id="rId708"/>
              </p:custDataLst>
            </p:nvPr>
          </p:nvSpPr>
          <p:spPr bwMode="auto">
            <a:xfrm>
              <a:off x="4677023" y="4616450"/>
              <a:ext cx="26988" cy="25400"/>
            </a:xfrm>
            <a:custGeom>
              <a:avLst/>
              <a:gdLst>
                <a:gd name="T0" fmla="*/ 0 w 19"/>
                <a:gd name="T1" fmla="*/ 2147483647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11"/>
                  </a:moveTo>
                  <a:lnTo>
                    <a:pt x="6" y="32"/>
                  </a:lnTo>
                  <a:lnTo>
                    <a:pt x="19" y="0"/>
                  </a:lnTo>
                  <a:lnTo>
                    <a:pt x="0" y="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15" name="Freeform 871"/>
            <p:cNvSpPr>
              <a:spLocks/>
            </p:cNvSpPr>
            <p:nvPr>
              <p:custDataLst>
                <p:tags r:id="rId709"/>
              </p:custDataLst>
            </p:nvPr>
          </p:nvSpPr>
          <p:spPr bwMode="auto">
            <a:xfrm>
              <a:off x="4677023" y="4616450"/>
              <a:ext cx="26988" cy="25400"/>
            </a:xfrm>
            <a:custGeom>
              <a:avLst/>
              <a:gdLst>
                <a:gd name="T0" fmla="*/ 0 w 19"/>
                <a:gd name="T1" fmla="*/ 2147483647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11"/>
                  </a:moveTo>
                  <a:lnTo>
                    <a:pt x="6" y="32"/>
                  </a:lnTo>
                  <a:lnTo>
                    <a:pt x="19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16" name="Freeform 872"/>
            <p:cNvSpPr>
              <a:spLocks/>
            </p:cNvSpPr>
            <p:nvPr>
              <p:custDataLst>
                <p:tags r:id="rId710"/>
              </p:custDataLst>
            </p:nvPr>
          </p:nvSpPr>
          <p:spPr bwMode="auto">
            <a:xfrm>
              <a:off x="4677023" y="4616450"/>
              <a:ext cx="26988" cy="25400"/>
            </a:xfrm>
            <a:custGeom>
              <a:avLst/>
              <a:gdLst>
                <a:gd name="T0" fmla="*/ 0 w 19"/>
                <a:gd name="T1" fmla="*/ 2147483647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11"/>
                  </a:moveTo>
                  <a:lnTo>
                    <a:pt x="6" y="32"/>
                  </a:lnTo>
                  <a:lnTo>
                    <a:pt x="19" y="0"/>
                  </a:lnTo>
                  <a:lnTo>
                    <a:pt x="0" y="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17" name="Freeform 873"/>
            <p:cNvSpPr>
              <a:spLocks/>
            </p:cNvSpPr>
            <p:nvPr>
              <p:custDataLst>
                <p:tags r:id="rId711"/>
              </p:custDataLst>
            </p:nvPr>
          </p:nvSpPr>
          <p:spPr bwMode="auto">
            <a:xfrm>
              <a:off x="4859586" y="4951413"/>
              <a:ext cx="211137" cy="239712"/>
            </a:xfrm>
            <a:custGeom>
              <a:avLst/>
              <a:gdLst>
                <a:gd name="T0" fmla="*/ 0 w 144"/>
                <a:gd name="T1" fmla="*/ 2147483647 h 302"/>
                <a:gd name="T2" fmla="*/ 0 w 144"/>
                <a:gd name="T3" fmla="*/ 2147483647 h 302"/>
                <a:gd name="T4" fmla="*/ 2147483647 w 144"/>
                <a:gd name="T5" fmla="*/ 2147483647 h 302"/>
                <a:gd name="T6" fmla="*/ 2147483647 w 144"/>
                <a:gd name="T7" fmla="*/ 2147483647 h 302"/>
                <a:gd name="T8" fmla="*/ 2147483647 w 144"/>
                <a:gd name="T9" fmla="*/ 2147483647 h 302"/>
                <a:gd name="T10" fmla="*/ 2147483647 w 144"/>
                <a:gd name="T11" fmla="*/ 2147483647 h 302"/>
                <a:gd name="T12" fmla="*/ 2147483647 w 144"/>
                <a:gd name="T13" fmla="*/ 0 h 302"/>
                <a:gd name="T14" fmla="*/ 2147483647 w 144"/>
                <a:gd name="T15" fmla="*/ 2147483647 h 302"/>
                <a:gd name="T16" fmla="*/ 2147483647 w 144"/>
                <a:gd name="T17" fmla="*/ 2147483647 h 302"/>
                <a:gd name="T18" fmla="*/ 2147483647 w 144"/>
                <a:gd name="T19" fmla="*/ 2147483647 h 302"/>
                <a:gd name="T20" fmla="*/ 2147483647 w 144"/>
                <a:gd name="T21" fmla="*/ 2147483647 h 302"/>
                <a:gd name="T22" fmla="*/ 2147483647 w 144"/>
                <a:gd name="T23" fmla="*/ 2147483647 h 302"/>
                <a:gd name="T24" fmla="*/ 2147483647 w 144"/>
                <a:gd name="T25" fmla="*/ 2147483647 h 302"/>
                <a:gd name="T26" fmla="*/ 2147483647 w 144"/>
                <a:gd name="T27" fmla="*/ 2147483647 h 302"/>
                <a:gd name="T28" fmla="*/ 0 w 144"/>
                <a:gd name="T29" fmla="*/ 2147483647 h 30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4" h="302">
                  <a:moveTo>
                    <a:pt x="0" y="235"/>
                  </a:moveTo>
                  <a:lnTo>
                    <a:pt x="0" y="146"/>
                  </a:lnTo>
                  <a:lnTo>
                    <a:pt x="19" y="146"/>
                  </a:lnTo>
                  <a:lnTo>
                    <a:pt x="19" y="23"/>
                  </a:lnTo>
                  <a:lnTo>
                    <a:pt x="50" y="14"/>
                  </a:lnTo>
                  <a:lnTo>
                    <a:pt x="57" y="35"/>
                  </a:lnTo>
                  <a:lnTo>
                    <a:pt x="82" y="0"/>
                  </a:lnTo>
                  <a:lnTo>
                    <a:pt x="124" y="123"/>
                  </a:lnTo>
                  <a:lnTo>
                    <a:pt x="144" y="146"/>
                  </a:lnTo>
                  <a:lnTo>
                    <a:pt x="87" y="258"/>
                  </a:lnTo>
                  <a:lnTo>
                    <a:pt x="57" y="258"/>
                  </a:lnTo>
                  <a:lnTo>
                    <a:pt x="37" y="302"/>
                  </a:lnTo>
                  <a:lnTo>
                    <a:pt x="13" y="302"/>
                  </a:lnTo>
                  <a:lnTo>
                    <a:pt x="19" y="267"/>
                  </a:lnTo>
                  <a:lnTo>
                    <a:pt x="0" y="2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18" name="Freeform 874"/>
            <p:cNvSpPr>
              <a:spLocks/>
            </p:cNvSpPr>
            <p:nvPr>
              <p:custDataLst>
                <p:tags r:id="rId712"/>
              </p:custDataLst>
            </p:nvPr>
          </p:nvSpPr>
          <p:spPr bwMode="auto">
            <a:xfrm>
              <a:off x="4859586" y="4951413"/>
              <a:ext cx="211137" cy="239712"/>
            </a:xfrm>
            <a:custGeom>
              <a:avLst/>
              <a:gdLst>
                <a:gd name="T0" fmla="*/ 0 w 144"/>
                <a:gd name="T1" fmla="*/ 2147483647 h 302"/>
                <a:gd name="T2" fmla="*/ 0 w 144"/>
                <a:gd name="T3" fmla="*/ 2147483647 h 302"/>
                <a:gd name="T4" fmla="*/ 2147483647 w 144"/>
                <a:gd name="T5" fmla="*/ 2147483647 h 302"/>
                <a:gd name="T6" fmla="*/ 2147483647 w 144"/>
                <a:gd name="T7" fmla="*/ 2147483647 h 302"/>
                <a:gd name="T8" fmla="*/ 2147483647 w 144"/>
                <a:gd name="T9" fmla="*/ 2147483647 h 302"/>
                <a:gd name="T10" fmla="*/ 2147483647 w 144"/>
                <a:gd name="T11" fmla="*/ 2147483647 h 302"/>
                <a:gd name="T12" fmla="*/ 2147483647 w 144"/>
                <a:gd name="T13" fmla="*/ 0 h 302"/>
                <a:gd name="T14" fmla="*/ 2147483647 w 144"/>
                <a:gd name="T15" fmla="*/ 2147483647 h 302"/>
                <a:gd name="T16" fmla="*/ 2147483647 w 144"/>
                <a:gd name="T17" fmla="*/ 2147483647 h 302"/>
                <a:gd name="T18" fmla="*/ 2147483647 w 144"/>
                <a:gd name="T19" fmla="*/ 2147483647 h 302"/>
                <a:gd name="T20" fmla="*/ 2147483647 w 144"/>
                <a:gd name="T21" fmla="*/ 2147483647 h 302"/>
                <a:gd name="T22" fmla="*/ 2147483647 w 144"/>
                <a:gd name="T23" fmla="*/ 2147483647 h 302"/>
                <a:gd name="T24" fmla="*/ 2147483647 w 144"/>
                <a:gd name="T25" fmla="*/ 2147483647 h 302"/>
                <a:gd name="T26" fmla="*/ 2147483647 w 144"/>
                <a:gd name="T27" fmla="*/ 2147483647 h 302"/>
                <a:gd name="T28" fmla="*/ 0 w 144"/>
                <a:gd name="T29" fmla="*/ 2147483647 h 30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4" h="302">
                  <a:moveTo>
                    <a:pt x="0" y="235"/>
                  </a:moveTo>
                  <a:lnTo>
                    <a:pt x="0" y="146"/>
                  </a:lnTo>
                  <a:lnTo>
                    <a:pt x="19" y="146"/>
                  </a:lnTo>
                  <a:lnTo>
                    <a:pt x="19" y="23"/>
                  </a:lnTo>
                  <a:lnTo>
                    <a:pt x="50" y="14"/>
                  </a:lnTo>
                  <a:lnTo>
                    <a:pt x="57" y="35"/>
                  </a:lnTo>
                  <a:lnTo>
                    <a:pt x="82" y="0"/>
                  </a:lnTo>
                  <a:lnTo>
                    <a:pt x="124" y="123"/>
                  </a:lnTo>
                  <a:lnTo>
                    <a:pt x="144" y="146"/>
                  </a:lnTo>
                  <a:lnTo>
                    <a:pt x="87" y="258"/>
                  </a:lnTo>
                  <a:lnTo>
                    <a:pt x="57" y="258"/>
                  </a:lnTo>
                  <a:lnTo>
                    <a:pt x="37" y="302"/>
                  </a:lnTo>
                  <a:lnTo>
                    <a:pt x="13" y="302"/>
                  </a:lnTo>
                  <a:lnTo>
                    <a:pt x="19" y="267"/>
                  </a:lnTo>
                  <a:lnTo>
                    <a:pt x="0" y="2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19" name="Freeform 875"/>
            <p:cNvSpPr>
              <a:spLocks/>
            </p:cNvSpPr>
            <p:nvPr>
              <p:custDataLst>
                <p:tags r:id="rId713"/>
              </p:custDataLst>
            </p:nvPr>
          </p:nvSpPr>
          <p:spPr bwMode="auto">
            <a:xfrm>
              <a:off x="4859586" y="4951413"/>
              <a:ext cx="211137" cy="239712"/>
            </a:xfrm>
            <a:custGeom>
              <a:avLst/>
              <a:gdLst>
                <a:gd name="T0" fmla="*/ 0 w 144"/>
                <a:gd name="T1" fmla="*/ 2147483647 h 302"/>
                <a:gd name="T2" fmla="*/ 0 w 144"/>
                <a:gd name="T3" fmla="*/ 2147483647 h 302"/>
                <a:gd name="T4" fmla="*/ 2147483647 w 144"/>
                <a:gd name="T5" fmla="*/ 2147483647 h 302"/>
                <a:gd name="T6" fmla="*/ 2147483647 w 144"/>
                <a:gd name="T7" fmla="*/ 2147483647 h 302"/>
                <a:gd name="T8" fmla="*/ 2147483647 w 144"/>
                <a:gd name="T9" fmla="*/ 2147483647 h 302"/>
                <a:gd name="T10" fmla="*/ 2147483647 w 144"/>
                <a:gd name="T11" fmla="*/ 2147483647 h 302"/>
                <a:gd name="T12" fmla="*/ 2147483647 w 144"/>
                <a:gd name="T13" fmla="*/ 0 h 302"/>
                <a:gd name="T14" fmla="*/ 2147483647 w 144"/>
                <a:gd name="T15" fmla="*/ 2147483647 h 302"/>
                <a:gd name="T16" fmla="*/ 2147483647 w 144"/>
                <a:gd name="T17" fmla="*/ 2147483647 h 302"/>
                <a:gd name="T18" fmla="*/ 2147483647 w 144"/>
                <a:gd name="T19" fmla="*/ 2147483647 h 302"/>
                <a:gd name="T20" fmla="*/ 2147483647 w 144"/>
                <a:gd name="T21" fmla="*/ 2147483647 h 302"/>
                <a:gd name="T22" fmla="*/ 2147483647 w 144"/>
                <a:gd name="T23" fmla="*/ 2147483647 h 302"/>
                <a:gd name="T24" fmla="*/ 2147483647 w 144"/>
                <a:gd name="T25" fmla="*/ 2147483647 h 302"/>
                <a:gd name="T26" fmla="*/ 2147483647 w 144"/>
                <a:gd name="T27" fmla="*/ 2147483647 h 302"/>
                <a:gd name="T28" fmla="*/ 0 w 144"/>
                <a:gd name="T29" fmla="*/ 2147483647 h 30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4" h="302">
                  <a:moveTo>
                    <a:pt x="0" y="235"/>
                  </a:moveTo>
                  <a:lnTo>
                    <a:pt x="0" y="146"/>
                  </a:lnTo>
                  <a:lnTo>
                    <a:pt x="19" y="146"/>
                  </a:lnTo>
                  <a:lnTo>
                    <a:pt x="19" y="23"/>
                  </a:lnTo>
                  <a:lnTo>
                    <a:pt x="50" y="14"/>
                  </a:lnTo>
                  <a:lnTo>
                    <a:pt x="57" y="35"/>
                  </a:lnTo>
                  <a:lnTo>
                    <a:pt x="82" y="0"/>
                  </a:lnTo>
                  <a:lnTo>
                    <a:pt x="124" y="123"/>
                  </a:lnTo>
                  <a:lnTo>
                    <a:pt x="144" y="146"/>
                  </a:lnTo>
                  <a:lnTo>
                    <a:pt x="87" y="258"/>
                  </a:lnTo>
                  <a:lnTo>
                    <a:pt x="57" y="258"/>
                  </a:lnTo>
                  <a:lnTo>
                    <a:pt x="37" y="302"/>
                  </a:lnTo>
                  <a:lnTo>
                    <a:pt x="13" y="302"/>
                  </a:lnTo>
                  <a:lnTo>
                    <a:pt x="19" y="267"/>
                  </a:lnTo>
                  <a:lnTo>
                    <a:pt x="0" y="2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20" name="Freeform 876"/>
            <p:cNvSpPr>
              <a:spLocks/>
            </p:cNvSpPr>
            <p:nvPr>
              <p:custDataLst>
                <p:tags r:id="rId714"/>
              </p:custDataLst>
            </p:nvPr>
          </p:nvSpPr>
          <p:spPr bwMode="auto">
            <a:xfrm>
              <a:off x="4859586" y="4951413"/>
              <a:ext cx="211137" cy="239712"/>
            </a:xfrm>
            <a:custGeom>
              <a:avLst/>
              <a:gdLst>
                <a:gd name="T0" fmla="*/ 0 w 144"/>
                <a:gd name="T1" fmla="*/ 2147483647 h 302"/>
                <a:gd name="T2" fmla="*/ 0 w 144"/>
                <a:gd name="T3" fmla="*/ 2147483647 h 302"/>
                <a:gd name="T4" fmla="*/ 2147483647 w 144"/>
                <a:gd name="T5" fmla="*/ 2147483647 h 302"/>
                <a:gd name="T6" fmla="*/ 2147483647 w 144"/>
                <a:gd name="T7" fmla="*/ 2147483647 h 302"/>
                <a:gd name="T8" fmla="*/ 2147483647 w 144"/>
                <a:gd name="T9" fmla="*/ 2147483647 h 302"/>
                <a:gd name="T10" fmla="*/ 2147483647 w 144"/>
                <a:gd name="T11" fmla="*/ 2147483647 h 302"/>
                <a:gd name="T12" fmla="*/ 2147483647 w 144"/>
                <a:gd name="T13" fmla="*/ 0 h 302"/>
                <a:gd name="T14" fmla="*/ 2147483647 w 144"/>
                <a:gd name="T15" fmla="*/ 2147483647 h 302"/>
                <a:gd name="T16" fmla="*/ 2147483647 w 144"/>
                <a:gd name="T17" fmla="*/ 2147483647 h 302"/>
                <a:gd name="T18" fmla="*/ 2147483647 w 144"/>
                <a:gd name="T19" fmla="*/ 2147483647 h 302"/>
                <a:gd name="T20" fmla="*/ 2147483647 w 144"/>
                <a:gd name="T21" fmla="*/ 2147483647 h 302"/>
                <a:gd name="T22" fmla="*/ 2147483647 w 144"/>
                <a:gd name="T23" fmla="*/ 2147483647 h 302"/>
                <a:gd name="T24" fmla="*/ 2147483647 w 144"/>
                <a:gd name="T25" fmla="*/ 2147483647 h 302"/>
                <a:gd name="T26" fmla="*/ 2147483647 w 144"/>
                <a:gd name="T27" fmla="*/ 2147483647 h 302"/>
                <a:gd name="T28" fmla="*/ 0 w 144"/>
                <a:gd name="T29" fmla="*/ 2147483647 h 30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4" h="302">
                  <a:moveTo>
                    <a:pt x="0" y="235"/>
                  </a:moveTo>
                  <a:lnTo>
                    <a:pt x="0" y="146"/>
                  </a:lnTo>
                  <a:lnTo>
                    <a:pt x="19" y="146"/>
                  </a:lnTo>
                  <a:lnTo>
                    <a:pt x="19" y="23"/>
                  </a:lnTo>
                  <a:lnTo>
                    <a:pt x="50" y="14"/>
                  </a:lnTo>
                  <a:lnTo>
                    <a:pt x="57" y="35"/>
                  </a:lnTo>
                  <a:lnTo>
                    <a:pt x="82" y="0"/>
                  </a:lnTo>
                  <a:lnTo>
                    <a:pt x="124" y="123"/>
                  </a:lnTo>
                  <a:lnTo>
                    <a:pt x="144" y="146"/>
                  </a:lnTo>
                  <a:lnTo>
                    <a:pt x="87" y="258"/>
                  </a:lnTo>
                  <a:lnTo>
                    <a:pt x="57" y="258"/>
                  </a:lnTo>
                  <a:lnTo>
                    <a:pt x="37" y="302"/>
                  </a:lnTo>
                  <a:lnTo>
                    <a:pt x="13" y="302"/>
                  </a:lnTo>
                  <a:lnTo>
                    <a:pt x="19" y="267"/>
                  </a:lnTo>
                  <a:lnTo>
                    <a:pt x="0" y="2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21" name="Freeform 877"/>
            <p:cNvSpPr>
              <a:spLocks/>
            </p:cNvSpPr>
            <p:nvPr>
              <p:custDataLst>
                <p:tags r:id="rId715"/>
              </p:custDataLst>
            </p:nvPr>
          </p:nvSpPr>
          <p:spPr bwMode="auto">
            <a:xfrm>
              <a:off x="5070723" y="4562475"/>
              <a:ext cx="36513" cy="44450"/>
            </a:xfrm>
            <a:custGeom>
              <a:avLst/>
              <a:gdLst>
                <a:gd name="T0" fmla="*/ 0 w 25"/>
                <a:gd name="T1" fmla="*/ 0 h 55"/>
                <a:gd name="T2" fmla="*/ 2147483647 w 25"/>
                <a:gd name="T3" fmla="*/ 2147483647 h 55"/>
                <a:gd name="T4" fmla="*/ 2147483647 w 25"/>
                <a:gd name="T5" fmla="*/ 2147483647 h 55"/>
                <a:gd name="T6" fmla="*/ 2147483647 w 25"/>
                <a:gd name="T7" fmla="*/ 2147483647 h 55"/>
                <a:gd name="T8" fmla="*/ 2147483647 w 25"/>
                <a:gd name="T9" fmla="*/ 0 h 55"/>
                <a:gd name="T10" fmla="*/ 0 w 25"/>
                <a:gd name="T11" fmla="*/ 0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5">
                  <a:moveTo>
                    <a:pt x="0" y="0"/>
                  </a:moveTo>
                  <a:lnTo>
                    <a:pt x="6" y="21"/>
                  </a:lnTo>
                  <a:lnTo>
                    <a:pt x="13" y="55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22" name="Freeform 878"/>
            <p:cNvSpPr>
              <a:spLocks/>
            </p:cNvSpPr>
            <p:nvPr>
              <p:custDataLst>
                <p:tags r:id="rId716"/>
              </p:custDataLst>
            </p:nvPr>
          </p:nvSpPr>
          <p:spPr bwMode="auto">
            <a:xfrm>
              <a:off x="5070723" y="4562475"/>
              <a:ext cx="36513" cy="44450"/>
            </a:xfrm>
            <a:custGeom>
              <a:avLst/>
              <a:gdLst>
                <a:gd name="T0" fmla="*/ 0 w 25"/>
                <a:gd name="T1" fmla="*/ 0 h 55"/>
                <a:gd name="T2" fmla="*/ 2147483647 w 25"/>
                <a:gd name="T3" fmla="*/ 2147483647 h 55"/>
                <a:gd name="T4" fmla="*/ 2147483647 w 25"/>
                <a:gd name="T5" fmla="*/ 2147483647 h 55"/>
                <a:gd name="T6" fmla="*/ 2147483647 w 25"/>
                <a:gd name="T7" fmla="*/ 2147483647 h 55"/>
                <a:gd name="T8" fmla="*/ 2147483647 w 25"/>
                <a:gd name="T9" fmla="*/ 0 h 55"/>
                <a:gd name="T10" fmla="*/ 0 w 25"/>
                <a:gd name="T11" fmla="*/ 0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5">
                  <a:moveTo>
                    <a:pt x="0" y="0"/>
                  </a:moveTo>
                  <a:lnTo>
                    <a:pt x="6" y="21"/>
                  </a:lnTo>
                  <a:lnTo>
                    <a:pt x="13" y="55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23" name="Freeform 879"/>
            <p:cNvSpPr>
              <a:spLocks/>
            </p:cNvSpPr>
            <p:nvPr>
              <p:custDataLst>
                <p:tags r:id="rId717"/>
              </p:custDataLst>
            </p:nvPr>
          </p:nvSpPr>
          <p:spPr bwMode="auto">
            <a:xfrm>
              <a:off x="5070723" y="4562475"/>
              <a:ext cx="36513" cy="44450"/>
            </a:xfrm>
            <a:custGeom>
              <a:avLst/>
              <a:gdLst>
                <a:gd name="T0" fmla="*/ 0 w 25"/>
                <a:gd name="T1" fmla="*/ 0 h 55"/>
                <a:gd name="T2" fmla="*/ 2147483647 w 25"/>
                <a:gd name="T3" fmla="*/ 2147483647 h 55"/>
                <a:gd name="T4" fmla="*/ 2147483647 w 25"/>
                <a:gd name="T5" fmla="*/ 2147483647 h 55"/>
                <a:gd name="T6" fmla="*/ 2147483647 w 25"/>
                <a:gd name="T7" fmla="*/ 2147483647 h 55"/>
                <a:gd name="T8" fmla="*/ 2147483647 w 25"/>
                <a:gd name="T9" fmla="*/ 0 h 55"/>
                <a:gd name="T10" fmla="*/ 0 w 25"/>
                <a:gd name="T11" fmla="*/ 0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5">
                  <a:moveTo>
                    <a:pt x="0" y="0"/>
                  </a:moveTo>
                  <a:lnTo>
                    <a:pt x="6" y="21"/>
                  </a:lnTo>
                  <a:lnTo>
                    <a:pt x="13" y="55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24" name="Freeform 880"/>
            <p:cNvSpPr>
              <a:spLocks/>
            </p:cNvSpPr>
            <p:nvPr>
              <p:custDataLst>
                <p:tags r:id="rId718"/>
              </p:custDataLst>
            </p:nvPr>
          </p:nvSpPr>
          <p:spPr bwMode="auto">
            <a:xfrm>
              <a:off x="5070723" y="4562475"/>
              <a:ext cx="36513" cy="44450"/>
            </a:xfrm>
            <a:custGeom>
              <a:avLst/>
              <a:gdLst>
                <a:gd name="T0" fmla="*/ 0 w 25"/>
                <a:gd name="T1" fmla="*/ 0 h 55"/>
                <a:gd name="T2" fmla="*/ 2147483647 w 25"/>
                <a:gd name="T3" fmla="*/ 2147483647 h 55"/>
                <a:gd name="T4" fmla="*/ 2147483647 w 25"/>
                <a:gd name="T5" fmla="*/ 2147483647 h 55"/>
                <a:gd name="T6" fmla="*/ 2147483647 w 25"/>
                <a:gd name="T7" fmla="*/ 2147483647 h 55"/>
                <a:gd name="T8" fmla="*/ 2147483647 w 25"/>
                <a:gd name="T9" fmla="*/ 0 h 55"/>
                <a:gd name="T10" fmla="*/ 0 w 25"/>
                <a:gd name="T11" fmla="*/ 0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5">
                  <a:moveTo>
                    <a:pt x="0" y="0"/>
                  </a:moveTo>
                  <a:lnTo>
                    <a:pt x="6" y="21"/>
                  </a:lnTo>
                  <a:lnTo>
                    <a:pt x="13" y="55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25" name="Freeform 881"/>
            <p:cNvSpPr>
              <a:spLocks/>
            </p:cNvSpPr>
            <p:nvPr>
              <p:custDataLst>
                <p:tags r:id="rId719"/>
              </p:custDataLst>
            </p:nvPr>
          </p:nvSpPr>
          <p:spPr bwMode="auto">
            <a:xfrm>
              <a:off x="4602411" y="4173538"/>
              <a:ext cx="174625" cy="282575"/>
            </a:xfrm>
            <a:custGeom>
              <a:avLst/>
              <a:gdLst>
                <a:gd name="T0" fmla="*/ 0 w 119"/>
                <a:gd name="T1" fmla="*/ 2147483647 h 355"/>
                <a:gd name="T2" fmla="*/ 2147483647 w 119"/>
                <a:gd name="T3" fmla="*/ 2147483647 h 355"/>
                <a:gd name="T4" fmla="*/ 2147483647 w 119"/>
                <a:gd name="T5" fmla="*/ 2147483647 h 355"/>
                <a:gd name="T6" fmla="*/ 2147483647 w 119"/>
                <a:gd name="T7" fmla="*/ 2147483647 h 355"/>
                <a:gd name="T8" fmla="*/ 2147483647 w 119"/>
                <a:gd name="T9" fmla="*/ 2147483647 h 355"/>
                <a:gd name="T10" fmla="*/ 2147483647 w 119"/>
                <a:gd name="T11" fmla="*/ 2147483647 h 355"/>
                <a:gd name="T12" fmla="*/ 2147483647 w 119"/>
                <a:gd name="T13" fmla="*/ 0 h 355"/>
                <a:gd name="T14" fmla="*/ 2147483647 w 119"/>
                <a:gd name="T15" fmla="*/ 2147483647 h 355"/>
                <a:gd name="T16" fmla="*/ 2147483647 w 119"/>
                <a:gd name="T17" fmla="*/ 2147483647 h 355"/>
                <a:gd name="T18" fmla="*/ 2147483647 w 119"/>
                <a:gd name="T19" fmla="*/ 2147483647 h 355"/>
                <a:gd name="T20" fmla="*/ 2147483647 w 119"/>
                <a:gd name="T21" fmla="*/ 2147483647 h 355"/>
                <a:gd name="T22" fmla="*/ 2147483647 w 119"/>
                <a:gd name="T23" fmla="*/ 2147483647 h 355"/>
                <a:gd name="T24" fmla="*/ 2147483647 w 119"/>
                <a:gd name="T25" fmla="*/ 2147483647 h 355"/>
                <a:gd name="T26" fmla="*/ 2147483647 w 119"/>
                <a:gd name="T27" fmla="*/ 2147483647 h 355"/>
                <a:gd name="T28" fmla="*/ 2147483647 w 119"/>
                <a:gd name="T29" fmla="*/ 2147483647 h 355"/>
                <a:gd name="T30" fmla="*/ 2147483647 w 119"/>
                <a:gd name="T31" fmla="*/ 2147483647 h 355"/>
                <a:gd name="T32" fmla="*/ 2147483647 w 119"/>
                <a:gd name="T33" fmla="*/ 2147483647 h 355"/>
                <a:gd name="T34" fmla="*/ 0 w 119"/>
                <a:gd name="T35" fmla="*/ 2147483647 h 35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19" h="355">
                  <a:moveTo>
                    <a:pt x="0" y="255"/>
                  </a:moveTo>
                  <a:lnTo>
                    <a:pt x="13" y="190"/>
                  </a:lnTo>
                  <a:lnTo>
                    <a:pt x="44" y="200"/>
                  </a:lnTo>
                  <a:lnTo>
                    <a:pt x="74" y="67"/>
                  </a:lnTo>
                  <a:lnTo>
                    <a:pt x="94" y="32"/>
                  </a:lnTo>
                  <a:lnTo>
                    <a:pt x="88" y="11"/>
                  </a:lnTo>
                  <a:lnTo>
                    <a:pt x="94" y="0"/>
                  </a:lnTo>
                  <a:lnTo>
                    <a:pt x="106" y="90"/>
                  </a:lnTo>
                  <a:lnTo>
                    <a:pt x="88" y="111"/>
                  </a:lnTo>
                  <a:lnTo>
                    <a:pt x="106" y="178"/>
                  </a:lnTo>
                  <a:lnTo>
                    <a:pt x="94" y="255"/>
                  </a:lnTo>
                  <a:lnTo>
                    <a:pt x="119" y="322"/>
                  </a:lnTo>
                  <a:lnTo>
                    <a:pt x="113" y="355"/>
                  </a:lnTo>
                  <a:lnTo>
                    <a:pt x="74" y="344"/>
                  </a:lnTo>
                  <a:lnTo>
                    <a:pt x="44" y="344"/>
                  </a:lnTo>
                  <a:lnTo>
                    <a:pt x="19" y="344"/>
                  </a:lnTo>
                  <a:lnTo>
                    <a:pt x="19" y="278"/>
                  </a:lnTo>
                  <a:lnTo>
                    <a:pt x="0" y="25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26" name="Freeform 882"/>
            <p:cNvSpPr>
              <a:spLocks/>
            </p:cNvSpPr>
            <p:nvPr>
              <p:custDataLst>
                <p:tags r:id="rId720"/>
              </p:custDataLst>
            </p:nvPr>
          </p:nvSpPr>
          <p:spPr bwMode="auto">
            <a:xfrm>
              <a:off x="4602411" y="4173538"/>
              <a:ext cx="174625" cy="282575"/>
            </a:xfrm>
            <a:custGeom>
              <a:avLst/>
              <a:gdLst>
                <a:gd name="T0" fmla="*/ 0 w 119"/>
                <a:gd name="T1" fmla="*/ 2147483647 h 355"/>
                <a:gd name="T2" fmla="*/ 2147483647 w 119"/>
                <a:gd name="T3" fmla="*/ 2147483647 h 355"/>
                <a:gd name="T4" fmla="*/ 2147483647 w 119"/>
                <a:gd name="T5" fmla="*/ 2147483647 h 355"/>
                <a:gd name="T6" fmla="*/ 2147483647 w 119"/>
                <a:gd name="T7" fmla="*/ 2147483647 h 355"/>
                <a:gd name="T8" fmla="*/ 2147483647 w 119"/>
                <a:gd name="T9" fmla="*/ 2147483647 h 355"/>
                <a:gd name="T10" fmla="*/ 2147483647 w 119"/>
                <a:gd name="T11" fmla="*/ 2147483647 h 355"/>
                <a:gd name="T12" fmla="*/ 2147483647 w 119"/>
                <a:gd name="T13" fmla="*/ 0 h 355"/>
                <a:gd name="T14" fmla="*/ 2147483647 w 119"/>
                <a:gd name="T15" fmla="*/ 2147483647 h 355"/>
                <a:gd name="T16" fmla="*/ 2147483647 w 119"/>
                <a:gd name="T17" fmla="*/ 2147483647 h 355"/>
                <a:gd name="T18" fmla="*/ 2147483647 w 119"/>
                <a:gd name="T19" fmla="*/ 2147483647 h 355"/>
                <a:gd name="T20" fmla="*/ 2147483647 w 119"/>
                <a:gd name="T21" fmla="*/ 2147483647 h 355"/>
                <a:gd name="T22" fmla="*/ 2147483647 w 119"/>
                <a:gd name="T23" fmla="*/ 2147483647 h 355"/>
                <a:gd name="T24" fmla="*/ 2147483647 w 119"/>
                <a:gd name="T25" fmla="*/ 2147483647 h 355"/>
                <a:gd name="T26" fmla="*/ 2147483647 w 119"/>
                <a:gd name="T27" fmla="*/ 2147483647 h 355"/>
                <a:gd name="T28" fmla="*/ 2147483647 w 119"/>
                <a:gd name="T29" fmla="*/ 2147483647 h 355"/>
                <a:gd name="T30" fmla="*/ 2147483647 w 119"/>
                <a:gd name="T31" fmla="*/ 2147483647 h 355"/>
                <a:gd name="T32" fmla="*/ 2147483647 w 119"/>
                <a:gd name="T33" fmla="*/ 2147483647 h 355"/>
                <a:gd name="T34" fmla="*/ 0 w 119"/>
                <a:gd name="T35" fmla="*/ 2147483647 h 35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19" h="355">
                  <a:moveTo>
                    <a:pt x="0" y="255"/>
                  </a:moveTo>
                  <a:lnTo>
                    <a:pt x="13" y="190"/>
                  </a:lnTo>
                  <a:lnTo>
                    <a:pt x="44" y="200"/>
                  </a:lnTo>
                  <a:lnTo>
                    <a:pt x="74" y="67"/>
                  </a:lnTo>
                  <a:lnTo>
                    <a:pt x="94" y="32"/>
                  </a:lnTo>
                  <a:lnTo>
                    <a:pt x="88" y="11"/>
                  </a:lnTo>
                  <a:lnTo>
                    <a:pt x="94" y="0"/>
                  </a:lnTo>
                  <a:lnTo>
                    <a:pt x="106" y="90"/>
                  </a:lnTo>
                  <a:lnTo>
                    <a:pt x="88" y="111"/>
                  </a:lnTo>
                  <a:lnTo>
                    <a:pt x="106" y="178"/>
                  </a:lnTo>
                  <a:lnTo>
                    <a:pt x="94" y="255"/>
                  </a:lnTo>
                  <a:lnTo>
                    <a:pt x="119" y="322"/>
                  </a:lnTo>
                  <a:lnTo>
                    <a:pt x="113" y="355"/>
                  </a:lnTo>
                  <a:lnTo>
                    <a:pt x="74" y="344"/>
                  </a:lnTo>
                  <a:lnTo>
                    <a:pt x="44" y="344"/>
                  </a:lnTo>
                  <a:lnTo>
                    <a:pt x="19" y="344"/>
                  </a:lnTo>
                  <a:lnTo>
                    <a:pt x="19" y="278"/>
                  </a:lnTo>
                  <a:lnTo>
                    <a:pt x="0" y="25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27" name="Freeform 883"/>
            <p:cNvSpPr>
              <a:spLocks/>
            </p:cNvSpPr>
            <p:nvPr>
              <p:custDataLst>
                <p:tags r:id="rId721"/>
              </p:custDataLst>
            </p:nvPr>
          </p:nvSpPr>
          <p:spPr bwMode="auto">
            <a:xfrm>
              <a:off x="4602411" y="4173538"/>
              <a:ext cx="174625" cy="282575"/>
            </a:xfrm>
            <a:custGeom>
              <a:avLst/>
              <a:gdLst>
                <a:gd name="T0" fmla="*/ 0 w 119"/>
                <a:gd name="T1" fmla="*/ 2147483647 h 355"/>
                <a:gd name="T2" fmla="*/ 2147483647 w 119"/>
                <a:gd name="T3" fmla="*/ 2147483647 h 355"/>
                <a:gd name="T4" fmla="*/ 2147483647 w 119"/>
                <a:gd name="T5" fmla="*/ 2147483647 h 355"/>
                <a:gd name="T6" fmla="*/ 2147483647 w 119"/>
                <a:gd name="T7" fmla="*/ 2147483647 h 355"/>
                <a:gd name="T8" fmla="*/ 2147483647 w 119"/>
                <a:gd name="T9" fmla="*/ 2147483647 h 355"/>
                <a:gd name="T10" fmla="*/ 2147483647 w 119"/>
                <a:gd name="T11" fmla="*/ 2147483647 h 355"/>
                <a:gd name="T12" fmla="*/ 2147483647 w 119"/>
                <a:gd name="T13" fmla="*/ 0 h 355"/>
                <a:gd name="T14" fmla="*/ 2147483647 w 119"/>
                <a:gd name="T15" fmla="*/ 2147483647 h 355"/>
                <a:gd name="T16" fmla="*/ 2147483647 w 119"/>
                <a:gd name="T17" fmla="*/ 2147483647 h 355"/>
                <a:gd name="T18" fmla="*/ 2147483647 w 119"/>
                <a:gd name="T19" fmla="*/ 2147483647 h 355"/>
                <a:gd name="T20" fmla="*/ 2147483647 w 119"/>
                <a:gd name="T21" fmla="*/ 2147483647 h 355"/>
                <a:gd name="T22" fmla="*/ 2147483647 w 119"/>
                <a:gd name="T23" fmla="*/ 2147483647 h 355"/>
                <a:gd name="T24" fmla="*/ 2147483647 w 119"/>
                <a:gd name="T25" fmla="*/ 2147483647 h 355"/>
                <a:gd name="T26" fmla="*/ 2147483647 w 119"/>
                <a:gd name="T27" fmla="*/ 2147483647 h 355"/>
                <a:gd name="T28" fmla="*/ 2147483647 w 119"/>
                <a:gd name="T29" fmla="*/ 2147483647 h 355"/>
                <a:gd name="T30" fmla="*/ 2147483647 w 119"/>
                <a:gd name="T31" fmla="*/ 2147483647 h 355"/>
                <a:gd name="T32" fmla="*/ 2147483647 w 119"/>
                <a:gd name="T33" fmla="*/ 2147483647 h 355"/>
                <a:gd name="T34" fmla="*/ 0 w 119"/>
                <a:gd name="T35" fmla="*/ 2147483647 h 35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19" h="355">
                  <a:moveTo>
                    <a:pt x="0" y="255"/>
                  </a:moveTo>
                  <a:lnTo>
                    <a:pt x="13" y="190"/>
                  </a:lnTo>
                  <a:lnTo>
                    <a:pt x="44" y="200"/>
                  </a:lnTo>
                  <a:lnTo>
                    <a:pt x="74" y="67"/>
                  </a:lnTo>
                  <a:lnTo>
                    <a:pt x="94" y="32"/>
                  </a:lnTo>
                  <a:lnTo>
                    <a:pt x="88" y="11"/>
                  </a:lnTo>
                  <a:lnTo>
                    <a:pt x="94" y="0"/>
                  </a:lnTo>
                  <a:lnTo>
                    <a:pt x="106" y="90"/>
                  </a:lnTo>
                  <a:lnTo>
                    <a:pt x="88" y="111"/>
                  </a:lnTo>
                  <a:lnTo>
                    <a:pt x="106" y="178"/>
                  </a:lnTo>
                  <a:lnTo>
                    <a:pt x="94" y="255"/>
                  </a:lnTo>
                  <a:lnTo>
                    <a:pt x="119" y="322"/>
                  </a:lnTo>
                  <a:lnTo>
                    <a:pt x="113" y="355"/>
                  </a:lnTo>
                  <a:lnTo>
                    <a:pt x="74" y="344"/>
                  </a:lnTo>
                  <a:lnTo>
                    <a:pt x="44" y="344"/>
                  </a:lnTo>
                  <a:lnTo>
                    <a:pt x="19" y="344"/>
                  </a:lnTo>
                  <a:lnTo>
                    <a:pt x="19" y="278"/>
                  </a:lnTo>
                  <a:lnTo>
                    <a:pt x="0" y="25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28" name="Freeform 884"/>
            <p:cNvSpPr>
              <a:spLocks/>
            </p:cNvSpPr>
            <p:nvPr>
              <p:custDataLst>
                <p:tags r:id="rId722"/>
              </p:custDataLst>
            </p:nvPr>
          </p:nvSpPr>
          <p:spPr bwMode="auto">
            <a:xfrm>
              <a:off x="4602411" y="4173538"/>
              <a:ext cx="174625" cy="282575"/>
            </a:xfrm>
            <a:custGeom>
              <a:avLst/>
              <a:gdLst>
                <a:gd name="T0" fmla="*/ 0 w 119"/>
                <a:gd name="T1" fmla="*/ 2147483647 h 355"/>
                <a:gd name="T2" fmla="*/ 2147483647 w 119"/>
                <a:gd name="T3" fmla="*/ 2147483647 h 355"/>
                <a:gd name="T4" fmla="*/ 2147483647 w 119"/>
                <a:gd name="T5" fmla="*/ 2147483647 h 355"/>
                <a:gd name="T6" fmla="*/ 2147483647 w 119"/>
                <a:gd name="T7" fmla="*/ 2147483647 h 355"/>
                <a:gd name="T8" fmla="*/ 2147483647 w 119"/>
                <a:gd name="T9" fmla="*/ 2147483647 h 355"/>
                <a:gd name="T10" fmla="*/ 2147483647 w 119"/>
                <a:gd name="T11" fmla="*/ 2147483647 h 355"/>
                <a:gd name="T12" fmla="*/ 2147483647 w 119"/>
                <a:gd name="T13" fmla="*/ 0 h 355"/>
                <a:gd name="T14" fmla="*/ 2147483647 w 119"/>
                <a:gd name="T15" fmla="*/ 2147483647 h 355"/>
                <a:gd name="T16" fmla="*/ 2147483647 w 119"/>
                <a:gd name="T17" fmla="*/ 2147483647 h 355"/>
                <a:gd name="T18" fmla="*/ 2147483647 w 119"/>
                <a:gd name="T19" fmla="*/ 2147483647 h 355"/>
                <a:gd name="T20" fmla="*/ 2147483647 w 119"/>
                <a:gd name="T21" fmla="*/ 2147483647 h 355"/>
                <a:gd name="T22" fmla="*/ 2147483647 w 119"/>
                <a:gd name="T23" fmla="*/ 2147483647 h 355"/>
                <a:gd name="T24" fmla="*/ 2147483647 w 119"/>
                <a:gd name="T25" fmla="*/ 2147483647 h 355"/>
                <a:gd name="T26" fmla="*/ 2147483647 w 119"/>
                <a:gd name="T27" fmla="*/ 2147483647 h 355"/>
                <a:gd name="T28" fmla="*/ 2147483647 w 119"/>
                <a:gd name="T29" fmla="*/ 2147483647 h 355"/>
                <a:gd name="T30" fmla="*/ 2147483647 w 119"/>
                <a:gd name="T31" fmla="*/ 2147483647 h 355"/>
                <a:gd name="T32" fmla="*/ 2147483647 w 119"/>
                <a:gd name="T33" fmla="*/ 2147483647 h 355"/>
                <a:gd name="T34" fmla="*/ 0 w 119"/>
                <a:gd name="T35" fmla="*/ 2147483647 h 35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19" h="355">
                  <a:moveTo>
                    <a:pt x="0" y="255"/>
                  </a:moveTo>
                  <a:lnTo>
                    <a:pt x="13" y="190"/>
                  </a:lnTo>
                  <a:lnTo>
                    <a:pt x="44" y="200"/>
                  </a:lnTo>
                  <a:lnTo>
                    <a:pt x="74" y="67"/>
                  </a:lnTo>
                  <a:lnTo>
                    <a:pt x="94" y="32"/>
                  </a:lnTo>
                  <a:lnTo>
                    <a:pt x="88" y="11"/>
                  </a:lnTo>
                  <a:lnTo>
                    <a:pt x="94" y="0"/>
                  </a:lnTo>
                  <a:lnTo>
                    <a:pt x="106" y="90"/>
                  </a:lnTo>
                  <a:lnTo>
                    <a:pt x="88" y="111"/>
                  </a:lnTo>
                  <a:lnTo>
                    <a:pt x="106" y="178"/>
                  </a:lnTo>
                  <a:lnTo>
                    <a:pt x="94" y="255"/>
                  </a:lnTo>
                  <a:lnTo>
                    <a:pt x="119" y="322"/>
                  </a:lnTo>
                  <a:lnTo>
                    <a:pt x="113" y="355"/>
                  </a:lnTo>
                  <a:lnTo>
                    <a:pt x="74" y="344"/>
                  </a:lnTo>
                  <a:lnTo>
                    <a:pt x="44" y="344"/>
                  </a:lnTo>
                  <a:lnTo>
                    <a:pt x="19" y="344"/>
                  </a:lnTo>
                  <a:lnTo>
                    <a:pt x="19" y="278"/>
                  </a:lnTo>
                  <a:lnTo>
                    <a:pt x="0" y="25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29" name="Freeform 885"/>
            <p:cNvSpPr>
              <a:spLocks/>
            </p:cNvSpPr>
            <p:nvPr>
              <p:custDataLst>
                <p:tags r:id="rId723"/>
              </p:custDataLst>
            </p:nvPr>
          </p:nvSpPr>
          <p:spPr bwMode="auto">
            <a:xfrm>
              <a:off x="4742111" y="4217988"/>
              <a:ext cx="292100" cy="204787"/>
            </a:xfrm>
            <a:custGeom>
              <a:avLst/>
              <a:gdLst>
                <a:gd name="T0" fmla="*/ 0 w 199"/>
                <a:gd name="T1" fmla="*/ 2147483647 h 257"/>
                <a:gd name="T2" fmla="*/ 2147483647 w 199"/>
                <a:gd name="T3" fmla="*/ 2147483647 h 257"/>
                <a:gd name="T4" fmla="*/ 2147483647 w 199"/>
                <a:gd name="T5" fmla="*/ 2147483647 h 257"/>
                <a:gd name="T6" fmla="*/ 2147483647 w 199"/>
                <a:gd name="T7" fmla="*/ 2147483647 h 257"/>
                <a:gd name="T8" fmla="*/ 2147483647 w 199"/>
                <a:gd name="T9" fmla="*/ 2147483647 h 257"/>
                <a:gd name="T10" fmla="*/ 2147483647 w 199"/>
                <a:gd name="T11" fmla="*/ 0 h 257"/>
                <a:gd name="T12" fmla="*/ 2147483647 w 199"/>
                <a:gd name="T13" fmla="*/ 2147483647 h 257"/>
                <a:gd name="T14" fmla="*/ 2147483647 w 199"/>
                <a:gd name="T15" fmla="*/ 2147483647 h 257"/>
                <a:gd name="T16" fmla="*/ 2147483647 w 199"/>
                <a:gd name="T17" fmla="*/ 2147483647 h 257"/>
                <a:gd name="T18" fmla="*/ 2147483647 w 199"/>
                <a:gd name="T19" fmla="*/ 2147483647 h 257"/>
                <a:gd name="T20" fmla="*/ 2147483647 w 199"/>
                <a:gd name="T21" fmla="*/ 2147483647 h 257"/>
                <a:gd name="T22" fmla="*/ 2147483647 w 199"/>
                <a:gd name="T23" fmla="*/ 2147483647 h 257"/>
                <a:gd name="T24" fmla="*/ 2147483647 w 199"/>
                <a:gd name="T25" fmla="*/ 2147483647 h 257"/>
                <a:gd name="T26" fmla="*/ 2147483647 w 199"/>
                <a:gd name="T27" fmla="*/ 2147483647 h 257"/>
                <a:gd name="T28" fmla="*/ 0 w 199"/>
                <a:gd name="T29" fmla="*/ 2147483647 h 2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99" h="257">
                  <a:moveTo>
                    <a:pt x="0" y="199"/>
                  </a:moveTo>
                  <a:lnTo>
                    <a:pt x="12" y="122"/>
                  </a:lnTo>
                  <a:lnTo>
                    <a:pt x="62" y="99"/>
                  </a:lnTo>
                  <a:lnTo>
                    <a:pt x="69" y="65"/>
                  </a:lnTo>
                  <a:lnTo>
                    <a:pt x="93" y="65"/>
                  </a:lnTo>
                  <a:lnTo>
                    <a:pt x="124" y="0"/>
                  </a:lnTo>
                  <a:lnTo>
                    <a:pt x="138" y="65"/>
                  </a:lnTo>
                  <a:lnTo>
                    <a:pt x="162" y="99"/>
                  </a:lnTo>
                  <a:lnTo>
                    <a:pt x="199" y="188"/>
                  </a:lnTo>
                  <a:lnTo>
                    <a:pt x="106" y="211"/>
                  </a:lnTo>
                  <a:lnTo>
                    <a:pt x="74" y="188"/>
                  </a:lnTo>
                  <a:lnTo>
                    <a:pt x="62" y="232"/>
                  </a:lnTo>
                  <a:lnTo>
                    <a:pt x="37" y="232"/>
                  </a:lnTo>
                  <a:lnTo>
                    <a:pt x="24" y="257"/>
                  </a:lnTo>
                  <a:lnTo>
                    <a:pt x="0" y="1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30" name="Freeform 886"/>
            <p:cNvSpPr>
              <a:spLocks/>
            </p:cNvSpPr>
            <p:nvPr>
              <p:custDataLst>
                <p:tags r:id="rId724"/>
              </p:custDataLst>
            </p:nvPr>
          </p:nvSpPr>
          <p:spPr bwMode="auto">
            <a:xfrm>
              <a:off x="4742111" y="4217988"/>
              <a:ext cx="292100" cy="204787"/>
            </a:xfrm>
            <a:custGeom>
              <a:avLst/>
              <a:gdLst>
                <a:gd name="T0" fmla="*/ 0 w 199"/>
                <a:gd name="T1" fmla="*/ 2147483647 h 257"/>
                <a:gd name="T2" fmla="*/ 2147483647 w 199"/>
                <a:gd name="T3" fmla="*/ 2147483647 h 257"/>
                <a:gd name="T4" fmla="*/ 2147483647 w 199"/>
                <a:gd name="T5" fmla="*/ 2147483647 h 257"/>
                <a:gd name="T6" fmla="*/ 2147483647 w 199"/>
                <a:gd name="T7" fmla="*/ 2147483647 h 257"/>
                <a:gd name="T8" fmla="*/ 2147483647 w 199"/>
                <a:gd name="T9" fmla="*/ 2147483647 h 257"/>
                <a:gd name="T10" fmla="*/ 2147483647 w 199"/>
                <a:gd name="T11" fmla="*/ 0 h 257"/>
                <a:gd name="T12" fmla="*/ 2147483647 w 199"/>
                <a:gd name="T13" fmla="*/ 2147483647 h 257"/>
                <a:gd name="T14" fmla="*/ 2147483647 w 199"/>
                <a:gd name="T15" fmla="*/ 2147483647 h 257"/>
                <a:gd name="T16" fmla="*/ 2147483647 w 199"/>
                <a:gd name="T17" fmla="*/ 2147483647 h 257"/>
                <a:gd name="T18" fmla="*/ 2147483647 w 199"/>
                <a:gd name="T19" fmla="*/ 2147483647 h 257"/>
                <a:gd name="T20" fmla="*/ 2147483647 w 199"/>
                <a:gd name="T21" fmla="*/ 2147483647 h 257"/>
                <a:gd name="T22" fmla="*/ 2147483647 w 199"/>
                <a:gd name="T23" fmla="*/ 2147483647 h 257"/>
                <a:gd name="T24" fmla="*/ 2147483647 w 199"/>
                <a:gd name="T25" fmla="*/ 2147483647 h 257"/>
                <a:gd name="T26" fmla="*/ 2147483647 w 199"/>
                <a:gd name="T27" fmla="*/ 2147483647 h 257"/>
                <a:gd name="T28" fmla="*/ 0 w 199"/>
                <a:gd name="T29" fmla="*/ 2147483647 h 2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99" h="257">
                  <a:moveTo>
                    <a:pt x="0" y="199"/>
                  </a:moveTo>
                  <a:lnTo>
                    <a:pt x="12" y="122"/>
                  </a:lnTo>
                  <a:lnTo>
                    <a:pt x="62" y="99"/>
                  </a:lnTo>
                  <a:lnTo>
                    <a:pt x="69" y="65"/>
                  </a:lnTo>
                  <a:lnTo>
                    <a:pt x="93" y="65"/>
                  </a:lnTo>
                  <a:lnTo>
                    <a:pt x="124" y="0"/>
                  </a:lnTo>
                  <a:lnTo>
                    <a:pt x="138" y="65"/>
                  </a:lnTo>
                  <a:lnTo>
                    <a:pt x="162" y="99"/>
                  </a:lnTo>
                  <a:lnTo>
                    <a:pt x="199" y="188"/>
                  </a:lnTo>
                  <a:lnTo>
                    <a:pt x="106" y="211"/>
                  </a:lnTo>
                  <a:lnTo>
                    <a:pt x="74" y="188"/>
                  </a:lnTo>
                  <a:lnTo>
                    <a:pt x="62" y="232"/>
                  </a:lnTo>
                  <a:lnTo>
                    <a:pt x="37" y="232"/>
                  </a:lnTo>
                  <a:lnTo>
                    <a:pt x="24" y="257"/>
                  </a:lnTo>
                  <a:lnTo>
                    <a:pt x="0" y="19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31" name="Freeform 887"/>
            <p:cNvSpPr>
              <a:spLocks/>
            </p:cNvSpPr>
            <p:nvPr>
              <p:custDataLst>
                <p:tags r:id="rId725"/>
              </p:custDataLst>
            </p:nvPr>
          </p:nvSpPr>
          <p:spPr bwMode="auto">
            <a:xfrm>
              <a:off x="4742111" y="4217988"/>
              <a:ext cx="292100" cy="204787"/>
            </a:xfrm>
            <a:custGeom>
              <a:avLst/>
              <a:gdLst>
                <a:gd name="T0" fmla="*/ 0 w 199"/>
                <a:gd name="T1" fmla="*/ 2147483647 h 257"/>
                <a:gd name="T2" fmla="*/ 2147483647 w 199"/>
                <a:gd name="T3" fmla="*/ 2147483647 h 257"/>
                <a:gd name="T4" fmla="*/ 2147483647 w 199"/>
                <a:gd name="T5" fmla="*/ 2147483647 h 257"/>
                <a:gd name="T6" fmla="*/ 2147483647 w 199"/>
                <a:gd name="T7" fmla="*/ 2147483647 h 257"/>
                <a:gd name="T8" fmla="*/ 2147483647 w 199"/>
                <a:gd name="T9" fmla="*/ 2147483647 h 257"/>
                <a:gd name="T10" fmla="*/ 2147483647 w 199"/>
                <a:gd name="T11" fmla="*/ 0 h 257"/>
                <a:gd name="T12" fmla="*/ 2147483647 w 199"/>
                <a:gd name="T13" fmla="*/ 2147483647 h 257"/>
                <a:gd name="T14" fmla="*/ 2147483647 w 199"/>
                <a:gd name="T15" fmla="*/ 2147483647 h 257"/>
                <a:gd name="T16" fmla="*/ 2147483647 w 199"/>
                <a:gd name="T17" fmla="*/ 2147483647 h 257"/>
                <a:gd name="T18" fmla="*/ 2147483647 w 199"/>
                <a:gd name="T19" fmla="*/ 2147483647 h 257"/>
                <a:gd name="T20" fmla="*/ 2147483647 w 199"/>
                <a:gd name="T21" fmla="*/ 2147483647 h 257"/>
                <a:gd name="T22" fmla="*/ 2147483647 w 199"/>
                <a:gd name="T23" fmla="*/ 2147483647 h 257"/>
                <a:gd name="T24" fmla="*/ 2147483647 w 199"/>
                <a:gd name="T25" fmla="*/ 2147483647 h 257"/>
                <a:gd name="T26" fmla="*/ 2147483647 w 199"/>
                <a:gd name="T27" fmla="*/ 2147483647 h 257"/>
                <a:gd name="T28" fmla="*/ 0 w 199"/>
                <a:gd name="T29" fmla="*/ 2147483647 h 2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99" h="257">
                  <a:moveTo>
                    <a:pt x="0" y="199"/>
                  </a:moveTo>
                  <a:lnTo>
                    <a:pt x="12" y="122"/>
                  </a:lnTo>
                  <a:lnTo>
                    <a:pt x="62" y="99"/>
                  </a:lnTo>
                  <a:lnTo>
                    <a:pt x="69" y="65"/>
                  </a:lnTo>
                  <a:lnTo>
                    <a:pt x="93" y="65"/>
                  </a:lnTo>
                  <a:lnTo>
                    <a:pt x="124" y="0"/>
                  </a:lnTo>
                  <a:lnTo>
                    <a:pt x="138" y="65"/>
                  </a:lnTo>
                  <a:lnTo>
                    <a:pt x="162" y="99"/>
                  </a:lnTo>
                  <a:lnTo>
                    <a:pt x="199" y="188"/>
                  </a:lnTo>
                  <a:lnTo>
                    <a:pt x="106" y="211"/>
                  </a:lnTo>
                  <a:lnTo>
                    <a:pt x="74" y="188"/>
                  </a:lnTo>
                  <a:lnTo>
                    <a:pt x="62" y="232"/>
                  </a:lnTo>
                  <a:lnTo>
                    <a:pt x="37" y="232"/>
                  </a:lnTo>
                  <a:lnTo>
                    <a:pt x="24" y="257"/>
                  </a:lnTo>
                  <a:lnTo>
                    <a:pt x="0" y="19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32" name="Freeform 888"/>
            <p:cNvSpPr>
              <a:spLocks/>
            </p:cNvSpPr>
            <p:nvPr>
              <p:custDataLst>
                <p:tags r:id="rId726"/>
              </p:custDataLst>
            </p:nvPr>
          </p:nvSpPr>
          <p:spPr bwMode="auto">
            <a:xfrm>
              <a:off x="4742111" y="4217988"/>
              <a:ext cx="292100" cy="204787"/>
            </a:xfrm>
            <a:custGeom>
              <a:avLst/>
              <a:gdLst>
                <a:gd name="T0" fmla="*/ 0 w 199"/>
                <a:gd name="T1" fmla="*/ 2147483647 h 257"/>
                <a:gd name="T2" fmla="*/ 2147483647 w 199"/>
                <a:gd name="T3" fmla="*/ 2147483647 h 257"/>
                <a:gd name="T4" fmla="*/ 2147483647 w 199"/>
                <a:gd name="T5" fmla="*/ 2147483647 h 257"/>
                <a:gd name="T6" fmla="*/ 2147483647 w 199"/>
                <a:gd name="T7" fmla="*/ 2147483647 h 257"/>
                <a:gd name="T8" fmla="*/ 2147483647 w 199"/>
                <a:gd name="T9" fmla="*/ 2147483647 h 257"/>
                <a:gd name="T10" fmla="*/ 2147483647 w 199"/>
                <a:gd name="T11" fmla="*/ 0 h 257"/>
                <a:gd name="T12" fmla="*/ 2147483647 w 199"/>
                <a:gd name="T13" fmla="*/ 2147483647 h 257"/>
                <a:gd name="T14" fmla="*/ 2147483647 w 199"/>
                <a:gd name="T15" fmla="*/ 2147483647 h 257"/>
                <a:gd name="T16" fmla="*/ 2147483647 w 199"/>
                <a:gd name="T17" fmla="*/ 2147483647 h 257"/>
                <a:gd name="T18" fmla="*/ 2147483647 w 199"/>
                <a:gd name="T19" fmla="*/ 2147483647 h 257"/>
                <a:gd name="T20" fmla="*/ 2147483647 w 199"/>
                <a:gd name="T21" fmla="*/ 2147483647 h 257"/>
                <a:gd name="T22" fmla="*/ 2147483647 w 199"/>
                <a:gd name="T23" fmla="*/ 2147483647 h 257"/>
                <a:gd name="T24" fmla="*/ 2147483647 w 199"/>
                <a:gd name="T25" fmla="*/ 2147483647 h 257"/>
                <a:gd name="T26" fmla="*/ 2147483647 w 199"/>
                <a:gd name="T27" fmla="*/ 2147483647 h 257"/>
                <a:gd name="T28" fmla="*/ 0 w 199"/>
                <a:gd name="T29" fmla="*/ 2147483647 h 2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99" h="257">
                  <a:moveTo>
                    <a:pt x="0" y="199"/>
                  </a:moveTo>
                  <a:lnTo>
                    <a:pt x="12" y="122"/>
                  </a:lnTo>
                  <a:lnTo>
                    <a:pt x="62" y="99"/>
                  </a:lnTo>
                  <a:lnTo>
                    <a:pt x="69" y="65"/>
                  </a:lnTo>
                  <a:lnTo>
                    <a:pt x="93" y="65"/>
                  </a:lnTo>
                  <a:lnTo>
                    <a:pt x="124" y="0"/>
                  </a:lnTo>
                  <a:lnTo>
                    <a:pt x="138" y="65"/>
                  </a:lnTo>
                  <a:lnTo>
                    <a:pt x="162" y="99"/>
                  </a:lnTo>
                  <a:lnTo>
                    <a:pt x="199" y="188"/>
                  </a:lnTo>
                  <a:lnTo>
                    <a:pt x="106" y="211"/>
                  </a:lnTo>
                  <a:lnTo>
                    <a:pt x="74" y="188"/>
                  </a:lnTo>
                  <a:lnTo>
                    <a:pt x="62" y="232"/>
                  </a:lnTo>
                  <a:lnTo>
                    <a:pt x="37" y="232"/>
                  </a:lnTo>
                  <a:lnTo>
                    <a:pt x="24" y="257"/>
                  </a:lnTo>
                  <a:lnTo>
                    <a:pt x="0" y="19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33" name="Freeform 889"/>
            <p:cNvSpPr>
              <a:spLocks/>
            </p:cNvSpPr>
            <p:nvPr>
              <p:custDataLst>
                <p:tags r:id="rId727"/>
              </p:custDataLst>
            </p:nvPr>
          </p:nvSpPr>
          <p:spPr bwMode="auto">
            <a:xfrm>
              <a:off x="4715123" y="3895725"/>
              <a:ext cx="247650" cy="423863"/>
            </a:xfrm>
            <a:custGeom>
              <a:avLst/>
              <a:gdLst>
                <a:gd name="T0" fmla="*/ 0 w 168"/>
                <a:gd name="T1" fmla="*/ 2147483647 h 534"/>
                <a:gd name="T2" fmla="*/ 2147483647 w 168"/>
                <a:gd name="T3" fmla="*/ 2147483647 h 534"/>
                <a:gd name="T4" fmla="*/ 2147483647 w 168"/>
                <a:gd name="T5" fmla="*/ 2147483647 h 534"/>
                <a:gd name="T6" fmla="*/ 2147483647 w 168"/>
                <a:gd name="T7" fmla="*/ 2147483647 h 534"/>
                <a:gd name="T8" fmla="*/ 2147483647 w 168"/>
                <a:gd name="T9" fmla="*/ 2147483647 h 534"/>
                <a:gd name="T10" fmla="*/ 2147483647 w 168"/>
                <a:gd name="T11" fmla="*/ 2147483647 h 534"/>
                <a:gd name="T12" fmla="*/ 2147483647 w 168"/>
                <a:gd name="T13" fmla="*/ 2147483647 h 534"/>
                <a:gd name="T14" fmla="*/ 2147483647 w 168"/>
                <a:gd name="T15" fmla="*/ 2147483647 h 534"/>
                <a:gd name="T16" fmla="*/ 2147483647 w 168"/>
                <a:gd name="T17" fmla="*/ 2147483647 h 534"/>
                <a:gd name="T18" fmla="*/ 2147483647 w 168"/>
                <a:gd name="T19" fmla="*/ 2147483647 h 534"/>
                <a:gd name="T20" fmla="*/ 2147483647 w 168"/>
                <a:gd name="T21" fmla="*/ 2147483647 h 534"/>
                <a:gd name="T22" fmla="*/ 2147483647 w 168"/>
                <a:gd name="T23" fmla="*/ 2147483647 h 534"/>
                <a:gd name="T24" fmla="*/ 2147483647 w 168"/>
                <a:gd name="T25" fmla="*/ 2147483647 h 534"/>
                <a:gd name="T26" fmla="*/ 2147483647 w 168"/>
                <a:gd name="T27" fmla="*/ 2147483647 h 534"/>
                <a:gd name="T28" fmla="*/ 2147483647 w 168"/>
                <a:gd name="T29" fmla="*/ 0 h 534"/>
                <a:gd name="T30" fmla="*/ 2147483647 w 168"/>
                <a:gd name="T31" fmla="*/ 2147483647 h 534"/>
                <a:gd name="T32" fmla="*/ 2147483647 w 168"/>
                <a:gd name="T33" fmla="*/ 2147483647 h 534"/>
                <a:gd name="T34" fmla="*/ 2147483647 w 168"/>
                <a:gd name="T35" fmla="*/ 2147483647 h 534"/>
                <a:gd name="T36" fmla="*/ 2147483647 w 168"/>
                <a:gd name="T37" fmla="*/ 2147483647 h 534"/>
                <a:gd name="T38" fmla="*/ 0 w 168"/>
                <a:gd name="T39" fmla="*/ 2147483647 h 53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8" h="534">
                  <a:moveTo>
                    <a:pt x="0" y="300"/>
                  </a:moveTo>
                  <a:lnTo>
                    <a:pt x="25" y="333"/>
                  </a:lnTo>
                  <a:lnTo>
                    <a:pt x="19" y="354"/>
                  </a:lnTo>
                  <a:lnTo>
                    <a:pt x="31" y="446"/>
                  </a:lnTo>
                  <a:lnTo>
                    <a:pt x="12" y="467"/>
                  </a:lnTo>
                  <a:lnTo>
                    <a:pt x="31" y="534"/>
                  </a:lnTo>
                  <a:lnTo>
                    <a:pt x="81" y="511"/>
                  </a:lnTo>
                  <a:lnTo>
                    <a:pt x="88" y="477"/>
                  </a:lnTo>
                  <a:lnTo>
                    <a:pt x="113" y="477"/>
                  </a:lnTo>
                  <a:lnTo>
                    <a:pt x="144" y="411"/>
                  </a:lnTo>
                  <a:lnTo>
                    <a:pt x="131" y="354"/>
                  </a:lnTo>
                  <a:lnTo>
                    <a:pt x="149" y="265"/>
                  </a:lnTo>
                  <a:lnTo>
                    <a:pt x="163" y="256"/>
                  </a:lnTo>
                  <a:lnTo>
                    <a:pt x="168" y="133"/>
                  </a:lnTo>
                  <a:lnTo>
                    <a:pt x="43" y="0"/>
                  </a:lnTo>
                  <a:lnTo>
                    <a:pt x="25" y="23"/>
                  </a:lnTo>
                  <a:lnTo>
                    <a:pt x="25" y="68"/>
                  </a:lnTo>
                  <a:lnTo>
                    <a:pt x="43" y="112"/>
                  </a:lnTo>
                  <a:lnTo>
                    <a:pt x="31" y="221"/>
                  </a:lnTo>
                  <a:lnTo>
                    <a:pt x="0" y="3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34" name="Freeform 890"/>
            <p:cNvSpPr>
              <a:spLocks/>
            </p:cNvSpPr>
            <p:nvPr>
              <p:custDataLst>
                <p:tags r:id="rId728"/>
              </p:custDataLst>
            </p:nvPr>
          </p:nvSpPr>
          <p:spPr bwMode="auto">
            <a:xfrm>
              <a:off x="4715123" y="3895725"/>
              <a:ext cx="247650" cy="423863"/>
            </a:xfrm>
            <a:custGeom>
              <a:avLst/>
              <a:gdLst>
                <a:gd name="T0" fmla="*/ 0 w 168"/>
                <a:gd name="T1" fmla="*/ 2147483647 h 534"/>
                <a:gd name="T2" fmla="*/ 2147483647 w 168"/>
                <a:gd name="T3" fmla="*/ 2147483647 h 534"/>
                <a:gd name="T4" fmla="*/ 2147483647 w 168"/>
                <a:gd name="T5" fmla="*/ 2147483647 h 534"/>
                <a:gd name="T6" fmla="*/ 2147483647 w 168"/>
                <a:gd name="T7" fmla="*/ 2147483647 h 534"/>
                <a:gd name="T8" fmla="*/ 2147483647 w 168"/>
                <a:gd name="T9" fmla="*/ 2147483647 h 534"/>
                <a:gd name="T10" fmla="*/ 2147483647 w 168"/>
                <a:gd name="T11" fmla="*/ 2147483647 h 534"/>
                <a:gd name="T12" fmla="*/ 2147483647 w 168"/>
                <a:gd name="T13" fmla="*/ 2147483647 h 534"/>
                <a:gd name="T14" fmla="*/ 2147483647 w 168"/>
                <a:gd name="T15" fmla="*/ 2147483647 h 534"/>
                <a:gd name="T16" fmla="*/ 2147483647 w 168"/>
                <a:gd name="T17" fmla="*/ 2147483647 h 534"/>
                <a:gd name="T18" fmla="*/ 2147483647 w 168"/>
                <a:gd name="T19" fmla="*/ 2147483647 h 534"/>
                <a:gd name="T20" fmla="*/ 2147483647 w 168"/>
                <a:gd name="T21" fmla="*/ 2147483647 h 534"/>
                <a:gd name="T22" fmla="*/ 2147483647 w 168"/>
                <a:gd name="T23" fmla="*/ 2147483647 h 534"/>
                <a:gd name="T24" fmla="*/ 2147483647 w 168"/>
                <a:gd name="T25" fmla="*/ 2147483647 h 534"/>
                <a:gd name="T26" fmla="*/ 2147483647 w 168"/>
                <a:gd name="T27" fmla="*/ 2147483647 h 534"/>
                <a:gd name="T28" fmla="*/ 2147483647 w 168"/>
                <a:gd name="T29" fmla="*/ 0 h 534"/>
                <a:gd name="T30" fmla="*/ 2147483647 w 168"/>
                <a:gd name="T31" fmla="*/ 2147483647 h 534"/>
                <a:gd name="T32" fmla="*/ 2147483647 w 168"/>
                <a:gd name="T33" fmla="*/ 2147483647 h 534"/>
                <a:gd name="T34" fmla="*/ 2147483647 w 168"/>
                <a:gd name="T35" fmla="*/ 2147483647 h 534"/>
                <a:gd name="T36" fmla="*/ 2147483647 w 168"/>
                <a:gd name="T37" fmla="*/ 2147483647 h 534"/>
                <a:gd name="T38" fmla="*/ 0 w 168"/>
                <a:gd name="T39" fmla="*/ 2147483647 h 53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8" h="534">
                  <a:moveTo>
                    <a:pt x="0" y="300"/>
                  </a:moveTo>
                  <a:lnTo>
                    <a:pt x="25" y="333"/>
                  </a:lnTo>
                  <a:lnTo>
                    <a:pt x="19" y="354"/>
                  </a:lnTo>
                  <a:lnTo>
                    <a:pt x="31" y="446"/>
                  </a:lnTo>
                  <a:lnTo>
                    <a:pt x="12" y="467"/>
                  </a:lnTo>
                  <a:lnTo>
                    <a:pt x="31" y="534"/>
                  </a:lnTo>
                  <a:lnTo>
                    <a:pt x="81" y="511"/>
                  </a:lnTo>
                  <a:lnTo>
                    <a:pt x="88" y="477"/>
                  </a:lnTo>
                  <a:lnTo>
                    <a:pt x="113" y="477"/>
                  </a:lnTo>
                  <a:lnTo>
                    <a:pt x="144" y="411"/>
                  </a:lnTo>
                  <a:lnTo>
                    <a:pt x="131" y="354"/>
                  </a:lnTo>
                  <a:lnTo>
                    <a:pt x="149" y="265"/>
                  </a:lnTo>
                  <a:lnTo>
                    <a:pt x="163" y="256"/>
                  </a:lnTo>
                  <a:lnTo>
                    <a:pt x="168" y="133"/>
                  </a:lnTo>
                  <a:lnTo>
                    <a:pt x="43" y="0"/>
                  </a:lnTo>
                  <a:lnTo>
                    <a:pt x="25" y="23"/>
                  </a:lnTo>
                  <a:lnTo>
                    <a:pt x="25" y="68"/>
                  </a:lnTo>
                  <a:lnTo>
                    <a:pt x="43" y="112"/>
                  </a:lnTo>
                  <a:lnTo>
                    <a:pt x="31" y="221"/>
                  </a:lnTo>
                  <a:lnTo>
                    <a:pt x="0" y="30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35" name="Freeform 891"/>
            <p:cNvSpPr>
              <a:spLocks/>
            </p:cNvSpPr>
            <p:nvPr>
              <p:custDataLst>
                <p:tags r:id="rId729"/>
              </p:custDataLst>
            </p:nvPr>
          </p:nvSpPr>
          <p:spPr bwMode="auto">
            <a:xfrm>
              <a:off x="4715123" y="3895725"/>
              <a:ext cx="247650" cy="423863"/>
            </a:xfrm>
            <a:custGeom>
              <a:avLst/>
              <a:gdLst>
                <a:gd name="T0" fmla="*/ 0 w 168"/>
                <a:gd name="T1" fmla="*/ 2147483647 h 534"/>
                <a:gd name="T2" fmla="*/ 2147483647 w 168"/>
                <a:gd name="T3" fmla="*/ 2147483647 h 534"/>
                <a:gd name="T4" fmla="*/ 2147483647 w 168"/>
                <a:gd name="T5" fmla="*/ 2147483647 h 534"/>
                <a:gd name="T6" fmla="*/ 2147483647 w 168"/>
                <a:gd name="T7" fmla="*/ 2147483647 h 534"/>
                <a:gd name="T8" fmla="*/ 2147483647 w 168"/>
                <a:gd name="T9" fmla="*/ 2147483647 h 534"/>
                <a:gd name="T10" fmla="*/ 2147483647 w 168"/>
                <a:gd name="T11" fmla="*/ 2147483647 h 534"/>
                <a:gd name="T12" fmla="*/ 2147483647 w 168"/>
                <a:gd name="T13" fmla="*/ 2147483647 h 534"/>
                <a:gd name="T14" fmla="*/ 2147483647 w 168"/>
                <a:gd name="T15" fmla="*/ 2147483647 h 534"/>
                <a:gd name="T16" fmla="*/ 2147483647 w 168"/>
                <a:gd name="T17" fmla="*/ 2147483647 h 534"/>
                <a:gd name="T18" fmla="*/ 2147483647 w 168"/>
                <a:gd name="T19" fmla="*/ 2147483647 h 534"/>
                <a:gd name="T20" fmla="*/ 2147483647 w 168"/>
                <a:gd name="T21" fmla="*/ 2147483647 h 534"/>
                <a:gd name="T22" fmla="*/ 2147483647 w 168"/>
                <a:gd name="T23" fmla="*/ 2147483647 h 534"/>
                <a:gd name="T24" fmla="*/ 2147483647 w 168"/>
                <a:gd name="T25" fmla="*/ 2147483647 h 534"/>
                <a:gd name="T26" fmla="*/ 2147483647 w 168"/>
                <a:gd name="T27" fmla="*/ 2147483647 h 534"/>
                <a:gd name="T28" fmla="*/ 2147483647 w 168"/>
                <a:gd name="T29" fmla="*/ 0 h 534"/>
                <a:gd name="T30" fmla="*/ 2147483647 w 168"/>
                <a:gd name="T31" fmla="*/ 2147483647 h 534"/>
                <a:gd name="T32" fmla="*/ 2147483647 w 168"/>
                <a:gd name="T33" fmla="*/ 2147483647 h 534"/>
                <a:gd name="T34" fmla="*/ 2147483647 w 168"/>
                <a:gd name="T35" fmla="*/ 2147483647 h 534"/>
                <a:gd name="T36" fmla="*/ 2147483647 w 168"/>
                <a:gd name="T37" fmla="*/ 2147483647 h 534"/>
                <a:gd name="T38" fmla="*/ 0 w 168"/>
                <a:gd name="T39" fmla="*/ 2147483647 h 53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8" h="534">
                  <a:moveTo>
                    <a:pt x="0" y="300"/>
                  </a:moveTo>
                  <a:lnTo>
                    <a:pt x="25" y="333"/>
                  </a:lnTo>
                  <a:lnTo>
                    <a:pt x="19" y="354"/>
                  </a:lnTo>
                  <a:lnTo>
                    <a:pt x="31" y="446"/>
                  </a:lnTo>
                  <a:lnTo>
                    <a:pt x="12" y="467"/>
                  </a:lnTo>
                  <a:lnTo>
                    <a:pt x="31" y="534"/>
                  </a:lnTo>
                  <a:lnTo>
                    <a:pt x="81" y="511"/>
                  </a:lnTo>
                  <a:lnTo>
                    <a:pt x="88" y="477"/>
                  </a:lnTo>
                  <a:lnTo>
                    <a:pt x="113" y="477"/>
                  </a:lnTo>
                  <a:lnTo>
                    <a:pt x="144" y="411"/>
                  </a:lnTo>
                  <a:lnTo>
                    <a:pt x="131" y="354"/>
                  </a:lnTo>
                  <a:lnTo>
                    <a:pt x="149" y="265"/>
                  </a:lnTo>
                  <a:lnTo>
                    <a:pt x="163" y="256"/>
                  </a:lnTo>
                  <a:lnTo>
                    <a:pt x="168" y="133"/>
                  </a:lnTo>
                  <a:lnTo>
                    <a:pt x="43" y="0"/>
                  </a:lnTo>
                  <a:lnTo>
                    <a:pt x="25" y="23"/>
                  </a:lnTo>
                  <a:lnTo>
                    <a:pt x="25" y="68"/>
                  </a:lnTo>
                  <a:lnTo>
                    <a:pt x="43" y="112"/>
                  </a:lnTo>
                  <a:lnTo>
                    <a:pt x="31" y="221"/>
                  </a:lnTo>
                  <a:lnTo>
                    <a:pt x="0" y="3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36" name="Freeform 892"/>
            <p:cNvSpPr>
              <a:spLocks/>
            </p:cNvSpPr>
            <p:nvPr>
              <p:custDataLst>
                <p:tags r:id="rId730"/>
              </p:custDataLst>
            </p:nvPr>
          </p:nvSpPr>
          <p:spPr bwMode="auto">
            <a:xfrm>
              <a:off x="4715123" y="3895725"/>
              <a:ext cx="247650" cy="423863"/>
            </a:xfrm>
            <a:custGeom>
              <a:avLst/>
              <a:gdLst>
                <a:gd name="T0" fmla="*/ 0 w 168"/>
                <a:gd name="T1" fmla="*/ 2147483647 h 534"/>
                <a:gd name="T2" fmla="*/ 2147483647 w 168"/>
                <a:gd name="T3" fmla="*/ 2147483647 h 534"/>
                <a:gd name="T4" fmla="*/ 2147483647 w 168"/>
                <a:gd name="T5" fmla="*/ 2147483647 h 534"/>
                <a:gd name="T6" fmla="*/ 2147483647 w 168"/>
                <a:gd name="T7" fmla="*/ 2147483647 h 534"/>
                <a:gd name="T8" fmla="*/ 2147483647 w 168"/>
                <a:gd name="T9" fmla="*/ 2147483647 h 534"/>
                <a:gd name="T10" fmla="*/ 2147483647 w 168"/>
                <a:gd name="T11" fmla="*/ 2147483647 h 534"/>
                <a:gd name="T12" fmla="*/ 2147483647 w 168"/>
                <a:gd name="T13" fmla="*/ 2147483647 h 534"/>
                <a:gd name="T14" fmla="*/ 2147483647 w 168"/>
                <a:gd name="T15" fmla="*/ 2147483647 h 534"/>
                <a:gd name="T16" fmla="*/ 2147483647 w 168"/>
                <a:gd name="T17" fmla="*/ 2147483647 h 534"/>
                <a:gd name="T18" fmla="*/ 2147483647 w 168"/>
                <a:gd name="T19" fmla="*/ 2147483647 h 534"/>
                <a:gd name="T20" fmla="*/ 2147483647 w 168"/>
                <a:gd name="T21" fmla="*/ 2147483647 h 534"/>
                <a:gd name="T22" fmla="*/ 2147483647 w 168"/>
                <a:gd name="T23" fmla="*/ 2147483647 h 534"/>
                <a:gd name="T24" fmla="*/ 2147483647 w 168"/>
                <a:gd name="T25" fmla="*/ 2147483647 h 534"/>
                <a:gd name="T26" fmla="*/ 2147483647 w 168"/>
                <a:gd name="T27" fmla="*/ 2147483647 h 534"/>
                <a:gd name="T28" fmla="*/ 2147483647 w 168"/>
                <a:gd name="T29" fmla="*/ 0 h 534"/>
                <a:gd name="T30" fmla="*/ 2147483647 w 168"/>
                <a:gd name="T31" fmla="*/ 2147483647 h 534"/>
                <a:gd name="T32" fmla="*/ 2147483647 w 168"/>
                <a:gd name="T33" fmla="*/ 2147483647 h 534"/>
                <a:gd name="T34" fmla="*/ 2147483647 w 168"/>
                <a:gd name="T35" fmla="*/ 2147483647 h 534"/>
                <a:gd name="T36" fmla="*/ 2147483647 w 168"/>
                <a:gd name="T37" fmla="*/ 2147483647 h 534"/>
                <a:gd name="T38" fmla="*/ 0 w 168"/>
                <a:gd name="T39" fmla="*/ 2147483647 h 53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8" h="534">
                  <a:moveTo>
                    <a:pt x="0" y="300"/>
                  </a:moveTo>
                  <a:lnTo>
                    <a:pt x="25" y="333"/>
                  </a:lnTo>
                  <a:lnTo>
                    <a:pt x="19" y="354"/>
                  </a:lnTo>
                  <a:lnTo>
                    <a:pt x="31" y="446"/>
                  </a:lnTo>
                  <a:lnTo>
                    <a:pt x="12" y="467"/>
                  </a:lnTo>
                  <a:lnTo>
                    <a:pt x="31" y="534"/>
                  </a:lnTo>
                  <a:lnTo>
                    <a:pt x="81" y="511"/>
                  </a:lnTo>
                  <a:lnTo>
                    <a:pt x="88" y="477"/>
                  </a:lnTo>
                  <a:lnTo>
                    <a:pt x="113" y="477"/>
                  </a:lnTo>
                  <a:lnTo>
                    <a:pt x="144" y="411"/>
                  </a:lnTo>
                  <a:lnTo>
                    <a:pt x="131" y="354"/>
                  </a:lnTo>
                  <a:lnTo>
                    <a:pt x="149" y="265"/>
                  </a:lnTo>
                  <a:lnTo>
                    <a:pt x="163" y="256"/>
                  </a:lnTo>
                  <a:lnTo>
                    <a:pt x="168" y="133"/>
                  </a:lnTo>
                  <a:lnTo>
                    <a:pt x="43" y="0"/>
                  </a:lnTo>
                  <a:lnTo>
                    <a:pt x="25" y="23"/>
                  </a:lnTo>
                  <a:lnTo>
                    <a:pt x="25" y="68"/>
                  </a:lnTo>
                  <a:lnTo>
                    <a:pt x="43" y="112"/>
                  </a:lnTo>
                  <a:lnTo>
                    <a:pt x="31" y="221"/>
                  </a:lnTo>
                  <a:lnTo>
                    <a:pt x="0" y="30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37" name="Freeform 893"/>
            <p:cNvSpPr>
              <a:spLocks/>
            </p:cNvSpPr>
            <p:nvPr>
              <p:custDataLst>
                <p:tags r:id="rId731"/>
              </p:custDataLst>
            </p:nvPr>
          </p:nvSpPr>
          <p:spPr bwMode="auto">
            <a:xfrm>
              <a:off x="4669086" y="4403725"/>
              <a:ext cx="163512" cy="222250"/>
            </a:xfrm>
            <a:custGeom>
              <a:avLst/>
              <a:gdLst>
                <a:gd name="T0" fmla="*/ 0 w 112"/>
                <a:gd name="T1" fmla="*/ 2147483647 h 278"/>
                <a:gd name="T2" fmla="*/ 2147483647 w 112"/>
                <a:gd name="T3" fmla="*/ 2147483647 h 278"/>
                <a:gd name="T4" fmla="*/ 2147483647 w 112"/>
                <a:gd name="T5" fmla="*/ 2147483647 h 278"/>
                <a:gd name="T6" fmla="*/ 2147483647 w 112"/>
                <a:gd name="T7" fmla="*/ 2147483647 h 278"/>
                <a:gd name="T8" fmla="*/ 2147483647 w 112"/>
                <a:gd name="T9" fmla="*/ 2147483647 h 278"/>
                <a:gd name="T10" fmla="*/ 2147483647 w 112"/>
                <a:gd name="T11" fmla="*/ 2147483647 h 278"/>
                <a:gd name="T12" fmla="*/ 2147483647 w 112"/>
                <a:gd name="T13" fmla="*/ 2147483647 h 278"/>
                <a:gd name="T14" fmla="*/ 2147483647 w 112"/>
                <a:gd name="T15" fmla="*/ 0 h 278"/>
                <a:gd name="T16" fmla="*/ 2147483647 w 112"/>
                <a:gd name="T17" fmla="*/ 0 h 278"/>
                <a:gd name="T18" fmla="*/ 2147483647 w 112"/>
                <a:gd name="T19" fmla="*/ 2147483647 h 278"/>
                <a:gd name="T20" fmla="*/ 2147483647 w 112"/>
                <a:gd name="T21" fmla="*/ 2147483647 h 278"/>
                <a:gd name="T22" fmla="*/ 2147483647 w 112"/>
                <a:gd name="T23" fmla="*/ 2147483647 h 278"/>
                <a:gd name="T24" fmla="*/ 2147483647 w 112"/>
                <a:gd name="T25" fmla="*/ 2147483647 h 278"/>
                <a:gd name="T26" fmla="*/ 2147483647 w 112"/>
                <a:gd name="T27" fmla="*/ 2147483647 h 278"/>
                <a:gd name="T28" fmla="*/ 2147483647 w 112"/>
                <a:gd name="T29" fmla="*/ 2147483647 h 278"/>
                <a:gd name="T30" fmla="*/ 2147483647 w 112"/>
                <a:gd name="T31" fmla="*/ 2147483647 h 278"/>
                <a:gd name="T32" fmla="*/ 0 w 112"/>
                <a:gd name="T33" fmla="*/ 2147483647 h 27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2" h="278">
                  <a:moveTo>
                    <a:pt x="0" y="244"/>
                  </a:moveTo>
                  <a:lnTo>
                    <a:pt x="12" y="278"/>
                  </a:lnTo>
                  <a:lnTo>
                    <a:pt x="24" y="265"/>
                  </a:lnTo>
                  <a:lnTo>
                    <a:pt x="50" y="265"/>
                  </a:lnTo>
                  <a:lnTo>
                    <a:pt x="69" y="244"/>
                  </a:lnTo>
                  <a:lnTo>
                    <a:pt x="74" y="190"/>
                  </a:lnTo>
                  <a:lnTo>
                    <a:pt x="99" y="146"/>
                  </a:lnTo>
                  <a:lnTo>
                    <a:pt x="112" y="0"/>
                  </a:lnTo>
                  <a:lnTo>
                    <a:pt x="88" y="0"/>
                  </a:lnTo>
                  <a:lnTo>
                    <a:pt x="74" y="23"/>
                  </a:lnTo>
                  <a:lnTo>
                    <a:pt x="69" y="67"/>
                  </a:lnTo>
                  <a:lnTo>
                    <a:pt x="31" y="56"/>
                  </a:lnTo>
                  <a:lnTo>
                    <a:pt x="31" y="79"/>
                  </a:lnTo>
                  <a:lnTo>
                    <a:pt x="43" y="79"/>
                  </a:lnTo>
                  <a:lnTo>
                    <a:pt x="43" y="190"/>
                  </a:lnTo>
                  <a:lnTo>
                    <a:pt x="19" y="177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38" name="Freeform 894"/>
            <p:cNvSpPr>
              <a:spLocks/>
            </p:cNvSpPr>
            <p:nvPr>
              <p:custDataLst>
                <p:tags r:id="rId732"/>
              </p:custDataLst>
            </p:nvPr>
          </p:nvSpPr>
          <p:spPr bwMode="auto">
            <a:xfrm>
              <a:off x="4669086" y="4403725"/>
              <a:ext cx="163512" cy="222250"/>
            </a:xfrm>
            <a:custGeom>
              <a:avLst/>
              <a:gdLst>
                <a:gd name="T0" fmla="*/ 0 w 112"/>
                <a:gd name="T1" fmla="*/ 2147483647 h 278"/>
                <a:gd name="T2" fmla="*/ 2147483647 w 112"/>
                <a:gd name="T3" fmla="*/ 2147483647 h 278"/>
                <a:gd name="T4" fmla="*/ 2147483647 w 112"/>
                <a:gd name="T5" fmla="*/ 2147483647 h 278"/>
                <a:gd name="T6" fmla="*/ 2147483647 w 112"/>
                <a:gd name="T7" fmla="*/ 2147483647 h 278"/>
                <a:gd name="T8" fmla="*/ 2147483647 w 112"/>
                <a:gd name="T9" fmla="*/ 2147483647 h 278"/>
                <a:gd name="T10" fmla="*/ 2147483647 w 112"/>
                <a:gd name="T11" fmla="*/ 2147483647 h 278"/>
                <a:gd name="T12" fmla="*/ 2147483647 w 112"/>
                <a:gd name="T13" fmla="*/ 2147483647 h 278"/>
                <a:gd name="T14" fmla="*/ 2147483647 w 112"/>
                <a:gd name="T15" fmla="*/ 0 h 278"/>
                <a:gd name="T16" fmla="*/ 2147483647 w 112"/>
                <a:gd name="T17" fmla="*/ 0 h 278"/>
                <a:gd name="T18" fmla="*/ 2147483647 w 112"/>
                <a:gd name="T19" fmla="*/ 2147483647 h 278"/>
                <a:gd name="T20" fmla="*/ 2147483647 w 112"/>
                <a:gd name="T21" fmla="*/ 2147483647 h 278"/>
                <a:gd name="T22" fmla="*/ 2147483647 w 112"/>
                <a:gd name="T23" fmla="*/ 2147483647 h 278"/>
                <a:gd name="T24" fmla="*/ 2147483647 w 112"/>
                <a:gd name="T25" fmla="*/ 2147483647 h 278"/>
                <a:gd name="T26" fmla="*/ 2147483647 w 112"/>
                <a:gd name="T27" fmla="*/ 2147483647 h 278"/>
                <a:gd name="T28" fmla="*/ 2147483647 w 112"/>
                <a:gd name="T29" fmla="*/ 2147483647 h 278"/>
                <a:gd name="T30" fmla="*/ 2147483647 w 112"/>
                <a:gd name="T31" fmla="*/ 2147483647 h 278"/>
                <a:gd name="T32" fmla="*/ 0 w 112"/>
                <a:gd name="T33" fmla="*/ 2147483647 h 27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2" h="278">
                  <a:moveTo>
                    <a:pt x="0" y="244"/>
                  </a:moveTo>
                  <a:lnTo>
                    <a:pt x="12" y="278"/>
                  </a:lnTo>
                  <a:lnTo>
                    <a:pt x="24" y="265"/>
                  </a:lnTo>
                  <a:lnTo>
                    <a:pt x="50" y="265"/>
                  </a:lnTo>
                  <a:lnTo>
                    <a:pt x="69" y="244"/>
                  </a:lnTo>
                  <a:lnTo>
                    <a:pt x="74" y="190"/>
                  </a:lnTo>
                  <a:lnTo>
                    <a:pt x="99" y="146"/>
                  </a:lnTo>
                  <a:lnTo>
                    <a:pt x="112" y="0"/>
                  </a:lnTo>
                  <a:lnTo>
                    <a:pt x="88" y="0"/>
                  </a:lnTo>
                  <a:lnTo>
                    <a:pt x="74" y="23"/>
                  </a:lnTo>
                  <a:lnTo>
                    <a:pt x="69" y="67"/>
                  </a:lnTo>
                  <a:lnTo>
                    <a:pt x="31" y="56"/>
                  </a:lnTo>
                  <a:lnTo>
                    <a:pt x="31" y="79"/>
                  </a:lnTo>
                  <a:lnTo>
                    <a:pt x="43" y="79"/>
                  </a:lnTo>
                  <a:lnTo>
                    <a:pt x="43" y="190"/>
                  </a:lnTo>
                  <a:lnTo>
                    <a:pt x="19" y="177"/>
                  </a:lnTo>
                  <a:lnTo>
                    <a:pt x="0" y="2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39" name="Freeform 895"/>
            <p:cNvSpPr>
              <a:spLocks/>
            </p:cNvSpPr>
            <p:nvPr>
              <p:custDataLst>
                <p:tags r:id="rId733"/>
              </p:custDataLst>
            </p:nvPr>
          </p:nvSpPr>
          <p:spPr bwMode="auto">
            <a:xfrm>
              <a:off x="4669086" y="4403725"/>
              <a:ext cx="163512" cy="222250"/>
            </a:xfrm>
            <a:custGeom>
              <a:avLst/>
              <a:gdLst>
                <a:gd name="T0" fmla="*/ 0 w 112"/>
                <a:gd name="T1" fmla="*/ 2147483647 h 278"/>
                <a:gd name="T2" fmla="*/ 2147483647 w 112"/>
                <a:gd name="T3" fmla="*/ 2147483647 h 278"/>
                <a:gd name="T4" fmla="*/ 2147483647 w 112"/>
                <a:gd name="T5" fmla="*/ 2147483647 h 278"/>
                <a:gd name="T6" fmla="*/ 2147483647 w 112"/>
                <a:gd name="T7" fmla="*/ 2147483647 h 278"/>
                <a:gd name="T8" fmla="*/ 2147483647 w 112"/>
                <a:gd name="T9" fmla="*/ 2147483647 h 278"/>
                <a:gd name="T10" fmla="*/ 2147483647 w 112"/>
                <a:gd name="T11" fmla="*/ 2147483647 h 278"/>
                <a:gd name="T12" fmla="*/ 2147483647 w 112"/>
                <a:gd name="T13" fmla="*/ 2147483647 h 278"/>
                <a:gd name="T14" fmla="*/ 2147483647 w 112"/>
                <a:gd name="T15" fmla="*/ 0 h 278"/>
                <a:gd name="T16" fmla="*/ 2147483647 w 112"/>
                <a:gd name="T17" fmla="*/ 0 h 278"/>
                <a:gd name="T18" fmla="*/ 2147483647 w 112"/>
                <a:gd name="T19" fmla="*/ 2147483647 h 278"/>
                <a:gd name="T20" fmla="*/ 2147483647 w 112"/>
                <a:gd name="T21" fmla="*/ 2147483647 h 278"/>
                <a:gd name="T22" fmla="*/ 2147483647 w 112"/>
                <a:gd name="T23" fmla="*/ 2147483647 h 278"/>
                <a:gd name="T24" fmla="*/ 2147483647 w 112"/>
                <a:gd name="T25" fmla="*/ 2147483647 h 278"/>
                <a:gd name="T26" fmla="*/ 2147483647 w 112"/>
                <a:gd name="T27" fmla="*/ 2147483647 h 278"/>
                <a:gd name="T28" fmla="*/ 2147483647 w 112"/>
                <a:gd name="T29" fmla="*/ 2147483647 h 278"/>
                <a:gd name="T30" fmla="*/ 2147483647 w 112"/>
                <a:gd name="T31" fmla="*/ 2147483647 h 278"/>
                <a:gd name="T32" fmla="*/ 0 w 112"/>
                <a:gd name="T33" fmla="*/ 2147483647 h 27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2" h="278">
                  <a:moveTo>
                    <a:pt x="0" y="244"/>
                  </a:moveTo>
                  <a:lnTo>
                    <a:pt x="12" y="278"/>
                  </a:lnTo>
                  <a:lnTo>
                    <a:pt x="24" y="265"/>
                  </a:lnTo>
                  <a:lnTo>
                    <a:pt x="50" y="265"/>
                  </a:lnTo>
                  <a:lnTo>
                    <a:pt x="69" y="244"/>
                  </a:lnTo>
                  <a:lnTo>
                    <a:pt x="74" y="190"/>
                  </a:lnTo>
                  <a:lnTo>
                    <a:pt x="99" y="146"/>
                  </a:lnTo>
                  <a:lnTo>
                    <a:pt x="112" y="0"/>
                  </a:lnTo>
                  <a:lnTo>
                    <a:pt x="88" y="0"/>
                  </a:lnTo>
                  <a:lnTo>
                    <a:pt x="74" y="23"/>
                  </a:lnTo>
                  <a:lnTo>
                    <a:pt x="69" y="67"/>
                  </a:lnTo>
                  <a:lnTo>
                    <a:pt x="31" y="56"/>
                  </a:lnTo>
                  <a:lnTo>
                    <a:pt x="31" y="79"/>
                  </a:lnTo>
                  <a:lnTo>
                    <a:pt x="43" y="79"/>
                  </a:lnTo>
                  <a:lnTo>
                    <a:pt x="43" y="190"/>
                  </a:lnTo>
                  <a:lnTo>
                    <a:pt x="19" y="177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40" name="Freeform 896"/>
            <p:cNvSpPr>
              <a:spLocks/>
            </p:cNvSpPr>
            <p:nvPr>
              <p:custDataLst>
                <p:tags r:id="rId734"/>
              </p:custDataLst>
            </p:nvPr>
          </p:nvSpPr>
          <p:spPr bwMode="auto">
            <a:xfrm>
              <a:off x="4669086" y="4403725"/>
              <a:ext cx="163512" cy="222250"/>
            </a:xfrm>
            <a:custGeom>
              <a:avLst/>
              <a:gdLst>
                <a:gd name="T0" fmla="*/ 0 w 112"/>
                <a:gd name="T1" fmla="*/ 2147483647 h 278"/>
                <a:gd name="T2" fmla="*/ 2147483647 w 112"/>
                <a:gd name="T3" fmla="*/ 2147483647 h 278"/>
                <a:gd name="T4" fmla="*/ 2147483647 w 112"/>
                <a:gd name="T5" fmla="*/ 2147483647 h 278"/>
                <a:gd name="T6" fmla="*/ 2147483647 w 112"/>
                <a:gd name="T7" fmla="*/ 2147483647 h 278"/>
                <a:gd name="T8" fmla="*/ 2147483647 w 112"/>
                <a:gd name="T9" fmla="*/ 2147483647 h 278"/>
                <a:gd name="T10" fmla="*/ 2147483647 w 112"/>
                <a:gd name="T11" fmla="*/ 2147483647 h 278"/>
                <a:gd name="T12" fmla="*/ 2147483647 w 112"/>
                <a:gd name="T13" fmla="*/ 2147483647 h 278"/>
                <a:gd name="T14" fmla="*/ 2147483647 w 112"/>
                <a:gd name="T15" fmla="*/ 0 h 278"/>
                <a:gd name="T16" fmla="*/ 2147483647 w 112"/>
                <a:gd name="T17" fmla="*/ 0 h 278"/>
                <a:gd name="T18" fmla="*/ 2147483647 w 112"/>
                <a:gd name="T19" fmla="*/ 2147483647 h 278"/>
                <a:gd name="T20" fmla="*/ 2147483647 w 112"/>
                <a:gd name="T21" fmla="*/ 2147483647 h 278"/>
                <a:gd name="T22" fmla="*/ 2147483647 w 112"/>
                <a:gd name="T23" fmla="*/ 2147483647 h 278"/>
                <a:gd name="T24" fmla="*/ 2147483647 w 112"/>
                <a:gd name="T25" fmla="*/ 2147483647 h 278"/>
                <a:gd name="T26" fmla="*/ 2147483647 w 112"/>
                <a:gd name="T27" fmla="*/ 2147483647 h 278"/>
                <a:gd name="T28" fmla="*/ 2147483647 w 112"/>
                <a:gd name="T29" fmla="*/ 2147483647 h 278"/>
                <a:gd name="T30" fmla="*/ 2147483647 w 112"/>
                <a:gd name="T31" fmla="*/ 2147483647 h 278"/>
                <a:gd name="T32" fmla="*/ 0 w 112"/>
                <a:gd name="T33" fmla="*/ 2147483647 h 27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2" h="278">
                  <a:moveTo>
                    <a:pt x="0" y="244"/>
                  </a:moveTo>
                  <a:lnTo>
                    <a:pt x="12" y="278"/>
                  </a:lnTo>
                  <a:lnTo>
                    <a:pt x="24" y="265"/>
                  </a:lnTo>
                  <a:lnTo>
                    <a:pt x="50" y="265"/>
                  </a:lnTo>
                  <a:lnTo>
                    <a:pt x="69" y="244"/>
                  </a:lnTo>
                  <a:lnTo>
                    <a:pt x="74" y="190"/>
                  </a:lnTo>
                  <a:lnTo>
                    <a:pt x="99" y="146"/>
                  </a:lnTo>
                  <a:lnTo>
                    <a:pt x="112" y="0"/>
                  </a:lnTo>
                  <a:lnTo>
                    <a:pt x="88" y="0"/>
                  </a:lnTo>
                  <a:lnTo>
                    <a:pt x="74" y="23"/>
                  </a:lnTo>
                  <a:lnTo>
                    <a:pt x="69" y="67"/>
                  </a:lnTo>
                  <a:lnTo>
                    <a:pt x="31" y="56"/>
                  </a:lnTo>
                  <a:lnTo>
                    <a:pt x="31" y="79"/>
                  </a:lnTo>
                  <a:lnTo>
                    <a:pt x="43" y="79"/>
                  </a:lnTo>
                  <a:lnTo>
                    <a:pt x="43" y="190"/>
                  </a:lnTo>
                  <a:lnTo>
                    <a:pt x="19" y="177"/>
                  </a:lnTo>
                  <a:lnTo>
                    <a:pt x="0" y="2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41" name="Freeform 897"/>
            <p:cNvSpPr>
              <a:spLocks/>
            </p:cNvSpPr>
            <p:nvPr>
              <p:custDataLst>
                <p:tags r:id="rId735"/>
              </p:custDataLst>
            </p:nvPr>
          </p:nvSpPr>
          <p:spPr bwMode="auto">
            <a:xfrm>
              <a:off x="4696073" y="4367213"/>
              <a:ext cx="419100" cy="468312"/>
            </a:xfrm>
            <a:custGeom>
              <a:avLst/>
              <a:gdLst>
                <a:gd name="T0" fmla="*/ 0 w 286"/>
                <a:gd name="T1" fmla="*/ 2147483647 h 589"/>
                <a:gd name="T2" fmla="*/ 0 w 286"/>
                <a:gd name="T3" fmla="*/ 2147483647 h 589"/>
                <a:gd name="T4" fmla="*/ 2147483647 w 286"/>
                <a:gd name="T5" fmla="*/ 2147483647 h 589"/>
                <a:gd name="T6" fmla="*/ 2147483647 w 286"/>
                <a:gd name="T7" fmla="*/ 2147483647 h 589"/>
                <a:gd name="T8" fmla="*/ 2147483647 w 286"/>
                <a:gd name="T9" fmla="*/ 2147483647 h 589"/>
                <a:gd name="T10" fmla="*/ 2147483647 w 286"/>
                <a:gd name="T11" fmla="*/ 2147483647 h 589"/>
                <a:gd name="T12" fmla="*/ 2147483647 w 286"/>
                <a:gd name="T13" fmla="*/ 2147483647 h 589"/>
                <a:gd name="T14" fmla="*/ 2147483647 w 286"/>
                <a:gd name="T15" fmla="*/ 2147483647 h 589"/>
                <a:gd name="T16" fmla="*/ 2147483647 w 286"/>
                <a:gd name="T17" fmla="*/ 2147483647 h 589"/>
                <a:gd name="T18" fmla="*/ 2147483647 w 286"/>
                <a:gd name="T19" fmla="*/ 2147483647 h 589"/>
                <a:gd name="T20" fmla="*/ 2147483647 w 286"/>
                <a:gd name="T21" fmla="*/ 2147483647 h 589"/>
                <a:gd name="T22" fmla="*/ 2147483647 w 286"/>
                <a:gd name="T23" fmla="*/ 2147483647 h 589"/>
                <a:gd name="T24" fmla="*/ 2147483647 w 286"/>
                <a:gd name="T25" fmla="*/ 2147483647 h 589"/>
                <a:gd name="T26" fmla="*/ 2147483647 w 286"/>
                <a:gd name="T27" fmla="*/ 2147483647 h 589"/>
                <a:gd name="T28" fmla="*/ 2147483647 w 286"/>
                <a:gd name="T29" fmla="*/ 2147483647 h 589"/>
                <a:gd name="T30" fmla="*/ 2147483647 w 286"/>
                <a:gd name="T31" fmla="*/ 2147483647 h 589"/>
                <a:gd name="T32" fmla="*/ 2147483647 w 286"/>
                <a:gd name="T33" fmla="*/ 2147483647 h 589"/>
                <a:gd name="T34" fmla="*/ 2147483647 w 286"/>
                <a:gd name="T35" fmla="*/ 2147483647 h 589"/>
                <a:gd name="T36" fmla="*/ 2147483647 w 286"/>
                <a:gd name="T37" fmla="*/ 2147483647 h 589"/>
                <a:gd name="T38" fmla="*/ 2147483647 w 286"/>
                <a:gd name="T39" fmla="*/ 2147483647 h 589"/>
                <a:gd name="T40" fmla="*/ 2147483647 w 286"/>
                <a:gd name="T41" fmla="*/ 2147483647 h 589"/>
                <a:gd name="T42" fmla="*/ 2147483647 w 286"/>
                <a:gd name="T43" fmla="*/ 2147483647 h 589"/>
                <a:gd name="T44" fmla="*/ 2147483647 w 286"/>
                <a:gd name="T45" fmla="*/ 0 h 589"/>
                <a:gd name="T46" fmla="*/ 2147483647 w 286"/>
                <a:gd name="T47" fmla="*/ 2147483647 h 589"/>
                <a:gd name="T48" fmla="*/ 2147483647 w 286"/>
                <a:gd name="T49" fmla="*/ 0 h 589"/>
                <a:gd name="T50" fmla="*/ 2147483647 w 286"/>
                <a:gd name="T51" fmla="*/ 2147483647 h 589"/>
                <a:gd name="T52" fmla="*/ 2147483647 w 286"/>
                <a:gd name="T53" fmla="*/ 2147483647 h 589"/>
                <a:gd name="T54" fmla="*/ 2147483647 w 286"/>
                <a:gd name="T55" fmla="*/ 2147483647 h 589"/>
                <a:gd name="T56" fmla="*/ 2147483647 w 286"/>
                <a:gd name="T57" fmla="*/ 2147483647 h 589"/>
                <a:gd name="T58" fmla="*/ 2147483647 w 286"/>
                <a:gd name="T59" fmla="*/ 2147483647 h 589"/>
                <a:gd name="T60" fmla="*/ 2147483647 w 286"/>
                <a:gd name="T61" fmla="*/ 2147483647 h 589"/>
                <a:gd name="T62" fmla="*/ 0 w 286"/>
                <a:gd name="T63" fmla="*/ 2147483647 h 58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86" h="589">
                  <a:moveTo>
                    <a:pt x="0" y="345"/>
                  </a:moveTo>
                  <a:lnTo>
                    <a:pt x="0" y="368"/>
                  </a:lnTo>
                  <a:lnTo>
                    <a:pt x="56" y="345"/>
                  </a:lnTo>
                  <a:lnTo>
                    <a:pt x="81" y="422"/>
                  </a:lnTo>
                  <a:lnTo>
                    <a:pt x="106" y="422"/>
                  </a:lnTo>
                  <a:lnTo>
                    <a:pt x="112" y="390"/>
                  </a:lnTo>
                  <a:lnTo>
                    <a:pt x="131" y="378"/>
                  </a:lnTo>
                  <a:lnTo>
                    <a:pt x="144" y="399"/>
                  </a:lnTo>
                  <a:lnTo>
                    <a:pt x="144" y="522"/>
                  </a:lnTo>
                  <a:lnTo>
                    <a:pt x="181" y="513"/>
                  </a:lnTo>
                  <a:lnTo>
                    <a:pt x="268" y="589"/>
                  </a:lnTo>
                  <a:lnTo>
                    <a:pt x="268" y="557"/>
                  </a:lnTo>
                  <a:lnTo>
                    <a:pt x="250" y="536"/>
                  </a:lnTo>
                  <a:lnTo>
                    <a:pt x="250" y="457"/>
                  </a:lnTo>
                  <a:lnTo>
                    <a:pt x="281" y="422"/>
                  </a:lnTo>
                  <a:lnTo>
                    <a:pt x="262" y="368"/>
                  </a:lnTo>
                  <a:lnTo>
                    <a:pt x="262" y="267"/>
                  </a:lnTo>
                  <a:lnTo>
                    <a:pt x="256" y="246"/>
                  </a:lnTo>
                  <a:lnTo>
                    <a:pt x="268" y="211"/>
                  </a:lnTo>
                  <a:lnTo>
                    <a:pt x="281" y="123"/>
                  </a:lnTo>
                  <a:lnTo>
                    <a:pt x="286" y="88"/>
                  </a:lnTo>
                  <a:lnTo>
                    <a:pt x="286" y="44"/>
                  </a:lnTo>
                  <a:lnTo>
                    <a:pt x="231" y="0"/>
                  </a:lnTo>
                  <a:lnTo>
                    <a:pt x="137" y="23"/>
                  </a:lnTo>
                  <a:lnTo>
                    <a:pt x="112" y="0"/>
                  </a:lnTo>
                  <a:lnTo>
                    <a:pt x="94" y="44"/>
                  </a:lnTo>
                  <a:lnTo>
                    <a:pt x="81" y="190"/>
                  </a:lnTo>
                  <a:lnTo>
                    <a:pt x="56" y="234"/>
                  </a:lnTo>
                  <a:lnTo>
                    <a:pt x="50" y="290"/>
                  </a:lnTo>
                  <a:lnTo>
                    <a:pt x="32" y="311"/>
                  </a:lnTo>
                  <a:lnTo>
                    <a:pt x="6" y="311"/>
                  </a:lnTo>
                  <a:lnTo>
                    <a:pt x="0" y="3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42" name="Freeform 898"/>
            <p:cNvSpPr>
              <a:spLocks/>
            </p:cNvSpPr>
            <p:nvPr>
              <p:custDataLst>
                <p:tags r:id="rId736"/>
              </p:custDataLst>
            </p:nvPr>
          </p:nvSpPr>
          <p:spPr bwMode="auto">
            <a:xfrm>
              <a:off x="4696073" y="4367213"/>
              <a:ext cx="419100" cy="468312"/>
            </a:xfrm>
            <a:custGeom>
              <a:avLst/>
              <a:gdLst>
                <a:gd name="T0" fmla="*/ 0 w 286"/>
                <a:gd name="T1" fmla="*/ 2147483647 h 589"/>
                <a:gd name="T2" fmla="*/ 0 w 286"/>
                <a:gd name="T3" fmla="*/ 2147483647 h 589"/>
                <a:gd name="T4" fmla="*/ 2147483647 w 286"/>
                <a:gd name="T5" fmla="*/ 2147483647 h 589"/>
                <a:gd name="T6" fmla="*/ 2147483647 w 286"/>
                <a:gd name="T7" fmla="*/ 2147483647 h 589"/>
                <a:gd name="T8" fmla="*/ 2147483647 w 286"/>
                <a:gd name="T9" fmla="*/ 2147483647 h 589"/>
                <a:gd name="T10" fmla="*/ 2147483647 w 286"/>
                <a:gd name="T11" fmla="*/ 2147483647 h 589"/>
                <a:gd name="T12" fmla="*/ 2147483647 w 286"/>
                <a:gd name="T13" fmla="*/ 2147483647 h 589"/>
                <a:gd name="T14" fmla="*/ 2147483647 w 286"/>
                <a:gd name="T15" fmla="*/ 2147483647 h 589"/>
                <a:gd name="T16" fmla="*/ 2147483647 w 286"/>
                <a:gd name="T17" fmla="*/ 2147483647 h 589"/>
                <a:gd name="T18" fmla="*/ 2147483647 w 286"/>
                <a:gd name="T19" fmla="*/ 2147483647 h 589"/>
                <a:gd name="T20" fmla="*/ 2147483647 w 286"/>
                <a:gd name="T21" fmla="*/ 2147483647 h 589"/>
                <a:gd name="T22" fmla="*/ 2147483647 w 286"/>
                <a:gd name="T23" fmla="*/ 2147483647 h 589"/>
                <a:gd name="T24" fmla="*/ 2147483647 w 286"/>
                <a:gd name="T25" fmla="*/ 2147483647 h 589"/>
                <a:gd name="T26" fmla="*/ 2147483647 w 286"/>
                <a:gd name="T27" fmla="*/ 2147483647 h 589"/>
                <a:gd name="T28" fmla="*/ 2147483647 w 286"/>
                <a:gd name="T29" fmla="*/ 2147483647 h 589"/>
                <a:gd name="T30" fmla="*/ 2147483647 w 286"/>
                <a:gd name="T31" fmla="*/ 2147483647 h 589"/>
                <a:gd name="T32" fmla="*/ 2147483647 w 286"/>
                <a:gd name="T33" fmla="*/ 2147483647 h 589"/>
                <a:gd name="T34" fmla="*/ 2147483647 w 286"/>
                <a:gd name="T35" fmla="*/ 2147483647 h 589"/>
                <a:gd name="T36" fmla="*/ 2147483647 w 286"/>
                <a:gd name="T37" fmla="*/ 2147483647 h 589"/>
                <a:gd name="T38" fmla="*/ 2147483647 w 286"/>
                <a:gd name="T39" fmla="*/ 2147483647 h 589"/>
                <a:gd name="T40" fmla="*/ 2147483647 w 286"/>
                <a:gd name="T41" fmla="*/ 2147483647 h 589"/>
                <a:gd name="T42" fmla="*/ 2147483647 w 286"/>
                <a:gd name="T43" fmla="*/ 2147483647 h 589"/>
                <a:gd name="T44" fmla="*/ 2147483647 w 286"/>
                <a:gd name="T45" fmla="*/ 0 h 589"/>
                <a:gd name="T46" fmla="*/ 2147483647 w 286"/>
                <a:gd name="T47" fmla="*/ 2147483647 h 589"/>
                <a:gd name="T48" fmla="*/ 2147483647 w 286"/>
                <a:gd name="T49" fmla="*/ 0 h 589"/>
                <a:gd name="T50" fmla="*/ 2147483647 w 286"/>
                <a:gd name="T51" fmla="*/ 2147483647 h 589"/>
                <a:gd name="T52" fmla="*/ 2147483647 w 286"/>
                <a:gd name="T53" fmla="*/ 2147483647 h 589"/>
                <a:gd name="T54" fmla="*/ 2147483647 w 286"/>
                <a:gd name="T55" fmla="*/ 2147483647 h 589"/>
                <a:gd name="T56" fmla="*/ 2147483647 w 286"/>
                <a:gd name="T57" fmla="*/ 2147483647 h 589"/>
                <a:gd name="T58" fmla="*/ 2147483647 w 286"/>
                <a:gd name="T59" fmla="*/ 2147483647 h 589"/>
                <a:gd name="T60" fmla="*/ 2147483647 w 286"/>
                <a:gd name="T61" fmla="*/ 2147483647 h 589"/>
                <a:gd name="T62" fmla="*/ 0 w 286"/>
                <a:gd name="T63" fmla="*/ 2147483647 h 58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86" h="589">
                  <a:moveTo>
                    <a:pt x="0" y="345"/>
                  </a:moveTo>
                  <a:lnTo>
                    <a:pt x="0" y="368"/>
                  </a:lnTo>
                  <a:lnTo>
                    <a:pt x="56" y="345"/>
                  </a:lnTo>
                  <a:lnTo>
                    <a:pt x="81" y="422"/>
                  </a:lnTo>
                  <a:lnTo>
                    <a:pt x="106" y="422"/>
                  </a:lnTo>
                  <a:lnTo>
                    <a:pt x="112" y="390"/>
                  </a:lnTo>
                  <a:lnTo>
                    <a:pt x="131" y="378"/>
                  </a:lnTo>
                  <a:lnTo>
                    <a:pt x="144" y="399"/>
                  </a:lnTo>
                  <a:lnTo>
                    <a:pt x="144" y="522"/>
                  </a:lnTo>
                  <a:lnTo>
                    <a:pt x="181" y="513"/>
                  </a:lnTo>
                  <a:lnTo>
                    <a:pt x="268" y="589"/>
                  </a:lnTo>
                  <a:lnTo>
                    <a:pt x="268" y="557"/>
                  </a:lnTo>
                  <a:lnTo>
                    <a:pt x="250" y="536"/>
                  </a:lnTo>
                  <a:lnTo>
                    <a:pt x="250" y="457"/>
                  </a:lnTo>
                  <a:lnTo>
                    <a:pt x="281" y="422"/>
                  </a:lnTo>
                  <a:lnTo>
                    <a:pt x="262" y="368"/>
                  </a:lnTo>
                  <a:lnTo>
                    <a:pt x="262" y="267"/>
                  </a:lnTo>
                  <a:lnTo>
                    <a:pt x="256" y="246"/>
                  </a:lnTo>
                  <a:lnTo>
                    <a:pt x="268" y="211"/>
                  </a:lnTo>
                  <a:lnTo>
                    <a:pt x="281" y="123"/>
                  </a:lnTo>
                  <a:lnTo>
                    <a:pt x="286" y="88"/>
                  </a:lnTo>
                  <a:lnTo>
                    <a:pt x="286" y="44"/>
                  </a:lnTo>
                  <a:lnTo>
                    <a:pt x="231" y="0"/>
                  </a:lnTo>
                  <a:lnTo>
                    <a:pt x="137" y="23"/>
                  </a:lnTo>
                  <a:lnTo>
                    <a:pt x="112" y="0"/>
                  </a:lnTo>
                  <a:lnTo>
                    <a:pt x="94" y="44"/>
                  </a:lnTo>
                  <a:lnTo>
                    <a:pt x="81" y="190"/>
                  </a:lnTo>
                  <a:lnTo>
                    <a:pt x="56" y="234"/>
                  </a:lnTo>
                  <a:lnTo>
                    <a:pt x="50" y="290"/>
                  </a:lnTo>
                  <a:lnTo>
                    <a:pt x="32" y="311"/>
                  </a:lnTo>
                  <a:lnTo>
                    <a:pt x="6" y="311"/>
                  </a:lnTo>
                  <a:lnTo>
                    <a:pt x="0" y="34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43" name="Freeform 899"/>
            <p:cNvSpPr>
              <a:spLocks/>
            </p:cNvSpPr>
            <p:nvPr>
              <p:custDataLst>
                <p:tags r:id="rId737"/>
              </p:custDataLst>
            </p:nvPr>
          </p:nvSpPr>
          <p:spPr bwMode="auto">
            <a:xfrm>
              <a:off x="4696073" y="4367213"/>
              <a:ext cx="419100" cy="468312"/>
            </a:xfrm>
            <a:custGeom>
              <a:avLst/>
              <a:gdLst>
                <a:gd name="T0" fmla="*/ 0 w 286"/>
                <a:gd name="T1" fmla="*/ 2147483647 h 589"/>
                <a:gd name="T2" fmla="*/ 0 w 286"/>
                <a:gd name="T3" fmla="*/ 2147483647 h 589"/>
                <a:gd name="T4" fmla="*/ 2147483647 w 286"/>
                <a:gd name="T5" fmla="*/ 2147483647 h 589"/>
                <a:gd name="T6" fmla="*/ 2147483647 w 286"/>
                <a:gd name="T7" fmla="*/ 2147483647 h 589"/>
                <a:gd name="T8" fmla="*/ 2147483647 w 286"/>
                <a:gd name="T9" fmla="*/ 2147483647 h 589"/>
                <a:gd name="T10" fmla="*/ 2147483647 w 286"/>
                <a:gd name="T11" fmla="*/ 2147483647 h 589"/>
                <a:gd name="T12" fmla="*/ 2147483647 w 286"/>
                <a:gd name="T13" fmla="*/ 2147483647 h 589"/>
                <a:gd name="T14" fmla="*/ 2147483647 w 286"/>
                <a:gd name="T15" fmla="*/ 2147483647 h 589"/>
                <a:gd name="T16" fmla="*/ 2147483647 w 286"/>
                <a:gd name="T17" fmla="*/ 2147483647 h 589"/>
                <a:gd name="T18" fmla="*/ 2147483647 w 286"/>
                <a:gd name="T19" fmla="*/ 2147483647 h 589"/>
                <a:gd name="T20" fmla="*/ 2147483647 w 286"/>
                <a:gd name="T21" fmla="*/ 2147483647 h 589"/>
                <a:gd name="T22" fmla="*/ 2147483647 w 286"/>
                <a:gd name="T23" fmla="*/ 2147483647 h 589"/>
                <a:gd name="T24" fmla="*/ 2147483647 w 286"/>
                <a:gd name="T25" fmla="*/ 2147483647 h 589"/>
                <a:gd name="T26" fmla="*/ 2147483647 w 286"/>
                <a:gd name="T27" fmla="*/ 2147483647 h 589"/>
                <a:gd name="T28" fmla="*/ 2147483647 w 286"/>
                <a:gd name="T29" fmla="*/ 2147483647 h 589"/>
                <a:gd name="T30" fmla="*/ 2147483647 w 286"/>
                <a:gd name="T31" fmla="*/ 2147483647 h 589"/>
                <a:gd name="T32" fmla="*/ 2147483647 w 286"/>
                <a:gd name="T33" fmla="*/ 2147483647 h 589"/>
                <a:gd name="T34" fmla="*/ 2147483647 w 286"/>
                <a:gd name="T35" fmla="*/ 2147483647 h 589"/>
                <a:gd name="T36" fmla="*/ 2147483647 w 286"/>
                <a:gd name="T37" fmla="*/ 2147483647 h 589"/>
                <a:gd name="T38" fmla="*/ 2147483647 w 286"/>
                <a:gd name="T39" fmla="*/ 2147483647 h 589"/>
                <a:gd name="T40" fmla="*/ 2147483647 w 286"/>
                <a:gd name="T41" fmla="*/ 2147483647 h 589"/>
                <a:gd name="T42" fmla="*/ 2147483647 w 286"/>
                <a:gd name="T43" fmla="*/ 2147483647 h 589"/>
                <a:gd name="T44" fmla="*/ 2147483647 w 286"/>
                <a:gd name="T45" fmla="*/ 0 h 589"/>
                <a:gd name="T46" fmla="*/ 2147483647 w 286"/>
                <a:gd name="T47" fmla="*/ 2147483647 h 589"/>
                <a:gd name="T48" fmla="*/ 2147483647 w 286"/>
                <a:gd name="T49" fmla="*/ 0 h 589"/>
                <a:gd name="T50" fmla="*/ 2147483647 w 286"/>
                <a:gd name="T51" fmla="*/ 2147483647 h 589"/>
                <a:gd name="T52" fmla="*/ 2147483647 w 286"/>
                <a:gd name="T53" fmla="*/ 2147483647 h 589"/>
                <a:gd name="T54" fmla="*/ 2147483647 w 286"/>
                <a:gd name="T55" fmla="*/ 2147483647 h 589"/>
                <a:gd name="T56" fmla="*/ 2147483647 w 286"/>
                <a:gd name="T57" fmla="*/ 2147483647 h 589"/>
                <a:gd name="T58" fmla="*/ 2147483647 w 286"/>
                <a:gd name="T59" fmla="*/ 2147483647 h 589"/>
                <a:gd name="T60" fmla="*/ 2147483647 w 286"/>
                <a:gd name="T61" fmla="*/ 2147483647 h 589"/>
                <a:gd name="T62" fmla="*/ 0 w 286"/>
                <a:gd name="T63" fmla="*/ 2147483647 h 58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86" h="589">
                  <a:moveTo>
                    <a:pt x="0" y="345"/>
                  </a:moveTo>
                  <a:lnTo>
                    <a:pt x="0" y="368"/>
                  </a:lnTo>
                  <a:lnTo>
                    <a:pt x="56" y="345"/>
                  </a:lnTo>
                  <a:lnTo>
                    <a:pt x="81" y="422"/>
                  </a:lnTo>
                  <a:lnTo>
                    <a:pt x="106" y="422"/>
                  </a:lnTo>
                  <a:lnTo>
                    <a:pt x="112" y="390"/>
                  </a:lnTo>
                  <a:lnTo>
                    <a:pt x="131" y="378"/>
                  </a:lnTo>
                  <a:lnTo>
                    <a:pt x="144" y="399"/>
                  </a:lnTo>
                  <a:lnTo>
                    <a:pt x="144" y="522"/>
                  </a:lnTo>
                  <a:lnTo>
                    <a:pt x="181" y="513"/>
                  </a:lnTo>
                  <a:lnTo>
                    <a:pt x="268" y="589"/>
                  </a:lnTo>
                  <a:lnTo>
                    <a:pt x="268" y="557"/>
                  </a:lnTo>
                  <a:lnTo>
                    <a:pt x="250" y="536"/>
                  </a:lnTo>
                  <a:lnTo>
                    <a:pt x="250" y="457"/>
                  </a:lnTo>
                  <a:lnTo>
                    <a:pt x="281" y="422"/>
                  </a:lnTo>
                  <a:lnTo>
                    <a:pt x="262" y="368"/>
                  </a:lnTo>
                  <a:lnTo>
                    <a:pt x="262" y="267"/>
                  </a:lnTo>
                  <a:lnTo>
                    <a:pt x="256" y="246"/>
                  </a:lnTo>
                  <a:lnTo>
                    <a:pt x="268" y="211"/>
                  </a:lnTo>
                  <a:lnTo>
                    <a:pt x="281" y="123"/>
                  </a:lnTo>
                  <a:lnTo>
                    <a:pt x="286" y="88"/>
                  </a:lnTo>
                  <a:lnTo>
                    <a:pt x="286" y="44"/>
                  </a:lnTo>
                  <a:lnTo>
                    <a:pt x="231" y="0"/>
                  </a:lnTo>
                  <a:lnTo>
                    <a:pt x="137" y="23"/>
                  </a:lnTo>
                  <a:lnTo>
                    <a:pt x="112" y="0"/>
                  </a:lnTo>
                  <a:lnTo>
                    <a:pt x="94" y="44"/>
                  </a:lnTo>
                  <a:lnTo>
                    <a:pt x="81" y="190"/>
                  </a:lnTo>
                  <a:lnTo>
                    <a:pt x="56" y="234"/>
                  </a:lnTo>
                  <a:lnTo>
                    <a:pt x="50" y="290"/>
                  </a:lnTo>
                  <a:lnTo>
                    <a:pt x="32" y="311"/>
                  </a:lnTo>
                  <a:lnTo>
                    <a:pt x="6" y="311"/>
                  </a:lnTo>
                  <a:lnTo>
                    <a:pt x="0" y="3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44" name="Freeform 900"/>
            <p:cNvSpPr>
              <a:spLocks/>
            </p:cNvSpPr>
            <p:nvPr>
              <p:custDataLst>
                <p:tags r:id="rId738"/>
              </p:custDataLst>
            </p:nvPr>
          </p:nvSpPr>
          <p:spPr bwMode="auto">
            <a:xfrm>
              <a:off x="4696073" y="4367213"/>
              <a:ext cx="419100" cy="468312"/>
            </a:xfrm>
            <a:custGeom>
              <a:avLst/>
              <a:gdLst>
                <a:gd name="T0" fmla="*/ 0 w 286"/>
                <a:gd name="T1" fmla="*/ 2147483647 h 589"/>
                <a:gd name="T2" fmla="*/ 0 w 286"/>
                <a:gd name="T3" fmla="*/ 2147483647 h 589"/>
                <a:gd name="T4" fmla="*/ 2147483647 w 286"/>
                <a:gd name="T5" fmla="*/ 2147483647 h 589"/>
                <a:gd name="T6" fmla="*/ 2147483647 w 286"/>
                <a:gd name="T7" fmla="*/ 2147483647 h 589"/>
                <a:gd name="T8" fmla="*/ 2147483647 w 286"/>
                <a:gd name="T9" fmla="*/ 2147483647 h 589"/>
                <a:gd name="T10" fmla="*/ 2147483647 w 286"/>
                <a:gd name="T11" fmla="*/ 2147483647 h 589"/>
                <a:gd name="T12" fmla="*/ 2147483647 w 286"/>
                <a:gd name="T13" fmla="*/ 2147483647 h 589"/>
                <a:gd name="T14" fmla="*/ 2147483647 w 286"/>
                <a:gd name="T15" fmla="*/ 2147483647 h 589"/>
                <a:gd name="T16" fmla="*/ 2147483647 w 286"/>
                <a:gd name="T17" fmla="*/ 2147483647 h 589"/>
                <a:gd name="T18" fmla="*/ 2147483647 w 286"/>
                <a:gd name="T19" fmla="*/ 2147483647 h 589"/>
                <a:gd name="T20" fmla="*/ 2147483647 w 286"/>
                <a:gd name="T21" fmla="*/ 2147483647 h 589"/>
                <a:gd name="T22" fmla="*/ 2147483647 w 286"/>
                <a:gd name="T23" fmla="*/ 2147483647 h 589"/>
                <a:gd name="T24" fmla="*/ 2147483647 w 286"/>
                <a:gd name="T25" fmla="*/ 2147483647 h 589"/>
                <a:gd name="T26" fmla="*/ 2147483647 w 286"/>
                <a:gd name="T27" fmla="*/ 2147483647 h 589"/>
                <a:gd name="T28" fmla="*/ 2147483647 w 286"/>
                <a:gd name="T29" fmla="*/ 2147483647 h 589"/>
                <a:gd name="T30" fmla="*/ 2147483647 w 286"/>
                <a:gd name="T31" fmla="*/ 2147483647 h 589"/>
                <a:gd name="T32" fmla="*/ 2147483647 w 286"/>
                <a:gd name="T33" fmla="*/ 2147483647 h 589"/>
                <a:gd name="T34" fmla="*/ 2147483647 w 286"/>
                <a:gd name="T35" fmla="*/ 2147483647 h 589"/>
                <a:gd name="T36" fmla="*/ 2147483647 w 286"/>
                <a:gd name="T37" fmla="*/ 2147483647 h 589"/>
                <a:gd name="T38" fmla="*/ 2147483647 w 286"/>
                <a:gd name="T39" fmla="*/ 2147483647 h 589"/>
                <a:gd name="T40" fmla="*/ 2147483647 w 286"/>
                <a:gd name="T41" fmla="*/ 2147483647 h 589"/>
                <a:gd name="T42" fmla="*/ 2147483647 w 286"/>
                <a:gd name="T43" fmla="*/ 2147483647 h 589"/>
                <a:gd name="T44" fmla="*/ 2147483647 w 286"/>
                <a:gd name="T45" fmla="*/ 0 h 589"/>
                <a:gd name="T46" fmla="*/ 2147483647 w 286"/>
                <a:gd name="T47" fmla="*/ 2147483647 h 589"/>
                <a:gd name="T48" fmla="*/ 2147483647 w 286"/>
                <a:gd name="T49" fmla="*/ 0 h 589"/>
                <a:gd name="T50" fmla="*/ 2147483647 w 286"/>
                <a:gd name="T51" fmla="*/ 2147483647 h 589"/>
                <a:gd name="T52" fmla="*/ 2147483647 w 286"/>
                <a:gd name="T53" fmla="*/ 2147483647 h 589"/>
                <a:gd name="T54" fmla="*/ 2147483647 w 286"/>
                <a:gd name="T55" fmla="*/ 2147483647 h 589"/>
                <a:gd name="T56" fmla="*/ 2147483647 w 286"/>
                <a:gd name="T57" fmla="*/ 2147483647 h 589"/>
                <a:gd name="T58" fmla="*/ 2147483647 w 286"/>
                <a:gd name="T59" fmla="*/ 2147483647 h 589"/>
                <a:gd name="T60" fmla="*/ 2147483647 w 286"/>
                <a:gd name="T61" fmla="*/ 2147483647 h 589"/>
                <a:gd name="T62" fmla="*/ 0 w 286"/>
                <a:gd name="T63" fmla="*/ 2147483647 h 58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86" h="589">
                  <a:moveTo>
                    <a:pt x="0" y="345"/>
                  </a:moveTo>
                  <a:lnTo>
                    <a:pt x="0" y="368"/>
                  </a:lnTo>
                  <a:lnTo>
                    <a:pt x="56" y="345"/>
                  </a:lnTo>
                  <a:lnTo>
                    <a:pt x="81" y="422"/>
                  </a:lnTo>
                  <a:lnTo>
                    <a:pt x="106" y="422"/>
                  </a:lnTo>
                  <a:lnTo>
                    <a:pt x="112" y="390"/>
                  </a:lnTo>
                  <a:lnTo>
                    <a:pt x="131" y="378"/>
                  </a:lnTo>
                  <a:lnTo>
                    <a:pt x="144" y="399"/>
                  </a:lnTo>
                  <a:lnTo>
                    <a:pt x="144" y="522"/>
                  </a:lnTo>
                  <a:lnTo>
                    <a:pt x="181" y="513"/>
                  </a:lnTo>
                  <a:lnTo>
                    <a:pt x="268" y="589"/>
                  </a:lnTo>
                  <a:lnTo>
                    <a:pt x="268" y="557"/>
                  </a:lnTo>
                  <a:lnTo>
                    <a:pt x="250" y="536"/>
                  </a:lnTo>
                  <a:lnTo>
                    <a:pt x="250" y="457"/>
                  </a:lnTo>
                  <a:lnTo>
                    <a:pt x="281" y="422"/>
                  </a:lnTo>
                  <a:lnTo>
                    <a:pt x="262" y="368"/>
                  </a:lnTo>
                  <a:lnTo>
                    <a:pt x="262" y="267"/>
                  </a:lnTo>
                  <a:lnTo>
                    <a:pt x="256" y="246"/>
                  </a:lnTo>
                  <a:lnTo>
                    <a:pt x="268" y="211"/>
                  </a:lnTo>
                  <a:lnTo>
                    <a:pt x="281" y="123"/>
                  </a:lnTo>
                  <a:lnTo>
                    <a:pt x="286" y="88"/>
                  </a:lnTo>
                  <a:lnTo>
                    <a:pt x="286" y="44"/>
                  </a:lnTo>
                  <a:lnTo>
                    <a:pt x="231" y="0"/>
                  </a:lnTo>
                  <a:lnTo>
                    <a:pt x="137" y="23"/>
                  </a:lnTo>
                  <a:lnTo>
                    <a:pt x="112" y="0"/>
                  </a:lnTo>
                  <a:lnTo>
                    <a:pt x="94" y="44"/>
                  </a:lnTo>
                  <a:lnTo>
                    <a:pt x="81" y="190"/>
                  </a:lnTo>
                  <a:lnTo>
                    <a:pt x="56" y="234"/>
                  </a:lnTo>
                  <a:lnTo>
                    <a:pt x="50" y="290"/>
                  </a:lnTo>
                  <a:lnTo>
                    <a:pt x="32" y="311"/>
                  </a:lnTo>
                  <a:lnTo>
                    <a:pt x="6" y="311"/>
                  </a:lnTo>
                  <a:lnTo>
                    <a:pt x="0" y="34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45" name="Freeform 901"/>
            <p:cNvSpPr>
              <a:spLocks/>
            </p:cNvSpPr>
            <p:nvPr>
              <p:custDataLst>
                <p:tags r:id="rId739"/>
              </p:custDataLst>
            </p:nvPr>
          </p:nvSpPr>
          <p:spPr bwMode="auto">
            <a:xfrm>
              <a:off x="5143748" y="3556000"/>
              <a:ext cx="55563" cy="34925"/>
            </a:xfrm>
            <a:custGeom>
              <a:avLst/>
              <a:gdLst>
                <a:gd name="T0" fmla="*/ 0 w 38"/>
                <a:gd name="T1" fmla="*/ 2147483647 h 44"/>
                <a:gd name="T2" fmla="*/ 2147483647 w 38"/>
                <a:gd name="T3" fmla="*/ 2147483647 h 44"/>
                <a:gd name="T4" fmla="*/ 2147483647 w 38"/>
                <a:gd name="T5" fmla="*/ 0 h 44"/>
                <a:gd name="T6" fmla="*/ 0 w 3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8" h="44">
                  <a:moveTo>
                    <a:pt x="0" y="23"/>
                  </a:moveTo>
                  <a:lnTo>
                    <a:pt x="13" y="44"/>
                  </a:lnTo>
                  <a:lnTo>
                    <a:pt x="38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46" name="Freeform 902"/>
            <p:cNvSpPr>
              <a:spLocks/>
            </p:cNvSpPr>
            <p:nvPr>
              <p:custDataLst>
                <p:tags r:id="rId740"/>
              </p:custDataLst>
            </p:nvPr>
          </p:nvSpPr>
          <p:spPr bwMode="auto">
            <a:xfrm>
              <a:off x="5143748" y="3556000"/>
              <a:ext cx="55563" cy="34925"/>
            </a:xfrm>
            <a:custGeom>
              <a:avLst/>
              <a:gdLst>
                <a:gd name="T0" fmla="*/ 0 w 38"/>
                <a:gd name="T1" fmla="*/ 2147483647 h 44"/>
                <a:gd name="T2" fmla="*/ 2147483647 w 38"/>
                <a:gd name="T3" fmla="*/ 2147483647 h 44"/>
                <a:gd name="T4" fmla="*/ 2147483647 w 38"/>
                <a:gd name="T5" fmla="*/ 0 h 44"/>
                <a:gd name="T6" fmla="*/ 0 w 3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8" h="44">
                  <a:moveTo>
                    <a:pt x="0" y="23"/>
                  </a:moveTo>
                  <a:lnTo>
                    <a:pt x="13" y="44"/>
                  </a:lnTo>
                  <a:lnTo>
                    <a:pt x="38" y="0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47" name="Freeform 903"/>
            <p:cNvSpPr>
              <a:spLocks/>
            </p:cNvSpPr>
            <p:nvPr>
              <p:custDataLst>
                <p:tags r:id="rId741"/>
              </p:custDataLst>
            </p:nvPr>
          </p:nvSpPr>
          <p:spPr bwMode="auto">
            <a:xfrm>
              <a:off x="5143748" y="3556000"/>
              <a:ext cx="55563" cy="34925"/>
            </a:xfrm>
            <a:custGeom>
              <a:avLst/>
              <a:gdLst>
                <a:gd name="T0" fmla="*/ 0 w 38"/>
                <a:gd name="T1" fmla="*/ 2147483647 h 44"/>
                <a:gd name="T2" fmla="*/ 2147483647 w 38"/>
                <a:gd name="T3" fmla="*/ 2147483647 h 44"/>
                <a:gd name="T4" fmla="*/ 2147483647 w 38"/>
                <a:gd name="T5" fmla="*/ 0 h 44"/>
                <a:gd name="T6" fmla="*/ 0 w 3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8" h="44">
                  <a:moveTo>
                    <a:pt x="0" y="23"/>
                  </a:moveTo>
                  <a:lnTo>
                    <a:pt x="13" y="44"/>
                  </a:lnTo>
                  <a:lnTo>
                    <a:pt x="38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48" name="Freeform 904"/>
            <p:cNvSpPr>
              <a:spLocks/>
            </p:cNvSpPr>
            <p:nvPr>
              <p:custDataLst>
                <p:tags r:id="rId742"/>
              </p:custDataLst>
            </p:nvPr>
          </p:nvSpPr>
          <p:spPr bwMode="auto">
            <a:xfrm>
              <a:off x="5143748" y="3556000"/>
              <a:ext cx="55563" cy="34925"/>
            </a:xfrm>
            <a:custGeom>
              <a:avLst/>
              <a:gdLst>
                <a:gd name="T0" fmla="*/ 0 w 38"/>
                <a:gd name="T1" fmla="*/ 2147483647 h 44"/>
                <a:gd name="T2" fmla="*/ 2147483647 w 38"/>
                <a:gd name="T3" fmla="*/ 2147483647 h 44"/>
                <a:gd name="T4" fmla="*/ 2147483647 w 38"/>
                <a:gd name="T5" fmla="*/ 0 h 44"/>
                <a:gd name="T6" fmla="*/ 0 w 3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8" h="44">
                  <a:moveTo>
                    <a:pt x="0" y="23"/>
                  </a:moveTo>
                  <a:lnTo>
                    <a:pt x="13" y="44"/>
                  </a:lnTo>
                  <a:lnTo>
                    <a:pt x="38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49" name="Freeform 905"/>
            <p:cNvSpPr>
              <a:spLocks/>
            </p:cNvSpPr>
            <p:nvPr>
              <p:custDataLst>
                <p:tags r:id="rId743"/>
              </p:custDataLst>
            </p:nvPr>
          </p:nvSpPr>
          <p:spPr bwMode="auto">
            <a:xfrm>
              <a:off x="4429373" y="4183063"/>
              <a:ext cx="63500" cy="157162"/>
            </a:xfrm>
            <a:custGeom>
              <a:avLst/>
              <a:gdLst>
                <a:gd name="T0" fmla="*/ 0 w 44"/>
                <a:gd name="T1" fmla="*/ 2147483647 h 198"/>
                <a:gd name="T2" fmla="*/ 2147483647 w 44"/>
                <a:gd name="T3" fmla="*/ 2147483647 h 198"/>
                <a:gd name="T4" fmla="*/ 2147483647 w 44"/>
                <a:gd name="T5" fmla="*/ 2147483647 h 198"/>
                <a:gd name="T6" fmla="*/ 2147483647 w 44"/>
                <a:gd name="T7" fmla="*/ 2147483647 h 198"/>
                <a:gd name="T8" fmla="*/ 2147483647 w 44"/>
                <a:gd name="T9" fmla="*/ 0 h 198"/>
                <a:gd name="T10" fmla="*/ 2147483647 w 44"/>
                <a:gd name="T11" fmla="*/ 2147483647 h 198"/>
                <a:gd name="T12" fmla="*/ 0 w 44"/>
                <a:gd name="T13" fmla="*/ 2147483647 h 1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198">
                  <a:moveTo>
                    <a:pt x="0" y="45"/>
                  </a:moveTo>
                  <a:lnTo>
                    <a:pt x="19" y="198"/>
                  </a:lnTo>
                  <a:lnTo>
                    <a:pt x="32" y="198"/>
                  </a:lnTo>
                  <a:lnTo>
                    <a:pt x="44" y="21"/>
                  </a:lnTo>
                  <a:lnTo>
                    <a:pt x="32" y="0"/>
                  </a:lnTo>
                  <a:lnTo>
                    <a:pt x="25" y="12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50" name="Freeform 906"/>
            <p:cNvSpPr>
              <a:spLocks/>
            </p:cNvSpPr>
            <p:nvPr>
              <p:custDataLst>
                <p:tags r:id="rId744"/>
              </p:custDataLst>
            </p:nvPr>
          </p:nvSpPr>
          <p:spPr bwMode="auto">
            <a:xfrm>
              <a:off x="4429373" y="4183063"/>
              <a:ext cx="63500" cy="157162"/>
            </a:xfrm>
            <a:custGeom>
              <a:avLst/>
              <a:gdLst>
                <a:gd name="T0" fmla="*/ 0 w 44"/>
                <a:gd name="T1" fmla="*/ 2147483647 h 198"/>
                <a:gd name="T2" fmla="*/ 2147483647 w 44"/>
                <a:gd name="T3" fmla="*/ 2147483647 h 198"/>
                <a:gd name="T4" fmla="*/ 2147483647 w 44"/>
                <a:gd name="T5" fmla="*/ 2147483647 h 198"/>
                <a:gd name="T6" fmla="*/ 2147483647 w 44"/>
                <a:gd name="T7" fmla="*/ 2147483647 h 198"/>
                <a:gd name="T8" fmla="*/ 2147483647 w 44"/>
                <a:gd name="T9" fmla="*/ 0 h 198"/>
                <a:gd name="T10" fmla="*/ 2147483647 w 44"/>
                <a:gd name="T11" fmla="*/ 2147483647 h 198"/>
                <a:gd name="T12" fmla="*/ 0 w 44"/>
                <a:gd name="T13" fmla="*/ 2147483647 h 1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198">
                  <a:moveTo>
                    <a:pt x="0" y="45"/>
                  </a:moveTo>
                  <a:lnTo>
                    <a:pt x="19" y="198"/>
                  </a:lnTo>
                  <a:lnTo>
                    <a:pt x="32" y="198"/>
                  </a:lnTo>
                  <a:lnTo>
                    <a:pt x="44" y="21"/>
                  </a:lnTo>
                  <a:lnTo>
                    <a:pt x="32" y="0"/>
                  </a:lnTo>
                  <a:lnTo>
                    <a:pt x="25" y="12"/>
                  </a:lnTo>
                  <a:lnTo>
                    <a:pt x="0" y="4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51" name="Freeform 907"/>
            <p:cNvSpPr>
              <a:spLocks/>
            </p:cNvSpPr>
            <p:nvPr>
              <p:custDataLst>
                <p:tags r:id="rId745"/>
              </p:custDataLst>
            </p:nvPr>
          </p:nvSpPr>
          <p:spPr bwMode="auto">
            <a:xfrm>
              <a:off x="4429373" y="4183063"/>
              <a:ext cx="63500" cy="157162"/>
            </a:xfrm>
            <a:custGeom>
              <a:avLst/>
              <a:gdLst>
                <a:gd name="T0" fmla="*/ 0 w 44"/>
                <a:gd name="T1" fmla="*/ 2147483647 h 198"/>
                <a:gd name="T2" fmla="*/ 2147483647 w 44"/>
                <a:gd name="T3" fmla="*/ 2147483647 h 198"/>
                <a:gd name="T4" fmla="*/ 2147483647 w 44"/>
                <a:gd name="T5" fmla="*/ 2147483647 h 198"/>
                <a:gd name="T6" fmla="*/ 2147483647 w 44"/>
                <a:gd name="T7" fmla="*/ 2147483647 h 198"/>
                <a:gd name="T8" fmla="*/ 2147483647 w 44"/>
                <a:gd name="T9" fmla="*/ 0 h 198"/>
                <a:gd name="T10" fmla="*/ 2147483647 w 44"/>
                <a:gd name="T11" fmla="*/ 2147483647 h 198"/>
                <a:gd name="T12" fmla="*/ 0 w 44"/>
                <a:gd name="T13" fmla="*/ 2147483647 h 1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198">
                  <a:moveTo>
                    <a:pt x="0" y="45"/>
                  </a:moveTo>
                  <a:lnTo>
                    <a:pt x="19" y="198"/>
                  </a:lnTo>
                  <a:lnTo>
                    <a:pt x="32" y="198"/>
                  </a:lnTo>
                  <a:lnTo>
                    <a:pt x="44" y="21"/>
                  </a:lnTo>
                  <a:lnTo>
                    <a:pt x="32" y="0"/>
                  </a:lnTo>
                  <a:lnTo>
                    <a:pt x="25" y="12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52" name="Freeform 908"/>
            <p:cNvSpPr>
              <a:spLocks/>
            </p:cNvSpPr>
            <p:nvPr>
              <p:custDataLst>
                <p:tags r:id="rId746"/>
              </p:custDataLst>
            </p:nvPr>
          </p:nvSpPr>
          <p:spPr bwMode="auto">
            <a:xfrm>
              <a:off x="4429373" y="4183063"/>
              <a:ext cx="63500" cy="157162"/>
            </a:xfrm>
            <a:custGeom>
              <a:avLst/>
              <a:gdLst>
                <a:gd name="T0" fmla="*/ 0 w 44"/>
                <a:gd name="T1" fmla="*/ 2147483647 h 198"/>
                <a:gd name="T2" fmla="*/ 2147483647 w 44"/>
                <a:gd name="T3" fmla="*/ 2147483647 h 198"/>
                <a:gd name="T4" fmla="*/ 2147483647 w 44"/>
                <a:gd name="T5" fmla="*/ 2147483647 h 198"/>
                <a:gd name="T6" fmla="*/ 2147483647 w 44"/>
                <a:gd name="T7" fmla="*/ 2147483647 h 198"/>
                <a:gd name="T8" fmla="*/ 2147483647 w 44"/>
                <a:gd name="T9" fmla="*/ 0 h 198"/>
                <a:gd name="T10" fmla="*/ 2147483647 w 44"/>
                <a:gd name="T11" fmla="*/ 2147483647 h 198"/>
                <a:gd name="T12" fmla="*/ 0 w 44"/>
                <a:gd name="T13" fmla="*/ 2147483647 h 1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198">
                  <a:moveTo>
                    <a:pt x="0" y="45"/>
                  </a:moveTo>
                  <a:lnTo>
                    <a:pt x="19" y="198"/>
                  </a:lnTo>
                  <a:lnTo>
                    <a:pt x="32" y="198"/>
                  </a:lnTo>
                  <a:lnTo>
                    <a:pt x="44" y="21"/>
                  </a:lnTo>
                  <a:lnTo>
                    <a:pt x="32" y="0"/>
                  </a:lnTo>
                  <a:lnTo>
                    <a:pt x="25" y="12"/>
                  </a:lnTo>
                  <a:lnTo>
                    <a:pt x="0" y="4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53" name="Freeform 909"/>
            <p:cNvSpPr>
              <a:spLocks/>
            </p:cNvSpPr>
            <p:nvPr>
              <p:custDataLst>
                <p:tags r:id="rId747"/>
              </p:custDataLst>
            </p:nvPr>
          </p:nvSpPr>
          <p:spPr bwMode="auto">
            <a:xfrm>
              <a:off x="4621461" y="4440238"/>
              <a:ext cx="46037" cy="34925"/>
            </a:xfrm>
            <a:custGeom>
              <a:avLst/>
              <a:gdLst>
                <a:gd name="T0" fmla="*/ 0 w 31"/>
                <a:gd name="T1" fmla="*/ 2147483647 h 44"/>
                <a:gd name="T2" fmla="*/ 2147483647 w 31"/>
                <a:gd name="T3" fmla="*/ 2147483647 h 44"/>
                <a:gd name="T4" fmla="*/ 2147483647 w 31"/>
                <a:gd name="T5" fmla="*/ 0 h 44"/>
                <a:gd name="T6" fmla="*/ 2147483647 w 31"/>
                <a:gd name="T7" fmla="*/ 2147483647 h 44"/>
                <a:gd name="T8" fmla="*/ 0 w 31"/>
                <a:gd name="T9" fmla="*/ 2147483647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44">
                  <a:moveTo>
                    <a:pt x="0" y="44"/>
                  </a:moveTo>
                  <a:lnTo>
                    <a:pt x="5" y="10"/>
                  </a:lnTo>
                  <a:lnTo>
                    <a:pt x="31" y="0"/>
                  </a:lnTo>
                  <a:lnTo>
                    <a:pt x="31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54" name="Freeform 910"/>
            <p:cNvSpPr>
              <a:spLocks/>
            </p:cNvSpPr>
            <p:nvPr>
              <p:custDataLst>
                <p:tags r:id="rId748"/>
              </p:custDataLst>
            </p:nvPr>
          </p:nvSpPr>
          <p:spPr bwMode="auto">
            <a:xfrm>
              <a:off x="4621461" y="4440238"/>
              <a:ext cx="46037" cy="34925"/>
            </a:xfrm>
            <a:custGeom>
              <a:avLst/>
              <a:gdLst>
                <a:gd name="T0" fmla="*/ 0 w 31"/>
                <a:gd name="T1" fmla="*/ 2147483647 h 44"/>
                <a:gd name="T2" fmla="*/ 2147483647 w 31"/>
                <a:gd name="T3" fmla="*/ 2147483647 h 44"/>
                <a:gd name="T4" fmla="*/ 2147483647 w 31"/>
                <a:gd name="T5" fmla="*/ 0 h 44"/>
                <a:gd name="T6" fmla="*/ 2147483647 w 31"/>
                <a:gd name="T7" fmla="*/ 2147483647 h 44"/>
                <a:gd name="T8" fmla="*/ 0 w 31"/>
                <a:gd name="T9" fmla="*/ 2147483647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44">
                  <a:moveTo>
                    <a:pt x="0" y="44"/>
                  </a:moveTo>
                  <a:lnTo>
                    <a:pt x="5" y="10"/>
                  </a:lnTo>
                  <a:lnTo>
                    <a:pt x="31" y="0"/>
                  </a:lnTo>
                  <a:lnTo>
                    <a:pt x="31" y="44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55" name="Freeform 911"/>
            <p:cNvSpPr>
              <a:spLocks/>
            </p:cNvSpPr>
            <p:nvPr>
              <p:custDataLst>
                <p:tags r:id="rId749"/>
              </p:custDataLst>
            </p:nvPr>
          </p:nvSpPr>
          <p:spPr bwMode="auto">
            <a:xfrm>
              <a:off x="4621461" y="4440238"/>
              <a:ext cx="46037" cy="34925"/>
            </a:xfrm>
            <a:custGeom>
              <a:avLst/>
              <a:gdLst>
                <a:gd name="T0" fmla="*/ 0 w 31"/>
                <a:gd name="T1" fmla="*/ 2147483647 h 44"/>
                <a:gd name="T2" fmla="*/ 2147483647 w 31"/>
                <a:gd name="T3" fmla="*/ 2147483647 h 44"/>
                <a:gd name="T4" fmla="*/ 2147483647 w 31"/>
                <a:gd name="T5" fmla="*/ 0 h 44"/>
                <a:gd name="T6" fmla="*/ 2147483647 w 31"/>
                <a:gd name="T7" fmla="*/ 2147483647 h 44"/>
                <a:gd name="T8" fmla="*/ 0 w 31"/>
                <a:gd name="T9" fmla="*/ 2147483647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44">
                  <a:moveTo>
                    <a:pt x="0" y="44"/>
                  </a:moveTo>
                  <a:lnTo>
                    <a:pt x="5" y="10"/>
                  </a:lnTo>
                  <a:lnTo>
                    <a:pt x="31" y="0"/>
                  </a:lnTo>
                  <a:lnTo>
                    <a:pt x="31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56" name="Freeform 912"/>
            <p:cNvSpPr>
              <a:spLocks/>
            </p:cNvSpPr>
            <p:nvPr>
              <p:custDataLst>
                <p:tags r:id="rId750"/>
              </p:custDataLst>
            </p:nvPr>
          </p:nvSpPr>
          <p:spPr bwMode="auto">
            <a:xfrm>
              <a:off x="4621461" y="4440238"/>
              <a:ext cx="46037" cy="34925"/>
            </a:xfrm>
            <a:custGeom>
              <a:avLst/>
              <a:gdLst>
                <a:gd name="T0" fmla="*/ 0 w 31"/>
                <a:gd name="T1" fmla="*/ 2147483647 h 44"/>
                <a:gd name="T2" fmla="*/ 2147483647 w 31"/>
                <a:gd name="T3" fmla="*/ 2147483647 h 44"/>
                <a:gd name="T4" fmla="*/ 2147483647 w 31"/>
                <a:gd name="T5" fmla="*/ 0 h 44"/>
                <a:gd name="T6" fmla="*/ 2147483647 w 31"/>
                <a:gd name="T7" fmla="*/ 2147483647 h 44"/>
                <a:gd name="T8" fmla="*/ 0 w 31"/>
                <a:gd name="T9" fmla="*/ 2147483647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44">
                  <a:moveTo>
                    <a:pt x="0" y="44"/>
                  </a:moveTo>
                  <a:lnTo>
                    <a:pt x="5" y="10"/>
                  </a:lnTo>
                  <a:lnTo>
                    <a:pt x="31" y="0"/>
                  </a:lnTo>
                  <a:lnTo>
                    <a:pt x="31" y="44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57" name="Freeform 913"/>
            <p:cNvSpPr>
              <a:spLocks/>
            </p:cNvSpPr>
            <p:nvPr>
              <p:custDataLst>
                <p:tags r:id="rId751"/>
              </p:custDataLst>
            </p:nvPr>
          </p:nvSpPr>
          <p:spPr bwMode="auto">
            <a:xfrm>
              <a:off x="5161211" y="4032250"/>
              <a:ext cx="338137" cy="379413"/>
            </a:xfrm>
            <a:custGeom>
              <a:avLst/>
              <a:gdLst>
                <a:gd name="T0" fmla="*/ 0 w 231"/>
                <a:gd name="T1" fmla="*/ 2147483647 h 478"/>
                <a:gd name="T2" fmla="*/ 2147483647 w 231"/>
                <a:gd name="T3" fmla="*/ 2147483647 h 478"/>
                <a:gd name="T4" fmla="*/ 2147483647 w 231"/>
                <a:gd name="T5" fmla="*/ 2147483647 h 478"/>
                <a:gd name="T6" fmla="*/ 2147483647 w 231"/>
                <a:gd name="T7" fmla="*/ 2147483647 h 478"/>
                <a:gd name="T8" fmla="*/ 2147483647 w 231"/>
                <a:gd name="T9" fmla="*/ 2147483647 h 478"/>
                <a:gd name="T10" fmla="*/ 2147483647 w 231"/>
                <a:gd name="T11" fmla="*/ 0 h 478"/>
                <a:gd name="T12" fmla="*/ 2147483647 w 231"/>
                <a:gd name="T13" fmla="*/ 2147483647 h 478"/>
                <a:gd name="T14" fmla="*/ 2147483647 w 231"/>
                <a:gd name="T15" fmla="*/ 2147483647 h 478"/>
                <a:gd name="T16" fmla="*/ 2147483647 w 231"/>
                <a:gd name="T17" fmla="*/ 2147483647 h 478"/>
                <a:gd name="T18" fmla="*/ 2147483647 w 231"/>
                <a:gd name="T19" fmla="*/ 2147483647 h 478"/>
                <a:gd name="T20" fmla="*/ 2147483647 w 231"/>
                <a:gd name="T21" fmla="*/ 2147483647 h 478"/>
                <a:gd name="T22" fmla="*/ 2147483647 w 231"/>
                <a:gd name="T23" fmla="*/ 2147483647 h 478"/>
                <a:gd name="T24" fmla="*/ 2147483647 w 231"/>
                <a:gd name="T25" fmla="*/ 2147483647 h 478"/>
                <a:gd name="T26" fmla="*/ 2147483647 w 231"/>
                <a:gd name="T27" fmla="*/ 2147483647 h 478"/>
                <a:gd name="T28" fmla="*/ 2147483647 w 231"/>
                <a:gd name="T29" fmla="*/ 2147483647 h 478"/>
                <a:gd name="T30" fmla="*/ 2147483647 w 231"/>
                <a:gd name="T31" fmla="*/ 2147483647 h 478"/>
                <a:gd name="T32" fmla="*/ 2147483647 w 231"/>
                <a:gd name="T33" fmla="*/ 2147483647 h 478"/>
                <a:gd name="T34" fmla="*/ 0 w 231"/>
                <a:gd name="T35" fmla="*/ 2147483647 h 47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31" h="478">
                  <a:moveTo>
                    <a:pt x="0" y="334"/>
                  </a:moveTo>
                  <a:lnTo>
                    <a:pt x="18" y="313"/>
                  </a:lnTo>
                  <a:lnTo>
                    <a:pt x="18" y="258"/>
                  </a:lnTo>
                  <a:lnTo>
                    <a:pt x="51" y="179"/>
                  </a:lnTo>
                  <a:lnTo>
                    <a:pt x="63" y="35"/>
                  </a:lnTo>
                  <a:lnTo>
                    <a:pt x="87" y="0"/>
                  </a:lnTo>
                  <a:lnTo>
                    <a:pt x="101" y="102"/>
                  </a:lnTo>
                  <a:lnTo>
                    <a:pt x="157" y="179"/>
                  </a:lnTo>
                  <a:lnTo>
                    <a:pt x="138" y="235"/>
                  </a:lnTo>
                  <a:lnTo>
                    <a:pt x="151" y="246"/>
                  </a:lnTo>
                  <a:lnTo>
                    <a:pt x="175" y="302"/>
                  </a:lnTo>
                  <a:lnTo>
                    <a:pt x="231" y="334"/>
                  </a:lnTo>
                  <a:lnTo>
                    <a:pt x="188" y="425"/>
                  </a:lnTo>
                  <a:lnTo>
                    <a:pt x="138" y="457"/>
                  </a:lnTo>
                  <a:lnTo>
                    <a:pt x="95" y="478"/>
                  </a:lnTo>
                  <a:lnTo>
                    <a:pt x="44" y="448"/>
                  </a:lnTo>
                  <a:lnTo>
                    <a:pt x="26" y="379"/>
                  </a:lnTo>
                  <a:lnTo>
                    <a:pt x="0" y="3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58" name="Freeform 914"/>
            <p:cNvSpPr>
              <a:spLocks/>
            </p:cNvSpPr>
            <p:nvPr>
              <p:custDataLst>
                <p:tags r:id="rId752"/>
              </p:custDataLst>
            </p:nvPr>
          </p:nvSpPr>
          <p:spPr bwMode="auto">
            <a:xfrm>
              <a:off x="5161211" y="4032250"/>
              <a:ext cx="338137" cy="379413"/>
            </a:xfrm>
            <a:custGeom>
              <a:avLst/>
              <a:gdLst>
                <a:gd name="T0" fmla="*/ 0 w 231"/>
                <a:gd name="T1" fmla="*/ 2147483647 h 478"/>
                <a:gd name="T2" fmla="*/ 2147483647 w 231"/>
                <a:gd name="T3" fmla="*/ 2147483647 h 478"/>
                <a:gd name="T4" fmla="*/ 2147483647 w 231"/>
                <a:gd name="T5" fmla="*/ 2147483647 h 478"/>
                <a:gd name="T6" fmla="*/ 2147483647 w 231"/>
                <a:gd name="T7" fmla="*/ 2147483647 h 478"/>
                <a:gd name="T8" fmla="*/ 2147483647 w 231"/>
                <a:gd name="T9" fmla="*/ 2147483647 h 478"/>
                <a:gd name="T10" fmla="*/ 2147483647 w 231"/>
                <a:gd name="T11" fmla="*/ 0 h 478"/>
                <a:gd name="T12" fmla="*/ 2147483647 w 231"/>
                <a:gd name="T13" fmla="*/ 2147483647 h 478"/>
                <a:gd name="T14" fmla="*/ 2147483647 w 231"/>
                <a:gd name="T15" fmla="*/ 2147483647 h 478"/>
                <a:gd name="T16" fmla="*/ 2147483647 w 231"/>
                <a:gd name="T17" fmla="*/ 2147483647 h 478"/>
                <a:gd name="T18" fmla="*/ 2147483647 w 231"/>
                <a:gd name="T19" fmla="*/ 2147483647 h 478"/>
                <a:gd name="T20" fmla="*/ 2147483647 w 231"/>
                <a:gd name="T21" fmla="*/ 2147483647 h 478"/>
                <a:gd name="T22" fmla="*/ 2147483647 w 231"/>
                <a:gd name="T23" fmla="*/ 2147483647 h 478"/>
                <a:gd name="T24" fmla="*/ 2147483647 w 231"/>
                <a:gd name="T25" fmla="*/ 2147483647 h 478"/>
                <a:gd name="T26" fmla="*/ 2147483647 w 231"/>
                <a:gd name="T27" fmla="*/ 2147483647 h 478"/>
                <a:gd name="T28" fmla="*/ 2147483647 w 231"/>
                <a:gd name="T29" fmla="*/ 2147483647 h 478"/>
                <a:gd name="T30" fmla="*/ 2147483647 w 231"/>
                <a:gd name="T31" fmla="*/ 2147483647 h 478"/>
                <a:gd name="T32" fmla="*/ 2147483647 w 231"/>
                <a:gd name="T33" fmla="*/ 2147483647 h 478"/>
                <a:gd name="T34" fmla="*/ 0 w 231"/>
                <a:gd name="T35" fmla="*/ 2147483647 h 47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31" h="478">
                  <a:moveTo>
                    <a:pt x="0" y="334"/>
                  </a:moveTo>
                  <a:lnTo>
                    <a:pt x="18" y="313"/>
                  </a:lnTo>
                  <a:lnTo>
                    <a:pt x="18" y="258"/>
                  </a:lnTo>
                  <a:lnTo>
                    <a:pt x="51" y="179"/>
                  </a:lnTo>
                  <a:lnTo>
                    <a:pt x="63" y="35"/>
                  </a:lnTo>
                  <a:lnTo>
                    <a:pt x="87" y="0"/>
                  </a:lnTo>
                  <a:lnTo>
                    <a:pt x="101" y="102"/>
                  </a:lnTo>
                  <a:lnTo>
                    <a:pt x="157" y="179"/>
                  </a:lnTo>
                  <a:lnTo>
                    <a:pt x="138" y="235"/>
                  </a:lnTo>
                  <a:lnTo>
                    <a:pt x="151" y="246"/>
                  </a:lnTo>
                  <a:lnTo>
                    <a:pt x="175" y="302"/>
                  </a:lnTo>
                  <a:lnTo>
                    <a:pt x="231" y="334"/>
                  </a:lnTo>
                  <a:lnTo>
                    <a:pt x="188" y="425"/>
                  </a:lnTo>
                  <a:lnTo>
                    <a:pt x="138" y="457"/>
                  </a:lnTo>
                  <a:lnTo>
                    <a:pt x="95" y="478"/>
                  </a:lnTo>
                  <a:lnTo>
                    <a:pt x="44" y="448"/>
                  </a:lnTo>
                  <a:lnTo>
                    <a:pt x="26" y="379"/>
                  </a:lnTo>
                  <a:lnTo>
                    <a:pt x="0" y="3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59" name="Freeform 915"/>
            <p:cNvSpPr>
              <a:spLocks/>
            </p:cNvSpPr>
            <p:nvPr>
              <p:custDataLst>
                <p:tags r:id="rId753"/>
              </p:custDataLst>
            </p:nvPr>
          </p:nvSpPr>
          <p:spPr bwMode="auto">
            <a:xfrm>
              <a:off x="5161211" y="4032250"/>
              <a:ext cx="338137" cy="379413"/>
            </a:xfrm>
            <a:custGeom>
              <a:avLst/>
              <a:gdLst>
                <a:gd name="T0" fmla="*/ 0 w 231"/>
                <a:gd name="T1" fmla="*/ 2147483647 h 478"/>
                <a:gd name="T2" fmla="*/ 2147483647 w 231"/>
                <a:gd name="T3" fmla="*/ 2147483647 h 478"/>
                <a:gd name="T4" fmla="*/ 2147483647 w 231"/>
                <a:gd name="T5" fmla="*/ 2147483647 h 478"/>
                <a:gd name="T6" fmla="*/ 2147483647 w 231"/>
                <a:gd name="T7" fmla="*/ 2147483647 h 478"/>
                <a:gd name="T8" fmla="*/ 2147483647 w 231"/>
                <a:gd name="T9" fmla="*/ 2147483647 h 478"/>
                <a:gd name="T10" fmla="*/ 2147483647 w 231"/>
                <a:gd name="T11" fmla="*/ 0 h 478"/>
                <a:gd name="T12" fmla="*/ 2147483647 w 231"/>
                <a:gd name="T13" fmla="*/ 2147483647 h 478"/>
                <a:gd name="T14" fmla="*/ 2147483647 w 231"/>
                <a:gd name="T15" fmla="*/ 2147483647 h 478"/>
                <a:gd name="T16" fmla="*/ 2147483647 w 231"/>
                <a:gd name="T17" fmla="*/ 2147483647 h 478"/>
                <a:gd name="T18" fmla="*/ 2147483647 w 231"/>
                <a:gd name="T19" fmla="*/ 2147483647 h 478"/>
                <a:gd name="T20" fmla="*/ 2147483647 w 231"/>
                <a:gd name="T21" fmla="*/ 2147483647 h 478"/>
                <a:gd name="T22" fmla="*/ 2147483647 w 231"/>
                <a:gd name="T23" fmla="*/ 2147483647 h 478"/>
                <a:gd name="T24" fmla="*/ 2147483647 w 231"/>
                <a:gd name="T25" fmla="*/ 2147483647 h 478"/>
                <a:gd name="T26" fmla="*/ 2147483647 w 231"/>
                <a:gd name="T27" fmla="*/ 2147483647 h 478"/>
                <a:gd name="T28" fmla="*/ 2147483647 w 231"/>
                <a:gd name="T29" fmla="*/ 2147483647 h 478"/>
                <a:gd name="T30" fmla="*/ 2147483647 w 231"/>
                <a:gd name="T31" fmla="*/ 2147483647 h 478"/>
                <a:gd name="T32" fmla="*/ 2147483647 w 231"/>
                <a:gd name="T33" fmla="*/ 2147483647 h 478"/>
                <a:gd name="T34" fmla="*/ 0 w 231"/>
                <a:gd name="T35" fmla="*/ 2147483647 h 47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31" h="478">
                  <a:moveTo>
                    <a:pt x="0" y="334"/>
                  </a:moveTo>
                  <a:lnTo>
                    <a:pt x="18" y="313"/>
                  </a:lnTo>
                  <a:lnTo>
                    <a:pt x="18" y="258"/>
                  </a:lnTo>
                  <a:lnTo>
                    <a:pt x="51" y="179"/>
                  </a:lnTo>
                  <a:lnTo>
                    <a:pt x="63" y="35"/>
                  </a:lnTo>
                  <a:lnTo>
                    <a:pt x="87" y="0"/>
                  </a:lnTo>
                  <a:lnTo>
                    <a:pt x="101" y="102"/>
                  </a:lnTo>
                  <a:lnTo>
                    <a:pt x="157" y="179"/>
                  </a:lnTo>
                  <a:lnTo>
                    <a:pt x="138" y="235"/>
                  </a:lnTo>
                  <a:lnTo>
                    <a:pt x="151" y="246"/>
                  </a:lnTo>
                  <a:lnTo>
                    <a:pt x="175" y="302"/>
                  </a:lnTo>
                  <a:lnTo>
                    <a:pt x="231" y="334"/>
                  </a:lnTo>
                  <a:lnTo>
                    <a:pt x="188" y="425"/>
                  </a:lnTo>
                  <a:lnTo>
                    <a:pt x="138" y="457"/>
                  </a:lnTo>
                  <a:lnTo>
                    <a:pt x="95" y="478"/>
                  </a:lnTo>
                  <a:lnTo>
                    <a:pt x="44" y="448"/>
                  </a:lnTo>
                  <a:lnTo>
                    <a:pt x="26" y="379"/>
                  </a:lnTo>
                  <a:lnTo>
                    <a:pt x="0" y="33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60" name="Freeform 916"/>
            <p:cNvSpPr>
              <a:spLocks/>
            </p:cNvSpPr>
            <p:nvPr>
              <p:custDataLst>
                <p:tags r:id="rId754"/>
              </p:custDataLst>
            </p:nvPr>
          </p:nvSpPr>
          <p:spPr bwMode="auto">
            <a:xfrm>
              <a:off x="5161211" y="4032250"/>
              <a:ext cx="338137" cy="379413"/>
            </a:xfrm>
            <a:custGeom>
              <a:avLst/>
              <a:gdLst>
                <a:gd name="T0" fmla="*/ 0 w 231"/>
                <a:gd name="T1" fmla="*/ 2147483647 h 478"/>
                <a:gd name="T2" fmla="*/ 2147483647 w 231"/>
                <a:gd name="T3" fmla="*/ 2147483647 h 478"/>
                <a:gd name="T4" fmla="*/ 2147483647 w 231"/>
                <a:gd name="T5" fmla="*/ 2147483647 h 478"/>
                <a:gd name="T6" fmla="*/ 2147483647 w 231"/>
                <a:gd name="T7" fmla="*/ 2147483647 h 478"/>
                <a:gd name="T8" fmla="*/ 2147483647 w 231"/>
                <a:gd name="T9" fmla="*/ 2147483647 h 478"/>
                <a:gd name="T10" fmla="*/ 2147483647 w 231"/>
                <a:gd name="T11" fmla="*/ 0 h 478"/>
                <a:gd name="T12" fmla="*/ 2147483647 w 231"/>
                <a:gd name="T13" fmla="*/ 2147483647 h 478"/>
                <a:gd name="T14" fmla="*/ 2147483647 w 231"/>
                <a:gd name="T15" fmla="*/ 2147483647 h 478"/>
                <a:gd name="T16" fmla="*/ 2147483647 w 231"/>
                <a:gd name="T17" fmla="*/ 2147483647 h 478"/>
                <a:gd name="T18" fmla="*/ 2147483647 w 231"/>
                <a:gd name="T19" fmla="*/ 2147483647 h 478"/>
                <a:gd name="T20" fmla="*/ 2147483647 w 231"/>
                <a:gd name="T21" fmla="*/ 2147483647 h 478"/>
                <a:gd name="T22" fmla="*/ 2147483647 w 231"/>
                <a:gd name="T23" fmla="*/ 2147483647 h 478"/>
                <a:gd name="T24" fmla="*/ 2147483647 w 231"/>
                <a:gd name="T25" fmla="*/ 2147483647 h 478"/>
                <a:gd name="T26" fmla="*/ 2147483647 w 231"/>
                <a:gd name="T27" fmla="*/ 2147483647 h 478"/>
                <a:gd name="T28" fmla="*/ 2147483647 w 231"/>
                <a:gd name="T29" fmla="*/ 2147483647 h 478"/>
                <a:gd name="T30" fmla="*/ 2147483647 w 231"/>
                <a:gd name="T31" fmla="*/ 2147483647 h 478"/>
                <a:gd name="T32" fmla="*/ 2147483647 w 231"/>
                <a:gd name="T33" fmla="*/ 2147483647 h 478"/>
                <a:gd name="T34" fmla="*/ 0 w 231"/>
                <a:gd name="T35" fmla="*/ 2147483647 h 47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31" h="478">
                  <a:moveTo>
                    <a:pt x="0" y="334"/>
                  </a:moveTo>
                  <a:lnTo>
                    <a:pt x="18" y="313"/>
                  </a:lnTo>
                  <a:lnTo>
                    <a:pt x="18" y="258"/>
                  </a:lnTo>
                  <a:lnTo>
                    <a:pt x="51" y="179"/>
                  </a:lnTo>
                  <a:lnTo>
                    <a:pt x="63" y="35"/>
                  </a:lnTo>
                  <a:lnTo>
                    <a:pt x="87" y="0"/>
                  </a:lnTo>
                  <a:lnTo>
                    <a:pt x="101" y="102"/>
                  </a:lnTo>
                  <a:lnTo>
                    <a:pt x="157" y="179"/>
                  </a:lnTo>
                  <a:lnTo>
                    <a:pt x="138" y="235"/>
                  </a:lnTo>
                  <a:lnTo>
                    <a:pt x="151" y="246"/>
                  </a:lnTo>
                  <a:lnTo>
                    <a:pt x="175" y="302"/>
                  </a:lnTo>
                  <a:lnTo>
                    <a:pt x="231" y="334"/>
                  </a:lnTo>
                  <a:lnTo>
                    <a:pt x="188" y="425"/>
                  </a:lnTo>
                  <a:lnTo>
                    <a:pt x="138" y="457"/>
                  </a:lnTo>
                  <a:lnTo>
                    <a:pt x="95" y="478"/>
                  </a:lnTo>
                  <a:lnTo>
                    <a:pt x="44" y="448"/>
                  </a:lnTo>
                  <a:lnTo>
                    <a:pt x="26" y="379"/>
                  </a:lnTo>
                  <a:lnTo>
                    <a:pt x="0" y="33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61" name="Freeform 917"/>
            <p:cNvSpPr>
              <a:spLocks/>
            </p:cNvSpPr>
            <p:nvPr>
              <p:custDataLst>
                <p:tags r:id="rId755"/>
              </p:custDataLst>
            </p:nvPr>
          </p:nvSpPr>
          <p:spPr bwMode="auto">
            <a:xfrm>
              <a:off x="5362823" y="4173538"/>
              <a:ext cx="38100" cy="52387"/>
            </a:xfrm>
            <a:custGeom>
              <a:avLst/>
              <a:gdLst>
                <a:gd name="T0" fmla="*/ 0 w 26"/>
                <a:gd name="T1" fmla="*/ 2147483647 h 65"/>
                <a:gd name="T2" fmla="*/ 2147483647 w 26"/>
                <a:gd name="T3" fmla="*/ 2147483647 h 65"/>
                <a:gd name="T4" fmla="*/ 2147483647 w 26"/>
                <a:gd name="T5" fmla="*/ 2147483647 h 65"/>
                <a:gd name="T6" fmla="*/ 2147483647 w 26"/>
                <a:gd name="T7" fmla="*/ 2147483647 h 65"/>
                <a:gd name="T8" fmla="*/ 2147483647 w 26"/>
                <a:gd name="T9" fmla="*/ 2147483647 h 65"/>
                <a:gd name="T10" fmla="*/ 2147483647 w 26"/>
                <a:gd name="T11" fmla="*/ 0 h 65"/>
                <a:gd name="T12" fmla="*/ 0 w 26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65">
                  <a:moveTo>
                    <a:pt x="0" y="56"/>
                  </a:moveTo>
                  <a:lnTo>
                    <a:pt x="13" y="65"/>
                  </a:lnTo>
                  <a:lnTo>
                    <a:pt x="26" y="44"/>
                  </a:lnTo>
                  <a:lnTo>
                    <a:pt x="13" y="44"/>
                  </a:lnTo>
                  <a:lnTo>
                    <a:pt x="26" y="32"/>
                  </a:lnTo>
                  <a:lnTo>
                    <a:pt x="19" y="0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62" name="Freeform 918"/>
            <p:cNvSpPr>
              <a:spLocks/>
            </p:cNvSpPr>
            <p:nvPr>
              <p:custDataLst>
                <p:tags r:id="rId756"/>
              </p:custDataLst>
            </p:nvPr>
          </p:nvSpPr>
          <p:spPr bwMode="auto">
            <a:xfrm>
              <a:off x="5362823" y="4173538"/>
              <a:ext cx="38100" cy="52387"/>
            </a:xfrm>
            <a:custGeom>
              <a:avLst/>
              <a:gdLst>
                <a:gd name="T0" fmla="*/ 0 w 26"/>
                <a:gd name="T1" fmla="*/ 2147483647 h 65"/>
                <a:gd name="T2" fmla="*/ 2147483647 w 26"/>
                <a:gd name="T3" fmla="*/ 2147483647 h 65"/>
                <a:gd name="T4" fmla="*/ 2147483647 w 26"/>
                <a:gd name="T5" fmla="*/ 2147483647 h 65"/>
                <a:gd name="T6" fmla="*/ 2147483647 w 26"/>
                <a:gd name="T7" fmla="*/ 2147483647 h 65"/>
                <a:gd name="T8" fmla="*/ 2147483647 w 26"/>
                <a:gd name="T9" fmla="*/ 2147483647 h 65"/>
                <a:gd name="T10" fmla="*/ 2147483647 w 26"/>
                <a:gd name="T11" fmla="*/ 0 h 65"/>
                <a:gd name="T12" fmla="*/ 0 w 26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65">
                  <a:moveTo>
                    <a:pt x="0" y="56"/>
                  </a:moveTo>
                  <a:lnTo>
                    <a:pt x="13" y="65"/>
                  </a:lnTo>
                  <a:lnTo>
                    <a:pt x="26" y="44"/>
                  </a:lnTo>
                  <a:lnTo>
                    <a:pt x="13" y="44"/>
                  </a:lnTo>
                  <a:lnTo>
                    <a:pt x="26" y="32"/>
                  </a:lnTo>
                  <a:lnTo>
                    <a:pt x="19" y="0"/>
                  </a:lnTo>
                  <a:lnTo>
                    <a:pt x="0" y="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63" name="Freeform 919"/>
            <p:cNvSpPr>
              <a:spLocks/>
            </p:cNvSpPr>
            <p:nvPr>
              <p:custDataLst>
                <p:tags r:id="rId757"/>
              </p:custDataLst>
            </p:nvPr>
          </p:nvSpPr>
          <p:spPr bwMode="auto">
            <a:xfrm>
              <a:off x="5362823" y="4173538"/>
              <a:ext cx="38100" cy="52387"/>
            </a:xfrm>
            <a:custGeom>
              <a:avLst/>
              <a:gdLst>
                <a:gd name="T0" fmla="*/ 0 w 26"/>
                <a:gd name="T1" fmla="*/ 2147483647 h 65"/>
                <a:gd name="T2" fmla="*/ 2147483647 w 26"/>
                <a:gd name="T3" fmla="*/ 2147483647 h 65"/>
                <a:gd name="T4" fmla="*/ 2147483647 w 26"/>
                <a:gd name="T5" fmla="*/ 2147483647 h 65"/>
                <a:gd name="T6" fmla="*/ 2147483647 w 26"/>
                <a:gd name="T7" fmla="*/ 2147483647 h 65"/>
                <a:gd name="T8" fmla="*/ 2147483647 w 26"/>
                <a:gd name="T9" fmla="*/ 2147483647 h 65"/>
                <a:gd name="T10" fmla="*/ 2147483647 w 26"/>
                <a:gd name="T11" fmla="*/ 0 h 65"/>
                <a:gd name="T12" fmla="*/ 0 w 26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65">
                  <a:moveTo>
                    <a:pt x="0" y="56"/>
                  </a:moveTo>
                  <a:lnTo>
                    <a:pt x="13" y="65"/>
                  </a:lnTo>
                  <a:lnTo>
                    <a:pt x="26" y="44"/>
                  </a:lnTo>
                  <a:lnTo>
                    <a:pt x="13" y="44"/>
                  </a:lnTo>
                  <a:lnTo>
                    <a:pt x="26" y="32"/>
                  </a:lnTo>
                  <a:lnTo>
                    <a:pt x="19" y="0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64" name="Freeform 920"/>
            <p:cNvSpPr>
              <a:spLocks/>
            </p:cNvSpPr>
            <p:nvPr>
              <p:custDataLst>
                <p:tags r:id="rId758"/>
              </p:custDataLst>
            </p:nvPr>
          </p:nvSpPr>
          <p:spPr bwMode="auto">
            <a:xfrm>
              <a:off x="5362823" y="4173538"/>
              <a:ext cx="38100" cy="52387"/>
            </a:xfrm>
            <a:custGeom>
              <a:avLst/>
              <a:gdLst>
                <a:gd name="T0" fmla="*/ 0 w 26"/>
                <a:gd name="T1" fmla="*/ 2147483647 h 65"/>
                <a:gd name="T2" fmla="*/ 2147483647 w 26"/>
                <a:gd name="T3" fmla="*/ 2147483647 h 65"/>
                <a:gd name="T4" fmla="*/ 2147483647 w 26"/>
                <a:gd name="T5" fmla="*/ 2147483647 h 65"/>
                <a:gd name="T6" fmla="*/ 2147483647 w 26"/>
                <a:gd name="T7" fmla="*/ 2147483647 h 65"/>
                <a:gd name="T8" fmla="*/ 2147483647 w 26"/>
                <a:gd name="T9" fmla="*/ 2147483647 h 65"/>
                <a:gd name="T10" fmla="*/ 2147483647 w 26"/>
                <a:gd name="T11" fmla="*/ 0 h 65"/>
                <a:gd name="T12" fmla="*/ 0 w 26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65">
                  <a:moveTo>
                    <a:pt x="0" y="56"/>
                  </a:moveTo>
                  <a:lnTo>
                    <a:pt x="13" y="65"/>
                  </a:lnTo>
                  <a:lnTo>
                    <a:pt x="26" y="44"/>
                  </a:lnTo>
                  <a:lnTo>
                    <a:pt x="13" y="44"/>
                  </a:lnTo>
                  <a:lnTo>
                    <a:pt x="26" y="32"/>
                  </a:lnTo>
                  <a:lnTo>
                    <a:pt x="19" y="0"/>
                  </a:lnTo>
                  <a:lnTo>
                    <a:pt x="0" y="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65" name="Freeform 921"/>
            <p:cNvSpPr>
              <a:spLocks/>
            </p:cNvSpPr>
            <p:nvPr>
              <p:custDataLst>
                <p:tags r:id="rId759"/>
              </p:custDataLst>
            </p:nvPr>
          </p:nvSpPr>
          <p:spPr bwMode="auto">
            <a:xfrm>
              <a:off x="4610348" y="4440238"/>
              <a:ext cx="120650" cy="157162"/>
            </a:xfrm>
            <a:custGeom>
              <a:avLst/>
              <a:gdLst>
                <a:gd name="T0" fmla="*/ 0 w 82"/>
                <a:gd name="T1" fmla="*/ 2147483647 h 200"/>
                <a:gd name="T2" fmla="*/ 2147483647 w 82"/>
                <a:gd name="T3" fmla="*/ 2147483647 h 200"/>
                <a:gd name="T4" fmla="*/ 2147483647 w 82"/>
                <a:gd name="T5" fmla="*/ 2147483647 h 200"/>
                <a:gd name="T6" fmla="*/ 2147483647 w 82"/>
                <a:gd name="T7" fmla="*/ 2147483647 h 200"/>
                <a:gd name="T8" fmla="*/ 2147483647 w 82"/>
                <a:gd name="T9" fmla="*/ 2147483647 h 200"/>
                <a:gd name="T10" fmla="*/ 2147483647 w 82"/>
                <a:gd name="T11" fmla="*/ 0 h 200"/>
                <a:gd name="T12" fmla="*/ 2147483647 w 82"/>
                <a:gd name="T13" fmla="*/ 2147483647 h 200"/>
                <a:gd name="T14" fmla="*/ 2147483647 w 82"/>
                <a:gd name="T15" fmla="*/ 2147483647 h 200"/>
                <a:gd name="T16" fmla="*/ 2147483647 w 82"/>
                <a:gd name="T17" fmla="*/ 2147483647 h 200"/>
                <a:gd name="T18" fmla="*/ 2147483647 w 82"/>
                <a:gd name="T19" fmla="*/ 2147483647 h 200"/>
                <a:gd name="T20" fmla="*/ 2147483647 w 82"/>
                <a:gd name="T21" fmla="*/ 2147483647 h 200"/>
                <a:gd name="T22" fmla="*/ 2147483647 w 82"/>
                <a:gd name="T23" fmla="*/ 2147483647 h 200"/>
                <a:gd name="T24" fmla="*/ 0 w 82"/>
                <a:gd name="T25" fmla="*/ 2147483647 h 2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200">
                  <a:moveTo>
                    <a:pt x="0" y="100"/>
                  </a:moveTo>
                  <a:lnTo>
                    <a:pt x="8" y="67"/>
                  </a:lnTo>
                  <a:lnTo>
                    <a:pt x="13" y="67"/>
                  </a:lnTo>
                  <a:lnTo>
                    <a:pt x="8" y="44"/>
                  </a:lnTo>
                  <a:lnTo>
                    <a:pt x="39" y="44"/>
                  </a:lnTo>
                  <a:lnTo>
                    <a:pt x="39" y="0"/>
                  </a:lnTo>
                  <a:lnTo>
                    <a:pt x="69" y="10"/>
                  </a:lnTo>
                  <a:lnTo>
                    <a:pt x="69" y="33"/>
                  </a:lnTo>
                  <a:lnTo>
                    <a:pt x="82" y="33"/>
                  </a:lnTo>
                  <a:lnTo>
                    <a:pt x="77" y="146"/>
                  </a:lnTo>
                  <a:lnTo>
                    <a:pt x="58" y="133"/>
                  </a:lnTo>
                  <a:lnTo>
                    <a:pt x="32" y="20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66" name="Freeform 922"/>
            <p:cNvSpPr>
              <a:spLocks/>
            </p:cNvSpPr>
            <p:nvPr>
              <p:custDataLst>
                <p:tags r:id="rId760"/>
              </p:custDataLst>
            </p:nvPr>
          </p:nvSpPr>
          <p:spPr bwMode="auto">
            <a:xfrm>
              <a:off x="4610348" y="4440238"/>
              <a:ext cx="120650" cy="157162"/>
            </a:xfrm>
            <a:custGeom>
              <a:avLst/>
              <a:gdLst>
                <a:gd name="T0" fmla="*/ 0 w 82"/>
                <a:gd name="T1" fmla="*/ 2147483647 h 200"/>
                <a:gd name="T2" fmla="*/ 2147483647 w 82"/>
                <a:gd name="T3" fmla="*/ 2147483647 h 200"/>
                <a:gd name="T4" fmla="*/ 2147483647 w 82"/>
                <a:gd name="T5" fmla="*/ 2147483647 h 200"/>
                <a:gd name="T6" fmla="*/ 2147483647 w 82"/>
                <a:gd name="T7" fmla="*/ 2147483647 h 200"/>
                <a:gd name="T8" fmla="*/ 2147483647 w 82"/>
                <a:gd name="T9" fmla="*/ 2147483647 h 200"/>
                <a:gd name="T10" fmla="*/ 2147483647 w 82"/>
                <a:gd name="T11" fmla="*/ 0 h 200"/>
                <a:gd name="T12" fmla="*/ 2147483647 w 82"/>
                <a:gd name="T13" fmla="*/ 2147483647 h 200"/>
                <a:gd name="T14" fmla="*/ 2147483647 w 82"/>
                <a:gd name="T15" fmla="*/ 2147483647 h 200"/>
                <a:gd name="T16" fmla="*/ 2147483647 w 82"/>
                <a:gd name="T17" fmla="*/ 2147483647 h 200"/>
                <a:gd name="T18" fmla="*/ 2147483647 w 82"/>
                <a:gd name="T19" fmla="*/ 2147483647 h 200"/>
                <a:gd name="T20" fmla="*/ 2147483647 w 82"/>
                <a:gd name="T21" fmla="*/ 2147483647 h 200"/>
                <a:gd name="T22" fmla="*/ 2147483647 w 82"/>
                <a:gd name="T23" fmla="*/ 2147483647 h 200"/>
                <a:gd name="T24" fmla="*/ 0 w 82"/>
                <a:gd name="T25" fmla="*/ 2147483647 h 2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200">
                  <a:moveTo>
                    <a:pt x="0" y="100"/>
                  </a:moveTo>
                  <a:lnTo>
                    <a:pt x="8" y="67"/>
                  </a:lnTo>
                  <a:lnTo>
                    <a:pt x="13" y="67"/>
                  </a:lnTo>
                  <a:lnTo>
                    <a:pt x="8" y="44"/>
                  </a:lnTo>
                  <a:lnTo>
                    <a:pt x="39" y="44"/>
                  </a:lnTo>
                  <a:lnTo>
                    <a:pt x="39" y="0"/>
                  </a:lnTo>
                  <a:lnTo>
                    <a:pt x="69" y="10"/>
                  </a:lnTo>
                  <a:lnTo>
                    <a:pt x="69" y="33"/>
                  </a:lnTo>
                  <a:lnTo>
                    <a:pt x="82" y="33"/>
                  </a:lnTo>
                  <a:lnTo>
                    <a:pt x="77" y="146"/>
                  </a:lnTo>
                  <a:lnTo>
                    <a:pt x="58" y="133"/>
                  </a:lnTo>
                  <a:lnTo>
                    <a:pt x="32" y="200"/>
                  </a:lnTo>
                  <a:lnTo>
                    <a:pt x="0" y="10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67" name="Freeform 923"/>
            <p:cNvSpPr>
              <a:spLocks/>
            </p:cNvSpPr>
            <p:nvPr>
              <p:custDataLst>
                <p:tags r:id="rId761"/>
              </p:custDataLst>
            </p:nvPr>
          </p:nvSpPr>
          <p:spPr bwMode="auto">
            <a:xfrm>
              <a:off x="4610348" y="4440238"/>
              <a:ext cx="120650" cy="157162"/>
            </a:xfrm>
            <a:custGeom>
              <a:avLst/>
              <a:gdLst>
                <a:gd name="T0" fmla="*/ 0 w 82"/>
                <a:gd name="T1" fmla="*/ 2147483647 h 200"/>
                <a:gd name="T2" fmla="*/ 2147483647 w 82"/>
                <a:gd name="T3" fmla="*/ 2147483647 h 200"/>
                <a:gd name="T4" fmla="*/ 2147483647 w 82"/>
                <a:gd name="T5" fmla="*/ 2147483647 h 200"/>
                <a:gd name="T6" fmla="*/ 2147483647 w 82"/>
                <a:gd name="T7" fmla="*/ 2147483647 h 200"/>
                <a:gd name="T8" fmla="*/ 2147483647 w 82"/>
                <a:gd name="T9" fmla="*/ 2147483647 h 200"/>
                <a:gd name="T10" fmla="*/ 2147483647 w 82"/>
                <a:gd name="T11" fmla="*/ 0 h 200"/>
                <a:gd name="T12" fmla="*/ 2147483647 w 82"/>
                <a:gd name="T13" fmla="*/ 2147483647 h 200"/>
                <a:gd name="T14" fmla="*/ 2147483647 w 82"/>
                <a:gd name="T15" fmla="*/ 2147483647 h 200"/>
                <a:gd name="T16" fmla="*/ 2147483647 w 82"/>
                <a:gd name="T17" fmla="*/ 2147483647 h 200"/>
                <a:gd name="T18" fmla="*/ 2147483647 w 82"/>
                <a:gd name="T19" fmla="*/ 2147483647 h 200"/>
                <a:gd name="T20" fmla="*/ 2147483647 w 82"/>
                <a:gd name="T21" fmla="*/ 2147483647 h 200"/>
                <a:gd name="T22" fmla="*/ 2147483647 w 82"/>
                <a:gd name="T23" fmla="*/ 2147483647 h 200"/>
                <a:gd name="T24" fmla="*/ 0 w 82"/>
                <a:gd name="T25" fmla="*/ 2147483647 h 2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200">
                  <a:moveTo>
                    <a:pt x="0" y="100"/>
                  </a:moveTo>
                  <a:lnTo>
                    <a:pt x="8" y="67"/>
                  </a:lnTo>
                  <a:lnTo>
                    <a:pt x="13" y="67"/>
                  </a:lnTo>
                  <a:lnTo>
                    <a:pt x="8" y="44"/>
                  </a:lnTo>
                  <a:lnTo>
                    <a:pt x="39" y="44"/>
                  </a:lnTo>
                  <a:lnTo>
                    <a:pt x="39" y="0"/>
                  </a:lnTo>
                  <a:lnTo>
                    <a:pt x="69" y="10"/>
                  </a:lnTo>
                  <a:lnTo>
                    <a:pt x="69" y="33"/>
                  </a:lnTo>
                  <a:lnTo>
                    <a:pt x="82" y="33"/>
                  </a:lnTo>
                  <a:lnTo>
                    <a:pt x="77" y="146"/>
                  </a:lnTo>
                  <a:lnTo>
                    <a:pt x="58" y="133"/>
                  </a:lnTo>
                  <a:lnTo>
                    <a:pt x="32" y="20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68" name="Freeform 924"/>
            <p:cNvSpPr>
              <a:spLocks/>
            </p:cNvSpPr>
            <p:nvPr>
              <p:custDataLst>
                <p:tags r:id="rId762"/>
              </p:custDataLst>
            </p:nvPr>
          </p:nvSpPr>
          <p:spPr bwMode="auto">
            <a:xfrm>
              <a:off x="4610348" y="4440238"/>
              <a:ext cx="120650" cy="157162"/>
            </a:xfrm>
            <a:custGeom>
              <a:avLst/>
              <a:gdLst>
                <a:gd name="T0" fmla="*/ 0 w 82"/>
                <a:gd name="T1" fmla="*/ 2147483647 h 200"/>
                <a:gd name="T2" fmla="*/ 2147483647 w 82"/>
                <a:gd name="T3" fmla="*/ 2147483647 h 200"/>
                <a:gd name="T4" fmla="*/ 2147483647 w 82"/>
                <a:gd name="T5" fmla="*/ 2147483647 h 200"/>
                <a:gd name="T6" fmla="*/ 2147483647 w 82"/>
                <a:gd name="T7" fmla="*/ 2147483647 h 200"/>
                <a:gd name="T8" fmla="*/ 2147483647 w 82"/>
                <a:gd name="T9" fmla="*/ 2147483647 h 200"/>
                <a:gd name="T10" fmla="*/ 2147483647 w 82"/>
                <a:gd name="T11" fmla="*/ 0 h 200"/>
                <a:gd name="T12" fmla="*/ 2147483647 w 82"/>
                <a:gd name="T13" fmla="*/ 2147483647 h 200"/>
                <a:gd name="T14" fmla="*/ 2147483647 w 82"/>
                <a:gd name="T15" fmla="*/ 2147483647 h 200"/>
                <a:gd name="T16" fmla="*/ 2147483647 w 82"/>
                <a:gd name="T17" fmla="*/ 2147483647 h 200"/>
                <a:gd name="T18" fmla="*/ 2147483647 w 82"/>
                <a:gd name="T19" fmla="*/ 2147483647 h 200"/>
                <a:gd name="T20" fmla="*/ 2147483647 w 82"/>
                <a:gd name="T21" fmla="*/ 2147483647 h 200"/>
                <a:gd name="T22" fmla="*/ 2147483647 w 82"/>
                <a:gd name="T23" fmla="*/ 2147483647 h 200"/>
                <a:gd name="T24" fmla="*/ 0 w 82"/>
                <a:gd name="T25" fmla="*/ 2147483647 h 2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200">
                  <a:moveTo>
                    <a:pt x="0" y="100"/>
                  </a:moveTo>
                  <a:lnTo>
                    <a:pt x="8" y="67"/>
                  </a:lnTo>
                  <a:lnTo>
                    <a:pt x="13" y="67"/>
                  </a:lnTo>
                  <a:lnTo>
                    <a:pt x="8" y="44"/>
                  </a:lnTo>
                  <a:lnTo>
                    <a:pt x="39" y="44"/>
                  </a:lnTo>
                  <a:lnTo>
                    <a:pt x="39" y="0"/>
                  </a:lnTo>
                  <a:lnTo>
                    <a:pt x="69" y="10"/>
                  </a:lnTo>
                  <a:lnTo>
                    <a:pt x="69" y="33"/>
                  </a:lnTo>
                  <a:lnTo>
                    <a:pt x="82" y="33"/>
                  </a:lnTo>
                  <a:lnTo>
                    <a:pt x="77" y="146"/>
                  </a:lnTo>
                  <a:lnTo>
                    <a:pt x="58" y="133"/>
                  </a:lnTo>
                  <a:lnTo>
                    <a:pt x="32" y="200"/>
                  </a:lnTo>
                  <a:lnTo>
                    <a:pt x="0" y="10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69" name="Freeform 925"/>
            <p:cNvSpPr>
              <a:spLocks/>
            </p:cNvSpPr>
            <p:nvPr>
              <p:custDataLst>
                <p:tags r:id="rId763"/>
              </p:custDataLst>
            </p:nvPr>
          </p:nvSpPr>
          <p:spPr bwMode="auto">
            <a:xfrm>
              <a:off x="4024561" y="4148138"/>
              <a:ext cx="73025" cy="34925"/>
            </a:xfrm>
            <a:custGeom>
              <a:avLst/>
              <a:gdLst>
                <a:gd name="T0" fmla="*/ 0 w 50"/>
                <a:gd name="T1" fmla="*/ 2147483647 h 44"/>
                <a:gd name="T2" fmla="*/ 2147483647 w 50"/>
                <a:gd name="T3" fmla="*/ 0 h 44"/>
                <a:gd name="T4" fmla="*/ 2147483647 w 50"/>
                <a:gd name="T5" fmla="*/ 2147483647 h 44"/>
                <a:gd name="T6" fmla="*/ 0 w 50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44">
                  <a:moveTo>
                    <a:pt x="0" y="44"/>
                  </a:moveTo>
                  <a:lnTo>
                    <a:pt x="7" y="0"/>
                  </a:lnTo>
                  <a:lnTo>
                    <a:pt x="50" y="12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70" name="Freeform 926"/>
            <p:cNvSpPr>
              <a:spLocks/>
            </p:cNvSpPr>
            <p:nvPr>
              <p:custDataLst>
                <p:tags r:id="rId764"/>
              </p:custDataLst>
            </p:nvPr>
          </p:nvSpPr>
          <p:spPr bwMode="auto">
            <a:xfrm>
              <a:off x="4024561" y="4148138"/>
              <a:ext cx="73025" cy="34925"/>
            </a:xfrm>
            <a:custGeom>
              <a:avLst/>
              <a:gdLst>
                <a:gd name="T0" fmla="*/ 0 w 50"/>
                <a:gd name="T1" fmla="*/ 2147483647 h 44"/>
                <a:gd name="T2" fmla="*/ 2147483647 w 50"/>
                <a:gd name="T3" fmla="*/ 0 h 44"/>
                <a:gd name="T4" fmla="*/ 2147483647 w 50"/>
                <a:gd name="T5" fmla="*/ 2147483647 h 44"/>
                <a:gd name="T6" fmla="*/ 0 w 50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44">
                  <a:moveTo>
                    <a:pt x="0" y="44"/>
                  </a:moveTo>
                  <a:lnTo>
                    <a:pt x="7" y="0"/>
                  </a:lnTo>
                  <a:lnTo>
                    <a:pt x="50" y="12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71" name="Freeform 927"/>
            <p:cNvSpPr>
              <a:spLocks/>
            </p:cNvSpPr>
            <p:nvPr>
              <p:custDataLst>
                <p:tags r:id="rId765"/>
              </p:custDataLst>
            </p:nvPr>
          </p:nvSpPr>
          <p:spPr bwMode="auto">
            <a:xfrm>
              <a:off x="4024561" y="4148138"/>
              <a:ext cx="73025" cy="34925"/>
            </a:xfrm>
            <a:custGeom>
              <a:avLst/>
              <a:gdLst>
                <a:gd name="T0" fmla="*/ 0 w 50"/>
                <a:gd name="T1" fmla="*/ 2147483647 h 44"/>
                <a:gd name="T2" fmla="*/ 2147483647 w 50"/>
                <a:gd name="T3" fmla="*/ 0 h 44"/>
                <a:gd name="T4" fmla="*/ 2147483647 w 50"/>
                <a:gd name="T5" fmla="*/ 2147483647 h 44"/>
                <a:gd name="T6" fmla="*/ 0 w 50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44">
                  <a:moveTo>
                    <a:pt x="0" y="44"/>
                  </a:moveTo>
                  <a:lnTo>
                    <a:pt x="7" y="0"/>
                  </a:lnTo>
                  <a:lnTo>
                    <a:pt x="50" y="12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72" name="Freeform 928"/>
            <p:cNvSpPr>
              <a:spLocks/>
            </p:cNvSpPr>
            <p:nvPr>
              <p:custDataLst>
                <p:tags r:id="rId766"/>
              </p:custDataLst>
            </p:nvPr>
          </p:nvSpPr>
          <p:spPr bwMode="auto">
            <a:xfrm>
              <a:off x="4024561" y="4148138"/>
              <a:ext cx="73025" cy="34925"/>
            </a:xfrm>
            <a:custGeom>
              <a:avLst/>
              <a:gdLst>
                <a:gd name="T0" fmla="*/ 0 w 50"/>
                <a:gd name="T1" fmla="*/ 2147483647 h 44"/>
                <a:gd name="T2" fmla="*/ 2147483647 w 50"/>
                <a:gd name="T3" fmla="*/ 0 h 44"/>
                <a:gd name="T4" fmla="*/ 2147483647 w 50"/>
                <a:gd name="T5" fmla="*/ 2147483647 h 44"/>
                <a:gd name="T6" fmla="*/ 0 w 50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44">
                  <a:moveTo>
                    <a:pt x="0" y="44"/>
                  </a:moveTo>
                  <a:lnTo>
                    <a:pt x="7" y="0"/>
                  </a:lnTo>
                  <a:lnTo>
                    <a:pt x="50" y="12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73" name="Freeform 929"/>
            <p:cNvSpPr>
              <a:spLocks/>
            </p:cNvSpPr>
            <p:nvPr>
              <p:custDataLst>
                <p:tags r:id="rId767"/>
              </p:custDataLst>
            </p:nvPr>
          </p:nvSpPr>
          <p:spPr bwMode="auto">
            <a:xfrm>
              <a:off x="4337298" y="4217988"/>
              <a:ext cx="101600" cy="158750"/>
            </a:xfrm>
            <a:custGeom>
              <a:avLst/>
              <a:gdLst>
                <a:gd name="T0" fmla="*/ 0 w 69"/>
                <a:gd name="T1" fmla="*/ 2147483647 h 199"/>
                <a:gd name="T2" fmla="*/ 2147483647 w 69"/>
                <a:gd name="T3" fmla="*/ 2147483647 h 199"/>
                <a:gd name="T4" fmla="*/ 2147483647 w 69"/>
                <a:gd name="T5" fmla="*/ 0 h 199"/>
                <a:gd name="T6" fmla="*/ 2147483647 w 69"/>
                <a:gd name="T7" fmla="*/ 0 h 199"/>
                <a:gd name="T8" fmla="*/ 2147483647 w 69"/>
                <a:gd name="T9" fmla="*/ 2147483647 h 199"/>
                <a:gd name="T10" fmla="*/ 2147483647 w 69"/>
                <a:gd name="T11" fmla="*/ 2147483647 h 199"/>
                <a:gd name="T12" fmla="*/ 0 w 69"/>
                <a:gd name="T13" fmla="*/ 2147483647 h 1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199">
                  <a:moveTo>
                    <a:pt x="0" y="190"/>
                  </a:moveTo>
                  <a:lnTo>
                    <a:pt x="6" y="44"/>
                  </a:lnTo>
                  <a:lnTo>
                    <a:pt x="6" y="0"/>
                  </a:lnTo>
                  <a:lnTo>
                    <a:pt x="43" y="0"/>
                  </a:lnTo>
                  <a:lnTo>
                    <a:pt x="69" y="155"/>
                  </a:lnTo>
                  <a:lnTo>
                    <a:pt x="19" y="199"/>
                  </a:lnTo>
                  <a:lnTo>
                    <a:pt x="0" y="19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74" name="Freeform 930"/>
            <p:cNvSpPr>
              <a:spLocks/>
            </p:cNvSpPr>
            <p:nvPr>
              <p:custDataLst>
                <p:tags r:id="rId768"/>
              </p:custDataLst>
            </p:nvPr>
          </p:nvSpPr>
          <p:spPr bwMode="auto">
            <a:xfrm>
              <a:off x="4337298" y="4217988"/>
              <a:ext cx="101600" cy="158750"/>
            </a:xfrm>
            <a:custGeom>
              <a:avLst/>
              <a:gdLst>
                <a:gd name="T0" fmla="*/ 0 w 69"/>
                <a:gd name="T1" fmla="*/ 2147483647 h 199"/>
                <a:gd name="T2" fmla="*/ 2147483647 w 69"/>
                <a:gd name="T3" fmla="*/ 2147483647 h 199"/>
                <a:gd name="T4" fmla="*/ 2147483647 w 69"/>
                <a:gd name="T5" fmla="*/ 0 h 199"/>
                <a:gd name="T6" fmla="*/ 2147483647 w 69"/>
                <a:gd name="T7" fmla="*/ 0 h 199"/>
                <a:gd name="T8" fmla="*/ 2147483647 w 69"/>
                <a:gd name="T9" fmla="*/ 2147483647 h 199"/>
                <a:gd name="T10" fmla="*/ 2147483647 w 69"/>
                <a:gd name="T11" fmla="*/ 2147483647 h 199"/>
                <a:gd name="T12" fmla="*/ 0 w 69"/>
                <a:gd name="T13" fmla="*/ 2147483647 h 1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199">
                  <a:moveTo>
                    <a:pt x="0" y="190"/>
                  </a:moveTo>
                  <a:lnTo>
                    <a:pt x="6" y="44"/>
                  </a:lnTo>
                  <a:lnTo>
                    <a:pt x="6" y="0"/>
                  </a:lnTo>
                  <a:lnTo>
                    <a:pt x="43" y="0"/>
                  </a:lnTo>
                  <a:lnTo>
                    <a:pt x="69" y="155"/>
                  </a:lnTo>
                  <a:lnTo>
                    <a:pt x="19" y="199"/>
                  </a:lnTo>
                  <a:lnTo>
                    <a:pt x="0" y="19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75" name="Freeform 931"/>
            <p:cNvSpPr>
              <a:spLocks/>
            </p:cNvSpPr>
            <p:nvPr>
              <p:custDataLst>
                <p:tags r:id="rId769"/>
              </p:custDataLst>
            </p:nvPr>
          </p:nvSpPr>
          <p:spPr bwMode="auto">
            <a:xfrm>
              <a:off x="4337298" y="4217988"/>
              <a:ext cx="101600" cy="158750"/>
            </a:xfrm>
            <a:custGeom>
              <a:avLst/>
              <a:gdLst>
                <a:gd name="T0" fmla="*/ 0 w 69"/>
                <a:gd name="T1" fmla="*/ 2147483647 h 199"/>
                <a:gd name="T2" fmla="*/ 2147483647 w 69"/>
                <a:gd name="T3" fmla="*/ 2147483647 h 199"/>
                <a:gd name="T4" fmla="*/ 2147483647 w 69"/>
                <a:gd name="T5" fmla="*/ 0 h 199"/>
                <a:gd name="T6" fmla="*/ 2147483647 w 69"/>
                <a:gd name="T7" fmla="*/ 0 h 199"/>
                <a:gd name="T8" fmla="*/ 2147483647 w 69"/>
                <a:gd name="T9" fmla="*/ 2147483647 h 199"/>
                <a:gd name="T10" fmla="*/ 2147483647 w 69"/>
                <a:gd name="T11" fmla="*/ 2147483647 h 199"/>
                <a:gd name="T12" fmla="*/ 0 w 69"/>
                <a:gd name="T13" fmla="*/ 2147483647 h 1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199">
                  <a:moveTo>
                    <a:pt x="0" y="190"/>
                  </a:moveTo>
                  <a:lnTo>
                    <a:pt x="6" y="44"/>
                  </a:lnTo>
                  <a:lnTo>
                    <a:pt x="6" y="0"/>
                  </a:lnTo>
                  <a:lnTo>
                    <a:pt x="43" y="0"/>
                  </a:lnTo>
                  <a:lnTo>
                    <a:pt x="69" y="155"/>
                  </a:lnTo>
                  <a:lnTo>
                    <a:pt x="19" y="199"/>
                  </a:lnTo>
                  <a:lnTo>
                    <a:pt x="0" y="19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76" name="Freeform 932"/>
            <p:cNvSpPr>
              <a:spLocks/>
            </p:cNvSpPr>
            <p:nvPr>
              <p:custDataLst>
                <p:tags r:id="rId770"/>
              </p:custDataLst>
            </p:nvPr>
          </p:nvSpPr>
          <p:spPr bwMode="auto">
            <a:xfrm>
              <a:off x="4337298" y="4217988"/>
              <a:ext cx="101600" cy="158750"/>
            </a:xfrm>
            <a:custGeom>
              <a:avLst/>
              <a:gdLst>
                <a:gd name="T0" fmla="*/ 0 w 69"/>
                <a:gd name="T1" fmla="*/ 2147483647 h 199"/>
                <a:gd name="T2" fmla="*/ 2147483647 w 69"/>
                <a:gd name="T3" fmla="*/ 2147483647 h 199"/>
                <a:gd name="T4" fmla="*/ 2147483647 w 69"/>
                <a:gd name="T5" fmla="*/ 0 h 199"/>
                <a:gd name="T6" fmla="*/ 2147483647 w 69"/>
                <a:gd name="T7" fmla="*/ 0 h 199"/>
                <a:gd name="T8" fmla="*/ 2147483647 w 69"/>
                <a:gd name="T9" fmla="*/ 2147483647 h 199"/>
                <a:gd name="T10" fmla="*/ 2147483647 w 69"/>
                <a:gd name="T11" fmla="*/ 2147483647 h 199"/>
                <a:gd name="T12" fmla="*/ 0 w 69"/>
                <a:gd name="T13" fmla="*/ 2147483647 h 1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199">
                  <a:moveTo>
                    <a:pt x="0" y="190"/>
                  </a:moveTo>
                  <a:lnTo>
                    <a:pt x="6" y="44"/>
                  </a:lnTo>
                  <a:lnTo>
                    <a:pt x="6" y="0"/>
                  </a:lnTo>
                  <a:lnTo>
                    <a:pt x="43" y="0"/>
                  </a:lnTo>
                  <a:lnTo>
                    <a:pt x="69" y="155"/>
                  </a:lnTo>
                  <a:lnTo>
                    <a:pt x="19" y="199"/>
                  </a:lnTo>
                  <a:lnTo>
                    <a:pt x="0" y="190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77" name="Freeform 933"/>
            <p:cNvSpPr>
              <a:spLocks/>
            </p:cNvSpPr>
            <p:nvPr>
              <p:custDataLst>
                <p:tags r:id="rId771"/>
              </p:custDataLst>
            </p:nvPr>
          </p:nvSpPr>
          <p:spPr bwMode="auto">
            <a:xfrm>
              <a:off x="4062661" y="4173538"/>
              <a:ext cx="174625" cy="142875"/>
            </a:xfrm>
            <a:custGeom>
              <a:avLst/>
              <a:gdLst>
                <a:gd name="T0" fmla="*/ 0 w 119"/>
                <a:gd name="T1" fmla="*/ 2147483647 h 178"/>
                <a:gd name="T2" fmla="*/ 2147483647 w 119"/>
                <a:gd name="T3" fmla="*/ 2147483647 h 178"/>
                <a:gd name="T4" fmla="*/ 2147483647 w 119"/>
                <a:gd name="T5" fmla="*/ 0 h 178"/>
                <a:gd name="T6" fmla="*/ 2147483647 w 119"/>
                <a:gd name="T7" fmla="*/ 2147483647 h 178"/>
                <a:gd name="T8" fmla="*/ 2147483647 w 119"/>
                <a:gd name="T9" fmla="*/ 2147483647 h 178"/>
                <a:gd name="T10" fmla="*/ 2147483647 w 119"/>
                <a:gd name="T11" fmla="*/ 2147483647 h 178"/>
                <a:gd name="T12" fmla="*/ 2147483647 w 119"/>
                <a:gd name="T13" fmla="*/ 2147483647 h 178"/>
                <a:gd name="T14" fmla="*/ 2147483647 w 119"/>
                <a:gd name="T15" fmla="*/ 2147483647 h 178"/>
                <a:gd name="T16" fmla="*/ 2147483647 w 119"/>
                <a:gd name="T17" fmla="*/ 2147483647 h 178"/>
                <a:gd name="T18" fmla="*/ 2147483647 w 119"/>
                <a:gd name="T19" fmla="*/ 2147483647 h 178"/>
                <a:gd name="T20" fmla="*/ 2147483647 w 119"/>
                <a:gd name="T21" fmla="*/ 2147483647 h 178"/>
                <a:gd name="T22" fmla="*/ 2147483647 w 119"/>
                <a:gd name="T23" fmla="*/ 2147483647 h 178"/>
                <a:gd name="T24" fmla="*/ 2147483647 w 119"/>
                <a:gd name="T25" fmla="*/ 2147483647 h 178"/>
                <a:gd name="T26" fmla="*/ 2147483647 w 119"/>
                <a:gd name="T27" fmla="*/ 2147483647 h 178"/>
                <a:gd name="T28" fmla="*/ 2147483647 w 119"/>
                <a:gd name="T29" fmla="*/ 2147483647 h 178"/>
                <a:gd name="T30" fmla="*/ 0 w 119"/>
                <a:gd name="T31" fmla="*/ 2147483647 h 1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9" h="178">
                  <a:moveTo>
                    <a:pt x="0" y="56"/>
                  </a:moveTo>
                  <a:lnTo>
                    <a:pt x="25" y="32"/>
                  </a:lnTo>
                  <a:lnTo>
                    <a:pt x="25" y="0"/>
                  </a:lnTo>
                  <a:lnTo>
                    <a:pt x="62" y="11"/>
                  </a:lnTo>
                  <a:lnTo>
                    <a:pt x="69" y="32"/>
                  </a:lnTo>
                  <a:lnTo>
                    <a:pt x="93" y="11"/>
                  </a:lnTo>
                  <a:lnTo>
                    <a:pt x="112" y="77"/>
                  </a:lnTo>
                  <a:lnTo>
                    <a:pt x="119" y="144"/>
                  </a:lnTo>
                  <a:lnTo>
                    <a:pt x="106" y="134"/>
                  </a:lnTo>
                  <a:lnTo>
                    <a:pt x="106" y="165"/>
                  </a:lnTo>
                  <a:lnTo>
                    <a:pt x="88" y="178"/>
                  </a:lnTo>
                  <a:lnTo>
                    <a:pt x="88" y="144"/>
                  </a:lnTo>
                  <a:lnTo>
                    <a:pt x="74" y="144"/>
                  </a:lnTo>
                  <a:lnTo>
                    <a:pt x="62" y="90"/>
                  </a:lnTo>
                  <a:lnTo>
                    <a:pt x="32" y="121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78" name="Freeform 934"/>
            <p:cNvSpPr>
              <a:spLocks/>
            </p:cNvSpPr>
            <p:nvPr>
              <p:custDataLst>
                <p:tags r:id="rId772"/>
              </p:custDataLst>
            </p:nvPr>
          </p:nvSpPr>
          <p:spPr bwMode="auto">
            <a:xfrm>
              <a:off x="4062661" y="4173538"/>
              <a:ext cx="174625" cy="142875"/>
            </a:xfrm>
            <a:custGeom>
              <a:avLst/>
              <a:gdLst>
                <a:gd name="T0" fmla="*/ 0 w 119"/>
                <a:gd name="T1" fmla="*/ 2147483647 h 178"/>
                <a:gd name="T2" fmla="*/ 2147483647 w 119"/>
                <a:gd name="T3" fmla="*/ 2147483647 h 178"/>
                <a:gd name="T4" fmla="*/ 2147483647 w 119"/>
                <a:gd name="T5" fmla="*/ 0 h 178"/>
                <a:gd name="T6" fmla="*/ 2147483647 w 119"/>
                <a:gd name="T7" fmla="*/ 2147483647 h 178"/>
                <a:gd name="T8" fmla="*/ 2147483647 w 119"/>
                <a:gd name="T9" fmla="*/ 2147483647 h 178"/>
                <a:gd name="T10" fmla="*/ 2147483647 w 119"/>
                <a:gd name="T11" fmla="*/ 2147483647 h 178"/>
                <a:gd name="T12" fmla="*/ 2147483647 w 119"/>
                <a:gd name="T13" fmla="*/ 2147483647 h 178"/>
                <a:gd name="T14" fmla="*/ 2147483647 w 119"/>
                <a:gd name="T15" fmla="*/ 2147483647 h 178"/>
                <a:gd name="T16" fmla="*/ 2147483647 w 119"/>
                <a:gd name="T17" fmla="*/ 2147483647 h 178"/>
                <a:gd name="T18" fmla="*/ 2147483647 w 119"/>
                <a:gd name="T19" fmla="*/ 2147483647 h 178"/>
                <a:gd name="T20" fmla="*/ 2147483647 w 119"/>
                <a:gd name="T21" fmla="*/ 2147483647 h 178"/>
                <a:gd name="T22" fmla="*/ 2147483647 w 119"/>
                <a:gd name="T23" fmla="*/ 2147483647 h 178"/>
                <a:gd name="T24" fmla="*/ 2147483647 w 119"/>
                <a:gd name="T25" fmla="*/ 2147483647 h 178"/>
                <a:gd name="T26" fmla="*/ 2147483647 w 119"/>
                <a:gd name="T27" fmla="*/ 2147483647 h 178"/>
                <a:gd name="T28" fmla="*/ 2147483647 w 119"/>
                <a:gd name="T29" fmla="*/ 2147483647 h 178"/>
                <a:gd name="T30" fmla="*/ 0 w 119"/>
                <a:gd name="T31" fmla="*/ 2147483647 h 1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9" h="178">
                  <a:moveTo>
                    <a:pt x="0" y="56"/>
                  </a:moveTo>
                  <a:lnTo>
                    <a:pt x="25" y="32"/>
                  </a:lnTo>
                  <a:lnTo>
                    <a:pt x="25" y="0"/>
                  </a:lnTo>
                  <a:lnTo>
                    <a:pt x="62" y="11"/>
                  </a:lnTo>
                  <a:lnTo>
                    <a:pt x="69" y="32"/>
                  </a:lnTo>
                  <a:lnTo>
                    <a:pt x="93" y="11"/>
                  </a:lnTo>
                  <a:lnTo>
                    <a:pt x="112" y="77"/>
                  </a:lnTo>
                  <a:lnTo>
                    <a:pt x="119" y="144"/>
                  </a:lnTo>
                  <a:lnTo>
                    <a:pt x="106" y="134"/>
                  </a:lnTo>
                  <a:lnTo>
                    <a:pt x="106" y="165"/>
                  </a:lnTo>
                  <a:lnTo>
                    <a:pt x="88" y="178"/>
                  </a:lnTo>
                  <a:lnTo>
                    <a:pt x="88" y="144"/>
                  </a:lnTo>
                  <a:lnTo>
                    <a:pt x="74" y="144"/>
                  </a:lnTo>
                  <a:lnTo>
                    <a:pt x="62" y="90"/>
                  </a:lnTo>
                  <a:lnTo>
                    <a:pt x="32" y="121"/>
                  </a:lnTo>
                  <a:lnTo>
                    <a:pt x="0" y="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79" name="Freeform 935"/>
            <p:cNvSpPr>
              <a:spLocks/>
            </p:cNvSpPr>
            <p:nvPr>
              <p:custDataLst>
                <p:tags r:id="rId773"/>
              </p:custDataLst>
            </p:nvPr>
          </p:nvSpPr>
          <p:spPr bwMode="auto">
            <a:xfrm>
              <a:off x="4062661" y="4173538"/>
              <a:ext cx="174625" cy="142875"/>
            </a:xfrm>
            <a:custGeom>
              <a:avLst/>
              <a:gdLst>
                <a:gd name="T0" fmla="*/ 0 w 119"/>
                <a:gd name="T1" fmla="*/ 2147483647 h 178"/>
                <a:gd name="T2" fmla="*/ 2147483647 w 119"/>
                <a:gd name="T3" fmla="*/ 2147483647 h 178"/>
                <a:gd name="T4" fmla="*/ 2147483647 w 119"/>
                <a:gd name="T5" fmla="*/ 0 h 178"/>
                <a:gd name="T6" fmla="*/ 2147483647 w 119"/>
                <a:gd name="T7" fmla="*/ 2147483647 h 178"/>
                <a:gd name="T8" fmla="*/ 2147483647 w 119"/>
                <a:gd name="T9" fmla="*/ 2147483647 h 178"/>
                <a:gd name="T10" fmla="*/ 2147483647 w 119"/>
                <a:gd name="T11" fmla="*/ 2147483647 h 178"/>
                <a:gd name="T12" fmla="*/ 2147483647 w 119"/>
                <a:gd name="T13" fmla="*/ 2147483647 h 178"/>
                <a:gd name="T14" fmla="*/ 2147483647 w 119"/>
                <a:gd name="T15" fmla="*/ 2147483647 h 178"/>
                <a:gd name="T16" fmla="*/ 2147483647 w 119"/>
                <a:gd name="T17" fmla="*/ 2147483647 h 178"/>
                <a:gd name="T18" fmla="*/ 2147483647 w 119"/>
                <a:gd name="T19" fmla="*/ 2147483647 h 178"/>
                <a:gd name="T20" fmla="*/ 2147483647 w 119"/>
                <a:gd name="T21" fmla="*/ 2147483647 h 178"/>
                <a:gd name="T22" fmla="*/ 2147483647 w 119"/>
                <a:gd name="T23" fmla="*/ 2147483647 h 178"/>
                <a:gd name="T24" fmla="*/ 2147483647 w 119"/>
                <a:gd name="T25" fmla="*/ 2147483647 h 178"/>
                <a:gd name="T26" fmla="*/ 2147483647 w 119"/>
                <a:gd name="T27" fmla="*/ 2147483647 h 178"/>
                <a:gd name="T28" fmla="*/ 2147483647 w 119"/>
                <a:gd name="T29" fmla="*/ 2147483647 h 178"/>
                <a:gd name="T30" fmla="*/ 0 w 119"/>
                <a:gd name="T31" fmla="*/ 2147483647 h 1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9" h="178">
                  <a:moveTo>
                    <a:pt x="0" y="56"/>
                  </a:moveTo>
                  <a:lnTo>
                    <a:pt x="25" y="32"/>
                  </a:lnTo>
                  <a:lnTo>
                    <a:pt x="25" y="0"/>
                  </a:lnTo>
                  <a:lnTo>
                    <a:pt x="62" y="11"/>
                  </a:lnTo>
                  <a:lnTo>
                    <a:pt x="69" y="32"/>
                  </a:lnTo>
                  <a:lnTo>
                    <a:pt x="93" y="11"/>
                  </a:lnTo>
                  <a:lnTo>
                    <a:pt x="112" y="77"/>
                  </a:lnTo>
                  <a:lnTo>
                    <a:pt x="119" y="144"/>
                  </a:lnTo>
                  <a:lnTo>
                    <a:pt x="106" y="134"/>
                  </a:lnTo>
                  <a:lnTo>
                    <a:pt x="106" y="165"/>
                  </a:lnTo>
                  <a:lnTo>
                    <a:pt x="88" y="178"/>
                  </a:lnTo>
                  <a:lnTo>
                    <a:pt x="88" y="144"/>
                  </a:lnTo>
                  <a:lnTo>
                    <a:pt x="74" y="144"/>
                  </a:lnTo>
                  <a:lnTo>
                    <a:pt x="62" y="90"/>
                  </a:lnTo>
                  <a:lnTo>
                    <a:pt x="32" y="121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80" name="Freeform 936"/>
            <p:cNvSpPr>
              <a:spLocks/>
            </p:cNvSpPr>
            <p:nvPr>
              <p:custDataLst>
                <p:tags r:id="rId774"/>
              </p:custDataLst>
            </p:nvPr>
          </p:nvSpPr>
          <p:spPr bwMode="auto">
            <a:xfrm>
              <a:off x="4062661" y="4173538"/>
              <a:ext cx="174625" cy="142875"/>
            </a:xfrm>
            <a:custGeom>
              <a:avLst/>
              <a:gdLst>
                <a:gd name="T0" fmla="*/ 0 w 119"/>
                <a:gd name="T1" fmla="*/ 2147483647 h 178"/>
                <a:gd name="T2" fmla="*/ 2147483647 w 119"/>
                <a:gd name="T3" fmla="*/ 2147483647 h 178"/>
                <a:gd name="T4" fmla="*/ 2147483647 w 119"/>
                <a:gd name="T5" fmla="*/ 0 h 178"/>
                <a:gd name="T6" fmla="*/ 2147483647 w 119"/>
                <a:gd name="T7" fmla="*/ 2147483647 h 178"/>
                <a:gd name="T8" fmla="*/ 2147483647 w 119"/>
                <a:gd name="T9" fmla="*/ 2147483647 h 178"/>
                <a:gd name="T10" fmla="*/ 2147483647 w 119"/>
                <a:gd name="T11" fmla="*/ 2147483647 h 178"/>
                <a:gd name="T12" fmla="*/ 2147483647 w 119"/>
                <a:gd name="T13" fmla="*/ 2147483647 h 178"/>
                <a:gd name="T14" fmla="*/ 2147483647 w 119"/>
                <a:gd name="T15" fmla="*/ 2147483647 h 178"/>
                <a:gd name="T16" fmla="*/ 2147483647 w 119"/>
                <a:gd name="T17" fmla="*/ 2147483647 h 178"/>
                <a:gd name="T18" fmla="*/ 2147483647 w 119"/>
                <a:gd name="T19" fmla="*/ 2147483647 h 178"/>
                <a:gd name="T20" fmla="*/ 2147483647 w 119"/>
                <a:gd name="T21" fmla="*/ 2147483647 h 178"/>
                <a:gd name="T22" fmla="*/ 2147483647 w 119"/>
                <a:gd name="T23" fmla="*/ 2147483647 h 178"/>
                <a:gd name="T24" fmla="*/ 2147483647 w 119"/>
                <a:gd name="T25" fmla="*/ 2147483647 h 178"/>
                <a:gd name="T26" fmla="*/ 2147483647 w 119"/>
                <a:gd name="T27" fmla="*/ 2147483647 h 178"/>
                <a:gd name="T28" fmla="*/ 2147483647 w 119"/>
                <a:gd name="T29" fmla="*/ 2147483647 h 178"/>
                <a:gd name="T30" fmla="*/ 0 w 119"/>
                <a:gd name="T31" fmla="*/ 2147483647 h 1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9" h="178">
                  <a:moveTo>
                    <a:pt x="0" y="56"/>
                  </a:moveTo>
                  <a:lnTo>
                    <a:pt x="25" y="32"/>
                  </a:lnTo>
                  <a:lnTo>
                    <a:pt x="25" y="0"/>
                  </a:lnTo>
                  <a:lnTo>
                    <a:pt x="62" y="11"/>
                  </a:lnTo>
                  <a:lnTo>
                    <a:pt x="69" y="32"/>
                  </a:lnTo>
                  <a:lnTo>
                    <a:pt x="93" y="11"/>
                  </a:lnTo>
                  <a:lnTo>
                    <a:pt x="112" y="77"/>
                  </a:lnTo>
                  <a:lnTo>
                    <a:pt x="119" y="144"/>
                  </a:lnTo>
                  <a:lnTo>
                    <a:pt x="106" y="134"/>
                  </a:lnTo>
                  <a:lnTo>
                    <a:pt x="106" y="165"/>
                  </a:lnTo>
                  <a:lnTo>
                    <a:pt x="88" y="178"/>
                  </a:lnTo>
                  <a:lnTo>
                    <a:pt x="88" y="144"/>
                  </a:lnTo>
                  <a:lnTo>
                    <a:pt x="74" y="144"/>
                  </a:lnTo>
                  <a:lnTo>
                    <a:pt x="62" y="90"/>
                  </a:lnTo>
                  <a:lnTo>
                    <a:pt x="32" y="121"/>
                  </a:lnTo>
                  <a:lnTo>
                    <a:pt x="0" y="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81" name="Freeform 937"/>
            <p:cNvSpPr>
              <a:spLocks/>
            </p:cNvSpPr>
            <p:nvPr>
              <p:custDataLst>
                <p:tags r:id="rId775"/>
              </p:custDataLst>
            </p:nvPr>
          </p:nvSpPr>
          <p:spPr bwMode="auto">
            <a:xfrm>
              <a:off x="5427911" y="3743325"/>
              <a:ext cx="36512" cy="23813"/>
            </a:xfrm>
            <a:custGeom>
              <a:avLst/>
              <a:gdLst>
                <a:gd name="T0" fmla="*/ 0 w 25"/>
                <a:gd name="T1" fmla="*/ 0 h 31"/>
                <a:gd name="T2" fmla="*/ 2147483647 w 25"/>
                <a:gd name="T3" fmla="*/ 2147483647 h 31"/>
                <a:gd name="T4" fmla="*/ 2147483647 w 25"/>
                <a:gd name="T5" fmla="*/ 2147483647 h 31"/>
                <a:gd name="T6" fmla="*/ 0 w 25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" h="31">
                  <a:moveTo>
                    <a:pt x="0" y="0"/>
                  </a:moveTo>
                  <a:lnTo>
                    <a:pt x="13" y="31"/>
                  </a:lnTo>
                  <a:lnTo>
                    <a:pt x="25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82" name="Freeform 938"/>
            <p:cNvSpPr>
              <a:spLocks/>
            </p:cNvSpPr>
            <p:nvPr>
              <p:custDataLst>
                <p:tags r:id="rId776"/>
              </p:custDataLst>
            </p:nvPr>
          </p:nvSpPr>
          <p:spPr bwMode="auto">
            <a:xfrm>
              <a:off x="5427911" y="3743325"/>
              <a:ext cx="36512" cy="23813"/>
            </a:xfrm>
            <a:custGeom>
              <a:avLst/>
              <a:gdLst>
                <a:gd name="T0" fmla="*/ 0 w 25"/>
                <a:gd name="T1" fmla="*/ 0 h 31"/>
                <a:gd name="T2" fmla="*/ 2147483647 w 25"/>
                <a:gd name="T3" fmla="*/ 2147483647 h 31"/>
                <a:gd name="T4" fmla="*/ 2147483647 w 25"/>
                <a:gd name="T5" fmla="*/ 2147483647 h 31"/>
                <a:gd name="T6" fmla="*/ 0 w 25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" h="31">
                  <a:moveTo>
                    <a:pt x="0" y="0"/>
                  </a:moveTo>
                  <a:lnTo>
                    <a:pt x="13" y="31"/>
                  </a:lnTo>
                  <a:lnTo>
                    <a:pt x="25" y="1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83" name="Freeform 939"/>
            <p:cNvSpPr>
              <a:spLocks/>
            </p:cNvSpPr>
            <p:nvPr>
              <p:custDataLst>
                <p:tags r:id="rId777"/>
              </p:custDataLst>
            </p:nvPr>
          </p:nvSpPr>
          <p:spPr bwMode="auto">
            <a:xfrm>
              <a:off x="5427911" y="3743325"/>
              <a:ext cx="36512" cy="23813"/>
            </a:xfrm>
            <a:custGeom>
              <a:avLst/>
              <a:gdLst>
                <a:gd name="T0" fmla="*/ 0 w 25"/>
                <a:gd name="T1" fmla="*/ 0 h 31"/>
                <a:gd name="T2" fmla="*/ 2147483647 w 25"/>
                <a:gd name="T3" fmla="*/ 2147483647 h 31"/>
                <a:gd name="T4" fmla="*/ 2147483647 w 25"/>
                <a:gd name="T5" fmla="*/ 2147483647 h 31"/>
                <a:gd name="T6" fmla="*/ 0 w 25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" h="31">
                  <a:moveTo>
                    <a:pt x="0" y="0"/>
                  </a:moveTo>
                  <a:lnTo>
                    <a:pt x="13" y="31"/>
                  </a:lnTo>
                  <a:lnTo>
                    <a:pt x="25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84" name="Freeform 940"/>
            <p:cNvSpPr>
              <a:spLocks/>
            </p:cNvSpPr>
            <p:nvPr>
              <p:custDataLst>
                <p:tags r:id="rId778"/>
              </p:custDataLst>
            </p:nvPr>
          </p:nvSpPr>
          <p:spPr bwMode="auto">
            <a:xfrm>
              <a:off x="5427911" y="3743325"/>
              <a:ext cx="36512" cy="23813"/>
            </a:xfrm>
            <a:custGeom>
              <a:avLst/>
              <a:gdLst>
                <a:gd name="T0" fmla="*/ 0 w 25"/>
                <a:gd name="T1" fmla="*/ 0 h 31"/>
                <a:gd name="T2" fmla="*/ 2147483647 w 25"/>
                <a:gd name="T3" fmla="*/ 2147483647 h 31"/>
                <a:gd name="T4" fmla="*/ 2147483647 w 25"/>
                <a:gd name="T5" fmla="*/ 2147483647 h 31"/>
                <a:gd name="T6" fmla="*/ 0 w 25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" h="31">
                  <a:moveTo>
                    <a:pt x="0" y="0"/>
                  </a:moveTo>
                  <a:lnTo>
                    <a:pt x="13" y="31"/>
                  </a:lnTo>
                  <a:lnTo>
                    <a:pt x="25" y="10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85" name="Freeform 941"/>
            <p:cNvSpPr>
              <a:spLocks/>
            </p:cNvSpPr>
            <p:nvPr>
              <p:custDataLst>
                <p:tags r:id="rId779"/>
              </p:custDataLst>
            </p:nvPr>
          </p:nvSpPr>
          <p:spPr bwMode="auto">
            <a:xfrm>
              <a:off x="5180261" y="3627438"/>
              <a:ext cx="36512" cy="103187"/>
            </a:xfrm>
            <a:custGeom>
              <a:avLst/>
              <a:gdLst>
                <a:gd name="T0" fmla="*/ 0 w 25"/>
                <a:gd name="T1" fmla="*/ 2147483647 h 131"/>
                <a:gd name="T2" fmla="*/ 2147483647 w 25"/>
                <a:gd name="T3" fmla="*/ 2147483647 h 131"/>
                <a:gd name="T4" fmla="*/ 2147483647 w 25"/>
                <a:gd name="T5" fmla="*/ 2147483647 h 131"/>
                <a:gd name="T6" fmla="*/ 2147483647 w 25"/>
                <a:gd name="T7" fmla="*/ 2147483647 h 131"/>
                <a:gd name="T8" fmla="*/ 2147483647 w 25"/>
                <a:gd name="T9" fmla="*/ 2147483647 h 131"/>
                <a:gd name="T10" fmla="*/ 2147483647 w 25"/>
                <a:gd name="T11" fmla="*/ 2147483647 h 131"/>
                <a:gd name="T12" fmla="*/ 2147483647 w 25"/>
                <a:gd name="T13" fmla="*/ 2147483647 h 131"/>
                <a:gd name="T14" fmla="*/ 2147483647 w 25"/>
                <a:gd name="T15" fmla="*/ 0 h 131"/>
                <a:gd name="T16" fmla="*/ 2147483647 w 25"/>
                <a:gd name="T17" fmla="*/ 2147483647 h 131"/>
                <a:gd name="T18" fmla="*/ 0 w 25"/>
                <a:gd name="T19" fmla="*/ 2147483647 h 1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5" h="131">
                  <a:moveTo>
                    <a:pt x="0" y="66"/>
                  </a:moveTo>
                  <a:lnTo>
                    <a:pt x="13" y="131"/>
                  </a:lnTo>
                  <a:lnTo>
                    <a:pt x="19" y="131"/>
                  </a:lnTo>
                  <a:lnTo>
                    <a:pt x="25" y="66"/>
                  </a:lnTo>
                  <a:lnTo>
                    <a:pt x="13" y="66"/>
                  </a:lnTo>
                  <a:lnTo>
                    <a:pt x="19" y="33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19" y="12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86" name="Freeform 942"/>
            <p:cNvSpPr>
              <a:spLocks/>
            </p:cNvSpPr>
            <p:nvPr>
              <p:custDataLst>
                <p:tags r:id="rId780"/>
              </p:custDataLst>
            </p:nvPr>
          </p:nvSpPr>
          <p:spPr bwMode="auto">
            <a:xfrm>
              <a:off x="5180261" y="3627438"/>
              <a:ext cx="36512" cy="103187"/>
            </a:xfrm>
            <a:custGeom>
              <a:avLst/>
              <a:gdLst>
                <a:gd name="T0" fmla="*/ 0 w 25"/>
                <a:gd name="T1" fmla="*/ 2147483647 h 131"/>
                <a:gd name="T2" fmla="*/ 2147483647 w 25"/>
                <a:gd name="T3" fmla="*/ 2147483647 h 131"/>
                <a:gd name="T4" fmla="*/ 2147483647 w 25"/>
                <a:gd name="T5" fmla="*/ 2147483647 h 131"/>
                <a:gd name="T6" fmla="*/ 2147483647 w 25"/>
                <a:gd name="T7" fmla="*/ 2147483647 h 131"/>
                <a:gd name="T8" fmla="*/ 2147483647 w 25"/>
                <a:gd name="T9" fmla="*/ 2147483647 h 131"/>
                <a:gd name="T10" fmla="*/ 2147483647 w 25"/>
                <a:gd name="T11" fmla="*/ 2147483647 h 131"/>
                <a:gd name="T12" fmla="*/ 2147483647 w 25"/>
                <a:gd name="T13" fmla="*/ 2147483647 h 131"/>
                <a:gd name="T14" fmla="*/ 2147483647 w 25"/>
                <a:gd name="T15" fmla="*/ 0 h 131"/>
                <a:gd name="T16" fmla="*/ 2147483647 w 25"/>
                <a:gd name="T17" fmla="*/ 2147483647 h 131"/>
                <a:gd name="T18" fmla="*/ 0 w 25"/>
                <a:gd name="T19" fmla="*/ 2147483647 h 1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5" h="131">
                  <a:moveTo>
                    <a:pt x="0" y="66"/>
                  </a:moveTo>
                  <a:lnTo>
                    <a:pt x="13" y="131"/>
                  </a:lnTo>
                  <a:lnTo>
                    <a:pt x="19" y="131"/>
                  </a:lnTo>
                  <a:lnTo>
                    <a:pt x="25" y="66"/>
                  </a:lnTo>
                  <a:lnTo>
                    <a:pt x="13" y="66"/>
                  </a:lnTo>
                  <a:lnTo>
                    <a:pt x="19" y="33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19" y="12"/>
                  </a:lnTo>
                  <a:lnTo>
                    <a:pt x="0" y="6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87" name="Freeform 943"/>
            <p:cNvSpPr>
              <a:spLocks/>
            </p:cNvSpPr>
            <p:nvPr>
              <p:custDataLst>
                <p:tags r:id="rId781"/>
              </p:custDataLst>
            </p:nvPr>
          </p:nvSpPr>
          <p:spPr bwMode="auto">
            <a:xfrm>
              <a:off x="5180261" y="3627438"/>
              <a:ext cx="36512" cy="103187"/>
            </a:xfrm>
            <a:custGeom>
              <a:avLst/>
              <a:gdLst>
                <a:gd name="T0" fmla="*/ 0 w 25"/>
                <a:gd name="T1" fmla="*/ 2147483647 h 131"/>
                <a:gd name="T2" fmla="*/ 2147483647 w 25"/>
                <a:gd name="T3" fmla="*/ 2147483647 h 131"/>
                <a:gd name="T4" fmla="*/ 2147483647 w 25"/>
                <a:gd name="T5" fmla="*/ 2147483647 h 131"/>
                <a:gd name="T6" fmla="*/ 2147483647 w 25"/>
                <a:gd name="T7" fmla="*/ 2147483647 h 131"/>
                <a:gd name="T8" fmla="*/ 2147483647 w 25"/>
                <a:gd name="T9" fmla="*/ 2147483647 h 131"/>
                <a:gd name="T10" fmla="*/ 2147483647 w 25"/>
                <a:gd name="T11" fmla="*/ 2147483647 h 131"/>
                <a:gd name="T12" fmla="*/ 2147483647 w 25"/>
                <a:gd name="T13" fmla="*/ 2147483647 h 131"/>
                <a:gd name="T14" fmla="*/ 2147483647 w 25"/>
                <a:gd name="T15" fmla="*/ 0 h 131"/>
                <a:gd name="T16" fmla="*/ 2147483647 w 25"/>
                <a:gd name="T17" fmla="*/ 2147483647 h 131"/>
                <a:gd name="T18" fmla="*/ 0 w 25"/>
                <a:gd name="T19" fmla="*/ 2147483647 h 1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5" h="131">
                  <a:moveTo>
                    <a:pt x="0" y="66"/>
                  </a:moveTo>
                  <a:lnTo>
                    <a:pt x="13" y="131"/>
                  </a:lnTo>
                  <a:lnTo>
                    <a:pt x="19" y="131"/>
                  </a:lnTo>
                  <a:lnTo>
                    <a:pt x="25" y="66"/>
                  </a:lnTo>
                  <a:lnTo>
                    <a:pt x="13" y="66"/>
                  </a:lnTo>
                  <a:lnTo>
                    <a:pt x="19" y="33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19" y="12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88" name="Freeform 944"/>
            <p:cNvSpPr>
              <a:spLocks/>
            </p:cNvSpPr>
            <p:nvPr>
              <p:custDataLst>
                <p:tags r:id="rId782"/>
              </p:custDataLst>
            </p:nvPr>
          </p:nvSpPr>
          <p:spPr bwMode="auto">
            <a:xfrm>
              <a:off x="5180261" y="3627438"/>
              <a:ext cx="36512" cy="103187"/>
            </a:xfrm>
            <a:custGeom>
              <a:avLst/>
              <a:gdLst>
                <a:gd name="T0" fmla="*/ 0 w 25"/>
                <a:gd name="T1" fmla="*/ 2147483647 h 131"/>
                <a:gd name="T2" fmla="*/ 2147483647 w 25"/>
                <a:gd name="T3" fmla="*/ 2147483647 h 131"/>
                <a:gd name="T4" fmla="*/ 2147483647 w 25"/>
                <a:gd name="T5" fmla="*/ 2147483647 h 131"/>
                <a:gd name="T6" fmla="*/ 2147483647 w 25"/>
                <a:gd name="T7" fmla="*/ 2147483647 h 131"/>
                <a:gd name="T8" fmla="*/ 2147483647 w 25"/>
                <a:gd name="T9" fmla="*/ 2147483647 h 131"/>
                <a:gd name="T10" fmla="*/ 2147483647 w 25"/>
                <a:gd name="T11" fmla="*/ 2147483647 h 131"/>
                <a:gd name="T12" fmla="*/ 2147483647 w 25"/>
                <a:gd name="T13" fmla="*/ 2147483647 h 131"/>
                <a:gd name="T14" fmla="*/ 2147483647 w 25"/>
                <a:gd name="T15" fmla="*/ 0 h 131"/>
                <a:gd name="T16" fmla="*/ 2147483647 w 25"/>
                <a:gd name="T17" fmla="*/ 2147483647 h 131"/>
                <a:gd name="T18" fmla="*/ 0 w 25"/>
                <a:gd name="T19" fmla="*/ 2147483647 h 1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5" h="131">
                  <a:moveTo>
                    <a:pt x="0" y="66"/>
                  </a:moveTo>
                  <a:lnTo>
                    <a:pt x="13" y="131"/>
                  </a:lnTo>
                  <a:lnTo>
                    <a:pt x="19" y="131"/>
                  </a:lnTo>
                  <a:lnTo>
                    <a:pt x="25" y="66"/>
                  </a:lnTo>
                  <a:lnTo>
                    <a:pt x="13" y="66"/>
                  </a:lnTo>
                  <a:lnTo>
                    <a:pt x="19" y="33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19" y="12"/>
                  </a:lnTo>
                  <a:lnTo>
                    <a:pt x="0" y="6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89" name="Freeform 945"/>
            <p:cNvSpPr>
              <a:spLocks/>
            </p:cNvSpPr>
            <p:nvPr>
              <p:custDataLst>
                <p:tags r:id="rId783"/>
              </p:custDataLst>
            </p:nvPr>
          </p:nvSpPr>
          <p:spPr bwMode="auto">
            <a:xfrm>
              <a:off x="4219823" y="4225925"/>
              <a:ext cx="127000" cy="161925"/>
            </a:xfrm>
            <a:custGeom>
              <a:avLst/>
              <a:gdLst>
                <a:gd name="T0" fmla="*/ 0 w 87"/>
                <a:gd name="T1" fmla="*/ 2147483647 h 204"/>
                <a:gd name="T2" fmla="*/ 0 w 87"/>
                <a:gd name="T3" fmla="*/ 2147483647 h 204"/>
                <a:gd name="T4" fmla="*/ 0 w 87"/>
                <a:gd name="T5" fmla="*/ 2147483647 h 204"/>
                <a:gd name="T6" fmla="*/ 2147483647 w 87"/>
                <a:gd name="T7" fmla="*/ 2147483647 h 204"/>
                <a:gd name="T8" fmla="*/ 2147483647 w 87"/>
                <a:gd name="T9" fmla="*/ 2147483647 h 204"/>
                <a:gd name="T10" fmla="*/ 2147483647 w 87"/>
                <a:gd name="T11" fmla="*/ 0 h 204"/>
                <a:gd name="T12" fmla="*/ 2147483647 w 87"/>
                <a:gd name="T13" fmla="*/ 2147483647 h 204"/>
                <a:gd name="T14" fmla="*/ 2147483647 w 87"/>
                <a:gd name="T15" fmla="*/ 2147483647 h 204"/>
                <a:gd name="T16" fmla="*/ 2147483647 w 87"/>
                <a:gd name="T17" fmla="*/ 2147483647 h 204"/>
                <a:gd name="T18" fmla="*/ 2147483647 w 87"/>
                <a:gd name="T19" fmla="*/ 2147483647 h 204"/>
                <a:gd name="T20" fmla="*/ 2147483647 w 87"/>
                <a:gd name="T21" fmla="*/ 2147483647 h 204"/>
                <a:gd name="T22" fmla="*/ 2147483647 w 87"/>
                <a:gd name="T23" fmla="*/ 2147483647 h 204"/>
                <a:gd name="T24" fmla="*/ 0 w 87"/>
                <a:gd name="T25" fmla="*/ 2147483647 h 20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7" h="204">
                  <a:moveTo>
                    <a:pt x="0" y="135"/>
                  </a:moveTo>
                  <a:lnTo>
                    <a:pt x="0" y="100"/>
                  </a:lnTo>
                  <a:lnTo>
                    <a:pt x="0" y="69"/>
                  </a:lnTo>
                  <a:lnTo>
                    <a:pt x="12" y="79"/>
                  </a:lnTo>
                  <a:lnTo>
                    <a:pt x="6" y="12"/>
                  </a:lnTo>
                  <a:lnTo>
                    <a:pt x="31" y="0"/>
                  </a:lnTo>
                  <a:lnTo>
                    <a:pt x="50" y="12"/>
                  </a:lnTo>
                  <a:lnTo>
                    <a:pt x="56" y="35"/>
                  </a:lnTo>
                  <a:lnTo>
                    <a:pt x="87" y="35"/>
                  </a:lnTo>
                  <a:lnTo>
                    <a:pt x="81" y="181"/>
                  </a:lnTo>
                  <a:lnTo>
                    <a:pt x="12" y="204"/>
                  </a:lnTo>
                  <a:lnTo>
                    <a:pt x="12" y="158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90" name="Freeform 946"/>
            <p:cNvSpPr>
              <a:spLocks/>
            </p:cNvSpPr>
            <p:nvPr>
              <p:custDataLst>
                <p:tags r:id="rId784"/>
              </p:custDataLst>
            </p:nvPr>
          </p:nvSpPr>
          <p:spPr bwMode="auto">
            <a:xfrm>
              <a:off x="4219823" y="4225925"/>
              <a:ext cx="127000" cy="161925"/>
            </a:xfrm>
            <a:custGeom>
              <a:avLst/>
              <a:gdLst>
                <a:gd name="T0" fmla="*/ 0 w 87"/>
                <a:gd name="T1" fmla="*/ 2147483647 h 204"/>
                <a:gd name="T2" fmla="*/ 0 w 87"/>
                <a:gd name="T3" fmla="*/ 2147483647 h 204"/>
                <a:gd name="T4" fmla="*/ 0 w 87"/>
                <a:gd name="T5" fmla="*/ 2147483647 h 204"/>
                <a:gd name="T6" fmla="*/ 2147483647 w 87"/>
                <a:gd name="T7" fmla="*/ 2147483647 h 204"/>
                <a:gd name="T8" fmla="*/ 2147483647 w 87"/>
                <a:gd name="T9" fmla="*/ 2147483647 h 204"/>
                <a:gd name="T10" fmla="*/ 2147483647 w 87"/>
                <a:gd name="T11" fmla="*/ 0 h 204"/>
                <a:gd name="T12" fmla="*/ 2147483647 w 87"/>
                <a:gd name="T13" fmla="*/ 2147483647 h 204"/>
                <a:gd name="T14" fmla="*/ 2147483647 w 87"/>
                <a:gd name="T15" fmla="*/ 2147483647 h 204"/>
                <a:gd name="T16" fmla="*/ 2147483647 w 87"/>
                <a:gd name="T17" fmla="*/ 2147483647 h 204"/>
                <a:gd name="T18" fmla="*/ 2147483647 w 87"/>
                <a:gd name="T19" fmla="*/ 2147483647 h 204"/>
                <a:gd name="T20" fmla="*/ 2147483647 w 87"/>
                <a:gd name="T21" fmla="*/ 2147483647 h 204"/>
                <a:gd name="T22" fmla="*/ 2147483647 w 87"/>
                <a:gd name="T23" fmla="*/ 2147483647 h 204"/>
                <a:gd name="T24" fmla="*/ 0 w 87"/>
                <a:gd name="T25" fmla="*/ 2147483647 h 20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7" h="204">
                  <a:moveTo>
                    <a:pt x="0" y="135"/>
                  </a:moveTo>
                  <a:lnTo>
                    <a:pt x="0" y="100"/>
                  </a:lnTo>
                  <a:lnTo>
                    <a:pt x="0" y="69"/>
                  </a:lnTo>
                  <a:lnTo>
                    <a:pt x="12" y="79"/>
                  </a:lnTo>
                  <a:lnTo>
                    <a:pt x="6" y="12"/>
                  </a:lnTo>
                  <a:lnTo>
                    <a:pt x="31" y="0"/>
                  </a:lnTo>
                  <a:lnTo>
                    <a:pt x="50" y="12"/>
                  </a:lnTo>
                  <a:lnTo>
                    <a:pt x="56" y="35"/>
                  </a:lnTo>
                  <a:lnTo>
                    <a:pt x="87" y="35"/>
                  </a:lnTo>
                  <a:lnTo>
                    <a:pt x="81" y="181"/>
                  </a:lnTo>
                  <a:lnTo>
                    <a:pt x="12" y="204"/>
                  </a:lnTo>
                  <a:lnTo>
                    <a:pt x="12" y="158"/>
                  </a:lnTo>
                  <a:lnTo>
                    <a:pt x="0" y="1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91" name="Freeform 947"/>
            <p:cNvSpPr>
              <a:spLocks/>
            </p:cNvSpPr>
            <p:nvPr>
              <p:custDataLst>
                <p:tags r:id="rId785"/>
              </p:custDataLst>
            </p:nvPr>
          </p:nvSpPr>
          <p:spPr bwMode="auto">
            <a:xfrm>
              <a:off x="4219823" y="4225925"/>
              <a:ext cx="127000" cy="161925"/>
            </a:xfrm>
            <a:custGeom>
              <a:avLst/>
              <a:gdLst>
                <a:gd name="T0" fmla="*/ 0 w 87"/>
                <a:gd name="T1" fmla="*/ 2147483647 h 204"/>
                <a:gd name="T2" fmla="*/ 0 w 87"/>
                <a:gd name="T3" fmla="*/ 2147483647 h 204"/>
                <a:gd name="T4" fmla="*/ 0 w 87"/>
                <a:gd name="T5" fmla="*/ 2147483647 h 204"/>
                <a:gd name="T6" fmla="*/ 2147483647 w 87"/>
                <a:gd name="T7" fmla="*/ 2147483647 h 204"/>
                <a:gd name="T8" fmla="*/ 2147483647 w 87"/>
                <a:gd name="T9" fmla="*/ 2147483647 h 204"/>
                <a:gd name="T10" fmla="*/ 2147483647 w 87"/>
                <a:gd name="T11" fmla="*/ 0 h 204"/>
                <a:gd name="T12" fmla="*/ 2147483647 w 87"/>
                <a:gd name="T13" fmla="*/ 2147483647 h 204"/>
                <a:gd name="T14" fmla="*/ 2147483647 w 87"/>
                <a:gd name="T15" fmla="*/ 2147483647 h 204"/>
                <a:gd name="T16" fmla="*/ 2147483647 w 87"/>
                <a:gd name="T17" fmla="*/ 2147483647 h 204"/>
                <a:gd name="T18" fmla="*/ 2147483647 w 87"/>
                <a:gd name="T19" fmla="*/ 2147483647 h 204"/>
                <a:gd name="T20" fmla="*/ 2147483647 w 87"/>
                <a:gd name="T21" fmla="*/ 2147483647 h 204"/>
                <a:gd name="T22" fmla="*/ 2147483647 w 87"/>
                <a:gd name="T23" fmla="*/ 2147483647 h 204"/>
                <a:gd name="T24" fmla="*/ 0 w 87"/>
                <a:gd name="T25" fmla="*/ 2147483647 h 20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7" h="204">
                  <a:moveTo>
                    <a:pt x="0" y="135"/>
                  </a:moveTo>
                  <a:lnTo>
                    <a:pt x="0" y="100"/>
                  </a:lnTo>
                  <a:lnTo>
                    <a:pt x="0" y="69"/>
                  </a:lnTo>
                  <a:lnTo>
                    <a:pt x="12" y="79"/>
                  </a:lnTo>
                  <a:lnTo>
                    <a:pt x="6" y="12"/>
                  </a:lnTo>
                  <a:lnTo>
                    <a:pt x="31" y="0"/>
                  </a:lnTo>
                  <a:lnTo>
                    <a:pt x="50" y="12"/>
                  </a:lnTo>
                  <a:lnTo>
                    <a:pt x="56" y="35"/>
                  </a:lnTo>
                  <a:lnTo>
                    <a:pt x="87" y="35"/>
                  </a:lnTo>
                  <a:lnTo>
                    <a:pt x="81" y="181"/>
                  </a:lnTo>
                  <a:lnTo>
                    <a:pt x="12" y="204"/>
                  </a:lnTo>
                  <a:lnTo>
                    <a:pt x="12" y="158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92" name="Freeform 948"/>
            <p:cNvSpPr>
              <a:spLocks/>
            </p:cNvSpPr>
            <p:nvPr>
              <p:custDataLst>
                <p:tags r:id="rId786"/>
              </p:custDataLst>
            </p:nvPr>
          </p:nvSpPr>
          <p:spPr bwMode="auto">
            <a:xfrm>
              <a:off x="4219823" y="4225925"/>
              <a:ext cx="127000" cy="161925"/>
            </a:xfrm>
            <a:custGeom>
              <a:avLst/>
              <a:gdLst>
                <a:gd name="T0" fmla="*/ 0 w 87"/>
                <a:gd name="T1" fmla="*/ 2147483647 h 204"/>
                <a:gd name="T2" fmla="*/ 0 w 87"/>
                <a:gd name="T3" fmla="*/ 2147483647 h 204"/>
                <a:gd name="T4" fmla="*/ 0 w 87"/>
                <a:gd name="T5" fmla="*/ 2147483647 h 204"/>
                <a:gd name="T6" fmla="*/ 2147483647 w 87"/>
                <a:gd name="T7" fmla="*/ 2147483647 h 204"/>
                <a:gd name="T8" fmla="*/ 2147483647 w 87"/>
                <a:gd name="T9" fmla="*/ 2147483647 h 204"/>
                <a:gd name="T10" fmla="*/ 2147483647 w 87"/>
                <a:gd name="T11" fmla="*/ 0 h 204"/>
                <a:gd name="T12" fmla="*/ 2147483647 w 87"/>
                <a:gd name="T13" fmla="*/ 2147483647 h 204"/>
                <a:gd name="T14" fmla="*/ 2147483647 w 87"/>
                <a:gd name="T15" fmla="*/ 2147483647 h 204"/>
                <a:gd name="T16" fmla="*/ 2147483647 w 87"/>
                <a:gd name="T17" fmla="*/ 2147483647 h 204"/>
                <a:gd name="T18" fmla="*/ 2147483647 w 87"/>
                <a:gd name="T19" fmla="*/ 2147483647 h 204"/>
                <a:gd name="T20" fmla="*/ 2147483647 w 87"/>
                <a:gd name="T21" fmla="*/ 2147483647 h 204"/>
                <a:gd name="T22" fmla="*/ 2147483647 w 87"/>
                <a:gd name="T23" fmla="*/ 2147483647 h 204"/>
                <a:gd name="T24" fmla="*/ 0 w 87"/>
                <a:gd name="T25" fmla="*/ 2147483647 h 20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7" h="204">
                  <a:moveTo>
                    <a:pt x="0" y="135"/>
                  </a:moveTo>
                  <a:lnTo>
                    <a:pt x="0" y="100"/>
                  </a:lnTo>
                  <a:lnTo>
                    <a:pt x="0" y="69"/>
                  </a:lnTo>
                  <a:lnTo>
                    <a:pt x="12" y="79"/>
                  </a:lnTo>
                  <a:lnTo>
                    <a:pt x="6" y="12"/>
                  </a:lnTo>
                  <a:lnTo>
                    <a:pt x="31" y="0"/>
                  </a:lnTo>
                  <a:lnTo>
                    <a:pt x="50" y="12"/>
                  </a:lnTo>
                  <a:lnTo>
                    <a:pt x="56" y="35"/>
                  </a:lnTo>
                  <a:lnTo>
                    <a:pt x="87" y="35"/>
                  </a:lnTo>
                  <a:lnTo>
                    <a:pt x="81" y="181"/>
                  </a:lnTo>
                  <a:lnTo>
                    <a:pt x="12" y="204"/>
                  </a:lnTo>
                  <a:lnTo>
                    <a:pt x="12" y="158"/>
                  </a:lnTo>
                  <a:lnTo>
                    <a:pt x="0" y="135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93" name="Freeform 949"/>
            <p:cNvSpPr>
              <a:spLocks/>
            </p:cNvSpPr>
            <p:nvPr>
              <p:custDataLst>
                <p:tags r:id="rId787"/>
              </p:custDataLst>
            </p:nvPr>
          </p:nvSpPr>
          <p:spPr bwMode="auto">
            <a:xfrm>
              <a:off x="5199311" y="3627438"/>
              <a:ext cx="101600" cy="114300"/>
            </a:xfrm>
            <a:custGeom>
              <a:avLst/>
              <a:gdLst>
                <a:gd name="T0" fmla="*/ 0 w 69"/>
                <a:gd name="T1" fmla="*/ 2147483647 h 144"/>
                <a:gd name="T2" fmla="*/ 2147483647 w 69"/>
                <a:gd name="T3" fmla="*/ 2147483647 h 144"/>
                <a:gd name="T4" fmla="*/ 2147483647 w 69"/>
                <a:gd name="T5" fmla="*/ 2147483647 h 144"/>
                <a:gd name="T6" fmla="*/ 2147483647 w 69"/>
                <a:gd name="T7" fmla="*/ 2147483647 h 144"/>
                <a:gd name="T8" fmla="*/ 2147483647 w 69"/>
                <a:gd name="T9" fmla="*/ 0 h 144"/>
                <a:gd name="T10" fmla="*/ 2147483647 w 69"/>
                <a:gd name="T11" fmla="*/ 2147483647 h 144"/>
                <a:gd name="T12" fmla="*/ 2147483647 w 69"/>
                <a:gd name="T13" fmla="*/ 2147483647 h 144"/>
                <a:gd name="T14" fmla="*/ 2147483647 w 69"/>
                <a:gd name="T15" fmla="*/ 2147483647 h 144"/>
                <a:gd name="T16" fmla="*/ 2147483647 w 69"/>
                <a:gd name="T17" fmla="*/ 2147483647 h 144"/>
                <a:gd name="T18" fmla="*/ 2147483647 w 69"/>
                <a:gd name="T19" fmla="*/ 2147483647 h 144"/>
                <a:gd name="T20" fmla="*/ 2147483647 w 69"/>
                <a:gd name="T21" fmla="*/ 2147483647 h 144"/>
                <a:gd name="T22" fmla="*/ 2147483647 w 69"/>
                <a:gd name="T23" fmla="*/ 2147483647 h 144"/>
                <a:gd name="T24" fmla="*/ 0 w 69"/>
                <a:gd name="T25" fmla="*/ 2147483647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9" h="144">
                  <a:moveTo>
                    <a:pt x="0" y="66"/>
                  </a:moveTo>
                  <a:lnTo>
                    <a:pt x="6" y="33"/>
                  </a:lnTo>
                  <a:lnTo>
                    <a:pt x="12" y="21"/>
                  </a:lnTo>
                  <a:lnTo>
                    <a:pt x="25" y="33"/>
                  </a:lnTo>
                  <a:lnTo>
                    <a:pt x="62" y="0"/>
                  </a:lnTo>
                  <a:lnTo>
                    <a:pt x="69" y="33"/>
                  </a:lnTo>
                  <a:lnTo>
                    <a:pt x="37" y="66"/>
                  </a:lnTo>
                  <a:lnTo>
                    <a:pt x="49" y="100"/>
                  </a:lnTo>
                  <a:lnTo>
                    <a:pt x="43" y="110"/>
                  </a:lnTo>
                  <a:lnTo>
                    <a:pt x="25" y="144"/>
                  </a:lnTo>
                  <a:lnTo>
                    <a:pt x="6" y="131"/>
                  </a:lnTo>
                  <a:lnTo>
                    <a:pt x="12" y="66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94" name="Freeform 950"/>
            <p:cNvSpPr>
              <a:spLocks/>
            </p:cNvSpPr>
            <p:nvPr>
              <p:custDataLst>
                <p:tags r:id="rId788"/>
              </p:custDataLst>
            </p:nvPr>
          </p:nvSpPr>
          <p:spPr bwMode="auto">
            <a:xfrm>
              <a:off x="5199311" y="3627438"/>
              <a:ext cx="101600" cy="114300"/>
            </a:xfrm>
            <a:custGeom>
              <a:avLst/>
              <a:gdLst>
                <a:gd name="T0" fmla="*/ 0 w 69"/>
                <a:gd name="T1" fmla="*/ 2147483647 h 144"/>
                <a:gd name="T2" fmla="*/ 2147483647 w 69"/>
                <a:gd name="T3" fmla="*/ 2147483647 h 144"/>
                <a:gd name="T4" fmla="*/ 2147483647 w 69"/>
                <a:gd name="T5" fmla="*/ 2147483647 h 144"/>
                <a:gd name="T6" fmla="*/ 2147483647 w 69"/>
                <a:gd name="T7" fmla="*/ 2147483647 h 144"/>
                <a:gd name="T8" fmla="*/ 2147483647 w 69"/>
                <a:gd name="T9" fmla="*/ 0 h 144"/>
                <a:gd name="T10" fmla="*/ 2147483647 w 69"/>
                <a:gd name="T11" fmla="*/ 2147483647 h 144"/>
                <a:gd name="T12" fmla="*/ 2147483647 w 69"/>
                <a:gd name="T13" fmla="*/ 2147483647 h 144"/>
                <a:gd name="T14" fmla="*/ 2147483647 w 69"/>
                <a:gd name="T15" fmla="*/ 2147483647 h 144"/>
                <a:gd name="T16" fmla="*/ 2147483647 w 69"/>
                <a:gd name="T17" fmla="*/ 2147483647 h 144"/>
                <a:gd name="T18" fmla="*/ 2147483647 w 69"/>
                <a:gd name="T19" fmla="*/ 2147483647 h 144"/>
                <a:gd name="T20" fmla="*/ 2147483647 w 69"/>
                <a:gd name="T21" fmla="*/ 2147483647 h 144"/>
                <a:gd name="T22" fmla="*/ 2147483647 w 69"/>
                <a:gd name="T23" fmla="*/ 2147483647 h 144"/>
                <a:gd name="T24" fmla="*/ 0 w 69"/>
                <a:gd name="T25" fmla="*/ 2147483647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9" h="144">
                  <a:moveTo>
                    <a:pt x="0" y="66"/>
                  </a:moveTo>
                  <a:lnTo>
                    <a:pt x="6" y="33"/>
                  </a:lnTo>
                  <a:lnTo>
                    <a:pt x="12" y="21"/>
                  </a:lnTo>
                  <a:lnTo>
                    <a:pt x="25" y="33"/>
                  </a:lnTo>
                  <a:lnTo>
                    <a:pt x="62" y="0"/>
                  </a:lnTo>
                  <a:lnTo>
                    <a:pt x="69" y="33"/>
                  </a:lnTo>
                  <a:lnTo>
                    <a:pt x="37" y="66"/>
                  </a:lnTo>
                  <a:lnTo>
                    <a:pt x="49" y="100"/>
                  </a:lnTo>
                  <a:lnTo>
                    <a:pt x="43" y="110"/>
                  </a:lnTo>
                  <a:lnTo>
                    <a:pt x="25" y="144"/>
                  </a:lnTo>
                  <a:lnTo>
                    <a:pt x="6" y="131"/>
                  </a:lnTo>
                  <a:lnTo>
                    <a:pt x="12" y="66"/>
                  </a:lnTo>
                  <a:lnTo>
                    <a:pt x="0" y="6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95" name="Freeform 951"/>
            <p:cNvSpPr>
              <a:spLocks/>
            </p:cNvSpPr>
            <p:nvPr>
              <p:custDataLst>
                <p:tags r:id="rId789"/>
              </p:custDataLst>
            </p:nvPr>
          </p:nvSpPr>
          <p:spPr bwMode="auto">
            <a:xfrm>
              <a:off x="5199311" y="3627438"/>
              <a:ext cx="101600" cy="114300"/>
            </a:xfrm>
            <a:custGeom>
              <a:avLst/>
              <a:gdLst>
                <a:gd name="T0" fmla="*/ 0 w 69"/>
                <a:gd name="T1" fmla="*/ 2147483647 h 144"/>
                <a:gd name="T2" fmla="*/ 2147483647 w 69"/>
                <a:gd name="T3" fmla="*/ 2147483647 h 144"/>
                <a:gd name="T4" fmla="*/ 2147483647 w 69"/>
                <a:gd name="T5" fmla="*/ 2147483647 h 144"/>
                <a:gd name="T6" fmla="*/ 2147483647 w 69"/>
                <a:gd name="T7" fmla="*/ 2147483647 h 144"/>
                <a:gd name="T8" fmla="*/ 2147483647 w 69"/>
                <a:gd name="T9" fmla="*/ 0 h 144"/>
                <a:gd name="T10" fmla="*/ 2147483647 w 69"/>
                <a:gd name="T11" fmla="*/ 2147483647 h 144"/>
                <a:gd name="T12" fmla="*/ 2147483647 w 69"/>
                <a:gd name="T13" fmla="*/ 2147483647 h 144"/>
                <a:gd name="T14" fmla="*/ 2147483647 w 69"/>
                <a:gd name="T15" fmla="*/ 2147483647 h 144"/>
                <a:gd name="T16" fmla="*/ 2147483647 w 69"/>
                <a:gd name="T17" fmla="*/ 2147483647 h 144"/>
                <a:gd name="T18" fmla="*/ 2147483647 w 69"/>
                <a:gd name="T19" fmla="*/ 2147483647 h 144"/>
                <a:gd name="T20" fmla="*/ 2147483647 w 69"/>
                <a:gd name="T21" fmla="*/ 2147483647 h 144"/>
                <a:gd name="T22" fmla="*/ 2147483647 w 69"/>
                <a:gd name="T23" fmla="*/ 2147483647 h 144"/>
                <a:gd name="T24" fmla="*/ 0 w 69"/>
                <a:gd name="T25" fmla="*/ 2147483647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9" h="144">
                  <a:moveTo>
                    <a:pt x="0" y="66"/>
                  </a:moveTo>
                  <a:lnTo>
                    <a:pt x="6" y="33"/>
                  </a:lnTo>
                  <a:lnTo>
                    <a:pt x="12" y="21"/>
                  </a:lnTo>
                  <a:lnTo>
                    <a:pt x="25" y="33"/>
                  </a:lnTo>
                  <a:lnTo>
                    <a:pt x="62" y="0"/>
                  </a:lnTo>
                  <a:lnTo>
                    <a:pt x="69" y="33"/>
                  </a:lnTo>
                  <a:lnTo>
                    <a:pt x="37" y="66"/>
                  </a:lnTo>
                  <a:lnTo>
                    <a:pt x="49" y="100"/>
                  </a:lnTo>
                  <a:lnTo>
                    <a:pt x="43" y="110"/>
                  </a:lnTo>
                  <a:lnTo>
                    <a:pt x="25" y="144"/>
                  </a:lnTo>
                  <a:lnTo>
                    <a:pt x="6" y="131"/>
                  </a:lnTo>
                  <a:lnTo>
                    <a:pt x="12" y="66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96" name="Freeform 952"/>
            <p:cNvSpPr>
              <a:spLocks/>
            </p:cNvSpPr>
            <p:nvPr>
              <p:custDataLst>
                <p:tags r:id="rId790"/>
              </p:custDataLst>
            </p:nvPr>
          </p:nvSpPr>
          <p:spPr bwMode="auto">
            <a:xfrm>
              <a:off x="5199311" y="3627438"/>
              <a:ext cx="101600" cy="114300"/>
            </a:xfrm>
            <a:custGeom>
              <a:avLst/>
              <a:gdLst>
                <a:gd name="T0" fmla="*/ 0 w 69"/>
                <a:gd name="T1" fmla="*/ 2147483647 h 144"/>
                <a:gd name="T2" fmla="*/ 2147483647 w 69"/>
                <a:gd name="T3" fmla="*/ 2147483647 h 144"/>
                <a:gd name="T4" fmla="*/ 2147483647 w 69"/>
                <a:gd name="T5" fmla="*/ 2147483647 h 144"/>
                <a:gd name="T6" fmla="*/ 2147483647 w 69"/>
                <a:gd name="T7" fmla="*/ 2147483647 h 144"/>
                <a:gd name="T8" fmla="*/ 2147483647 w 69"/>
                <a:gd name="T9" fmla="*/ 0 h 144"/>
                <a:gd name="T10" fmla="*/ 2147483647 w 69"/>
                <a:gd name="T11" fmla="*/ 2147483647 h 144"/>
                <a:gd name="T12" fmla="*/ 2147483647 w 69"/>
                <a:gd name="T13" fmla="*/ 2147483647 h 144"/>
                <a:gd name="T14" fmla="*/ 2147483647 w 69"/>
                <a:gd name="T15" fmla="*/ 2147483647 h 144"/>
                <a:gd name="T16" fmla="*/ 2147483647 w 69"/>
                <a:gd name="T17" fmla="*/ 2147483647 h 144"/>
                <a:gd name="T18" fmla="*/ 2147483647 w 69"/>
                <a:gd name="T19" fmla="*/ 2147483647 h 144"/>
                <a:gd name="T20" fmla="*/ 2147483647 w 69"/>
                <a:gd name="T21" fmla="*/ 2147483647 h 144"/>
                <a:gd name="T22" fmla="*/ 2147483647 w 69"/>
                <a:gd name="T23" fmla="*/ 2147483647 h 144"/>
                <a:gd name="T24" fmla="*/ 0 w 69"/>
                <a:gd name="T25" fmla="*/ 2147483647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9" h="144">
                  <a:moveTo>
                    <a:pt x="0" y="66"/>
                  </a:moveTo>
                  <a:lnTo>
                    <a:pt x="6" y="33"/>
                  </a:lnTo>
                  <a:lnTo>
                    <a:pt x="12" y="21"/>
                  </a:lnTo>
                  <a:lnTo>
                    <a:pt x="25" y="33"/>
                  </a:lnTo>
                  <a:lnTo>
                    <a:pt x="62" y="0"/>
                  </a:lnTo>
                  <a:lnTo>
                    <a:pt x="69" y="33"/>
                  </a:lnTo>
                  <a:lnTo>
                    <a:pt x="37" y="66"/>
                  </a:lnTo>
                  <a:lnTo>
                    <a:pt x="49" y="100"/>
                  </a:lnTo>
                  <a:lnTo>
                    <a:pt x="43" y="110"/>
                  </a:lnTo>
                  <a:lnTo>
                    <a:pt x="25" y="144"/>
                  </a:lnTo>
                  <a:lnTo>
                    <a:pt x="6" y="131"/>
                  </a:lnTo>
                  <a:lnTo>
                    <a:pt x="12" y="66"/>
                  </a:lnTo>
                  <a:lnTo>
                    <a:pt x="0" y="66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97" name="Freeform 953"/>
            <p:cNvSpPr>
              <a:spLocks/>
            </p:cNvSpPr>
            <p:nvPr>
              <p:custDataLst>
                <p:tags r:id="rId791"/>
              </p:custDataLst>
            </p:nvPr>
          </p:nvSpPr>
          <p:spPr bwMode="auto">
            <a:xfrm>
              <a:off x="5180261" y="4387850"/>
              <a:ext cx="182562" cy="228600"/>
            </a:xfrm>
            <a:custGeom>
              <a:avLst/>
              <a:gdLst>
                <a:gd name="T0" fmla="*/ 0 w 125"/>
                <a:gd name="T1" fmla="*/ 2147483647 h 288"/>
                <a:gd name="T2" fmla="*/ 2147483647 w 125"/>
                <a:gd name="T3" fmla="*/ 2147483647 h 288"/>
                <a:gd name="T4" fmla="*/ 0 w 125"/>
                <a:gd name="T5" fmla="*/ 2147483647 h 288"/>
                <a:gd name="T6" fmla="*/ 2147483647 w 125"/>
                <a:gd name="T7" fmla="*/ 2147483647 h 288"/>
                <a:gd name="T8" fmla="*/ 2147483647 w 125"/>
                <a:gd name="T9" fmla="*/ 2147483647 h 288"/>
                <a:gd name="T10" fmla="*/ 2147483647 w 125"/>
                <a:gd name="T11" fmla="*/ 2147483647 h 288"/>
                <a:gd name="T12" fmla="*/ 2147483647 w 125"/>
                <a:gd name="T13" fmla="*/ 2147483647 h 288"/>
                <a:gd name="T14" fmla="*/ 2147483647 w 125"/>
                <a:gd name="T15" fmla="*/ 2147483647 h 288"/>
                <a:gd name="T16" fmla="*/ 2147483647 w 125"/>
                <a:gd name="T17" fmla="*/ 2147483647 h 288"/>
                <a:gd name="T18" fmla="*/ 2147483647 w 125"/>
                <a:gd name="T19" fmla="*/ 2147483647 h 288"/>
                <a:gd name="T20" fmla="*/ 2147483647 w 125"/>
                <a:gd name="T21" fmla="*/ 2147483647 h 288"/>
                <a:gd name="T22" fmla="*/ 2147483647 w 125"/>
                <a:gd name="T23" fmla="*/ 0 h 288"/>
                <a:gd name="T24" fmla="*/ 0 w 125"/>
                <a:gd name="T25" fmla="*/ 2147483647 h 2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88">
                  <a:moveTo>
                    <a:pt x="0" y="9"/>
                  </a:moveTo>
                  <a:lnTo>
                    <a:pt x="19" y="75"/>
                  </a:lnTo>
                  <a:lnTo>
                    <a:pt x="0" y="132"/>
                  </a:lnTo>
                  <a:lnTo>
                    <a:pt x="13" y="153"/>
                  </a:lnTo>
                  <a:lnTo>
                    <a:pt x="6" y="167"/>
                  </a:lnTo>
                  <a:lnTo>
                    <a:pt x="88" y="288"/>
                  </a:lnTo>
                  <a:lnTo>
                    <a:pt x="119" y="198"/>
                  </a:lnTo>
                  <a:lnTo>
                    <a:pt x="112" y="167"/>
                  </a:lnTo>
                  <a:lnTo>
                    <a:pt x="112" y="53"/>
                  </a:lnTo>
                  <a:lnTo>
                    <a:pt x="125" y="21"/>
                  </a:lnTo>
                  <a:lnTo>
                    <a:pt x="82" y="30"/>
                  </a:lnTo>
                  <a:lnTo>
                    <a:pt x="31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98" name="Freeform 954"/>
            <p:cNvSpPr>
              <a:spLocks/>
            </p:cNvSpPr>
            <p:nvPr>
              <p:custDataLst>
                <p:tags r:id="rId792"/>
              </p:custDataLst>
            </p:nvPr>
          </p:nvSpPr>
          <p:spPr bwMode="auto">
            <a:xfrm>
              <a:off x="5180261" y="4387850"/>
              <a:ext cx="182562" cy="228600"/>
            </a:xfrm>
            <a:custGeom>
              <a:avLst/>
              <a:gdLst>
                <a:gd name="T0" fmla="*/ 0 w 125"/>
                <a:gd name="T1" fmla="*/ 2147483647 h 288"/>
                <a:gd name="T2" fmla="*/ 2147483647 w 125"/>
                <a:gd name="T3" fmla="*/ 2147483647 h 288"/>
                <a:gd name="T4" fmla="*/ 0 w 125"/>
                <a:gd name="T5" fmla="*/ 2147483647 h 288"/>
                <a:gd name="T6" fmla="*/ 2147483647 w 125"/>
                <a:gd name="T7" fmla="*/ 2147483647 h 288"/>
                <a:gd name="T8" fmla="*/ 2147483647 w 125"/>
                <a:gd name="T9" fmla="*/ 2147483647 h 288"/>
                <a:gd name="T10" fmla="*/ 2147483647 w 125"/>
                <a:gd name="T11" fmla="*/ 2147483647 h 288"/>
                <a:gd name="T12" fmla="*/ 2147483647 w 125"/>
                <a:gd name="T13" fmla="*/ 2147483647 h 288"/>
                <a:gd name="T14" fmla="*/ 2147483647 w 125"/>
                <a:gd name="T15" fmla="*/ 2147483647 h 288"/>
                <a:gd name="T16" fmla="*/ 2147483647 w 125"/>
                <a:gd name="T17" fmla="*/ 2147483647 h 288"/>
                <a:gd name="T18" fmla="*/ 2147483647 w 125"/>
                <a:gd name="T19" fmla="*/ 2147483647 h 288"/>
                <a:gd name="T20" fmla="*/ 2147483647 w 125"/>
                <a:gd name="T21" fmla="*/ 2147483647 h 288"/>
                <a:gd name="T22" fmla="*/ 2147483647 w 125"/>
                <a:gd name="T23" fmla="*/ 0 h 288"/>
                <a:gd name="T24" fmla="*/ 0 w 125"/>
                <a:gd name="T25" fmla="*/ 2147483647 h 2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88">
                  <a:moveTo>
                    <a:pt x="0" y="9"/>
                  </a:moveTo>
                  <a:lnTo>
                    <a:pt x="19" y="75"/>
                  </a:lnTo>
                  <a:lnTo>
                    <a:pt x="0" y="132"/>
                  </a:lnTo>
                  <a:lnTo>
                    <a:pt x="13" y="153"/>
                  </a:lnTo>
                  <a:lnTo>
                    <a:pt x="6" y="167"/>
                  </a:lnTo>
                  <a:lnTo>
                    <a:pt x="88" y="288"/>
                  </a:lnTo>
                  <a:lnTo>
                    <a:pt x="119" y="198"/>
                  </a:lnTo>
                  <a:lnTo>
                    <a:pt x="112" y="167"/>
                  </a:lnTo>
                  <a:lnTo>
                    <a:pt x="112" y="53"/>
                  </a:lnTo>
                  <a:lnTo>
                    <a:pt x="125" y="21"/>
                  </a:lnTo>
                  <a:lnTo>
                    <a:pt x="82" y="30"/>
                  </a:lnTo>
                  <a:lnTo>
                    <a:pt x="31" y="0"/>
                  </a:lnTo>
                  <a:lnTo>
                    <a:pt x="0" y="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799" name="Freeform 955"/>
            <p:cNvSpPr>
              <a:spLocks/>
            </p:cNvSpPr>
            <p:nvPr>
              <p:custDataLst>
                <p:tags r:id="rId793"/>
              </p:custDataLst>
            </p:nvPr>
          </p:nvSpPr>
          <p:spPr bwMode="auto">
            <a:xfrm>
              <a:off x="5180261" y="4387850"/>
              <a:ext cx="182562" cy="228600"/>
            </a:xfrm>
            <a:custGeom>
              <a:avLst/>
              <a:gdLst>
                <a:gd name="T0" fmla="*/ 0 w 125"/>
                <a:gd name="T1" fmla="*/ 2147483647 h 288"/>
                <a:gd name="T2" fmla="*/ 2147483647 w 125"/>
                <a:gd name="T3" fmla="*/ 2147483647 h 288"/>
                <a:gd name="T4" fmla="*/ 0 w 125"/>
                <a:gd name="T5" fmla="*/ 2147483647 h 288"/>
                <a:gd name="T6" fmla="*/ 2147483647 w 125"/>
                <a:gd name="T7" fmla="*/ 2147483647 h 288"/>
                <a:gd name="T8" fmla="*/ 2147483647 w 125"/>
                <a:gd name="T9" fmla="*/ 2147483647 h 288"/>
                <a:gd name="T10" fmla="*/ 2147483647 w 125"/>
                <a:gd name="T11" fmla="*/ 2147483647 h 288"/>
                <a:gd name="T12" fmla="*/ 2147483647 w 125"/>
                <a:gd name="T13" fmla="*/ 2147483647 h 288"/>
                <a:gd name="T14" fmla="*/ 2147483647 w 125"/>
                <a:gd name="T15" fmla="*/ 2147483647 h 288"/>
                <a:gd name="T16" fmla="*/ 2147483647 w 125"/>
                <a:gd name="T17" fmla="*/ 2147483647 h 288"/>
                <a:gd name="T18" fmla="*/ 2147483647 w 125"/>
                <a:gd name="T19" fmla="*/ 2147483647 h 288"/>
                <a:gd name="T20" fmla="*/ 2147483647 w 125"/>
                <a:gd name="T21" fmla="*/ 2147483647 h 288"/>
                <a:gd name="T22" fmla="*/ 2147483647 w 125"/>
                <a:gd name="T23" fmla="*/ 0 h 288"/>
                <a:gd name="T24" fmla="*/ 0 w 125"/>
                <a:gd name="T25" fmla="*/ 2147483647 h 2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88">
                  <a:moveTo>
                    <a:pt x="0" y="9"/>
                  </a:moveTo>
                  <a:lnTo>
                    <a:pt x="19" y="75"/>
                  </a:lnTo>
                  <a:lnTo>
                    <a:pt x="0" y="132"/>
                  </a:lnTo>
                  <a:lnTo>
                    <a:pt x="13" y="153"/>
                  </a:lnTo>
                  <a:lnTo>
                    <a:pt x="6" y="167"/>
                  </a:lnTo>
                  <a:lnTo>
                    <a:pt x="88" y="288"/>
                  </a:lnTo>
                  <a:lnTo>
                    <a:pt x="119" y="198"/>
                  </a:lnTo>
                  <a:lnTo>
                    <a:pt x="112" y="167"/>
                  </a:lnTo>
                  <a:lnTo>
                    <a:pt x="112" y="53"/>
                  </a:lnTo>
                  <a:lnTo>
                    <a:pt x="125" y="21"/>
                  </a:lnTo>
                  <a:lnTo>
                    <a:pt x="82" y="30"/>
                  </a:lnTo>
                  <a:lnTo>
                    <a:pt x="31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00" name="Freeform 956"/>
            <p:cNvSpPr>
              <a:spLocks/>
            </p:cNvSpPr>
            <p:nvPr>
              <p:custDataLst>
                <p:tags r:id="rId794"/>
              </p:custDataLst>
            </p:nvPr>
          </p:nvSpPr>
          <p:spPr bwMode="auto">
            <a:xfrm>
              <a:off x="5180261" y="4387850"/>
              <a:ext cx="182562" cy="228600"/>
            </a:xfrm>
            <a:custGeom>
              <a:avLst/>
              <a:gdLst>
                <a:gd name="T0" fmla="*/ 0 w 125"/>
                <a:gd name="T1" fmla="*/ 2147483647 h 288"/>
                <a:gd name="T2" fmla="*/ 2147483647 w 125"/>
                <a:gd name="T3" fmla="*/ 2147483647 h 288"/>
                <a:gd name="T4" fmla="*/ 0 w 125"/>
                <a:gd name="T5" fmla="*/ 2147483647 h 288"/>
                <a:gd name="T6" fmla="*/ 2147483647 w 125"/>
                <a:gd name="T7" fmla="*/ 2147483647 h 288"/>
                <a:gd name="T8" fmla="*/ 2147483647 w 125"/>
                <a:gd name="T9" fmla="*/ 2147483647 h 288"/>
                <a:gd name="T10" fmla="*/ 2147483647 w 125"/>
                <a:gd name="T11" fmla="*/ 2147483647 h 288"/>
                <a:gd name="T12" fmla="*/ 2147483647 w 125"/>
                <a:gd name="T13" fmla="*/ 2147483647 h 288"/>
                <a:gd name="T14" fmla="*/ 2147483647 w 125"/>
                <a:gd name="T15" fmla="*/ 2147483647 h 288"/>
                <a:gd name="T16" fmla="*/ 2147483647 w 125"/>
                <a:gd name="T17" fmla="*/ 2147483647 h 288"/>
                <a:gd name="T18" fmla="*/ 2147483647 w 125"/>
                <a:gd name="T19" fmla="*/ 2147483647 h 288"/>
                <a:gd name="T20" fmla="*/ 2147483647 w 125"/>
                <a:gd name="T21" fmla="*/ 2147483647 h 288"/>
                <a:gd name="T22" fmla="*/ 2147483647 w 125"/>
                <a:gd name="T23" fmla="*/ 0 h 288"/>
                <a:gd name="T24" fmla="*/ 0 w 125"/>
                <a:gd name="T25" fmla="*/ 2147483647 h 2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88">
                  <a:moveTo>
                    <a:pt x="0" y="9"/>
                  </a:moveTo>
                  <a:lnTo>
                    <a:pt x="19" y="75"/>
                  </a:lnTo>
                  <a:lnTo>
                    <a:pt x="0" y="132"/>
                  </a:lnTo>
                  <a:lnTo>
                    <a:pt x="13" y="153"/>
                  </a:lnTo>
                  <a:lnTo>
                    <a:pt x="6" y="167"/>
                  </a:lnTo>
                  <a:lnTo>
                    <a:pt x="88" y="288"/>
                  </a:lnTo>
                  <a:lnTo>
                    <a:pt x="119" y="198"/>
                  </a:lnTo>
                  <a:lnTo>
                    <a:pt x="112" y="167"/>
                  </a:lnTo>
                  <a:lnTo>
                    <a:pt x="112" y="53"/>
                  </a:lnTo>
                  <a:lnTo>
                    <a:pt x="125" y="21"/>
                  </a:lnTo>
                  <a:lnTo>
                    <a:pt x="82" y="30"/>
                  </a:lnTo>
                  <a:lnTo>
                    <a:pt x="31" y="0"/>
                  </a:lnTo>
                  <a:lnTo>
                    <a:pt x="0" y="9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01" name="Freeform 957"/>
            <p:cNvSpPr>
              <a:spLocks/>
            </p:cNvSpPr>
            <p:nvPr>
              <p:custDataLst>
                <p:tags r:id="rId795"/>
              </p:custDataLst>
            </p:nvPr>
          </p:nvSpPr>
          <p:spPr bwMode="auto">
            <a:xfrm>
              <a:off x="5464423" y="3714750"/>
              <a:ext cx="46038" cy="42863"/>
            </a:xfrm>
            <a:custGeom>
              <a:avLst/>
              <a:gdLst>
                <a:gd name="T0" fmla="*/ 0 w 31"/>
                <a:gd name="T1" fmla="*/ 2147483647 h 54"/>
                <a:gd name="T2" fmla="*/ 2147483647 w 31"/>
                <a:gd name="T3" fmla="*/ 0 h 54"/>
                <a:gd name="T4" fmla="*/ 2147483647 w 31"/>
                <a:gd name="T5" fmla="*/ 2147483647 h 54"/>
                <a:gd name="T6" fmla="*/ 0 w 31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54">
                  <a:moveTo>
                    <a:pt x="0" y="32"/>
                  </a:moveTo>
                  <a:lnTo>
                    <a:pt x="26" y="0"/>
                  </a:lnTo>
                  <a:lnTo>
                    <a:pt x="31" y="5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02" name="Freeform 958"/>
            <p:cNvSpPr>
              <a:spLocks/>
            </p:cNvSpPr>
            <p:nvPr>
              <p:custDataLst>
                <p:tags r:id="rId796"/>
              </p:custDataLst>
            </p:nvPr>
          </p:nvSpPr>
          <p:spPr bwMode="auto">
            <a:xfrm>
              <a:off x="5464423" y="3714750"/>
              <a:ext cx="46038" cy="42863"/>
            </a:xfrm>
            <a:custGeom>
              <a:avLst/>
              <a:gdLst>
                <a:gd name="T0" fmla="*/ 0 w 31"/>
                <a:gd name="T1" fmla="*/ 2147483647 h 54"/>
                <a:gd name="T2" fmla="*/ 2147483647 w 31"/>
                <a:gd name="T3" fmla="*/ 0 h 54"/>
                <a:gd name="T4" fmla="*/ 2147483647 w 31"/>
                <a:gd name="T5" fmla="*/ 2147483647 h 54"/>
                <a:gd name="T6" fmla="*/ 0 w 31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54">
                  <a:moveTo>
                    <a:pt x="0" y="32"/>
                  </a:moveTo>
                  <a:lnTo>
                    <a:pt x="26" y="0"/>
                  </a:lnTo>
                  <a:lnTo>
                    <a:pt x="31" y="54"/>
                  </a:lnTo>
                  <a:lnTo>
                    <a:pt x="0" y="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03" name="Freeform 959"/>
            <p:cNvSpPr>
              <a:spLocks/>
            </p:cNvSpPr>
            <p:nvPr>
              <p:custDataLst>
                <p:tags r:id="rId797"/>
              </p:custDataLst>
            </p:nvPr>
          </p:nvSpPr>
          <p:spPr bwMode="auto">
            <a:xfrm>
              <a:off x="5464423" y="3714750"/>
              <a:ext cx="46038" cy="42863"/>
            </a:xfrm>
            <a:custGeom>
              <a:avLst/>
              <a:gdLst>
                <a:gd name="T0" fmla="*/ 0 w 31"/>
                <a:gd name="T1" fmla="*/ 2147483647 h 54"/>
                <a:gd name="T2" fmla="*/ 2147483647 w 31"/>
                <a:gd name="T3" fmla="*/ 0 h 54"/>
                <a:gd name="T4" fmla="*/ 2147483647 w 31"/>
                <a:gd name="T5" fmla="*/ 2147483647 h 54"/>
                <a:gd name="T6" fmla="*/ 0 w 31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54">
                  <a:moveTo>
                    <a:pt x="0" y="32"/>
                  </a:moveTo>
                  <a:lnTo>
                    <a:pt x="26" y="0"/>
                  </a:lnTo>
                  <a:lnTo>
                    <a:pt x="31" y="5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04" name="Freeform 960"/>
            <p:cNvSpPr>
              <a:spLocks/>
            </p:cNvSpPr>
            <p:nvPr>
              <p:custDataLst>
                <p:tags r:id="rId798"/>
              </p:custDataLst>
            </p:nvPr>
          </p:nvSpPr>
          <p:spPr bwMode="auto">
            <a:xfrm>
              <a:off x="5464423" y="3714750"/>
              <a:ext cx="46038" cy="42863"/>
            </a:xfrm>
            <a:custGeom>
              <a:avLst/>
              <a:gdLst>
                <a:gd name="T0" fmla="*/ 0 w 31"/>
                <a:gd name="T1" fmla="*/ 2147483647 h 54"/>
                <a:gd name="T2" fmla="*/ 2147483647 w 31"/>
                <a:gd name="T3" fmla="*/ 0 h 54"/>
                <a:gd name="T4" fmla="*/ 2147483647 w 31"/>
                <a:gd name="T5" fmla="*/ 2147483647 h 54"/>
                <a:gd name="T6" fmla="*/ 0 w 31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54">
                  <a:moveTo>
                    <a:pt x="0" y="32"/>
                  </a:moveTo>
                  <a:lnTo>
                    <a:pt x="26" y="0"/>
                  </a:lnTo>
                  <a:lnTo>
                    <a:pt x="31" y="54"/>
                  </a:lnTo>
                  <a:lnTo>
                    <a:pt x="0" y="3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05" name="Freeform 961"/>
            <p:cNvSpPr>
              <a:spLocks/>
            </p:cNvSpPr>
            <p:nvPr>
              <p:custDataLst>
                <p:tags r:id="rId799"/>
              </p:custDataLst>
            </p:nvPr>
          </p:nvSpPr>
          <p:spPr bwMode="auto">
            <a:xfrm>
              <a:off x="5208836" y="3581400"/>
              <a:ext cx="36512" cy="46038"/>
            </a:xfrm>
            <a:custGeom>
              <a:avLst/>
              <a:gdLst>
                <a:gd name="T0" fmla="*/ 0 w 25"/>
                <a:gd name="T1" fmla="*/ 2147483647 h 57"/>
                <a:gd name="T2" fmla="*/ 2147483647 w 25"/>
                <a:gd name="T3" fmla="*/ 2147483647 h 57"/>
                <a:gd name="T4" fmla="*/ 2147483647 w 25"/>
                <a:gd name="T5" fmla="*/ 2147483647 h 57"/>
                <a:gd name="T6" fmla="*/ 2147483647 w 25"/>
                <a:gd name="T7" fmla="*/ 0 h 57"/>
                <a:gd name="T8" fmla="*/ 0 w 25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57">
                  <a:moveTo>
                    <a:pt x="0" y="57"/>
                  </a:moveTo>
                  <a:lnTo>
                    <a:pt x="5" y="57"/>
                  </a:lnTo>
                  <a:lnTo>
                    <a:pt x="25" y="25"/>
                  </a:lnTo>
                  <a:lnTo>
                    <a:pt x="12" y="0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06" name="Freeform 962"/>
            <p:cNvSpPr>
              <a:spLocks/>
            </p:cNvSpPr>
            <p:nvPr>
              <p:custDataLst>
                <p:tags r:id="rId800"/>
              </p:custDataLst>
            </p:nvPr>
          </p:nvSpPr>
          <p:spPr bwMode="auto">
            <a:xfrm>
              <a:off x="5208836" y="3581400"/>
              <a:ext cx="36512" cy="46038"/>
            </a:xfrm>
            <a:custGeom>
              <a:avLst/>
              <a:gdLst>
                <a:gd name="T0" fmla="*/ 0 w 25"/>
                <a:gd name="T1" fmla="*/ 2147483647 h 57"/>
                <a:gd name="T2" fmla="*/ 2147483647 w 25"/>
                <a:gd name="T3" fmla="*/ 2147483647 h 57"/>
                <a:gd name="T4" fmla="*/ 2147483647 w 25"/>
                <a:gd name="T5" fmla="*/ 2147483647 h 57"/>
                <a:gd name="T6" fmla="*/ 2147483647 w 25"/>
                <a:gd name="T7" fmla="*/ 0 h 57"/>
                <a:gd name="T8" fmla="*/ 0 w 25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57">
                  <a:moveTo>
                    <a:pt x="0" y="57"/>
                  </a:moveTo>
                  <a:lnTo>
                    <a:pt x="5" y="57"/>
                  </a:lnTo>
                  <a:lnTo>
                    <a:pt x="25" y="25"/>
                  </a:lnTo>
                  <a:lnTo>
                    <a:pt x="12" y="0"/>
                  </a:lnTo>
                  <a:lnTo>
                    <a:pt x="0" y="5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07" name="Freeform 963"/>
            <p:cNvSpPr>
              <a:spLocks/>
            </p:cNvSpPr>
            <p:nvPr>
              <p:custDataLst>
                <p:tags r:id="rId801"/>
              </p:custDataLst>
            </p:nvPr>
          </p:nvSpPr>
          <p:spPr bwMode="auto">
            <a:xfrm>
              <a:off x="5208836" y="3581400"/>
              <a:ext cx="36512" cy="46038"/>
            </a:xfrm>
            <a:custGeom>
              <a:avLst/>
              <a:gdLst>
                <a:gd name="T0" fmla="*/ 0 w 25"/>
                <a:gd name="T1" fmla="*/ 2147483647 h 57"/>
                <a:gd name="T2" fmla="*/ 2147483647 w 25"/>
                <a:gd name="T3" fmla="*/ 2147483647 h 57"/>
                <a:gd name="T4" fmla="*/ 2147483647 w 25"/>
                <a:gd name="T5" fmla="*/ 2147483647 h 57"/>
                <a:gd name="T6" fmla="*/ 2147483647 w 25"/>
                <a:gd name="T7" fmla="*/ 0 h 57"/>
                <a:gd name="T8" fmla="*/ 0 w 25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57">
                  <a:moveTo>
                    <a:pt x="0" y="57"/>
                  </a:moveTo>
                  <a:lnTo>
                    <a:pt x="5" y="57"/>
                  </a:lnTo>
                  <a:lnTo>
                    <a:pt x="25" y="25"/>
                  </a:lnTo>
                  <a:lnTo>
                    <a:pt x="12" y="0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08" name="Freeform 964"/>
            <p:cNvSpPr>
              <a:spLocks/>
            </p:cNvSpPr>
            <p:nvPr>
              <p:custDataLst>
                <p:tags r:id="rId802"/>
              </p:custDataLst>
            </p:nvPr>
          </p:nvSpPr>
          <p:spPr bwMode="auto">
            <a:xfrm>
              <a:off x="5208836" y="3581400"/>
              <a:ext cx="36512" cy="46038"/>
            </a:xfrm>
            <a:custGeom>
              <a:avLst/>
              <a:gdLst>
                <a:gd name="T0" fmla="*/ 0 w 25"/>
                <a:gd name="T1" fmla="*/ 2147483647 h 57"/>
                <a:gd name="T2" fmla="*/ 2147483647 w 25"/>
                <a:gd name="T3" fmla="*/ 2147483647 h 57"/>
                <a:gd name="T4" fmla="*/ 2147483647 w 25"/>
                <a:gd name="T5" fmla="*/ 2147483647 h 57"/>
                <a:gd name="T6" fmla="*/ 2147483647 w 25"/>
                <a:gd name="T7" fmla="*/ 0 h 57"/>
                <a:gd name="T8" fmla="*/ 0 w 25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57">
                  <a:moveTo>
                    <a:pt x="0" y="57"/>
                  </a:moveTo>
                  <a:lnTo>
                    <a:pt x="5" y="57"/>
                  </a:lnTo>
                  <a:lnTo>
                    <a:pt x="25" y="25"/>
                  </a:lnTo>
                  <a:lnTo>
                    <a:pt x="12" y="0"/>
                  </a:lnTo>
                  <a:lnTo>
                    <a:pt x="0" y="57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09" name="Freeform 965"/>
            <p:cNvSpPr>
              <a:spLocks/>
            </p:cNvSpPr>
            <p:nvPr>
              <p:custDataLst>
                <p:tags r:id="rId803"/>
              </p:custDataLst>
            </p:nvPr>
          </p:nvSpPr>
          <p:spPr bwMode="auto">
            <a:xfrm>
              <a:off x="4143623" y="4289425"/>
              <a:ext cx="93663" cy="98425"/>
            </a:xfrm>
            <a:custGeom>
              <a:avLst/>
              <a:gdLst>
                <a:gd name="T0" fmla="*/ 0 w 63"/>
                <a:gd name="T1" fmla="*/ 2147483647 h 123"/>
                <a:gd name="T2" fmla="*/ 2147483647 w 63"/>
                <a:gd name="T3" fmla="*/ 0 h 123"/>
                <a:gd name="T4" fmla="*/ 2147483647 w 63"/>
                <a:gd name="T5" fmla="*/ 0 h 123"/>
                <a:gd name="T6" fmla="*/ 2147483647 w 63"/>
                <a:gd name="T7" fmla="*/ 2147483647 h 123"/>
                <a:gd name="T8" fmla="*/ 2147483647 w 63"/>
                <a:gd name="T9" fmla="*/ 2147483647 h 123"/>
                <a:gd name="T10" fmla="*/ 2147483647 w 63"/>
                <a:gd name="T11" fmla="*/ 2147483647 h 123"/>
                <a:gd name="T12" fmla="*/ 2147483647 w 63"/>
                <a:gd name="T13" fmla="*/ 2147483647 h 123"/>
                <a:gd name="T14" fmla="*/ 2147483647 w 63"/>
                <a:gd name="T15" fmla="*/ 2147483647 h 123"/>
                <a:gd name="T16" fmla="*/ 0 w 63"/>
                <a:gd name="T17" fmla="*/ 2147483647 h 1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23">
                  <a:moveTo>
                    <a:pt x="0" y="44"/>
                  </a:moveTo>
                  <a:lnTo>
                    <a:pt x="18" y="0"/>
                  </a:lnTo>
                  <a:lnTo>
                    <a:pt x="31" y="0"/>
                  </a:lnTo>
                  <a:lnTo>
                    <a:pt x="31" y="32"/>
                  </a:lnTo>
                  <a:lnTo>
                    <a:pt x="50" y="21"/>
                  </a:lnTo>
                  <a:lnTo>
                    <a:pt x="50" y="55"/>
                  </a:lnTo>
                  <a:lnTo>
                    <a:pt x="63" y="79"/>
                  </a:lnTo>
                  <a:lnTo>
                    <a:pt x="63" y="12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10" name="Freeform 966"/>
            <p:cNvSpPr>
              <a:spLocks/>
            </p:cNvSpPr>
            <p:nvPr>
              <p:custDataLst>
                <p:tags r:id="rId804"/>
              </p:custDataLst>
            </p:nvPr>
          </p:nvSpPr>
          <p:spPr bwMode="auto">
            <a:xfrm>
              <a:off x="4143623" y="4289425"/>
              <a:ext cx="93663" cy="98425"/>
            </a:xfrm>
            <a:custGeom>
              <a:avLst/>
              <a:gdLst>
                <a:gd name="T0" fmla="*/ 0 w 63"/>
                <a:gd name="T1" fmla="*/ 2147483647 h 123"/>
                <a:gd name="T2" fmla="*/ 2147483647 w 63"/>
                <a:gd name="T3" fmla="*/ 0 h 123"/>
                <a:gd name="T4" fmla="*/ 2147483647 w 63"/>
                <a:gd name="T5" fmla="*/ 0 h 123"/>
                <a:gd name="T6" fmla="*/ 2147483647 w 63"/>
                <a:gd name="T7" fmla="*/ 2147483647 h 123"/>
                <a:gd name="T8" fmla="*/ 2147483647 w 63"/>
                <a:gd name="T9" fmla="*/ 2147483647 h 123"/>
                <a:gd name="T10" fmla="*/ 2147483647 w 63"/>
                <a:gd name="T11" fmla="*/ 2147483647 h 123"/>
                <a:gd name="T12" fmla="*/ 2147483647 w 63"/>
                <a:gd name="T13" fmla="*/ 2147483647 h 123"/>
                <a:gd name="T14" fmla="*/ 2147483647 w 63"/>
                <a:gd name="T15" fmla="*/ 2147483647 h 123"/>
                <a:gd name="T16" fmla="*/ 0 w 63"/>
                <a:gd name="T17" fmla="*/ 2147483647 h 1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23">
                  <a:moveTo>
                    <a:pt x="0" y="44"/>
                  </a:moveTo>
                  <a:lnTo>
                    <a:pt x="18" y="0"/>
                  </a:lnTo>
                  <a:lnTo>
                    <a:pt x="31" y="0"/>
                  </a:lnTo>
                  <a:lnTo>
                    <a:pt x="31" y="32"/>
                  </a:lnTo>
                  <a:lnTo>
                    <a:pt x="50" y="21"/>
                  </a:lnTo>
                  <a:lnTo>
                    <a:pt x="50" y="55"/>
                  </a:lnTo>
                  <a:lnTo>
                    <a:pt x="63" y="79"/>
                  </a:lnTo>
                  <a:lnTo>
                    <a:pt x="63" y="123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11" name="Freeform 967"/>
            <p:cNvSpPr>
              <a:spLocks/>
            </p:cNvSpPr>
            <p:nvPr>
              <p:custDataLst>
                <p:tags r:id="rId805"/>
              </p:custDataLst>
            </p:nvPr>
          </p:nvSpPr>
          <p:spPr bwMode="auto">
            <a:xfrm>
              <a:off x="4143623" y="4289425"/>
              <a:ext cx="93663" cy="98425"/>
            </a:xfrm>
            <a:custGeom>
              <a:avLst/>
              <a:gdLst>
                <a:gd name="T0" fmla="*/ 0 w 63"/>
                <a:gd name="T1" fmla="*/ 2147483647 h 123"/>
                <a:gd name="T2" fmla="*/ 2147483647 w 63"/>
                <a:gd name="T3" fmla="*/ 0 h 123"/>
                <a:gd name="T4" fmla="*/ 2147483647 w 63"/>
                <a:gd name="T5" fmla="*/ 0 h 123"/>
                <a:gd name="T6" fmla="*/ 2147483647 w 63"/>
                <a:gd name="T7" fmla="*/ 2147483647 h 123"/>
                <a:gd name="T8" fmla="*/ 2147483647 w 63"/>
                <a:gd name="T9" fmla="*/ 2147483647 h 123"/>
                <a:gd name="T10" fmla="*/ 2147483647 w 63"/>
                <a:gd name="T11" fmla="*/ 2147483647 h 123"/>
                <a:gd name="T12" fmla="*/ 2147483647 w 63"/>
                <a:gd name="T13" fmla="*/ 2147483647 h 123"/>
                <a:gd name="T14" fmla="*/ 2147483647 w 63"/>
                <a:gd name="T15" fmla="*/ 2147483647 h 123"/>
                <a:gd name="T16" fmla="*/ 0 w 63"/>
                <a:gd name="T17" fmla="*/ 2147483647 h 1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23">
                  <a:moveTo>
                    <a:pt x="0" y="44"/>
                  </a:moveTo>
                  <a:lnTo>
                    <a:pt x="18" y="0"/>
                  </a:lnTo>
                  <a:lnTo>
                    <a:pt x="31" y="0"/>
                  </a:lnTo>
                  <a:lnTo>
                    <a:pt x="31" y="32"/>
                  </a:lnTo>
                  <a:lnTo>
                    <a:pt x="50" y="21"/>
                  </a:lnTo>
                  <a:lnTo>
                    <a:pt x="50" y="55"/>
                  </a:lnTo>
                  <a:lnTo>
                    <a:pt x="63" y="79"/>
                  </a:lnTo>
                  <a:lnTo>
                    <a:pt x="63" y="12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12" name="Freeform 968"/>
            <p:cNvSpPr>
              <a:spLocks/>
            </p:cNvSpPr>
            <p:nvPr>
              <p:custDataLst>
                <p:tags r:id="rId806"/>
              </p:custDataLst>
            </p:nvPr>
          </p:nvSpPr>
          <p:spPr bwMode="auto">
            <a:xfrm>
              <a:off x="4143623" y="4289425"/>
              <a:ext cx="93663" cy="98425"/>
            </a:xfrm>
            <a:custGeom>
              <a:avLst/>
              <a:gdLst>
                <a:gd name="T0" fmla="*/ 0 w 63"/>
                <a:gd name="T1" fmla="*/ 2147483647 h 123"/>
                <a:gd name="T2" fmla="*/ 2147483647 w 63"/>
                <a:gd name="T3" fmla="*/ 0 h 123"/>
                <a:gd name="T4" fmla="*/ 2147483647 w 63"/>
                <a:gd name="T5" fmla="*/ 0 h 123"/>
                <a:gd name="T6" fmla="*/ 2147483647 w 63"/>
                <a:gd name="T7" fmla="*/ 2147483647 h 123"/>
                <a:gd name="T8" fmla="*/ 2147483647 w 63"/>
                <a:gd name="T9" fmla="*/ 2147483647 h 123"/>
                <a:gd name="T10" fmla="*/ 2147483647 w 63"/>
                <a:gd name="T11" fmla="*/ 2147483647 h 123"/>
                <a:gd name="T12" fmla="*/ 2147483647 w 63"/>
                <a:gd name="T13" fmla="*/ 2147483647 h 123"/>
                <a:gd name="T14" fmla="*/ 2147483647 w 63"/>
                <a:gd name="T15" fmla="*/ 2147483647 h 123"/>
                <a:gd name="T16" fmla="*/ 0 w 63"/>
                <a:gd name="T17" fmla="*/ 2147483647 h 1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23">
                  <a:moveTo>
                    <a:pt x="0" y="44"/>
                  </a:moveTo>
                  <a:lnTo>
                    <a:pt x="18" y="0"/>
                  </a:lnTo>
                  <a:lnTo>
                    <a:pt x="31" y="0"/>
                  </a:lnTo>
                  <a:lnTo>
                    <a:pt x="31" y="32"/>
                  </a:lnTo>
                  <a:lnTo>
                    <a:pt x="50" y="21"/>
                  </a:lnTo>
                  <a:lnTo>
                    <a:pt x="50" y="55"/>
                  </a:lnTo>
                  <a:lnTo>
                    <a:pt x="63" y="79"/>
                  </a:lnTo>
                  <a:lnTo>
                    <a:pt x="63" y="123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13" name="Freeform 969"/>
            <p:cNvSpPr>
              <a:spLocks/>
            </p:cNvSpPr>
            <p:nvPr>
              <p:custDataLst>
                <p:tags r:id="rId807"/>
              </p:custDataLst>
            </p:nvPr>
          </p:nvSpPr>
          <p:spPr bwMode="auto">
            <a:xfrm>
              <a:off x="4621461" y="3627438"/>
              <a:ext cx="358775" cy="368300"/>
            </a:xfrm>
            <a:custGeom>
              <a:avLst/>
              <a:gdLst>
                <a:gd name="T0" fmla="*/ 0 w 244"/>
                <a:gd name="T1" fmla="*/ 2147483647 h 465"/>
                <a:gd name="T2" fmla="*/ 0 w 244"/>
                <a:gd name="T3" fmla="*/ 2147483647 h 465"/>
                <a:gd name="T4" fmla="*/ 2147483647 w 244"/>
                <a:gd name="T5" fmla="*/ 0 h 465"/>
                <a:gd name="T6" fmla="*/ 2147483647 w 244"/>
                <a:gd name="T7" fmla="*/ 2147483647 h 465"/>
                <a:gd name="T8" fmla="*/ 2147483647 w 244"/>
                <a:gd name="T9" fmla="*/ 2147483647 h 465"/>
                <a:gd name="T10" fmla="*/ 2147483647 w 244"/>
                <a:gd name="T11" fmla="*/ 2147483647 h 465"/>
                <a:gd name="T12" fmla="*/ 2147483647 w 244"/>
                <a:gd name="T13" fmla="*/ 2147483647 h 465"/>
                <a:gd name="T14" fmla="*/ 2147483647 w 244"/>
                <a:gd name="T15" fmla="*/ 2147483647 h 465"/>
                <a:gd name="T16" fmla="*/ 2147483647 w 244"/>
                <a:gd name="T17" fmla="*/ 2147483647 h 465"/>
                <a:gd name="T18" fmla="*/ 2147483647 w 244"/>
                <a:gd name="T19" fmla="*/ 2147483647 h 465"/>
                <a:gd name="T20" fmla="*/ 2147483647 w 244"/>
                <a:gd name="T21" fmla="*/ 2147483647 h 465"/>
                <a:gd name="T22" fmla="*/ 2147483647 w 244"/>
                <a:gd name="T23" fmla="*/ 2147483647 h 465"/>
                <a:gd name="T24" fmla="*/ 2147483647 w 244"/>
                <a:gd name="T25" fmla="*/ 2147483647 h 465"/>
                <a:gd name="T26" fmla="*/ 2147483647 w 244"/>
                <a:gd name="T27" fmla="*/ 2147483647 h 465"/>
                <a:gd name="T28" fmla="*/ 2147483647 w 244"/>
                <a:gd name="T29" fmla="*/ 2147483647 h 465"/>
                <a:gd name="T30" fmla="*/ 2147483647 w 244"/>
                <a:gd name="T31" fmla="*/ 2147483647 h 465"/>
                <a:gd name="T32" fmla="*/ 2147483647 w 244"/>
                <a:gd name="T33" fmla="*/ 2147483647 h 465"/>
                <a:gd name="T34" fmla="*/ 2147483647 w 244"/>
                <a:gd name="T35" fmla="*/ 2147483647 h 465"/>
                <a:gd name="T36" fmla="*/ 0 w 244"/>
                <a:gd name="T37" fmla="*/ 2147483647 h 4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4" h="465">
                  <a:moveTo>
                    <a:pt x="0" y="244"/>
                  </a:moveTo>
                  <a:lnTo>
                    <a:pt x="0" y="100"/>
                  </a:lnTo>
                  <a:lnTo>
                    <a:pt x="31" y="0"/>
                  </a:lnTo>
                  <a:lnTo>
                    <a:pt x="87" y="33"/>
                  </a:lnTo>
                  <a:lnTo>
                    <a:pt x="100" y="68"/>
                  </a:lnTo>
                  <a:lnTo>
                    <a:pt x="150" y="100"/>
                  </a:lnTo>
                  <a:lnTo>
                    <a:pt x="161" y="89"/>
                  </a:lnTo>
                  <a:lnTo>
                    <a:pt x="161" y="45"/>
                  </a:lnTo>
                  <a:lnTo>
                    <a:pt x="180" y="12"/>
                  </a:lnTo>
                  <a:lnTo>
                    <a:pt x="244" y="56"/>
                  </a:lnTo>
                  <a:lnTo>
                    <a:pt x="237" y="112"/>
                  </a:lnTo>
                  <a:lnTo>
                    <a:pt x="244" y="388"/>
                  </a:lnTo>
                  <a:lnTo>
                    <a:pt x="244" y="456"/>
                  </a:lnTo>
                  <a:lnTo>
                    <a:pt x="231" y="456"/>
                  </a:lnTo>
                  <a:lnTo>
                    <a:pt x="231" y="465"/>
                  </a:lnTo>
                  <a:lnTo>
                    <a:pt x="106" y="333"/>
                  </a:lnTo>
                  <a:lnTo>
                    <a:pt x="87" y="356"/>
                  </a:lnTo>
                  <a:lnTo>
                    <a:pt x="36" y="333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14" name="Freeform 970"/>
            <p:cNvSpPr>
              <a:spLocks/>
            </p:cNvSpPr>
            <p:nvPr>
              <p:custDataLst>
                <p:tags r:id="rId808"/>
              </p:custDataLst>
            </p:nvPr>
          </p:nvSpPr>
          <p:spPr bwMode="auto">
            <a:xfrm>
              <a:off x="4621461" y="3627438"/>
              <a:ext cx="358775" cy="368300"/>
            </a:xfrm>
            <a:custGeom>
              <a:avLst/>
              <a:gdLst>
                <a:gd name="T0" fmla="*/ 0 w 244"/>
                <a:gd name="T1" fmla="*/ 2147483647 h 465"/>
                <a:gd name="T2" fmla="*/ 0 w 244"/>
                <a:gd name="T3" fmla="*/ 2147483647 h 465"/>
                <a:gd name="T4" fmla="*/ 2147483647 w 244"/>
                <a:gd name="T5" fmla="*/ 0 h 465"/>
                <a:gd name="T6" fmla="*/ 2147483647 w 244"/>
                <a:gd name="T7" fmla="*/ 2147483647 h 465"/>
                <a:gd name="T8" fmla="*/ 2147483647 w 244"/>
                <a:gd name="T9" fmla="*/ 2147483647 h 465"/>
                <a:gd name="T10" fmla="*/ 2147483647 w 244"/>
                <a:gd name="T11" fmla="*/ 2147483647 h 465"/>
                <a:gd name="T12" fmla="*/ 2147483647 w 244"/>
                <a:gd name="T13" fmla="*/ 2147483647 h 465"/>
                <a:gd name="T14" fmla="*/ 2147483647 w 244"/>
                <a:gd name="T15" fmla="*/ 2147483647 h 465"/>
                <a:gd name="T16" fmla="*/ 2147483647 w 244"/>
                <a:gd name="T17" fmla="*/ 2147483647 h 465"/>
                <a:gd name="T18" fmla="*/ 2147483647 w 244"/>
                <a:gd name="T19" fmla="*/ 2147483647 h 465"/>
                <a:gd name="T20" fmla="*/ 2147483647 w 244"/>
                <a:gd name="T21" fmla="*/ 2147483647 h 465"/>
                <a:gd name="T22" fmla="*/ 2147483647 w 244"/>
                <a:gd name="T23" fmla="*/ 2147483647 h 465"/>
                <a:gd name="T24" fmla="*/ 2147483647 w 244"/>
                <a:gd name="T25" fmla="*/ 2147483647 h 465"/>
                <a:gd name="T26" fmla="*/ 2147483647 w 244"/>
                <a:gd name="T27" fmla="*/ 2147483647 h 465"/>
                <a:gd name="T28" fmla="*/ 2147483647 w 244"/>
                <a:gd name="T29" fmla="*/ 2147483647 h 465"/>
                <a:gd name="T30" fmla="*/ 2147483647 w 244"/>
                <a:gd name="T31" fmla="*/ 2147483647 h 465"/>
                <a:gd name="T32" fmla="*/ 2147483647 w 244"/>
                <a:gd name="T33" fmla="*/ 2147483647 h 465"/>
                <a:gd name="T34" fmla="*/ 2147483647 w 244"/>
                <a:gd name="T35" fmla="*/ 2147483647 h 465"/>
                <a:gd name="T36" fmla="*/ 0 w 244"/>
                <a:gd name="T37" fmla="*/ 2147483647 h 4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4" h="465">
                  <a:moveTo>
                    <a:pt x="0" y="244"/>
                  </a:moveTo>
                  <a:lnTo>
                    <a:pt x="0" y="100"/>
                  </a:lnTo>
                  <a:lnTo>
                    <a:pt x="31" y="0"/>
                  </a:lnTo>
                  <a:lnTo>
                    <a:pt x="87" y="33"/>
                  </a:lnTo>
                  <a:lnTo>
                    <a:pt x="100" y="68"/>
                  </a:lnTo>
                  <a:lnTo>
                    <a:pt x="150" y="100"/>
                  </a:lnTo>
                  <a:lnTo>
                    <a:pt x="161" y="89"/>
                  </a:lnTo>
                  <a:lnTo>
                    <a:pt x="161" y="45"/>
                  </a:lnTo>
                  <a:lnTo>
                    <a:pt x="180" y="12"/>
                  </a:lnTo>
                  <a:lnTo>
                    <a:pt x="244" y="56"/>
                  </a:lnTo>
                  <a:lnTo>
                    <a:pt x="237" y="112"/>
                  </a:lnTo>
                  <a:lnTo>
                    <a:pt x="244" y="388"/>
                  </a:lnTo>
                  <a:lnTo>
                    <a:pt x="244" y="456"/>
                  </a:lnTo>
                  <a:lnTo>
                    <a:pt x="231" y="456"/>
                  </a:lnTo>
                  <a:lnTo>
                    <a:pt x="231" y="465"/>
                  </a:lnTo>
                  <a:lnTo>
                    <a:pt x="106" y="333"/>
                  </a:lnTo>
                  <a:lnTo>
                    <a:pt x="87" y="356"/>
                  </a:lnTo>
                  <a:lnTo>
                    <a:pt x="36" y="333"/>
                  </a:lnTo>
                  <a:lnTo>
                    <a:pt x="0" y="2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15" name="Freeform 971"/>
            <p:cNvSpPr>
              <a:spLocks/>
            </p:cNvSpPr>
            <p:nvPr>
              <p:custDataLst>
                <p:tags r:id="rId809"/>
              </p:custDataLst>
            </p:nvPr>
          </p:nvSpPr>
          <p:spPr bwMode="auto">
            <a:xfrm>
              <a:off x="4621461" y="3627438"/>
              <a:ext cx="358775" cy="368300"/>
            </a:xfrm>
            <a:custGeom>
              <a:avLst/>
              <a:gdLst>
                <a:gd name="T0" fmla="*/ 0 w 244"/>
                <a:gd name="T1" fmla="*/ 2147483647 h 465"/>
                <a:gd name="T2" fmla="*/ 0 w 244"/>
                <a:gd name="T3" fmla="*/ 2147483647 h 465"/>
                <a:gd name="T4" fmla="*/ 2147483647 w 244"/>
                <a:gd name="T5" fmla="*/ 0 h 465"/>
                <a:gd name="T6" fmla="*/ 2147483647 w 244"/>
                <a:gd name="T7" fmla="*/ 2147483647 h 465"/>
                <a:gd name="T8" fmla="*/ 2147483647 w 244"/>
                <a:gd name="T9" fmla="*/ 2147483647 h 465"/>
                <a:gd name="T10" fmla="*/ 2147483647 w 244"/>
                <a:gd name="T11" fmla="*/ 2147483647 h 465"/>
                <a:gd name="T12" fmla="*/ 2147483647 w 244"/>
                <a:gd name="T13" fmla="*/ 2147483647 h 465"/>
                <a:gd name="T14" fmla="*/ 2147483647 w 244"/>
                <a:gd name="T15" fmla="*/ 2147483647 h 465"/>
                <a:gd name="T16" fmla="*/ 2147483647 w 244"/>
                <a:gd name="T17" fmla="*/ 2147483647 h 465"/>
                <a:gd name="T18" fmla="*/ 2147483647 w 244"/>
                <a:gd name="T19" fmla="*/ 2147483647 h 465"/>
                <a:gd name="T20" fmla="*/ 2147483647 w 244"/>
                <a:gd name="T21" fmla="*/ 2147483647 h 465"/>
                <a:gd name="T22" fmla="*/ 2147483647 w 244"/>
                <a:gd name="T23" fmla="*/ 2147483647 h 465"/>
                <a:gd name="T24" fmla="*/ 2147483647 w 244"/>
                <a:gd name="T25" fmla="*/ 2147483647 h 465"/>
                <a:gd name="T26" fmla="*/ 2147483647 w 244"/>
                <a:gd name="T27" fmla="*/ 2147483647 h 465"/>
                <a:gd name="T28" fmla="*/ 2147483647 w 244"/>
                <a:gd name="T29" fmla="*/ 2147483647 h 465"/>
                <a:gd name="T30" fmla="*/ 2147483647 w 244"/>
                <a:gd name="T31" fmla="*/ 2147483647 h 465"/>
                <a:gd name="T32" fmla="*/ 2147483647 w 244"/>
                <a:gd name="T33" fmla="*/ 2147483647 h 465"/>
                <a:gd name="T34" fmla="*/ 2147483647 w 244"/>
                <a:gd name="T35" fmla="*/ 2147483647 h 465"/>
                <a:gd name="T36" fmla="*/ 0 w 244"/>
                <a:gd name="T37" fmla="*/ 2147483647 h 4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4" h="465">
                  <a:moveTo>
                    <a:pt x="0" y="244"/>
                  </a:moveTo>
                  <a:lnTo>
                    <a:pt x="0" y="100"/>
                  </a:lnTo>
                  <a:lnTo>
                    <a:pt x="31" y="0"/>
                  </a:lnTo>
                  <a:lnTo>
                    <a:pt x="87" y="33"/>
                  </a:lnTo>
                  <a:lnTo>
                    <a:pt x="100" y="68"/>
                  </a:lnTo>
                  <a:lnTo>
                    <a:pt x="150" y="100"/>
                  </a:lnTo>
                  <a:lnTo>
                    <a:pt x="161" y="89"/>
                  </a:lnTo>
                  <a:lnTo>
                    <a:pt x="161" y="45"/>
                  </a:lnTo>
                  <a:lnTo>
                    <a:pt x="180" y="12"/>
                  </a:lnTo>
                  <a:lnTo>
                    <a:pt x="244" y="56"/>
                  </a:lnTo>
                  <a:lnTo>
                    <a:pt x="237" y="112"/>
                  </a:lnTo>
                  <a:lnTo>
                    <a:pt x="244" y="388"/>
                  </a:lnTo>
                  <a:lnTo>
                    <a:pt x="244" y="456"/>
                  </a:lnTo>
                  <a:lnTo>
                    <a:pt x="231" y="456"/>
                  </a:lnTo>
                  <a:lnTo>
                    <a:pt x="231" y="465"/>
                  </a:lnTo>
                  <a:lnTo>
                    <a:pt x="106" y="333"/>
                  </a:lnTo>
                  <a:lnTo>
                    <a:pt x="87" y="356"/>
                  </a:lnTo>
                  <a:lnTo>
                    <a:pt x="36" y="333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16" name="Freeform 972"/>
            <p:cNvSpPr>
              <a:spLocks/>
            </p:cNvSpPr>
            <p:nvPr>
              <p:custDataLst>
                <p:tags r:id="rId810"/>
              </p:custDataLst>
            </p:nvPr>
          </p:nvSpPr>
          <p:spPr bwMode="auto">
            <a:xfrm>
              <a:off x="4621461" y="3627438"/>
              <a:ext cx="358775" cy="368300"/>
            </a:xfrm>
            <a:custGeom>
              <a:avLst/>
              <a:gdLst>
                <a:gd name="T0" fmla="*/ 0 w 244"/>
                <a:gd name="T1" fmla="*/ 2147483647 h 465"/>
                <a:gd name="T2" fmla="*/ 0 w 244"/>
                <a:gd name="T3" fmla="*/ 2147483647 h 465"/>
                <a:gd name="T4" fmla="*/ 2147483647 w 244"/>
                <a:gd name="T5" fmla="*/ 0 h 465"/>
                <a:gd name="T6" fmla="*/ 2147483647 w 244"/>
                <a:gd name="T7" fmla="*/ 2147483647 h 465"/>
                <a:gd name="T8" fmla="*/ 2147483647 w 244"/>
                <a:gd name="T9" fmla="*/ 2147483647 h 465"/>
                <a:gd name="T10" fmla="*/ 2147483647 w 244"/>
                <a:gd name="T11" fmla="*/ 2147483647 h 465"/>
                <a:gd name="T12" fmla="*/ 2147483647 w 244"/>
                <a:gd name="T13" fmla="*/ 2147483647 h 465"/>
                <a:gd name="T14" fmla="*/ 2147483647 w 244"/>
                <a:gd name="T15" fmla="*/ 2147483647 h 465"/>
                <a:gd name="T16" fmla="*/ 2147483647 w 244"/>
                <a:gd name="T17" fmla="*/ 2147483647 h 465"/>
                <a:gd name="T18" fmla="*/ 2147483647 w 244"/>
                <a:gd name="T19" fmla="*/ 2147483647 h 465"/>
                <a:gd name="T20" fmla="*/ 2147483647 w 244"/>
                <a:gd name="T21" fmla="*/ 2147483647 h 465"/>
                <a:gd name="T22" fmla="*/ 2147483647 w 244"/>
                <a:gd name="T23" fmla="*/ 2147483647 h 465"/>
                <a:gd name="T24" fmla="*/ 2147483647 w 244"/>
                <a:gd name="T25" fmla="*/ 2147483647 h 465"/>
                <a:gd name="T26" fmla="*/ 2147483647 w 244"/>
                <a:gd name="T27" fmla="*/ 2147483647 h 465"/>
                <a:gd name="T28" fmla="*/ 2147483647 w 244"/>
                <a:gd name="T29" fmla="*/ 2147483647 h 465"/>
                <a:gd name="T30" fmla="*/ 2147483647 w 244"/>
                <a:gd name="T31" fmla="*/ 2147483647 h 465"/>
                <a:gd name="T32" fmla="*/ 2147483647 w 244"/>
                <a:gd name="T33" fmla="*/ 2147483647 h 465"/>
                <a:gd name="T34" fmla="*/ 2147483647 w 244"/>
                <a:gd name="T35" fmla="*/ 2147483647 h 465"/>
                <a:gd name="T36" fmla="*/ 0 w 244"/>
                <a:gd name="T37" fmla="*/ 2147483647 h 4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4" h="465">
                  <a:moveTo>
                    <a:pt x="0" y="244"/>
                  </a:moveTo>
                  <a:lnTo>
                    <a:pt x="0" y="100"/>
                  </a:lnTo>
                  <a:lnTo>
                    <a:pt x="31" y="0"/>
                  </a:lnTo>
                  <a:lnTo>
                    <a:pt x="87" y="33"/>
                  </a:lnTo>
                  <a:lnTo>
                    <a:pt x="100" y="68"/>
                  </a:lnTo>
                  <a:lnTo>
                    <a:pt x="150" y="100"/>
                  </a:lnTo>
                  <a:lnTo>
                    <a:pt x="161" y="89"/>
                  </a:lnTo>
                  <a:lnTo>
                    <a:pt x="161" y="45"/>
                  </a:lnTo>
                  <a:lnTo>
                    <a:pt x="180" y="12"/>
                  </a:lnTo>
                  <a:lnTo>
                    <a:pt x="244" y="56"/>
                  </a:lnTo>
                  <a:lnTo>
                    <a:pt x="237" y="112"/>
                  </a:lnTo>
                  <a:lnTo>
                    <a:pt x="244" y="388"/>
                  </a:lnTo>
                  <a:lnTo>
                    <a:pt x="244" y="456"/>
                  </a:lnTo>
                  <a:lnTo>
                    <a:pt x="231" y="456"/>
                  </a:lnTo>
                  <a:lnTo>
                    <a:pt x="231" y="465"/>
                  </a:lnTo>
                  <a:lnTo>
                    <a:pt x="106" y="333"/>
                  </a:lnTo>
                  <a:lnTo>
                    <a:pt x="87" y="356"/>
                  </a:lnTo>
                  <a:lnTo>
                    <a:pt x="36" y="333"/>
                  </a:lnTo>
                  <a:lnTo>
                    <a:pt x="0" y="244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17" name="Freeform 973"/>
            <p:cNvSpPr>
              <a:spLocks/>
            </p:cNvSpPr>
            <p:nvPr>
              <p:custDataLst>
                <p:tags r:id="rId811"/>
              </p:custDataLst>
            </p:nvPr>
          </p:nvSpPr>
          <p:spPr bwMode="auto">
            <a:xfrm>
              <a:off x="5391398" y="4811713"/>
              <a:ext cx="153988" cy="344487"/>
            </a:xfrm>
            <a:custGeom>
              <a:avLst/>
              <a:gdLst>
                <a:gd name="T0" fmla="*/ 0 w 105"/>
                <a:gd name="T1" fmla="*/ 2147483647 h 434"/>
                <a:gd name="T2" fmla="*/ 2147483647 w 105"/>
                <a:gd name="T3" fmla="*/ 2147483647 h 434"/>
                <a:gd name="T4" fmla="*/ 2147483647 w 105"/>
                <a:gd name="T5" fmla="*/ 2147483647 h 434"/>
                <a:gd name="T6" fmla="*/ 2147483647 w 105"/>
                <a:gd name="T7" fmla="*/ 2147483647 h 434"/>
                <a:gd name="T8" fmla="*/ 2147483647 w 105"/>
                <a:gd name="T9" fmla="*/ 2147483647 h 434"/>
                <a:gd name="T10" fmla="*/ 2147483647 w 105"/>
                <a:gd name="T11" fmla="*/ 2147483647 h 434"/>
                <a:gd name="T12" fmla="*/ 2147483647 w 105"/>
                <a:gd name="T13" fmla="*/ 0 h 434"/>
                <a:gd name="T14" fmla="*/ 2147483647 w 105"/>
                <a:gd name="T15" fmla="*/ 2147483647 h 434"/>
                <a:gd name="T16" fmla="*/ 2147483647 w 105"/>
                <a:gd name="T17" fmla="*/ 2147483647 h 434"/>
                <a:gd name="T18" fmla="*/ 2147483647 w 105"/>
                <a:gd name="T19" fmla="*/ 2147483647 h 434"/>
                <a:gd name="T20" fmla="*/ 2147483647 w 105"/>
                <a:gd name="T21" fmla="*/ 2147483647 h 434"/>
                <a:gd name="T22" fmla="*/ 2147483647 w 105"/>
                <a:gd name="T23" fmla="*/ 2147483647 h 434"/>
                <a:gd name="T24" fmla="*/ 2147483647 w 105"/>
                <a:gd name="T25" fmla="*/ 2147483647 h 434"/>
                <a:gd name="T26" fmla="*/ 0 w 105"/>
                <a:gd name="T27" fmla="*/ 2147483647 h 4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5" h="434">
                  <a:moveTo>
                    <a:pt x="0" y="311"/>
                  </a:moveTo>
                  <a:lnTo>
                    <a:pt x="7" y="399"/>
                  </a:lnTo>
                  <a:lnTo>
                    <a:pt x="31" y="434"/>
                  </a:lnTo>
                  <a:lnTo>
                    <a:pt x="63" y="399"/>
                  </a:lnTo>
                  <a:lnTo>
                    <a:pt x="100" y="99"/>
                  </a:lnTo>
                  <a:lnTo>
                    <a:pt x="105" y="111"/>
                  </a:lnTo>
                  <a:lnTo>
                    <a:pt x="94" y="0"/>
                  </a:lnTo>
                  <a:lnTo>
                    <a:pt x="69" y="44"/>
                  </a:lnTo>
                  <a:lnTo>
                    <a:pt x="74" y="76"/>
                  </a:lnTo>
                  <a:lnTo>
                    <a:pt x="50" y="111"/>
                  </a:lnTo>
                  <a:lnTo>
                    <a:pt x="19" y="132"/>
                  </a:lnTo>
                  <a:lnTo>
                    <a:pt x="13" y="167"/>
                  </a:lnTo>
                  <a:lnTo>
                    <a:pt x="19" y="245"/>
                  </a:lnTo>
                  <a:lnTo>
                    <a:pt x="0" y="3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18" name="Freeform 974"/>
            <p:cNvSpPr>
              <a:spLocks/>
            </p:cNvSpPr>
            <p:nvPr>
              <p:custDataLst>
                <p:tags r:id="rId812"/>
              </p:custDataLst>
            </p:nvPr>
          </p:nvSpPr>
          <p:spPr bwMode="auto">
            <a:xfrm>
              <a:off x="5391398" y="4811713"/>
              <a:ext cx="153988" cy="344487"/>
            </a:xfrm>
            <a:custGeom>
              <a:avLst/>
              <a:gdLst>
                <a:gd name="T0" fmla="*/ 0 w 105"/>
                <a:gd name="T1" fmla="*/ 2147483647 h 434"/>
                <a:gd name="T2" fmla="*/ 2147483647 w 105"/>
                <a:gd name="T3" fmla="*/ 2147483647 h 434"/>
                <a:gd name="T4" fmla="*/ 2147483647 w 105"/>
                <a:gd name="T5" fmla="*/ 2147483647 h 434"/>
                <a:gd name="T6" fmla="*/ 2147483647 w 105"/>
                <a:gd name="T7" fmla="*/ 2147483647 h 434"/>
                <a:gd name="T8" fmla="*/ 2147483647 w 105"/>
                <a:gd name="T9" fmla="*/ 2147483647 h 434"/>
                <a:gd name="T10" fmla="*/ 2147483647 w 105"/>
                <a:gd name="T11" fmla="*/ 2147483647 h 434"/>
                <a:gd name="T12" fmla="*/ 2147483647 w 105"/>
                <a:gd name="T13" fmla="*/ 0 h 434"/>
                <a:gd name="T14" fmla="*/ 2147483647 w 105"/>
                <a:gd name="T15" fmla="*/ 2147483647 h 434"/>
                <a:gd name="T16" fmla="*/ 2147483647 w 105"/>
                <a:gd name="T17" fmla="*/ 2147483647 h 434"/>
                <a:gd name="T18" fmla="*/ 2147483647 w 105"/>
                <a:gd name="T19" fmla="*/ 2147483647 h 434"/>
                <a:gd name="T20" fmla="*/ 2147483647 w 105"/>
                <a:gd name="T21" fmla="*/ 2147483647 h 434"/>
                <a:gd name="T22" fmla="*/ 2147483647 w 105"/>
                <a:gd name="T23" fmla="*/ 2147483647 h 434"/>
                <a:gd name="T24" fmla="*/ 2147483647 w 105"/>
                <a:gd name="T25" fmla="*/ 2147483647 h 434"/>
                <a:gd name="T26" fmla="*/ 0 w 105"/>
                <a:gd name="T27" fmla="*/ 2147483647 h 4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5" h="434">
                  <a:moveTo>
                    <a:pt x="0" y="311"/>
                  </a:moveTo>
                  <a:lnTo>
                    <a:pt x="7" y="399"/>
                  </a:lnTo>
                  <a:lnTo>
                    <a:pt x="31" y="434"/>
                  </a:lnTo>
                  <a:lnTo>
                    <a:pt x="63" y="399"/>
                  </a:lnTo>
                  <a:lnTo>
                    <a:pt x="100" y="99"/>
                  </a:lnTo>
                  <a:lnTo>
                    <a:pt x="105" y="111"/>
                  </a:lnTo>
                  <a:lnTo>
                    <a:pt x="94" y="0"/>
                  </a:lnTo>
                  <a:lnTo>
                    <a:pt x="69" y="44"/>
                  </a:lnTo>
                  <a:lnTo>
                    <a:pt x="74" y="76"/>
                  </a:lnTo>
                  <a:lnTo>
                    <a:pt x="50" y="111"/>
                  </a:lnTo>
                  <a:lnTo>
                    <a:pt x="19" y="132"/>
                  </a:lnTo>
                  <a:lnTo>
                    <a:pt x="13" y="167"/>
                  </a:lnTo>
                  <a:lnTo>
                    <a:pt x="19" y="245"/>
                  </a:lnTo>
                  <a:lnTo>
                    <a:pt x="0" y="3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19" name="Freeform 975"/>
            <p:cNvSpPr>
              <a:spLocks/>
            </p:cNvSpPr>
            <p:nvPr>
              <p:custDataLst>
                <p:tags r:id="rId813"/>
              </p:custDataLst>
            </p:nvPr>
          </p:nvSpPr>
          <p:spPr bwMode="auto">
            <a:xfrm>
              <a:off x="5391398" y="4811713"/>
              <a:ext cx="153988" cy="344487"/>
            </a:xfrm>
            <a:custGeom>
              <a:avLst/>
              <a:gdLst>
                <a:gd name="T0" fmla="*/ 0 w 105"/>
                <a:gd name="T1" fmla="*/ 2147483647 h 434"/>
                <a:gd name="T2" fmla="*/ 2147483647 w 105"/>
                <a:gd name="T3" fmla="*/ 2147483647 h 434"/>
                <a:gd name="T4" fmla="*/ 2147483647 w 105"/>
                <a:gd name="T5" fmla="*/ 2147483647 h 434"/>
                <a:gd name="T6" fmla="*/ 2147483647 w 105"/>
                <a:gd name="T7" fmla="*/ 2147483647 h 434"/>
                <a:gd name="T8" fmla="*/ 2147483647 w 105"/>
                <a:gd name="T9" fmla="*/ 2147483647 h 434"/>
                <a:gd name="T10" fmla="*/ 2147483647 w 105"/>
                <a:gd name="T11" fmla="*/ 2147483647 h 434"/>
                <a:gd name="T12" fmla="*/ 2147483647 w 105"/>
                <a:gd name="T13" fmla="*/ 0 h 434"/>
                <a:gd name="T14" fmla="*/ 2147483647 w 105"/>
                <a:gd name="T15" fmla="*/ 2147483647 h 434"/>
                <a:gd name="T16" fmla="*/ 2147483647 w 105"/>
                <a:gd name="T17" fmla="*/ 2147483647 h 434"/>
                <a:gd name="T18" fmla="*/ 2147483647 w 105"/>
                <a:gd name="T19" fmla="*/ 2147483647 h 434"/>
                <a:gd name="T20" fmla="*/ 2147483647 w 105"/>
                <a:gd name="T21" fmla="*/ 2147483647 h 434"/>
                <a:gd name="T22" fmla="*/ 2147483647 w 105"/>
                <a:gd name="T23" fmla="*/ 2147483647 h 434"/>
                <a:gd name="T24" fmla="*/ 2147483647 w 105"/>
                <a:gd name="T25" fmla="*/ 2147483647 h 434"/>
                <a:gd name="T26" fmla="*/ 0 w 105"/>
                <a:gd name="T27" fmla="*/ 2147483647 h 4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5" h="434">
                  <a:moveTo>
                    <a:pt x="0" y="311"/>
                  </a:moveTo>
                  <a:lnTo>
                    <a:pt x="7" y="399"/>
                  </a:lnTo>
                  <a:lnTo>
                    <a:pt x="31" y="434"/>
                  </a:lnTo>
                  <a:lnTo>
                    <a:pt x="63" y="399"/>
                  </a:lnTo>
                  <a:lnTo>
                    <a:pt x="100" y="99"/>
                  </a:lnTo>
                  <a:lnTo>
                    <a:pt x="105" y="111"/>
                  </a:lnTo>
                  <a:lnTo>
                    <a:pt x="94" y="0"/>
                  </a:lnTo>
                  <a:lnTo>
                    <a:pt x="69" y="44"/>
                  </a:lnTo>
                  <a:lnTo>
                    <a:pt x="74" y="76"/>
                  </a:lnTo>
                  <a:lnTo>
                    <a:pt x="50" y="111"/>
                  </a:lnTo>
                  <a:lnTo>
                    <a:pt x="19" y="132"/>
                  </a:lnTo>
                  <a:lnTo>
                    <a:pt x="13" y="167"/>
                  </a:lnTo>
                  <a:lnTo>
                    <a:pt x="19" y="245"/>
                  </a:lnTo>
                  <a:lnTo>
                    <a:pt x="0" y="3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20" name="Freeform 976"/>
            <p:cNvSpPr>
              <a:spLocks/>
            </p:cNvSpPr>
            <p:nvPr>
              <p:custDataLst>
                <p:tags r:id="rId814"/>
              </p:custDataLst>
            </p:nvPr>
          </p:nvSpPr>
          <p:spPr bwMode="auto">
            <a:xfrm>
              <a:off x="5391398" y="4811713"/>
              <a:ext cx="153988" cy="344487"/>
            </a:xfrm>
            <a:custGeom>
              <a:avLst/>
              <a:gdLst>
                <a:gd name="T0" fmla="*/ 0 w 105"/>
                <a:gd name="T1" fmla="*/ 2147483647 h 434"/>
                <a:gd name="T2" fmla="*/ 2147483647 w 105"/>
                <a:gd name="T3" fmla="*/ 2147483647 h 434"/>
                <a:gd name="T4" fmla="*/ 2147483647 w 105"/>
                <a:gd name="T5" fmla="*/ 2147483647 h 434"/>
                <a:gd name="T6" fmla="*/ 2147483647 w 105"/>
                <a:gd name="T7" fmla="*/ 2147483647 h 434"/>
                <a:gd name="T8" fmla="*/ 2147483647 w 105"/>
                <a:gd name="T9" fmla="*/ 2147483647 h 434"/>
                <a:gd name="T10" fmla="*/ 2147483647 w 105"/>
                <a:gd name="T11" fmla="*/ 2147483647 h 434"/>
                <a:gd name="T12" fmla="*/ 2147483647 w 105"/>
                <a:gd name="T13" fmla="*/ 0 h 434"/>
                <a:gd name="T14" fmla="*/ 2147483647 w 105"/>
                <a:gd name="T15" fmla="*/ 2147483647 h 434"/>
                <a:gd name="T16" fmla="*/ 2147483647 w 105"/>
                <a:gd name="T17" fmla="*/ 2147483647 h 434"/>
                <a:gd name="T18" fmla="*/ 2147483647 w 105"/>
                <a:gd name="T19" fmla="*/ 2147483647 h 434"/>
                <a:gd name="T20" fmla="*/ 2147483647 w 105"/>
                <a:gd name="T21" fmla="*/ 2147483647 h 434"/>
                <a:gd name="T22" fmla="*/ 2147483647 w 105"/>
                <a:gd name="T23" fmla="*/ 2147483647 h 434"/>
                <a:gd name="T24" fmla="*/ 2147483647 w 105"/>
                <a:gd name="T25" fmla="*/ 2147483647 h 434"/>
                <a:gd name="T26" fmla="*/ 0 w 105"/>
                <a:gd name="T27" fmla="*/ 2147483647 h 4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5" h="434">
                  <a:moveTo>
                    <a:pt x="0" y="311"/>
                  </a:moveTo>
                  <a:lnTo>
                    <a:pt x="7" y="399"/>
                  </a:lnTo>
                  <a:lnTo>
                    <a:pt x="31" y="434"/>
                  </a:lnTo>
                  <a:lnTo>
                    <a:pt x="63" y="399"/>
                  </a:lnTo>
                  <a:lnTo>
                    <a:pt x="100" y="99"/>
                  </a:lnTo>
                  <a:lnTo>
                    <a:pt x="105" y="111"/>
                  </a:lnTo>
                  <a:lnTo>
                    <a:pt x="94" y="0"/>
                  </a:lnTo>
                  <a:lnTo>
                    <a:pt x="69" y="44"/>
                  </a:lnTo>
                  <a:lnTo>
                    <a:pt x="74" y="76"/>
                  </a:lnTo>
                  <a:lnTo>
                    <a:pt x="50" y="111"/>
                  </a:lnTo>
                  <a:lnTo>
                    <a:pt x="19" y="132"/>
                  </a:lnTo>
                  <a:lnTo>
                    <a:pt x="13" y="167"/>
                  </a:lnTo>
                  <a:lnTo>
                    <a:pt x="19" y="245"/>
                  </a:lnTo>
                  <a:lnTo>
                    <a:pt x="0" y="3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21" name="Freeform 977"/>
            <p:cNvSpPr>
              <a:spLocks/>
            </p:cNvSpPr>
            <p:nvPr>
              <p:custDataLst>
                <p:tags r:id="rId815"/>
              </p:custDataLst>
            </p:nvPr>
          </p:nvSpPr>
          <p:spPr bwMode="auto">
            <a:xfrm>
              <a:off x="5153273" y="4740275"/>
              <a:ext cx="73025" cy="195263"/>
            </a:xfrm>
            <a:custGeom>
              <a:avLst/>
              <a:gdLst>
                <a:gd name="T0" fmla="*/ 0 w 50"/>
                <a:gd name="T1" fmla="*/ 2147483647 h 246"/>
                <a:gd name="T2" fmla="*/ 2147483647 w 50"/>
                <a:gd name="T3" fmla="*/ 2147483647 h 246"/>
                <a:gd name="T4" fmla="*/ 2147483647 w 50"/>
                <a:gd name="T5" fmla="*/ 2147483647 h 246"/>
                <a:gd name="T6" fmla="*/ 2147483647 w 50"/>
                <a:gd name="T7" fmla="*/ 2147483647 h 246"/>
                <a:gd name="T8" fmla="*/ 2147483647 w 50"/>
                <a:gd name="T9" fmla="*/ 2147483647 h 246"/>
                <a:gd name="T10" fmla="*/ 2147483647 w 50"/>
                <a:gd name="T11" fmla="*/ 2147483647 h 246"/>
                <a:gd name="T12" fmla="*/ 2147483647 w 50"/>
                <a:gd name="T13" fmla="*/ 2147483647 h 246"/>
                <a:gd name="T14" fmla="*/ 2147483647 w 50"/>
                <a:gd name="T15" fmla="*/ 2147483647 h 246"/>
                <a:gd name="T16" fmla="*/ 2147483647 w 50"/>
                <a:gd name="T17" fmla="*/ 2147483647 h 246"/>
                <a:gd name="T18" fmla="*/ 2147483647 w 50"/>
                <a:gd name="T19" fmla="*/ 2147483647 h 246"/>
                <a:gd name="T20" fmla="*/ 2147483647 w 50"/>
                <a:gd name="T21" fmla="*/ 0 h 246"/>
                <a:gd name="T22" fmla="*/ 2147483647 w 50"/>
                <a:gd name="T23" fmla="*/ 0 h 246"/>
                <a:gd name="T24" fmla="*/ 2147483647 w 50"/>
                <a:gd name="T25" fmla="*/ 2147483647 h 246"/>
                <a:gd name="T26" fmla="*/ 0 w 50"/>
                <a:gd name="T27" fmla="*/ 2147483647 h 2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246">
                  <a:moveTo>
                    <a:pt x="0" y="133"/>
                  </a:moveTo>
                  <a:lnTo>
                    <a:pt x="7" y="144"/>
                  </a:lnTo>
                  <a:lnTo>
                    <a:pt x="25" y="167"/>
                  </a:lnTo>
                  <a:lnTo>
                    <a:pt x="25" y="212"/>
                  </a:lnTo>
                  <a:lnTo>
                    <a:pt x="44" y="246"/>
                  </a:lnTo>
                  <a:lnTo>
                    <a:pt x="50" y="179"/>
                  </a:lnTo>
                  <a:lnTo>
                    <a:pt x="38" y="133"/>
                  </a:lnTo>
                  <a:lnTo>
                    <a:pt x="38" y="158"/>
                  </a:lnTo>
                  <a:lnTo>
                    <a:pt x="32" y="158"/>
                  </a:lnTo>
                  <a:lnTo>
                    <a:pt x="19" y="89"/>
                  </a:lnTo>
                  <a:lnTo>
                    <a:pt x="19" y="0"/>
                  </a:lnTo>
                  <a:lnTo>
                    <a:pt x="7" y="0"/>
                  </a:lnTo>
                  <a:lnTo>
                    <a:pt x="19" y="33"/>
                  </a:lnTo>
                  <a:lnTo>
                    <a:pt x="0" y="1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22" name="Freeform 978"/>
            <p:cNvSpPr>
              <a:spLocks/>
            </p:cNvSpPr>
            <p:nvPr>
              <p:custDataLst>
                <p:tags r:id="rId816"/>
              </p:custDataLst>
            </p:nvPr>
          </p:nvSpPr>
          <p:spPr bwMode="auto">
            <a:xfrm>
              <a:off x="5153273" y="4740275"/>
              <a:ext cx="73025" cy="195263"/>
            </a:xfrm>
            <a:custGeom>
              <a:avLst/>
              <a:gdLst>
                <a:gd name="T0" fmla="*/ 0 w 50"/>
                <a:gd name="T1" fmla="*/ 2147483647 h 246"/>
                <a:gd name="T2" fmla="*/ 2147483647 w 50"/>
                <a:gd name="T3" fmla="*/ 2147483647 h 246"/>
                <a:gd name="T4" fmla="*/ 2147483647 w 50"/>
                <a:gd name="T5" fmla="*/ 2147483647 h 246"/>
                <a:gd name="T6" fmla="*/ 2147483647 w 50"/>
                <a:gd name="T7" fmla="*/ 2147483647 h 246"/>
                <a:gd name="T8" fmla="*/ 2147483647 w 50"/>
                <a:gd name="T9" fmla="*/ 2147483647 h 246"/>
                <a:gd name="T10" fmla="*/ 2147483647 w 50"/>
                <a:gd name="T11" fmla="*/ 2147483647 h 246"/>
                <a:gd name="T12" fmla="*/ 2147483647 w 50"/>
                <a:gd name="T13" fmla="*/ 2147483647 h 246"/>
                <a:gd name="T14" fmla="*/ 2147483647 w 50"/>
                <a:gd name="T15" fmla="*/ 2147483647 h 246"/>
                <a:gd name="T16" fmla="*/ 2147483647 w 50"/>
                <a:gd name="T17" fmla="*/ 2147483647 h 246"/>
                <a:gd name="T18" fmla="*/ 2147483647 w 50"/>
                <a:gd name="T19" fmla="*/ 2147483647 h 246"/>
                <a:gd name="T20" fmla="*/ 2147483647 w 50"/>
                <a:gd name="T21" fmla="*/ 0 h 246"/>
                <a:gd name="T22" fmla="*/ 2147483647 w 50"/>
                <a:gd name="T23" fmla="*/ 0 h 246"/>
                <a:gd name="T24" fmla="*/ 2147483647 w 50"/>
                <a:gd name="T25" fmla="*/ 2147483647 h 246"/>
                <a:gd name="T26" fmla="*/ 0 w 50"/>
                <a:gd name="T27" fmla="*/ 2147483647 h 2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246">
                  <a:moveTo>
                    <a:pt x="0" y="133"/>
                  </a:moveTo>
                  <a:lnTo>
                    <a:pt x="7" y="144"/>
                  </a:lnTo>
                  <a:lnTo>
                    <a:pt x="25" y="167"/>
                  </a:lnTo>
                  <a:lnTo>
                    <a:pt x="25" y="212"/>
                  </a:lnTo>
                  <a:lnTo>
                    <a:pt x="44" y="246"/>
                  </a:lnTo>
                  <a:lnTo>
                    <a:pt x="50" y="179"/>
                  </a:lnTo>
                  <a:lnTo>
                    <a:pt x="38" y="133"/>
                  </a:lnTo>
                  <a:lnTo>
                    <a:pt x="38" y="158"/>
                  </a:lnTo>
                  <a:lnTo>
                    <a:pt x="32" y="158"/>
                  </a:lnTo>
                  <a:lnTo>
                    <a:pt x="19" y="89"/>
                  </a:lnTo>
                  <a:lnTo>
                    <a:pt x="19" y="0"/>
                  </a:lnTo>
                  <a:lnTo>
                    <a:pt x="7" y="0"/>
                  </a:lnTo>
                  <a:lnTo>
                    <a:pt x="19" y="33"/>
                  </a:lnTo>
                  <a:lnTo>
                    <a:pt x="0" y="1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23" name="Freeform 979"/>
            <p:cNvSpPr>
              <a:spLocks/>
            </p:cNvSpPr>
            <p:nvPr>
              <p:custDataLst>
                <p:tags r:id="rId817"/>
              </p:custDataLst>
            </p:nvPr>
          </p:nvSpPr>
          <p:spPr bwMode="auto">
            <a:xfrm>
              <a:off x="5153273" y="4740275"/>
              <a:ext cx="73025" cy="195263"/>
            </a:xfrm>
            <a:custGeom>
              <a:avLst/>
              <a:gdLst>
                <a:gd name="T0" fmla="*/ 0 w 50"/>
                <a:gd name="T1" fmla="*/ 2147483647 h 246"/>
                <a:gd name="T2" fmla="*/ 2147483647 w 50"/>
                <a:gd name="T3" fmla="*/ 2147483647 h 246"/>
                <a:gd name="T4" fmla="*/ 2147483647 w 50"/>
                <a:gd name="T5" fmla="*/ 2147483647 h 246"/>
                <a:gd name="T6" fmla="*/ 2147483647 w 50"/>
                <a:gd name="T7" fmla="*/ 2147483647 h 246"/>
                <a:gd name="T8" fmla="*/ 2147483647 w 50"/>
                <a:gd name="T9" fmla="*/ 2147483647 h 246"/>
                <a:gd name="T10" fmla="*/ 2147483647 w 50"/>
                <a:gd name="T11" fmla="*/ 2147483647 h 246"/>
                <a:gd name="T12" fmla="*/ 2147483647 w 50"/>
                <a:gd name="T13" fmla="*/ 2147483647 h 246"/>
                <a:gd name="T14" fmla="*/ 2147483647 w 50"/>
                <a:gd name="T15" fmla="*/ 2147483647 h 246"/>
                <a:gd name="T16" fmla="*/ 2147483647 w 50"/>
                <a:gd name="T17" fmla="*/ 2147483647 h 246"/>
                <a:gd name="T18" fmla="*/ 2147483647 w 50"/>
                <a:gd name="T19" fmla="*/ 2147483647 h 246"/>
                <a:gd name="T20" fmla="*/ 2147483647 w 50"/>
                <a:gd name="T21" fmla="*/ 0 h 246"/>
                <a:gd name="T22" fmla="*/ 2147483647 w 50"/>
                <a:gd name="T23" fmla="*/ 0 h 246"/>
                <a:gd name="T24" fmla="*/ 2147483647 w 50"/>
                <a:gd name="T25" fmla="*/ 2147483647 h 246"/>
                <a:gd name="T26" fmla="*/ 0 w 50"/>
                <a:gd name="T27" fmla="*/ 2147483647 h 2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246">
                  <a:moveTo>
                    <a:pt x="0" y="133"/>
                  </a:moveTo>
                  <a:lnTo>
                    <a:pt x="7" y="144"/>
                  </a:lnTo>
                  <a:lnTo>
                    <a:pt x="25" y="167"/>
                  </a:lnTo>
                  <a:lnTo>
                    <a:pt x="25" y="212"/>
                  </a:lnTo>
                  <a:lnTo>
                    <a:pt x="44" y="246"/>
                  </a:lnTo>
                  <a:lnTo>
                    <a:pt x="50" y="179"/>
                  </a:lnTo>
                  <a:lnTo>
                    <a:pt x="38" y="133"/>
                  </a:lnTo>
                  <a:lnTo>
                    <a:pt x="38" y="158"/>
                  </a:lnTo>
                  <a:lnTo>
                    <a:pt x="32" y="158"/>
                  </a:lnTo>
                  <a:lnTo>
                    <a:pt x="19" y="89"/>
                  </a:lnTo>
                  <a:lnTo>
                    <a:pt x="19" y="0"/>
                  </a:lnTo>
                  <a:lnTo>
                    <a:pt x="7" y="0"/>
                  </a:lnTo>
                  <a:lnTo>
                    <a:pt x="19" y="33"/>
                  </a:lnTo>
                  <a:lnTo>
                    <a:pt x="0" y="1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24" name="Freeform 980"/>
            <p:cNvSpPr>
              <a:spLocks/>
            </p:cNvSpPr>
            <p:nvPr>
              <p:custDataLst>
                <p:tags r:id="rId818"/>
              </p:custDataLst>
            </p:nvPr>
          </p:nvSpPr>
          <p:spPr bwMode="auto">
            <a:xfrm>
              <a:off x="5153273" y="4740275"/>
              <a:ext cx="73025" cy="195263"/>
            </a:xfrm>
            <a:custGeom>
              <a:avLst/>
              <a:gdLst>
                <a:gd name="T0" fmla="*/ 0 w 50"/>
                <a:gd name="T1" fmla="*/ 2147483647 h 246"/>
                <a:gd name="T2" fmla="*/ 2147483647 w 50"/>
                <a:gd name="T3" fmla="*/ 2147483647 h 246"/>
                <a:gd name="T4" fmla="*/ 2147483647 w 50"/>
                <a:gd name="T5" fmla="*/ 2147483647 h 246"/>
                <a:gd name="T6" fmla="*/ 2147483647 w 50"/>
                <a:gd name="T7" fmla="*/ 2147483647 h 246"/>
                <a:gd name="T8" fmla="*/ 2147483647 w 50"/>
                <a:gd name="T9" fmla="*/ 2147483647 h 246"/>
                <a:gd name="T10" fmla="*/ 2147483647 w 50"/>
                <a:gd name="T11" fmla="*/ 2147483647 h 246"/>
                <a:gd name="T12" fmla="*/ 2147483647 w 50"/>
                <a:gd name="T13" fmla="*/ 2147483647 h 246"/>
                <a:gd name="T14" fmla="*/ 2147483647 w 50"/>
                <a:gd name="T15" fmla="*/ 2147483647 h 246"/>
                <a:gd name="T16" fmla="*/ 2147483647 w 50"/>
                <a:gd name="T17" fmla="*/ 2147483647 h 246"/>
                <a:gd name="T18" fmla="*/ 2147483647 w 50"/>
                <a:gd name="T19" fmla="*/ 2147483647 h 246"/>
                <a:gd name="T20" fmla="*/ 2147483647 w 50"/>
                <a:gd name="T21" fmla="*/ 0 h 246"/>
                <a:gd name="T22" fmla="*/ 2147483647 w 50"/>
                <a:gd name="T23" fmla="*/ 0 h 246"/>
                <a:gd name="T24" fmla="*/ 2147483647 w 50"/>
                <a:gd name="T25" fmla="*/ 2147483647 h 246"/>
                <a:gd name="T26" fmla="*/ 0 w 50"/>
                <a:gd name="T27" fmla="*/ 2147483647 h 2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246">
                  <a:moveTo>
                    <a:pt x="0" y="133"/>
                  </a:moveTo>
                  <a:lnTo>
                    <a:pt x="7" y="144"/>
                  </a:lnTo>
                  <a:lnTo>
                    <a:pt x="25" y="167"/>
                  </a:lnTo>
                  <a:lnTo>
                    <a:pt x="25" y="212"/>
                  </a:lnTo>
                  <a:lnTo>
                    <a:pt x="44" y="246"/>
                  </a:lnTo>
                  <a:lnTo>
                    <a:pt x="50" y="179"/>
                  </a:lnTo>
                  <a:lnTo>
                    <a:pt x="38" y="133"/>
                  </a:lnTo>
                  <a:lnTo>
                    <a:pt x="38" y="158"/>
                  </a:lnTo>
                  <a:lnTo>
                    <a:pt x="32" y="158"/>
                  </a:lnTo>
                  <a:lnTo>
                    <a:pt x="19" y="89"/>
                  </a:lnTo>
                  <a:lnTo>
                    <a:pt x="19" y="0"/>
                  </a:lnTo>
                  <a:lnTo>
                    <a:pt x="7" y="0"/>
                  </a:lnTo>
                  <a:lnTo>
                    <a:pt x="19" y="33"/>
                  </a:lnTo>
                  <a:lnTo>
                    <a:pt x="0" y="1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25" name="Freeform 981"/>
            <p:cNvSpPr>
              <a:spLocks/>
            </p:cNvSpPr>
            <p:nvPr>
              <p:custDataLst>
                <p:tags r:id="rId819"/>
              </p:custDataLst>
            </p:nvPr>
          </p:nvSpPr>
          <p:spPr bwMode="auto">
            <a:xfrm>
              <a:off x="4135686" y="3857625"/>
              <a:ext cx="366712" cy="379413"/>
            </a:xfrm>
            <a:custGeom>
              <a:avLst/>
              <a:gdLst>
                <a:gd name="T0" fmla="*/ 0 w 250"/>
                <a:gd name="T1" fmla="*/ 2147483647 h 479"/>
                <a:gd name="T2" fmla="*/ 2147483647 w 250"/>
                <a:gd name="T3" fmla="*/ 2147483647 h 479"/>
                <a:gd name="T4" fmla="*/ 2147483647 w 250"/>
                <a:gd name="T5" fmla="*/ 2147483647 h 479"/>
                <a:gd name="T6" fmla="*/ 2147483647 w 250"/>
                <a:gd name="T7" fmla="*/ 2147483647 h 479"/>
                <a:gd name="T8" fmla="*/ 2147483647 w 250"/>
                <a:gd name="T9" fmla="*/ 0 h 479"/>
                <a:gd name="T10" fmla="*/ 2147483647 w 250"/>
                <a:gd name="T11" fmla="*/ 0 h 479"/>
                <a:gd name="T12" fmla="*/ 2147483647 w 250"/>
                <a:gd name="T13" fmla="*/ 2147483647 h 479"/>
                <a:gd name="T14" fmla="*/ 2147483647 w 250"/>
                <a:gd name="T15" fmla="*/ 2147483647 h 479"/>
                <a:gd name="T16" fmla="*/ 2147483647 w 250"/>
                <a:gd name="T17" fmla="*/ 2147483647 h 479"/>
                <a:gd name="T18" fmla="*/ 2147483647 w 250"/>
                <a:gd name="T19" fmla="*/ 2147483647 h 479"/>
                <a:gd name="T20" fmla="*/ 2147483647 w 250"/>
                <a:gd name="T21" fmla="*/ 2147483647 h 479"/>
                <a:gd name="T22" fmla="*/ 2147483647 w 250"/>
                <a:gd name="T23" fmla="*/ 2147483647 h 479"/>
                <a:gd name="T24" fmla="*/ 2147483647 w 250"/>
                <a:gd name="T25" fmla="*/ 2147483647 h 479"/>
                <a:gd name="T26" fmla="*/ 2147483647 w 250"/>
                <a:gd name="T27" fmla="*/ 2147483647 h 479"/>
                <a:gd name="T28" fmla="*/ 2147483647 w 250"/>
                <a:gd name="T29" fmla="*/ 2147483647 h 479"/>
                <a:gd name="T30" fmla="*/ 2147483647 w 250"/>
                <a:gd name="T31" fmla="*/ 2147483647 h 479"/>
                <a:gd name="T32" fmla="*/ 2147483647 w 250"/>
                <a:gd name="T33" fmla="*/ 2147483647 h 479"/>
                <a:gd name="T34" fmla="*/ 2147483647 w 250"/>
                <a:gd name="T35" fmla="*/ 2147483647 h 479"/>
                <a:gd name="T36" fmla="*/ 2147483647 w 250"/>
                <a:gd name="T37" fmla="*/ 2147483647 h 479"/>
                <a:gd name="T38" fmla="*/ 0 w 250"/>
                <a:gd name="T39" fmla="*/ 2147483647 h 47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50" h="479">
                  <a:moveTo>
                    <a:pt x="0" y="335"/>
                  </a:moveTo>
                  <a:lnTo>
                    <a:pt x="7" y="300"/>
                  </a:lnTo>
                  <a:lnTo>
                    <a:pt x="19" y="323"/>
                  </a:lnTo>
                  <a:lnTo>
                    <a:pt x="99" y="311"/>
                  </a:lnTo>
                  <a:lnTo>
                    <a:pt x="81" y="0"/>
                  </a:lnTo>
                  <a:lnTo>
                    <a:pt x="112" y="0"/>
                  </a:lnTo>
                  <a:lnTo>
                    <a:pt x="237" y="167"/>
                  </a:lnTo>
                  <a:lnTo>
                    <a:pt x="237" y="200"/>
                  </a:lnTo>
                  <a:lnTo>
                    <a:pt x="250" y="200"/>
                  </a:lnTo>
                  <a:lnTo>
                    <a:pt x="250" y="300"/>
                  </a:lnTo>
                  <a:lnTo>
                    <a:pt x="244" y="311"/>
                  </a:lnTo>
                  <a:lnTo>
                    <a:pt x="194" y="335"/>
                  </a:lnTo>
                  <a:lnTo>
                    <a:pt x="125" y="388"/>
                  </a:lnTo>
                  <a:lnTo>
                    <a:pt x="107" y="479"/>
                  </a:lnTo>
                  <a:lnTo>
                    <a:pt x="88" y="467"/>
                  </a:lnTo>
                  <a:lnTo>
                    <a:pt x="62" y="479"/>
                  </a:lnTo>
                  <a:lnTo>
                    <a:pt x="43" y="411"/>
                  </a:lnTo>
                  <a:lnTo>
                    <a:pt x="19" y="423"/>
                  </a:lnTo>
                  <a:lnTo>
                    <a:pt x="7" y="411"/>
                  </a:lnTo>
                  <a:lnTo>
                    <a:pt x="0" y="3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26" name="Freeform 982"/>
            <p:cNvSpPr>
              <a:spLocks/>
            </p:cNvSpPr>
            <p:nvPr>
              <p:custDataLst>
                <p:tags r:id="rId820"/>
              </p:custDataLst>
            </p:nvPr>
          </p:nvSpPr>
          <p:spPr bwMode="auto">
            <a:xfrm>
              <a:off x="4135686" y="3857625"/>
              <a:ext cx="366712" cy="379413"/>
            </a:xfrm>
            <a:custGeom>
              <a:avLst/>
              <a:gdLst>
                <a:gd name="T0" fmla="*/ 0 w 250"/>
                <a:gd name="T1" fmla="*/ 2147483647 h 479"/>
                <a:gd name="T2" fmla="*/ 2147483647 w 250"/>
                <a:gd name="T3" fmla="*/ 2147483647 h 479"/>
                <a:gd name="T4" fmla="*/ 2147483647 w 250"/>
                <a:gd name="T5" fmla="*/ 2147483647 h 479"/>
                <a:gd name="T6" fmla="*/ 2147483647 w 250"/>
                <a:gd name="T7" fmla="*/ 2147483647 h 479"/>
                <a:gd name="T8" fmla="*/ 2147483647 w 250"/>
                <a:gd name="T9" fmla="*/ 0 h 479"/>
                <a:gd name="T10" fmla="*/ 2147483647 w 250"/>
                <a:gd name="T11" fmla="*/ 0 h 479"/>
                <a:gd name="T12" fmla="*/ 2147483647 w 250"/>
                <a:gd name="T13" fmla="*/ 2147483647 h 479"/>
                <a:gd name="T14" fmla="*/ 2147483647 w 250"/>
                <a:gd name="T15" fmla="*/ 2147483647 h 479"/>
                <a:gd name="T16" fmla="*/ 2147483647 w 250"/>
                <a:gd name="T17" fmla="*/ 2147483647 h 479"/>
                <a:gd name="T18" fmla="*/ 2147483647 w 250"/>
                <a:gd name="T19" fmla="*/ 2147483647 h 479"/>
                <a:gd name="T20" fmla="*/ 2147483647 w 250"/>
                <a:gd name="T21" fmla="*/ 2147483647 h 479"/>
                <a:gd name="T22" fmla="*/ 2147483647 w 250"/>
                <a:gd name="T23" fmla="*/ 2147483647 h 479"/>
                <a:gd name="T24" fmla="*/ 2147483647 w 250"/>
                <a:gd name="T25" fmla="*/ 2147483647 h 479"/>
                <a:gd name="T26" fmla="*/ 2147483647 w 250"/>
                <a:gd name="T27" fmla="*/ 2147483647 h 479"/>
                <a:gd name="T28" fmla="*/ 2147483647 w 250"/>
                <a:gd name="T29" fmla="*/ 2147483647 h 479"/>
                <a:gd name="T30" fmla="*/ 2147483647 w 250"/>
                <a:gd name="T31" fmla="*/ 2147483647 h 479"/>
                <a:gd name="T32" fmla="*/ 2147483647 w 250"/>
                <a:gd name="T33" fmla="*/ 2147483647 h 479"/>
                <a:gd name="T34" fmla="*/ 2147483647 w 250"/>
                <a:gd name="T35" fmla="*/ 2147483647 h 479"/>
                <a:gd name="T36" fmla="*/ 2147483647 w 250"/>
                <a:gd name="T37" fmla="*/ 2147483647 h 479"/>
                <a:gd name="T38" fmla="*/ 0 w 250"/>
                <a:gd name="T39" fmla="*/ 2147483647 h 47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50" h="479">
                  <a:moveTo>
                    <a:pt x="0" y="335"/>
                  </a:moveTo>
                  <a:lnTo>
                    <a:pt x="7" y="300"/>
                  </a:lnTo>
                  <a:lnTo>
                    <a:pt x="19" y="323"/>
                  </a:lnTo>
                  <a:lnTo>
                    <a:pt x="99" y="311"/>
                  </a:lnTo>
                  <a:lnTo>
                    <a:pt x="81" y="0"/>
                  </a:lnTo>
                  <a:lnTo>
                    <a:pt x="112" y="0"/>
                  </a:lnTo>
                  <a:lnTo>
                    <a:pt x="237" y="167"/>
                  </a:lnTo>
                  <a:lnTo>
                    <a:pt x="237" y="200"/>
                  </a:lnTo>
                  <a:lnTo>
                    <a:pt x="250" y="200"/>
                  </a:lnTo>
                  <a:lnTo>
                    <a:pt x="250" y="300"/>
                  </a:lnTo>
                  <a:lnTo>
                    <a:pt x="244" y="311"/>
                  </a:lnTo>
                  <a:lnTo>
                    <a:pt x="194" y="335"/>
                  </a:lnTo>
                  <a:lnTo>
                    <a:pt x="125" y="388"/>
                  </a:lnTo>
                  <a:lnTo>
                    <a:pt x="107" y="479"/>
                  </a:lnTo>
                  <a:lnTo>
                    <a:pt x="88" y="467"/>
                  </a:lnTo>
                  <a:lnTo>
                    <a:pt x="62" y="479"/>
                  </a:lnTo>
                  <a:lnTo>
                    <a:pt x="43" y="411"/>
                  </a:lnTo>
                  <a:lnTo>
                    <a:pt x="19" y="423"/>
                  </a:lnTo>
                  <a:lnTo>
                    <a:pt x="7" y="411"/>
                  </a:lnTo>
                  <a:lnTo>
                    <a:pt x="0" y="3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27" name="Freeform 983"/>
            <p:cNvSpPr>
              <a:spLocks/>
            </p:cNvSpPr>
            <p:nvPr>
              <p:custDataLst>
                <p:tags r:id="rId821"/>
              </p:custDataLst>
            </p:nvPr>
          </p:nvSpPr>
          <p:spPr bwMode="auto">
            <a:xfrm>
              <a:off x="4135686" y="3857625"/>
              <a:ext cx="366712" cy="379413"/>
            </a:xfrm>
            <a:custGeom>
              <a:avLst/>
              <a:gdLst>
                <a:gd name="T0" fmla="*/ 0 w 250"/>
                <a:gd name="T1" fmla="*/ 2147483647 h 479"/>
                <a:gd name="T2" fmla="*/ 2147483647 w 250"/>
                <a:gd name="T3" fmla="*/ 2147483647 h 479"/>
                <a:gd name="T4" fmla="*/ 2147483647 w 250"/>
                <a:gd name="T5" fmla="*/ 2147483647 h 479"/>
                <a:gd name="T6" fmla="*/ 2147483647 w 250"/>
                <a:gd name="T7" fmla="*/ 2147483647 h 479"/>
                <a:gd name="T8" fmla="*/ 2147483647 w 250"/>
                <a:gd name="T9" fmla="*/ 0 h 479"/>
                <a:gd name="T10" fmla="*/ 2147483647 w 250"/>
                <a:gd name="T11" fmla="*/ 0 h 479"/>
                <a:gd name="T12" fmla="*/ 2147483647 w 250"/>
                <a:gd name="T13" fmla="*/ 2147483647 h 479"/>
                <a:gd name="T14" fmla="*/ 2147483647 w 250"/>
                <a:gd name="T15" fmla="*/ 2147483647 h 479"/>
                <a:gd name="T16" fmla="*/ 2147483647 w 250"/>
                <a:gd name="T17" fmla="*/ 2147483647 h 479"/>
                <a:gd name="T18" fmla="*/ 2147483647 w 250"/>
                <a:gd name="T19" fmla="*/ 2147483647 h 479"/>
                <a:gd name="T20" fmla="*/ 2147483647 w 250"/>
                <a:gd name="T21" fmla="*/ 2147483647 h 479"/>
                <a:gd name="T22" fmla="*/ 2147483647 w 250"/>
                <a:gd name="T23" fmla="*/ 2147483647 h 479"/>
                <a:gd name="T24" fmla="*/ 2147483647 w 250"/>
                <a:gd name="T25" fmla="*/ 2147483647 h 479"/>
                <a:gd name="T26" fmla="*/ 2147483647 w 250"/>
                <a:gd name="T27" fmla="*/ 2147483647 h 479"/>
                <a:gd name="T28" fmla="*/ 2147483647 w 250"/>
                <a:gd name="T29" fmla="*/ 2147483647 h 479"/>
                <a:gd name="T30" fmla="*/ 2147483647 w 250"/>
                <a:gd name="T31" fmla="*/ 2147483647 h 479"/>
                <a:gd name="T32" fmla="*/ 2147483647 w 250"/>
                <a:gd name="T33" fmla="*/ 2147483647 h 479"/>
                <a:gd name="T34" fmla="*/ 2147483647 w 250"/>
                <a:gd name="T35" fmla="*/ 2147483647 h 479"/>
                <a:gd name="T36" fmla="*/ 2147483647 w 250"/>
                <a:gd name="T37" fmla="*/ 2147483647 h 479"/>
                <a:gd name="T38" fmla="*/ 0 w 250"/>
                <a:gd name="T39" fmla="*/ 2147483647 h 47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50" h="479">
                  <a:moveTo>
                    <a:pt x="0" y="335"/>
                  </a:moveTo>
                  <a:lnTo>
                    <a:pt x="7" y="300"/>
                  </a:lnTo>
                  <a:lnTo>
                    <a:pt x="19" y="323"/>
                  </a:lnTo>
                  <a:lnTo>
                    <a:pt x="99" y="311"/>
                  </a:lnTo>
                  <a:lnTo>
                    <a:pt x="81" y="0"/>
                  </a:lnTo>
                  <a:lnTo>
                    <a:pt x="112" y="0"/>
                  </a:lnTo>
                  <a:lnTo>
                    <a:pt x="237" y="167"/>
                  </a:lnTo>
                  <a:lnTo>
                    <a:pt x="237" y="200"/>
                  </a:lnTo>
                  <a:lnTo>
                    <a:pt x="250" y="200"/>
                  </a:lnTo>
                  <a:lnTo>
                    <a:pt x="250" y="300"/>
                  </a:lnTo>
                  <a:lnTo>
                    <a:pt x="244" y="311"/>
                  </a:lnTo>
                  <a:lnTo>
                    <a:pt x="194" y="335"/>
                  </a:lnTo>
                  <a:lnTo>
                    <a:pt x="125" y="388"/>
                  </a:lnTo>
                  <a:lnTo>
                    <a:pt x="107" y="479"/>
                  </a:lnTo>
                  <a:lnTo>
                    <a:pt x="88" y="467"/>
                  </a:lnTo>
                  <a:lnTo>
                    <a:pt x="62" y="479"/>
                  </a:lnTo>
                  <a:lnTo>
                    <a:pt x="43" y="411"/>
                  </a:lnTo>
                  <a:lnTo>
                    <a:pt x="19" y="423"/>
                  </a:lnTo>
                  <a:lnTo>
                    <a:pt x="7" y="411"/>
                  </a:lnTo>
                  <a:lnTo>
                    <a:pt x="0" y="33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28" name="Freeform 984"/>
            <p:cNvSpPr>
              <a:spLocks/>
            </p:cNvSpPr>
            <p:nvPr>
              <p:custDataLst>
                <p:tags r:id="rId822"/>
              </p:custDataLst>
            </p:nvPr>
          </p:nvSpPr>
          <p:spPr bwMode="auto">
            <a:xfrm>
              <a:off x="4135686" y="3857625"/>
              <a:ext cx="366712" cy="379413"/>
            </a:xfrm>
            <a:custGeom>
              <a:avLst/>
              <a:gdLst>
                <a:gd name="T0" fmla="*/ 0 w 250"/>
                <a:gd name="T1" fmla="*/ 2147483647 h 479"/>
                <a:gd name="T2" fmla="*/ 2147483647 w 250"/>
                <a:gd name="T3" fmla="*/ 2147483647 h 479"/>
                <a:gd name="T4" fmla="*/ 2147483647 w 250"/>
                <a:gd name="T5" fmla="*/ 2147483647 h 479"/>
                <a:gd name="T6" fmla="*/ 2147483647 w 250"/>
                <a:gd name="T7" fmla="*/ 2147483647 h 479"/>
                <a:gd name="T8" fmla="*/ 2147483647 w 250"/>
                <a:gd name="T9" fmla="*/ 0 h 479"/>
                <a:gd name="T10" fmla="*/ 2147483647 w 250"/>
                <a:gd name="T11" fmla="*/ 0 h 479"/>
                <a:gd name="T12" fmla="*/ 2147483647 w 250"/>
                <a:gd name="T13" fmla="*/ 2147483647 h 479"/>
                <a:gd name="T14" fmla="*/ 2147483647 w 250"/>
                <a:gd name="T15" fmla="*/ 2147483647 h 479"/>
                <a:gd name="T16" fmla="*/ 2147483647 w 250"/>
                <a:gd name="T17" fmla="*/ 2147483647 h 479"/>
                <a:gd name="T18" fmla="*/ 2147483647 w 250"/>
                <a:gd name="T19" fmla="*/ 2147483647 h 479"/>
                <a:gd name="T20" fmla="*/ 2147483647 w 250"/>
                <a:gd name="T21" fmla="*/ 2147483647 h 479"/>
                <a:gd name="T22" fmla="*/ 2147483647 w 250"/>
                <a:gd name="T23" fmla="*/ 2147483647 h 479"/>
                <a:gd name="T24" fmla="*/ 2147483647 w 250"/>
                <a:gd name="T25" fmla="*/ 2147483647 h 479"/>
                <a:gd name="T26" fmla="*/ 2147483647 w 250"/>
                <a:gd name="T27" fmla="*/ 2147483647 h 479"/>
                <a:gd name="T28" fmla="*/ 2147483647 w 250"/>
                <a:gd name="T29" fmla="*/ 2147483647 h 479"/>
                <a:gd name="T30" fmla="*/ 2147483647 w 250"/>
                <a:gd name="T31" fmla="*/ 2147483647 h 479"/>
                <a:gd name="T32" fmla="*/ 2147483647 w 250"/>
                <a:gd name="T33" fmla="*/ 2147483647 h 479"/>
                <a:gd name="T34" fmla="*/ 2147483647 w 250"/>
                <a:gd name="T35" fmla="*/ 2147483647 h 479"/>
                <a:gd name="T36" fmla="*/ 2147483647 w 250"/>
                <a:gd name="T37" fmla="*/ 2147483647 h 479"/>
                <a:gd name="T38" fmla="*/ 0 w 250"/>
                <a:gd name="T39" fmla="*/ 2147483647 h 47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50" h="479">
                  <a:moveTo>
                    <a:pt x="0" y="335"/>
                  </a:moveTo>
                  <a:lnTo>
                    <a:pt x="7" y="300"/>
                  </a:lnTo>
                  <a:lnTo>
                    <a:pt x="19" y="323"/>
                  </a:lnTo>
                  <a:lnTo>
                    <a:pt x="99" y="311"/>
                  </a:lnTo>
                  <a:lnTo>
                    <a:pt x="81" y="0"/>
                  </a:lnTo>
                  <a:lnTo>
                    <a:pt x="112" y="0"/>
                  </a:lnTo>
                  <a:lnTo>
                    <a:pt x="237" y="167"/>
                  </a:lnTo>
                  <a:lnTo>
                    <a:pt x="237" y="200"/>
                  </a:lnTo>
                  <a:lnTo>
                    <a:pt x="250" y="200"/>
                  </a:lnTo>
                  <a:lnTo>
                    <a:pt x="250" y="300"/>
                  </a:lnTo>
                  <a:lnTo>
                    <a:pt x="244" y="311"/>
                  </a:lnTo>
                  <a:lnTo>
                    <a:pt x="194" y="335"/>
                  </a:lnTo>
                  <a:lnTo>
                    <a:pt x="125" y="388"/>
                  </a:lnTo>
                  <a:lnTo>
                    <a:pt x="107" y="479"/>
                  </a:lnTo>
                  <a:lnTo>
                    <a:pt x="88" y="467"/>
                  </a:lnTo>
                  <a:lnTo>
                    <a:pt x="62" y="479"/>
                  </a:lnTo>
                  <a:lnTo>
                    <a:pt x="43" y="411"/>
                  </a:lnTo>
                  <a:lnTo>
                    <a:pt x="19" y="423"/>
                  </a:lnTo>
                  <a:lnTo>
                    <a:pt x="7" y="411"/>
                  </a:lnTo>
                  <a:lnTo>
                    <a:pt x="0" y="33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29" name="Freeform 985"/>
            <p:cNvSpPr>
              <a:spLocks/>
            </p:cNvSpPr>
            <p:nvPr>
              <p:custDataLst>
                <p:tags r:id="rId823"/>
              </p:custDataLst>
            </p:nvPr>
          </p:nvSpPr>
          <p:spPr bwMode="auto">
            <a:xfrm>
              <a:off x="4024561" y="3792538"/>
              <a:ext cx="274637" cy="330200"/>
            </a:xfrm>
            <a:custGeom>
              <a:avLst/>
              <a:gdLst>
                <a:gd name="T0" fmla="*/ 0 w 188"/>
                <a:gd name="T1" fmla="*/ 2147483647 h 415"/>
                <a:gd name="T2" fmla="*/ 2147483647 w 188"/>
                <a:gd name="T3" fmla="*/ 2147483647 h 415"/>
                <a:gd name="T4" fmla="*/ 2147483647 w 188"/>
                <a:gd name="T5" fmla="*/ 2147483647 h 415"/>
                <a:gd name="T6" fmla="*/ 2147483647 w 188"/>
                <a:gd name="T7" fmla="*/ 2147483647 h 415"/>
                <a:gd name="T8" fmla="*/ 2147483647 w 188"/>
                <a:gd name="T9" fmla="*/ 2147483647 h 415"/>
                <a:gd name="T10" fmla="*/ 2147483647 w 188"/>
                <a:gd name="T11" fmla="*/ 2147483647 h 415"/>
                <a:gd name="T12" fmla="*/ 2147483647 w 188"/>
                <a:gd name="T13" fmla="*/ 2147483647 h 415"/>
                <a:gd name="T14" fmla="*/ 2147483647 w 188"/>
                <a:gd name="T15" fmla="*/ 2147483647 h 415"/>
                <a:gd name="T16" fmla="*/ 2147483647 w 188"/>
                <a:gd name="T17" fmla="*/ 2147483647 h 415"/>
                <a:gd name="T18" fmla="*/ 2147483647 w 188"/>
                <a:gd name="T19" fmla="*/ 2147483647 h 415"/>
                <a:gd name="T20" fmla="*/ 2147483647 w 188"/>
                <a:gd name="T21" fmla="*/ 2147483647 h 415"/>
                <a:gd name="T22" fmla="*/ 2147483647 w 188"/>
                <a:gd name="T23" fmla="*/ 0 h 415"/>
                <a:gd name="T24" fmla="*/ 2147483647 w 188"/>
                <a:gd name="T25" fmla="*/ 2147483647 h 415"/>
                <a:gd name="T26" fmla="*/ 2147483647 w 188"/>
                <a:gd name="T27" fmla="*/ 2147483647 h 415"/>
                <a:gd name="T28" fmla="*/ 2147483647 w 188"/>
                <a:gd name="T29" fmla="*/ 2147483647 h 415"/>
                <a:gd name="T30" fmla="*/ 2147483647 w 188"/>
                <a:gd name="T31" fmla="*/ 2147483647 h 415"/>
                <a:gd name="T32" fmla="*/ 2147483647 w 188"/>
                <a:gd name="T33" fmla="*/ 2147483647 h 415"/>
                <a:gd name="T34" fmla="*/ 0 w 188"/>
                <a:gd name="T35" fmla="*/ 2147483647 h 41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8" h="415">
                  <a:moveTo>
                    <a:pt x="0" y="213"/>
                  </a:moveTo>
                  <a:lnTo>
                    <a:pt x="7" y="236"/>
                  </a:lnTo>
                  <a:lnTo>
                    <a:pt x="13" y="292"/>
                  </a:lnTo>
                  <a:lnTo>
                    <a:pt x="7" y="368"/>
                  </a:lnTo>
                  <a:lnTo>
                    <a:pt x="39" y="359"/>
                  </a:lnTo>
                  <a:lnTo>
                    <a:pt x="76" y="415"/>
                  </a:lnTo>
                  <a:lnTo>
                    <a:pt x="82" y="380"/>
                  </a:lnTo>
                  <a:lnTo>
                    <a:pt x="95" y="403"/>
                  </a:lnTo>
                  <a:lnTo>
                    <a:pt x="175" y="391"/>
                  </a:lnTo>
                  <a:lnTo>
                    <a:pt x="157" y="78"/>
                  </a:lnTo>
                  <a:lnTo>
                    <a:pt x="188" y="78"/>
                  </a:lnTo>
                  <a:lnTo>
                    <a:pt x="133" y="0"/>
                  </a:lnTo>
                  <a:lnTo>
                    <a:pt x="126" y="44"/>
                  </a:lnTo>
                  <a:lnTo>
                    <a:pt x="76" y="44"/>
                  </a:lnTo>
                  <a:lnTo>
                    <a:pt x="76" y="123"/>
                  </a:lnTo>
                  <a:lnTo>
                    <a:pt x="58" y="146"/>
                  </a:lnTo>
                  <a:lnTo>
                    <a:pt x="64" y="201"/>
                  </a:lnTo>
                  <a:lnTo>
                    <a:pt x="0" y="2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30" name="Freeform 986"/>
            <p:cNvSpPr>
              <a:spLocks/>
            </p:cNvSpPr>
            <p:nvPr>
              <p:custDataLst>
                <p:tags r:id="rId824"/>
              </p:custDataLst>
            </p:nvPr>
          </p:nvSpPr>
          <p:spPr bwMode="auto">
            <a:xfrm>
              <a:off x="4024561" y="3792538"/>
              <a:ext cx="274637" cy="330200"/>
            </a:xfrm>
            <a:custGeom>
              <a:avLst/>
              <a:gdLst>
                <a:gd name="T0" fmla="*/ 0 w 188"/>
                <a:gd name="T1" fmla="*/ 2147483647 h 415"/>
                <a:gd name="T2" fmla="*/ 2147483647 w 188"/>
                <a:gd name="T3" fmla="*/ 2147483647 h 415"/>
                <a:gd name="T4" fmla="*/ 2147483647 w 188"/>
                <a:gd name="T5" fmla="*/ 2147483647 h 415"/>
                <a:gd name="T6" fmla="*/ 2147483647 w 188"/>
                <a:gd name="T7" fmla="*/ 2147483647 h 415"/>
                <a:gd name="T8" fmla="*/ 2147483647 w 188"/>
                <a:gd name="T9" fmla="*/ 2147483647 h 415"/>
                <a:gd name="T10" fmla="*/ 2147483647 w 188"/>
                <a:gd name="T11" fmla="*/ 2147483647 h 415"/>
                <a:gd name="T12" fmla="*/ 2147483647 w 188"/>
                <a:gd name="T13" fmla="*/ 2147483647 h 415"/>
                <a:gd name="T14" fmla="*/ 2147483647 w 188"/>
                <a:gd name="T15" fmla="*/ 2147483647 h 415"/>
                <a:gd name="T16" fmla="*/ 2147483647 w 188"/>
                <a:gd name="T17" fmla="*/ 2147483647 h 415"/>
                <a:gd name="T18" fmla="*/ 2147483647 w 188"/>
                <a:gd name="T19" fmla="*/ 2147483647 h 415"/>
                <a:gd name="T20" fmla="*/ 2147483647 w 188"/>
                <a:gd name="T21" fmla="*/ 2147483647 h 415"/>
                <a:gd name="T22" fmla="*/ 2147483647 w 188"/>
                <a:gd name="T23" fmla="*/ 0 h 415"/>
                <a:gd name="T24" fmla="*/ 2147483647 w 188"/>
                <a:gd name="T25" fmla="*/ 2147483647 h 415"/>
                <a:gd name="T26" fmla="*/ 2147483647 w 188"/>
                <a:gd name="T27" fmla="*/ 2147483647 h 415"/>
                <a:gd name="T28" fmla="*/ 2147483647 w 188"/>
                <a:gd name="T29" fmla="*/ 2147483647 h 415"/>
                <a:gd name="T30" fmla="*/ 2147483647 w 188"/>
                <a:gd name="T31" fmla="*/ 2147483647 h 415"/>
                <a:gd name="T32" fmla="*/ 2147483647 w 188"/>
                <a:gd name="T33" fmla="*/ 2147483647 h 415"/>
                <a:gd name="T34" fmla="*/ 0 w 188"/>
                <a:gd name="T35" fmla="*/ 2147483647 h 41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8" h="415">
                  <a:moveTo>
                    <a:pt x="0" y="213"/>
                  </a:moveTo>
                  <a:lnTo>
                    <a:pt x="7" y="236"/>
                  </a:lnTo>
                  <a:lnTo>
                    <a:pt x="13" y="292"/>
                  </a:lnTo>
                  <a:lnTo>
                    <a:pt x="7" y="368"/>
                  </a:lnTo>
                  <a:lnTo>
                    <a:pt x="39" y="359"/>
                  </a:lnTo>
                  <a:lnTo>
                    <a:pt x="76" y="415"/>
                  </a:lnTo>
                  <a:lnTo>
                    <a:pt x="82" y="380"/>
                  </a:lnTo>
                  <a:lnTo>
                    <a:pt x="95" y="403"/>
                  </a:lnTo>
                  <a:lnTo>
                    <a:pt x="175" y="391"/>
                  </a:lnTo>
                  <a:lnTo>
                    <a:pt x="157" y="78"/>
                  </a:lnTo>
                  <a:lnTo>
                    <a:pt x="188" y="78"/>
                  </a:lnTo>
                  <a:lnTo>
                    <a:pt x="133" y="0"/>
                  </a:lnTo>
                  <a:lnTo>
                    <a:pt x="126" y="44"/>
                  </a:lnTo>
                  <a:lnTo>
                    <a:pt x="76" y="44"/>
                  </a:lnTo>
                  <a:lnTo>
                    <a:pt x="76" y="123"/>
                  </a:lnTo>
                  <a:lnTo>
                    <a:pt x="58" y="146"/>
                  </a:lnTo>
                  <a:lnTo>
                    <a:pt x="64" y="201"/>
                  </a:lnTo>
                  <a:lnTo>
                    <a:pt x="0" y="21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31" name="Freeform 987"/>
            <p:cNvSpPr>
              <a:spLocks/>
            </p:cNvSpPr>
            <p:nvPr>
              <p:custDataLst>
                <p:tags r:id="rId825"/>
              </p:custDataLst>
            </p:nvPr>
          </p:nvSpPr>
          <p:spPr bwMode="auto">
            <a:xfrm>
              <a:off x="4024561" y="3792538"/>
              <a:ext cx="274637" cy="330200"/>
            </a:xfrm>
            <a:custGeom>
              <a:avLst/>
              <a:gdLst>
                <a:gd name="T0" fmla="*/ 0 w 188"/>
                <a:gd name="T1" fmla="*/ 2147483647 h 415"/>
                <a:gd name="T2" fmla="*/ 2147483647 w 188"/>
                <a:gd name="T3" fmla="*/ 2147483647 h 415"/>
                <a:gd name="T4" fmla="*/ 2147483647 w 188"/>
                <a:gd name="T5" fmla="*/ 2147483647 h 415"/>
                <a:gd name="T6" fmla="*/ 2147483647 w 188"/>
                <a:gd name="T7" fmla="*/ 2147483647 h 415"/>
                <a:gd name="T8" fmla="*/ 2147483647 w 188"/>
                <a:gd name="T9" fmla="*/ 2147483647 h 415"/>
                <a:gd name="T10" fmla="*/ 2147483647 w 188"/>
                <a:gd name="T11" fmla="*/ 2147483647 h 415"/>
                <a:gd name="T12" fmla="*/ 2147483647 w 188"/>
                <a:gd name="T13" fmla="*/ 2147483647 h 415"/>
                <a:gd name="T14" fmla="*/ 2147483647 w 188"/>
                <a:gd name="T15" fmla="*/ 2147483647 h 415"/>
                <a:gd name="T16" fmla="*/ 2147483647 w 188"/>
                <a:gd name="T17" fmla="*/ 2147483647 h 415"/>
                <a:gd name="T18" fmla="*/ 2147483647 w 188"/>
                <a:gd name="T19" fmla="*/ 2147483647 h 415"/>
                <a:gd name="T20" fmla="*/ 2147483647 w 188"/>
                <a:gd name="T21" fmla="*/ 2147483647 h 415"/>
                <a:gd name="T22" fmla="*/ 2147483647 w 188"/>
                <a:gd name="T23" fmla="*/ 0 h 415"/>
                <a:gd name="T24" fmla="*/ 2147483647 w 188"/>
                <a:gd name="T25" fmla="*/ 2147483647 h 415"/>
                <a:gd name="T26" fmla="*/ 2147483647 w 188"/>
                <a:gd name="T27" fmla="*/ 2147483647 h 415"/>
                <a:gd name="T28" fmla="*/ 2147483647 w 188"/>
                <a:gd name="T29" fmla="*/ 2147483647 h 415"/>
                <a:gd name="T30" fmla="*/ 2147483647 w 188"/>
                <a:gd name="T31" fmla="*/ 2147483647 h 415"/>
                <a:gd name="T32" fmla="*/ 2147483647 w 188"/>
                <a:gd name="T33" fmla="*/ 2147483647 h 415"/>
                <a:gd name="T34" fmla="*/ 0 w 188"/>
                <a:gd name="T35" fmla="*/ 2147483647 h 41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8" h="415">
                  <a:moveTo>
                    <a:pt x="0" y="213"/>
                  </a:moveTo>
                  <a:lnTo>
                    <a:pt x="7" y="236"/>
                  </a:lnTo>
                  <a:lnTo>
                    <a:pt x="13" y="292"/>
                  </a:lnTo>
                  <a:lnTo>
                    <a:pt x="7" y="368"/>
                  </a:lnTo>
                  <a:lnTo>
                    <a:pt x="39" y="359"/>
                  </a:lnTo>
                  <a:lnTo>
                    <a:pt x="76" y="415"/>
                  </a:lnTo>
                  <a:lnTo>
                    <a:pt x="82" y="380"/>
                  </a:lnTo>
                  <a:lnTo>
                    <a:pt x="95" y="403"/>
                  </a:lnTo>
                  <a:lnTo>
                    <a:pt x="175" y="391"/>
                  </a:lnTo>
                  <a:lnTo>
                    <a:pt x="157" y="78"/>
                  </a:lnTo>
                  <a:lnTo>
                    <a:pt x="188" y="78"/>
                  </a:lnTo>
                  <a:lnTo>
                    <a:pt x="133" y="0"/>
                  </a:lnTo>
                  <a:lnTo>
                    <a:pt x="126" y="44"/>
                  </a:lnTo>
                  <a:lnTo>
                    <a:pt x="76" y="44"/>
                  </a:lnTo>
                  <a:lnTo>
                    <a:pt x="76" y="123"/>
                  </a:lnTo>
                  <a:lnTo>
                    <a:pt x="58" y="146"/>
                  </a:lnTo>
                  <a:lnTo>
                    <a:pt x="64" y="201"/>
                  </a:lnTo>
                  <a:lnTo>
                    <a:pt x="0" y="2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32" name="Freeform 988"/>
            <p:cNvSpPr>
              <a:spLocks/>
            </p:cNvSpPr>
            <p:nvPr>
              <p:custDataLst>
                <p:tags r:id="rId826"/>
              </p:custDataLst>
            </p:nvPr>
          </p:nvSpPr>
          <p:spPr bwMode="auto">
            <a:xfrm>
              <a:off x="4024561" y="3792538"/>
              <a:ext cx="274637" cy="330200"/>
            </a:xfrm>
            <a:custGeom>
              <a:avLst/>
              <a:gdLst>
                <a:gd name="T0" fmla="*/ 0 w 188"/>
                <a:gd name="T1" fmla="*/ 2147483647 h 415"/>
                <a:gd name="T2" fmla="*/ 2147483647 w 188"/>
                <a:gd name="T3" fmla="*/ 2147483647 h 415"/>
                <a:gd name="T4" fmla="*/ 2147483647 w 188"/>
                <a:gd name="T5" fmla="*/ 2147483647 h 415"/>
                <a:gd name="T6" fmla="*/ 2147483647 w 188"/>
                <a:gd name="T7" fmla="*/ 2147483647 h 415"/>
                <a:gd name="T8" fmla="*/ 2147483647 w 188"/>
                <a:gd name="T9" fmla="*/ 2147483647 h 415"/>
                <a:gd name="T10" fmla="*/ 2147483647 w 188"/>
                <a:gd name="T11" fmla="*/ 2147483647 h 415"/>
                <a:gd name="T12" fmla="*/ 2147483647 w 188"/>
                <a:gd name="T13" fmla="*/ 2147483647 h 415"/>
                <a:gd name="T14" fmla="*/ 2147483647 w 188"/>
                <a:gd name="T15" fmla="*/ 2147483647 h 415"/>
                <a:gd name="T16" fmla="*/ 2147483647 w 188"/>
                <a:gd name="T17" fmla="*/ 2147483647 h 415"/>
                <a:gd name="T18" fmla="*/ 2147483647 w 188"/>
                <a:gd name="T19" fmla="*/ 2147483647 h 415"/>
                <a:gd name="T20" fmla="*/ 2147483647 w 188"/>
                <a:gd name="T21" fmla="*/ 2147483647 h 415"/>
                <a:gd name="T22" fmla="*/ 2147483647 w 188"/>
                <a:gd name="T23" fmla="*/ 0 h 415"/>
                <a:gd name="T24" fmla="*/ 2147483647 w 188"/>
                <a:gd name="T25" fmla="*/ 2147483647 h 415"/>
                <a:gd name="T26" fmla="*/ 2147483647 w 188"/>
                <a:gd name="T27" fmla="*/ 2147483647 h 415"/>
                <a:gd name="T28" fmla="*/ 2147483647 w 188"/>
                <a:gd name="T29" fmla="*/ 2147483647 h 415"/>
                <a:gd name="T30" fmla="*/ 2147483647 w 188"/>
                <a:gd name="T31" fmla="*/ 2147483647 h 415"/>
                <a:gd name="T32" fmla="*/ 2147483647 w 188"/>
                <a:gd name="T33" fmla="*/ 2147483647 h 415"/>
                <a:gd name="T34" fmla="*/ 0 w 188"/>
                <a:gd name="T35" fmla="*/ 2147483647 h 41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8" h="415">
                  <a:moveTo>
                    <a:pt x="0" y="213"/>
                  </a:moveTo>
                  <a:lnTo>
                    <a:pt x="7" y="236"/>
                  </a:lnTo>
                  <a:lnTo>
                    <a:pt x="13" y="292"/>
                  </a:lnTo>
                  <a:lnTo>
                    <a:pt x="7" y="368"/>
                  </a:lnTo>
                  <a:lnTo>
                    <a:pt x="39" y="359"/>
                  </a:lnTo>
                  <a:lnTo>
                    <a:pt x="76" y="415"/>
                  </a:lnTo>
                  <a:lnTo>
                    <a:pt x="82" y="380"/>
                  </a:lnTo>
                  <a:lnTo>
                    <a:pt x="95" y="403"/>
                  </a:lnTo>
                  <a:lnTo>
                    <a:pt x="175" y="391"/>
                  </a:lnTo>
                  <a:lnTo>
                    <a:pt x="157" y="78"/>
                  </a:lnTo>
                  <a:lnTo>
                    <a:pt x="188" y="78"/>
                  </a:lnTo>
                  <a:lnTo>
                    <a:pt x="133" y="0"/>
                  </a:lnTo>
                  <a:lnTo>
                    <a:pt x="126" y="44"/>
                  </a:lnTo>
                  <a:lnTo>
                    <a:pt x="76" y="44"/>
                  </a:lnTo>
                  <a:lnTo>
                    <a:pt x="76" y="123"/>
                  </a:lnTo>
                  <a:lnTo>
                    <a:pt x="58" y="146"/>
                  </a:lnTo>
                  <a:lnTo>
                    <a:pt x="64" y="201"/>
                  </a:lnTo>
                  <a:lnTo>
                    <a:pt x="0" y="213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33" name="Freeform 989"/>
            <p:cNvSpPr>
              <a:spLocks/>
            </p:cNvSpPr>
            <p:nvPr>
              <p:custDataLst>
                <p:tags r:id="rId827"/>
              </p:custDataLst>
            </p:nvPr>
          </p:nvSpPr>
          <p:spPr bwMode="auto">
            <a:xfrm>
              <a:off x="4108698" y="3556000"/>
              <a:ext cx="273050" cy="230188"/>
            </a:xfrm>
            <a:custGeom>
              <a:avLst/>
              <a:gdLst>
                <a:gd name="T0" fmla="*/ 0 w 186"/>
                <a:gd name="T1" fmla="*/ 2147483647 h 290"/>
                <a:gd name="T2" fmla="*/ 2147483647 w 186"/>
                <a:gd name="T3" fmla="*/ 2147483647 h 290"/>
                <a:gd name="T4" fmla="*/ 2147483647 w 186"/>
                <a:gd name="T5" fmla="*/ 2147483647 h 290"/>
                <a:gd name="T6" fmla="*/ 2147483647 w 186"/>
                <a:gd name="T7" fmla="*/ 2147483647 h 290"/>
                <a:gd name="T8" fmla="*/ 2147483647 w 186"/>
                <a:gd name="T9" fmla="*/ 0 h 290"/>
                <a:gd name="T10" fmla="*/ 2147483647 w 186"/>
                <a:gd name="T11" fmla="*/ 2147483647 h 290"/>
                <a:gd name="T12" fmla="*/ 2147483647 w 186"/>
                <a:gd name="T13" fmla="*/ 2147483647 h 290"/>
                <a:gd name="T14" fmla="*/ 2147483647 w 186"/>
                <a:gd name="T15" fmla="*/ 2147483647 h 290"/>
                <a:gd name="T16" fmla="*/ 2147483647 w 186"/>
                <a:gd name="T17" fmla="*/ 2147483647 h 290"/>
                <a:gd name="T18" fmla="*/ 2147483647 w 186"/>
                <a:gd name="T19" fmla="*/ 2147483647 h 290"/>
                <a:gd name="T20" fmla="*/ 2147483647 w 186"/>
                <a:gd name="T21" fmla="*/ 2147483647 h 290"/>
                <a:gd name="T22" fmla="*/ 2147483647 w 186"/>
                <a:gd name="T23" fmla="*/ 2147483647 h 290"/>
                <a:gd name="T24" fmla="*/ 0 w 186"/>
                <a:gd name="T25" fmla="*/ 2147483647 h 29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6" h="290">
                  <a:moveTo>
                    <a:pt x="0" y="279"/>
                  </a:moveTo>
                  <a:lnTo>
                    <a:pt x="50" y="234"/>
                  </a:lnTo>
                  <a:lnTo>
                    <a:pt x="62" y="111"/>
                  </a:lnTo>
                  <a:lnTo>
                    <a:pt x="100" y="56"/>
                  </a:lnTo>
                  <a:lnTo>
                    <a:pt x="112" y="0"/>
                  </a:lnTo>
                  <a:lnTo>
                    <a:pt x="168" y="23"/>
                  </a:lnTo>
                  <a:lnTo>
                    <a:pt x="186" y="123"/>
                  </a:lnTo>
                  <a:lnTo>
                    <a:pt x="162" y="123"/>
                  </a:lnTo>
                  <a:lnTo>
                    <a:pt x="143" y="146"/>
                  </a:lnTo>
                  <a:lnTo>
                    <a:pt x="150" y="167"/>
                  </a:lnTo>
                  <a:lnTo>
                    <a:pt x="81" y="234"/>
                  </a:lnTo>
                  <a:lnTo>
                    <a:pt x="68" y="290"/>
                  </a:lnTo>
                  <a:lnTo>
                    <a:pt x="0" y="27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34" name="Freeform 990"/>
            <p:cNvSpPr>
              <a:spLocks/>
            </p:cNvSpPr>
            <p:nvPr>
              <p:custDataLst>
                <p:tags r:id="rId828"/>
              </p:custDataLst>
            </p:nvPr>
          </p:nvSpPr>
          <p:spPr bwMode="auto">
            <a:xfrm>
              <a:off x="4108698" y="3556000"/>
              <a:ext cx="273050" cy="230188"/>
            </a:xfrm>
            <a:custGeom>
              <a:avLst/>
              <a:gdLst>
                <a:gd name="T0" fmla="*/ 0 w 186"/>
                <a:gd name="T1" fmla="*/ 2147483647 h 290"/>
                <a:gd name="T2" fmla="*/ 2147483647 w 186"/>
                <a:gd name="T3" fmla="*/ 2147483647 h 290"/>
                <a:gd name="T4" fmla="*/ 2147483647 w 186"/>
                <a:gd name="T5" fmla="*/ 2147483647 h 290"/>
                <a:gd name="T6" fmla="*/ 2147483647 w 186"/>
                <a:gd name="T7" fmla="*/ 2147483647 h 290"/>
                <a:gd name="T8" fmla="*/ 2147483647 w 186"/>
                <a:gd name="T9" fmla="*/ 0 h 290"/>
                <a:gd name="T10" fmla="*/ 2147483647 w 186"/>
                <a:gd name="T11" fmla="*/ 2147483647 h 290"/>
                <a:gd name="T12" fmla="*/ 2147483647 w 186"/>
                <a:gd name="T13" fmla="*/ 2147483647 h 290"/>
                <a:gd name="T14" fmla="*/ 2147483647 w 186"/>
                <a:gd name="T15" fmla="*/ 2147483647 h 290"/>
                <a:gd name="T16" fmla="*/ 2147483647 w 186"/>
                <a:gd name="T17" fmla="*/ 2147483647 h 290"/>
                <a:gd name="T18" fmla="*/ 2147483647 w 186"/>
                <a:gd name="T19" fmla="*/ 2147483647 h 290"/>
                <a:gd name="T20" fmla="*/ 2147483647 w 186"/>
                <a:gd name="T21" fmla="*/ 2147483647 h 290"/>
                <a:gd name="T22" fmla="*/ 2147483647 w 186"/>
                <a:gd name="T23" fmla="*/ 2147483647 h 290"/>
                <a:gd name="T24" fmla="*/ 0 w 186"/>
                <a:gd name="T25" fmla="*/ 2147483647 h 29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6" h="290">
                  <a:moveTo>
                    <a:pt x="0" y="279"/>
                  </a:moveTo>
                  <a:lnTo>
                    <a:pt x="50" y="234"/>
                  </a:lnTo>
                  <a:lnTo>
                    <a:pt x="62" y="111"/>
                  </a:lnTo>
                  <a:lnTo>
                    <a:pt x="100" y="56"/>
                  </a:lnTo>
                  <a:lnTo>
                    <a:pt x="112" y="0"/>
                  </a:lnTo>
                  <a:lnTo>
                    <a:pt x="168" y="23"/>
                  </a:lnTo>
                  <a:lnTo>
                    <a:pt x="186" y="123"/>
                  </a:lnTo>
                  <a:lnTo>
                    <a:pt x="162" y="123"/>
                  </a:lnTo>
                  <a:lnTo>
                    <a:pt x="143" y="146"/>
                  </a:lnTo>
                  <a:lnTo>
                    <a:pt x="150" y="167"/>
                  </a:lnTo>
                  <a:lnTo>
                    <a:pt x="81" y="234"/>
                  </a:lnTo>
                  <a:lnTo>
                    <a:pt x="68" y="290"/>
                  </a:lnTo>
                  <a:lnTo>
                    <a:pt x="0" y="27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35" name="Freeform 991"/>
            <p:cNvSpPr>
              <a:spLocks/>
            </p:cNvSpPr>
            <p:nvPr>
              <p:custDataLst>
                <p:tags r:id="rId829"/>
              </p:custDataLst>
            </p:nvPr>
          </p:nvSpPr>
          <p:spPr bwMode="auto">
            <a:xfrm>
              <a:off x="4108698" y="3556000"/>
              <a:ext cx="273050" cy="230188"/>
            </a:xfrm>
            <a:custGeom>
              <a:avLst/>
              <a:gdLst>
                <a:gd name="T0" fmla="*/ 0 w 186"/>
                <a:gd name="T1" fmla="*/ 2147483647 h 290"/>
                <a:gd name="T2" fmla="*/ 2147483647 w 186"/>
                <a:gd name="T3" fmla="*/ 2147483647 h 290"/>
                <a:gd name="T4" fmla="*/ 2147483647 w 186"/>
                <a:gd name="T5" fmla="*/ 2147483647 h 290"/>
                <a:gd name="T6" fmla="*/ 2147483647 w 186"/>
                <a:gd name="T7" fmla="*/ 2147483647 h 290"/>
                <a:gd name="T8" fmla="*/ 2147483647 w 186"/>
                <a:gd name="T9" fmla="*/ 0 h 290"/>
                <a:gd name="T10" fmla="*/ 2147483647 w 186"/>
                <a:gd name="T11" fmla="*/ 2147483647 h 290"/>
                <a:gd name="T12" fmla="*/ 2147483647 w 186"/>
                <a:gd name="T13" fmla="*/ 2147483647 h 290"/>
                <a:gd name="T14" fmla="*/ 2147483647 w 186"/>
                <a:gd name="T15" fmla="*/ 2147483647 h 290"/>
                <a:gd name="T16" fmla="*/ 2147483647 w 186"/>
                <a:gd name="T17" fmla="*/ 2147483647 h 290"/>
                <a:gd name="T18" fmla="*/ 2147483647 w 186"/>
                <a:gd name="T19" fmla="*/ 2147483647 h 290"/>
                <a:gd name="T20" fmla="*/ 2147483647 w 186"/>
                <a:gd name="T21" fmla="*/ 2147483647 h 290"/>
                <a:gd name="T22" fmla="*/ 2147483647 w 186"/>
                <a:gd name="T23" fmla="*/ 2147483647 h 290"/>
                <a:gd name="T24" fmla="*/ 0 w 186"/>
                <a:gd name="T25" fmla="*/ 2147483647 h 29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6" h="290">
                  <a:moveTo>
                    <a:pt x="0" y="279"/>
                  </a:moveTo>
                  <a:lnTo>
                    <a:pt x="50" y="234"/>
                  </a:lnTo>
                  <a:lnTo>
                    <a:pt x="62" y="111"/>
                  </a:lnTo>
                  <a:lnTo>
                    <a:pt x="100" y="56"/>
                  </a:lnTo>
                  <a:lnTo>
                    <a:pt x="112" y="0"/>
                  </a:lnTo>
                  <a:lnTo>
                    <a:pt x="168" y="23"/>
                  </a:lnTo>
                  <a:lnTo>
                    <a:pt x="186" y="123"/>
                  </a:lnTo>
                  <a:lnTo>
                    <a:pt x="162" y="123"/>
                  </a:lnTo>
                  <a:lnTo>
                    <a:pt x="143" y="146"/>
                  </a:lnTo>
                  <a:lnTo>
                    <a:pt x="150" y="167"/>
                  </a:lnTo>
                  <a:lnTo>
                    <a:pt x="81" y="234"/>
                  </a:lnTo>
                  <a:lnTo>
                    <a:pt x="68" y="290"/>
                  </a:lnTo>
                  <a:lnTo>
                    <a:pt x="0" y="27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36" name="Freeform 992"/>
            <p:cNvSpPr>
              <a:spLocks/>
            </p:cNvSpPr>
            <p:nvPr>
              <p:custDataLst>
                <p:tags r:id="rId830"/>
              </p:custDataLst>
            </p:nvPr>
          </p:nvSpPr>
          <p:spPr bwMode="auto">
            <a:xfrm>
              <a:off x="4108698" y="3556000"/>
              <a:ext cx="273050" cy="230188"/>
            </a:xfrm>
            <a:custGeom>
              <a:avLst/>
              <a:gdLst>
                <a:gd name="T0" fmla="*/ 0 w 186"/>
                <a:gd name="T1" fmla="*/ 2147483647 h 290"/>
                <a:gd name="T2" fmla="*/ 2147483647 w 186"/>
                <a:gd name="T3" fmla="*/ 2147483647 h 290"/>
                <a:gd name="T4" fmla="*/ 2147483647 w 186"/>
                <a:gd name="T5" fmla="*/ 2147483647 h 290"/>
                <a:gd name="T6" fmla="*/ 2147483647 w 186"/>
                <a:gd name="T7" fmla="*/ 2147483647 h 290"/>
                <a:gd name="T8" fmla="*/ 2147483647 w 186"/>
                <a:gd name="T9" fmla="*/ 0 h 290"/>
                <a:gd name="T10" fmla="*/ 2147483647 w 186"/>
                <a:gd name="T11" fmla="*/ 2147483647 h 290"/>
                <a:gd name="T12" fmla="*/ 2147483647 w 186"/>
                <a:gd name="T13" fmla="*/ 2147483647 h 290"/>
                <a:gd name="T14" fmla="*/ 2147483647 w 186"/>
                <a:gd name="T15" fmla="*/ 2147483647 h 290"/>
                <a:gd name="T16" fmla="*/ 2147483647 w 186"/>
                <a:gd name="T17" fmla="*/ 2147483647 h 290"/>
                <a:gd name="T18" fmla="*/ 2147483647 w 186"/>
                <a:gd name="T19" fmla="*/ 2147483647 h 290"/>
                <a:gd name="T20" fmla="*/ 2147483647 w 186"/>
                <a:gd name="T21" fmla="*/ 2147483647 h 290"/>
                <a:gd name="T22" fmla="*/ 2147483647 w 186"/>
                <a:gd name="T23" fmla="*/ 2147483647 h 290"/>
                <a:gd name="T24" fmla="*/ 0 w 186"/>
                <a:gd name="T25" fmla="*/ 2147483647 h 29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6" h="290">
                  <a:moveTo>
                    <a:pt x="0" y="279"/>
                  </a:moveTo>
                  <a:lnTo>
                    <a:pt x="50" y="234"/>
                  </a:lnTo>
                  <a:lnTo>
                    <a:pt x="62" y="111"/>
                  </a:lnTo>
                  <a:lnTo>
                    <a:pt x="100" y="56"/>
                  </a:lnTo>
                  <a:lnTo>
                    <a:pt x="112" y="0"/>
                  </a:lnTo>
                  <a:lnTo>
                    <a:pt x="168" y="23"/>
                  </a:lnTo>
                  <a:lnTo>
                    <a:pt x="186" y="123"/>
                  </a:lnTo>
                  <a:lnTo>
                    <a:pt x="162" y="123"/>
                  </a:lnTo>
                  <a:lnTo>
                    <a:pt x="143" y="146"/>
                  </a:lnTo>
                  <a:lnTo>
                    <a:pt x="150" y="167"/>
                  </a:lnTo>
                  <a:lnTo>
                    <a:pt x="81" y="234"/>
                  </a:lnTo>
                  <a:lnTo>
                    <a:pt x="68" y="290"/>
                  </a:lnTo>
                  <a:lnTo>
                    <a:pt x="0" y="279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37" name="Freeform 993"/>
            <p:cNvSpPr>
              <a:spLocks/>
            </p:cNvSpPr>
            <p:nvPr>
              <p:custDataLst>
                <p:tags r:id="rId831"/>
              </p:custDataLst>
            </p:nvPr>
          </p:nvSpPr>
          <p:spPr bwMode="auto">
            <a:xfrm>
              <a:off x="5089773" y="4765675"/>
              <a:ext cx="238125" cy="425450"/>
            </a:xfrm>
            <a:custGeom>
              <a:avLst/>
              <a:gdLst>
                <a:gd name="T0" fmla="*/ 0 w 163"/>
                <a:gd name="T1" fmla="*/ 2147483647 h 536"/>
                <a:gd name="T2" fmla="*/ 2147483647 w 163"/>
                <a:gd name="T3" fmla="*/ 2147483647 h 536"/>
                <a:gd name="T4" fmla="*/ 2147483647 w 163"/>
                <a:gd name="T5" fmla="*/ 2147483647 h 536"/>
                <a:gd name="T6" fmla="*/ 2147483647 w 163"/>
                <a:gd name="T7" fmla="*/ 2147483647 h 536"/>
                <a:gd name="T8" fmla="*/ 2147483647 w 163"/>
                <a:gd name="T9" fmla="*/ 2147483647 h 536"/>
                <a:gd name="T10" fmla="*/ 2147483647 w 163"/>
                <a:gd name="T11" fmla="*/ 2147483647 h 536"/>
                <a:gd name="T12" fmla="*/ 2147483647 w 163"/>
                <a:gd name="T13" fmla="*/ 2147483647 h 536"/>
                <a:gd name="T14" fmla="*/ 2147483647 w 163"/>
                <a:gd name="T15" fmla="*/ 2147483647 h 536"/>
                <a:gd name="T16" fmla="*/ 2147483647 w 163"/>
                <a:gd name="T17" fmla="*/ 2147483647 h 536"/>
                <a:gd name="T18" fmla="*/ 2147483647 w 163"/>
                <a:gd name="T19" fmla="*/ 2147483647 h 536"/>
                <a:gd name="T20" fmla="*/ 2147483647 w 163"/>
                <a:gd name="T21" fmla="*/ 2147483647 h 536"/>
                <a:gd name="T22" fmla="*/ 2147483647 w 163"/>
                <a:gd name="T23" fmla="*/ 2147483647 h 536"/>
                <a:gd name="T24" fmla="*/ 2147483647 w 163"/>
                <a:gd name="T25" fmla="*/ 2147483647 h 536"/>
                <a:gd name="T26" fmla="*/ 2147483647 w 163"/>
                <a:gd name="T27" fmla="*/ 0 h 536"/>
                <a:gd name="T28" fmla="*/ 2147483647 w 163"/>
                <a:gd name="T29" fmla="*/ 2147483647 h 536"/>
                <a:gd name="T30" fmla="*/ 2147483647 w 163"/>
                <a:gd name="T31" fmla="*/ 2147483647 h 536"/>
                <a:gd name="T32" fmla="*/ 2147483647 w 163"/>
                <a:gd name="T33" fmla="*/ 2147483647 h 536"/>
                <a:gd name="T34" fmla="*/ 2147483647 w 163"/>
                <a:gd name="T35" fmla="*/ 2147483647 h 536"/>
                <a:gd name="T36" fmla="*/ 2147483647 w 163"/>
                <a:gd name="T37" fmla="*/ 2147483647 h 536"/>
                <a:gd name="T38" fmla="*/ 2147483647 w 163"/>
                <a:gd name="T39" fmla="*/ 2147483647 h 536"/>
                <a:gd name="T40" fmla="*/ 2147483647 w 163"/>
                <a:gd name="T41" fmla="*/ 2147483647 h 536"/>
                <a:gd name="T42" fmla="*/ 2147483647 w 163"/>
                <a:gd name="T43" fmla="*/ 2147483647 h 536"/>
                <a:gd name="T44" fmla="*/ 0 w 163"/>
                <a:gd name="T45" fmla="*/ 2147483647 h 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63" h="536">
                  <a:moveTo>
                    <a:pt x="0" y="146"/>
                  </a:moveTo>
                  <a:lnTo>
                    <a:pt x="6" y="169"/>
                  </a:lnTo>
                  <a:lnTo>
                    <a:pt x="43" y="190"/>
                  </a:lnTo>
                  <a:lnTo>
                    <a:pt x="50" y="223"/>
                  </a:lnTo>
                  <a:lnTo>
                    <a:pt x="50" y="313"/>
                  </a:lnTo>
                  <a:lnTo>
                    <a:pt x="25" y="401"/>
                  </a:lnTo>
                  <a:lnTo>
                    <a:pt x="31" y="501"/>
                  </a:lnTo>
                  <a:lnTo>
                    <a:pt x="31" y="536"/>
                  </a:lnTo>
                  <a:lnTo>
                    <a:pt x="43" y="536"/>
                  </a:lnTo>
                  <a:lnTo>
                    <a:pt x="43" y="501"/>
                  </a:lnTo>
                  <a:lnTo>
                    <a:pt x="87" y="446"/>
                  </a:lnTo>
                  <a:lnTo>
                    <a:pt x="75" y="313"/>
                  </a:lnTo>
                  <a:lnTo>
                    <a:pt x="163" y="169"/>
                  </a:lnTo>
                  <a:lnTo>
                    <a:pt x="163" y="0"/>
                  </a:lnTo>
                  <a:lnTo>
                    <a:pt x="145" y="23"/>
                  </a:lnTo>
                  <a:lnTo>
                    <a:pt x="81" y="35"/>
                  </a:lnTo>
                  <a:lnTo>
                    <a:pt x="81" y="100"/>
                  </a:lnTo>
                  <a:lnTo>
                    <a:pt x="94" y="146"/>
                  </a:lnTo>
                  <a:lnTo>
                    <a:pt x="87" y="213"/>
                  </a:lnTo>
                  <a:lnTo>
                    <a:pt x="68" y="179"/>
                  </a:lnTo>
                  <a:lnTo>
                    <a:pt x="68" y="134"/>
                  </a:lnTo>
                  <a:lnTo>
                    <a:pt x="50" y="111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38" name="Freeform 994"/>
            <p:cNvSpPr>
              <a:spLocks/>
            </p:cNvSpPr>
            <p:nvPr>
              <p:custDataLst>
                <p:tags r:id="rId832"/>
              </p:custDataLst>
            </p:nvPr>
          </p:nvSpPr>
          <p:spPr bwMode="auto">
            <a:xfrm>
              <a:off x="5089773" y="4765675"/>
              <a:ext cx="238125" cy="425450"/>
            </a:xfrm>
            <a:custGeom>
              <a:avLst/>
              <a:gdLst>
                <a:gd name="T0" fmla="*/ 0 w 163"/>
                <a:gd name="T1" fmla="*/ 2147483647 h 536"/>
                <a:gd name="T2" fmla="*/ 2147483647 w 163"/>
                <a:gd name="T3" fmla="*/ 2147483647 h 536"/>
                <a:gd name="T4" fmla="*/ 2147483647 w 163"/>
                <a:gd name="T5" fmla="*/ 2147483647 h 536"/>
                <a:gd name="T6" fmla="*/ 2147483647 w 163"/>
                <a:gd name="T7" fmla="*/ 2147483647 h 536"/>
                <a:gd name="T8" fmla="*/ 2147483647 w 163"/>
                <a:gd name="T9" fmla="*/ 2147483647 h 536"/>
                <a:gd name="T10" fmla="*/ 2147483647 w 163"/>
                <a:gd name="T11" fmla="*/ 2147483647 h 536"/>
                <a:gd name="T12" fmla="*/ 2147483647 w 163"/>
                <a:gd name="T13" fmla="*/ 2147483647 h 536"/>
                <a:gd name="T14" fmla="*/ 2147483647 w 163"/>
                <a:gd name="T15" fmla="*/ 2147483647 h 536"/>
                <a:gd name="T16" fmla="*/ 2147483647 w 163"/>
                <a:gd name="T17" fmla="*/ 2147483647 h 536"/>
                <a:gd name="T18" fmla="*/ 2147483647 w 163"/>
                <a:gd name="T19" fmla="*/ 2147483647 h 536"/>
                <a:gd name="T20" fmla="*/ 2147483647 w 163"/>
                <a:gd name="T21" fmla="*/ 2147483647 h 536"/>
                <a:gd name="T22" fmla="*/ 2147483647 w 163"/>
                <a:gd name="T23" fmla="*/ 2147483647 h 536"/>
                <a:gd name="T24" fmla="*/ 2147483647 w 163"/>
                <a:gd name="T25" fmla="*/ 2147483647 h 536"/>
                <a:gd name="T26" fmla="*/ 2147483647 w 163"/>
                <a:gd name="T27" fmla="*/ 0 h 536"/>
                <a:gd name="T28" fmla="*/ 2147483647 w 163"/>
                <a:gd name="T29" fmla="*/ 2147483647 h 536"/>
                <a:gd name="T30" fmla="*/ 2147483647 w 163"/>
                <a:gd name="T31" fmla="*/ 2147483647 h 536"/>
                <a:gd name="T32" fmla="*/ 2147483647 w 163"/>
                <a:gd name="T33" fmla="*/ 2147483647 h 536"/>
                <a:gd name="T34" fmla="*/ 2147483647 w 163"/>
                <a:gd name="T35" fmla="*/ 2147483647 h 536"/>
                <a:gd name="T36" fmla="*/ 2147483647 w 163"/>
                <a:gd name="T37" fmla="*/ 2147483647 h 536"/>
                <a:gd name="T38" fmla="*/ 2147483647 w 163"/>
                <a:gd name="T39" fmla="*/ 2147483647 h 536"/>
                <a:gd name="T40" fmla="*/ 2147483647 w 163"/>
                <a:gd name="T41" fmla="*/ 2147483647 h 536"/>
                <a:gd name="T42" fmla="*/ 2147483647 w 163"/>
                <a:gd name="T43" fmla="*/ 2147483647 h 536"/>
                <a:gd name="T44" fmla="*/ 0 w 163"/>
                <a:gd name="T45" fmla="*/ 2147483647 h 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63" h="536">
                  <a:moveTo>
                    <a:pt x="0" y="146"/>
                  </a:moveTo>
                  <a:lnTo>
                    <a:pt x="6" y="169"/>
                  </a:lnTo>
                  <a:lnTo>
                    <a:pt x="43" y="190"/>
                  </a:lnTo>
                  <a:lnTo>
                    <a:pt x="50" y="223"/>
                  </a:lnTo>
                  <a:lnTo>
                    <a:pt x="50" y="313"/>
                  </a:lnTo>
                  <a:lnTo>
                    <a:pt x="25" y="401"/>
                  </a:lnTo>
                  <a:lnTo>
                    <a:pt x="31" y="501"/>
                  </a:lnTo>
                  <a:lnTo>
                    <a:pt x="31" y="536"/>
                  </a:lnTo>
                  <a:lnTo>
                    <a:pt x="43" y="536"/>
                  </a:lnTo>
                  <a:lnTo>
                    <a:pt x="43" y="501"/>
                  </a:lnTo>
                  <a:lnTo>
                    <a:pt x="87" y="446"/>
                  </a:lnTo>
                  <a:lnTo>
                    <a:pt x="75" y="313"/>
                  </a:lnTo>
                  <a:lnTo>
                    <a:pt x="163" y="169"/>
                  </a:lnTo>
                  <a:lnTo>
                    <a:pt x="163" y="0"/>
                  </a:lnTo>
                  <a:lnTo>
                    <a:pt x="145" y="23"/>
                  </a:lnTo>
                  <a:lnTo>
                    <a:pt x="81" y="35"/>
                  </a:lnTo>
                  <a:lnTo>
                    <a:pt x="81" y="100"/>
                  </a:lnTo>
                  <a:lnTo>
                    <a:pt x="94" y="146"/>
                  </a:lnTo>
                  <a:lnTo>
                    <a:pt x="87" y="213"/>
                  </a:lnTo>
                  <a:lnTo>
                    <a:pt x="68" y="179"/>
                  </a:lnTo>
                  <a:lnTo>
                    <a:pt x="68" y="134"/>
                  </a:lnTo>
                  <a:lnTo>
                    <a:pt x="50" y="111"/>
                  </a:lnTo>
                  <a:lnTo>
                    <a:pt x="0" y="14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39" name="Freeform 995"/>
            <p:cNvSpPr>
              <a:spLocks/>
            </p:cNvSpPr>
            <p:nvPr>
              <p:custDataLst>
                <p:tags r:id="rId833"/>
              </p:custDataLst>
            </p:nvPr>
          </p:nvSpPr>
          <p:spPr bwMode="auto">
            <a:xfrm>
              <a:off x="5089773" y="4765675"/>
              <a:ext cx="238125" cy="425450"/>
            </a:xfrm>
            <a:custGeom>
              <a:avLst/>
              <a:gdLst>
                <a:gd name="T0" fmla="*/ 0 w 163"/>
                <a:gd name="T1" fmla="*/ 2147483647 h 536"/>
                <a:gd name="T2" fmla="*/ 2147483647 w 163"/>
                <a:gd name="T3" fmla="*/ 2147483647 h 536"/>
                <a:gd name="T4" fmla="*/ 2147483647 w 163"/>
                <a:gd name="T5" fmla="*/ 2147483647 h 536"/>
                <a:gd name="T6" fmla="*/ 2147483647 w 163"/>
                <a:gd name="T7" fmla="*/ 2147483647 h 536"/>
                <a:gd name="T8" fmla="*/ 2147483647 w 163"/>
                <a:gd name="T9" fmla="*/ 2147483647 h 536"/>
                <a:gd name="T10" fmla="*/ 2147483647 w 163"/>
                <a:gd name="T11" fmla="*/ 2147483647 h 536"/>
                <a:gd name="T12" fmla="*/ 2147483647 w 163"/>
                <a:gd name="T13" fmla="*/ 2147483647 h 536"/>
                <a:gd name="T14" fmla="*/ 2147483647 w 163"/>
                <a:gd name="T15" fmla="*/ 2147483647 h 536"/>
                <a:gd name="T16" fmla="*/ 2147483647 w 163"/>
                <a:gd name="T17" fmla="*/ 2147483647 h 536"/>
                <a:gd name="T18" fmla="*/ 2147483647 w 163"/>
                <a:gd name="T19" fmla="*/ 2147483647 h 536"/>
                <a:gd name="T20" fmla="*/ 2147483647 w 163"/>
                <a:gd name="T21" fmla="*/ 2147483647 h 536"/>
                <a:gd name="T22" fmla="*/ 2147483647 w 163"/>
                <a:gd name="T23" fmla="*/ 2147483647 h 536"/>
                <a:gd name="T24" fmla="*/ 2147483647 w 163"/>
                <a:gd name="T25" fmla="*/ 2147483647 h 536"/>
                <a:gd name="T26" fmla="*/ 2147483647 w 163"/>
                <a:gd name="T27" fmla="*/ 0 h 536"/>
                <a:gd name="T28" fmla="*/ 2147483647 w 163"/>
                <a:gd name="T29" fmla="*/ 2147483647 h 536"/>
                <a:gd name="T30" fmla="*/ 2147483647 w 163"/>
                <a:gd name="T31" fmla="*/ 2147483647 h 536"/>
                <a:gd name="T32" fmla="*/ 2147483647 w 163"/>
                <a:gd name="T33" fmla="*/ 2147483647 h 536"/>
                <a:gd name="T34" fmla="*/ 2147483647 w 163"/>
                <a:gd name="T35" fmla="*/ 2147483647 h 536"/>
                <a:gd name="T36" fmla="*/ 2147483647 w 163"/>
                <a:gd name="T37" fmla="*/ 2147483647 h 536"/>
                <a:gd name="T38" fmla="*/ 2147483647 w 163"/>
                <a:gd name="T39" fmla="*/ 2147483647 h 536"/>
                <a:gd name="T40" fmla="*/ 2147483647 w 163"/>
                <a:gd name="T41" fmla="*/ 2147483647 h 536"/>
                <a:gd name="T42" fmla="*/ 2147483647 w 163"/>
                <a:gd name="T43" fmla="*/ 2147483647 h 536"/>
                <a:gd name="T44" fmla="*/ 0 w 163"/>
                <a:gd name="T45" fmla="*/ 2147483647 h 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63" h="536">
                  <a:moveTo>
                    <a:pt x="0" y="146"/>
                  </a:moveTo>
                  <a:lnTo>
                    <a:pt x="6" y="169"/>
                  </a:lnTo>
                  <a:lnTo>
                    <a:pt x="43" y="190"/>
                  </a:lnTo>
                  <a:lnTo>
                    <a:pt x="50" y="223"/>
                  </a:lnTo>
                  <a:lnTo>
                    <a:pt x="50" y="313"/>
                  </a:lnTo>
                  <a:lnTo>
                    <a:pt x="25" y="401"/>
                  </a:lnTo>
                  <a:lnTo>
                    <a:pt x="31" y="501"/>
                  </a:lnTo>
                  <a:lnTo>
                    <a:pt x="31" y="536"/>
                  </a:lnTo>
                  <a:lnTo>
                    <a:pt x="43" y="536"/>
                  </a:lnTo>
                  <a:lnTo>
                    <a:pt x="43" y="501"/>
                  </a:lnTo>
                  <a:lnTo>
                    <a:pt x="87" y="446"/>
                  </a:lnTo>
                  <a:lnTo>
                    <a:pt x="75" y="313"/>
                  </a:lnTo>
                  <a:lnTo>
                    <a:pt x="163" y="169"/>
                  </a:lnTo>
                  <a:lnTo>
                    <a:pt x="163" y="0"/>
                  </a:lnTo>
                  <a:lnTo>
                    <a:pt x="145" y="23"/>
                  </a:lnTo>
                  <a:lnTo>
                    <a:pt x="81" y="35"/>
                  </a:lnTo>
                  <a:lnTo>
                    <a:pt x="81" y="100"/>
                  </a:lnTo>
                  <a:lnTo>
                    <a:pt x="94" y="146"/>
                  </a:lnTo>
                  <a:lnTo>
                    <a:pt x="87" y="213"/>
                  </a:lnTo>
                  <a:lnTo>
                    <a:pt x="68" y="179"/>
                  </a:lnTo>
                  <a:lnTo>
                    <a:pt x="68" y="134"/>
                  </a:lnTo>
                  <a:lnTo>
                    <a:pt x="50" y="111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40" name="Freeform 996"/>
            <p:cNvSpPr>
              <a:spLocks/>
            </p:cNvSpPr>
            <p:nvPr>
              <p:custDataLst>
                <p:tags r:id="rId834"/>
              </p:custDataLst>
            </p:nvPr>
          </p:nvSpPr>
          <p:spPr bwMode="auto">
            <a:xfrm>
              <a:off x="5089773" y="4765675"/>
              <a:ext cx="238125" cy="425450"/>
            </a:xfrm>
            <a:custGeom>
              <a:avLst/>
              <a:gdLst>
                <a:gd name="T0" fmla="*/ 0 w 163"/>
                <a:gd name="T1" fmla="*/ 2147483647 h 536"/>
                <a:gd name="T2" fmla="*/ 2147483647 w 163"/>
                <a:gd name="T3" fmla="*/ 2147483647 h 536"/>
                <a:gd name="T4" fmla="*/ 2147483647 w 163"/>
                <a:gd name="T5" fmla="*/ 2147483647 h 536"/>
                <a:gd name="T6" fmla="*/ 2147483647 w 163"/>
                <a:gd name="T7" fmla="*/ 2147483647 h 536"/>
                <a:gd name="T8" fmla="*/ 2147483647 w 163"/>
                <a:gd name="T9" fmla="*/ 2147483647 h 536"/>
                <a:gd name="T10" fmla="*/ 2147483647 w 163"/>
                <a:gd name="T11" fmla="*/ 2147483647 h 536"/>
                <a:gd name="T12" fmla="*/ 2147483647 w 163"/>
                <a:gd name="T13" fmla="*/ 2147483647 h 536"/>
                <a:gd name="T14" fmla="*/ 2147483647 w 163"/>
                <a:gd name="T15" fmla="*/ 2147483647 h 536"/>
                <a:gd name="T16" fmla="*/ 2147483647 w 163"/>
                <a:gd name="T17" fmla="*/ 2147483647 h 536"/>
                <a:gd name="T18" fmla="*/ 2147483647 w 163"/>
                <a:gd name="T19" fmla="*/ 2147483647 h 536"/>
                <a:gd name="T20" fmla="*/ 2147483647 w 163"/>
                <a:gd name="T21" fmla="*/ 2147483647 h 536"/>
                <a:gd name="T22" fmla="*/ 2147483647 w 163"/>
                <a:gd name="T23" fmla="*/ 2147483647 h 536"/>
                <a:gd name="T24" fmla="*/ 2147483647 w 163"/>
                <a:gd name="T25" fmla="*/ 2147483647 h 536"/>
                <a:gd name="T26" fmla="*/ 2147483647 w 163"/>
                <a:gd name="T27" fmla="*/ 0 h 536"/>
                <a:gd name="T28" fmla="*/ 2147483647 w 163"/>
                <a:gd name="T29" fmla="*/ 2147483647 h 536"/>
                <a:gd name="T30" fmla="*/ 2147483647 w 163"/>
                <a:gd name="T31" fmla="*/ 2147483647 h 536"/>
                <a:gd name="T32" fmla="*/ 2147483647 w 163"/>
                <a:gd name="T33" fmla="*/ 2147483647 h 536"/>
                <a:gd name="T34" fmla="*/ 2147483647 w 163"/>
                <a:gd name="T35" fmla="*/ 2147483647 h 536"/>
                <a:gd name="T36" fmla="*/ 2147483647 w 163"/>
                <a:gd name="T37" fmla="*/ 2147483647 h 536"/>
                <a:gd name="T38" fmla="*/ 2147483647 w 163"/>
                <a:gd name="T39" fmla="*/ 2147483647 h 536"/>
                <a:gd name="T40" fmla="*/ 2147483647 w 163"/>
                <a:gd name="T41" fmla="*/ 2147483647 h 536"/>
                <a:gd name="T42" fmla="*/ 2147483647 w 163"/>
                <a:gd name="T43" fmla="*/ 2147483647 h 536"/>
                <a:gd name="T44" fmla="*/ 0 w 163"/>
                <a:gd name="T45" fmla="*/ 2147483647 h 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63" h="536">
                  <a:moveTo>
                    <a:pt x="0" y="146"/>
                  </a:moveTo>
                  <a:lnTo>
                    <a:pt x="6" y="169"/>
                  </a:lnTo>
                  <a:lnTo>
                    <a:pt x="43" y="190"/>
                  </a:lnTo>
                  <a:lnTo>
                    <a:pt x="50" y="223"/>
                  </a:lnTo>
                  <a:lnTo>
                    <a:pt x="50" y="313"/>
                  </a:lnTo>
                  <a:lnTo>
                    <a:pt x="25" y="401"/>
                  </a:lnTo>
                  <a:lnTo>
                    <a:pt x="31" y="501"/>
                  </a:lnTo>
                  <a:lnTo>
                    <a:pt x="31" y="536"/>
                  </a:lnTo>
                  <a:lnTo>
                    <a:pt x="43" y="536"/>
                  </a:lnTo>
                  <a:lnTo>
                    <a:pt x="43" y="501"/>
                  </a:lnTo>
                  <a:lnTo>
                    <a:pt x="87" y="446"/>
                  </a:lnTo>
                  <a:lnTo>
                    <a:pt x="75" y="313"/>
                  </a:lnTo>
                  <a:lnTo>
                    <a:pt x="163" y="169"/>
                  </a:lnTo>
                  <a:lnTo>
                    <a:pt x="163" y="0"/>
                  </a:lnTo>
                  <a:lnTo>
                    <a:pt x="145" y="23"/>
                  </a:lnTo>
                  <a:lnTo>
                    <a:pt x="81" y="35"/>
                  </a:lnTo>
                  <a:lnTo>
                    <a:pt x="81" y="100"/>
                  </a:lnTo>
                  <a:lnTo>
                    <a:pt x="94" y="146"/>
                  </a:lnTo>
                  <a:lnTo>
                    <a:pt x="87" y="213"/>
                  </a:lnTo>
                  <a:lnTo>
                    <a:pt x="68" y="179"/>
                  </a:lnTo>
                  <a:lnTo>
                    <a:pt x="68" y="134"/>
                  </a:lnTo>
                  <a:lnTo>
                    <a:pt x="50" y="111"/>
                  </a:lnTo>
                  <a:lnTo>
                    <a:pt x="0" y="146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41" name="Freeform 997"/>
            <p:cNvSpPr>
              <a:spLocks/>
            </p:cNvSpPr>
            <p:nvPr>
              <p:custDataLst>
                <p:tags r:id="rId835"/>
              </p:custDataLst>
            </p:nvPr>
          </p:nvSpPr>
          <p:spPr bwMode="auto">
            <a:xfrm>
              <a:off x="4410323" y="3892550"/>
              <a:ext cx="366713" cy="307975"/>
            </a:xfrm>
            <a:custGeom>
              <a:avLst/>
              <a:gdLst>
                <a:gd name="T0" fmla="*/ 0 w 250"/>
                <a:gd name="T1" fmla="*/ 2147483647 h 387"/>
                <a:gd name="T2" fmla="*/ 2147483647 w 250"/>
                <a:gd name="T3" fmla="*/ 2147483647 h 387"/>
                <a:gd name="T4" fmla="*/ 2147483647 w 250"/>
                <a:gd name="T5" fmla="*/ 2147483647 h 387"/>
                <a:gd name="T6" fmla="*/ 2147483647 w 250"/>
                <a:gd name="T7" fmla="*/ 2147483647 h 387"/>
                <a:gd name="T8" fmla="*/ 2147483647 w 250"/>
                <a:gd name="T9" fmla="*/ 2147483647 h 387"/>
                <a:gd name="T10" fmla="*/ 2147483647 w 250"/>
                <a:gd name="T11" fmla="*/ 2147483647 h 387"/>
                <a:gd name="T12" fmla="*/ 2147483647 w 250"/>
                <a:gd name="T13" fmla="*/ 2147483647 h 387"/>
                <a:gd name="T14" fmla="*/ 2147483647 w 250"/>
                <a:gd name="T15" fmla="*/ 2147483647 h 387"/>
                <a:gd name="T16" fmla="*/ 2147483647 w 250"/>
                <a:gd name="T17" fmla="*/ 2147483647 h 387"/>
                <a:gd name="T18" fmla="*/ 2147483647 w 250"/>
                <a:gd name="T19" fmla="*/ 2147483647 h 387"/>
                <a:gd name="T20" fmla="*/ 2147483647 w 250"/>
                <a:gd name="T21" fmla="*/ 2147483647 h 387"/>
                <a:gd name="T22" fmla="*/ 2147483647 w 250"/>
                <a:gd name="T23" fmla="*/ 2147483647 h 387"/>
                <a:gd name="T24" fmla="*/ 2147483647 w 250"/>
                <a:gd name="T25" fmla="*/ 2147483647 h 387"/>
                <a:gd name="T26" fmla="*/ 2147483647 w 250"/>
                <a:gd name="T27" fmla="*/ 0 h 387"/>
                <a:gd name="T28" fmla="*/ 2147483647 w 250"/>
                <a:gd name="T29" fmla="*/ 2147483647 h 387"/>
                <a:gd name="T30" fmla="*/ 2147483647 w 250"/>
                <a:gd name="T31" fmla="*/ 2147483647 h 387"/>
                <a:gd name="T32" fmla="*/ 2147483647 w 250"/>
                <a:gd name="T33" fmla="*/ 2147483647 h 387"/>
                <a:gd name="T34" fmla="*/ 2147483647 w 250"/>
                <a:gd name="T35" fmla="*/ 2147483647 h 387"/>
                <a:gd name="T36" fmla="*/ 0 w 250"/>
                <a:gd name="T37" fmla="*/ 2147483647 h 38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50" h="387">
                  <a:moveTo>
                    <a:pt x="0" y="288"/>
                  </a:moveTo>
                  <a:lnTo>
                    <a:pt x="6" y="309"/>
                  </a:lnTo>
                  <a:lnTo>
                    <a:pt x="37" y="376"/>
                  </a:lnTo>
                  <a:lnTo>
                    <a:pt x="44" y="366"/>
                  </a:lnTo>
                  <a:lnTo>
                    <a:pt x="56" y="387"/>
                  </a:lnTo>
                  <a:lnTo>
                    <a:pt x="75" y="322"/>
                  </a:lnTo>
                  <a:lnTo>
                    <a:pt x="144" y="353"/>
                  </a:lnTo>
                  <a:lnTo>
                    <a:pt x="205" y="322"/>
                  </a:lnTo>
                  <a:lnTo>
                    <a:pt x="205" y="299"/>
                  </a:lnTo>
                  <a:lnTo>
                    <a:pt x="237" y="220"/>
                  </a:lnTo>
                  <a:lnTo>
                    <a:pt x="250" y="111"/>
                  </a:lnTo>
                  <a:lnTo>
                    <a:pt x="231" y="67"/>
                  </a:lnTo>
                  <a:lnTo>
                    <a:pt x="231" y="23"/>
                  </a:lnTo>
                  <a:lnTo>
                    <a:pt x="181" y="0"/>
                  </a:lnTo>
                  <a:lnTo>
                    <a:pt x="87" y="132"/>
                  </a:lnTo>
                  <a:lnTo>
                    <a:pt x="62" y="155"/>
                  </a:lnTo>
                  <a:lnTo>
                    <a:pt x="62" y="253"/>
                  </a:lnTo>
                  <a:lnTo>
                    <a:pt x="49" y="265"/>
                  </a:lnTo>
                  <a:lnTo>
                    <a:pt x="0" y="2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42" name="Freeform 998"/>
            <p:cNvSpPr>
              <a:spLocks/>
            </p:cNvSpPr>
            <p:nvPr>
              <p:custDataLst>
                <p:tags r:id="rId836"/>
              </p:custDataLst>
            </p:nvPr>
          </p:nvSpPr>
          <p:spPr bwMode="auto">
            <a:xfrm>
              <a:off x="4410323" y="3892550"/>
              <a:ext cx="366713" cy="307975"/>
            </a:xfrm>
            <a:custGeom>
              <a:avLst/>
              <a:gdLst>
                <a:gd name="T0" fmla="*/ 0 w 250"/>
                <a:gd name="T1" fmla="*/ 2147483647 h 387"/>
                <a:gd name="T2" fmla="*/ 2147483647 w 250"/>
                <a:gd name="T3" fmla="*/ 2147483647 h 387"/>
                <a:gd name="T4" fmla="*/ 2147483647 w 250"/>
                <a:gd name="T5" fmla="*/ 2147483647 h 387"/>
                <a:gd name="T6" fmla="*/ 2147483647 w 250"/>
                <a:gd name="T7" fmla="*/ 2147483647 h 387"/>
                <a:gd name="T8" fmla="*/ 2147483647 w 250"/>
                <a:gd name="T9" fmla="*/ 2147483647 h 387"/>
                <a:gd name="T10" fmla="*/ 2147483647 w 250"/>
                <a:gd name="T11" fmla="*/ 2147483647 h 387"/>
                <a:gd name="T12" fmla="*/ 2147483647 w 250"/>
                <a:gd name="T13" fmla="*/ 2147483647 h 387"/>
                <a:gd name="T14" fmla="*/ 2147483647 w 250"/>
                <a:gd name="T15" fmla="*/ 2147483647 h 387"/>
                <a:gd name="T16" fmla="*/ 2147483647 w 250"/>
                <a:gd name="T17" fmla="*/ 2147483647 h 387"/>
                <a:gd name="T18" fmla="*/ 2147483647 w 250"/>
                <a:gd name="T19" fmla="*/ 2147483647 h 387"/>
                <a:gd name="T20" fmla="*/ 2147483647 w 250"/>
                <a:gd name="T21" fmla="*/ 2147483647 h 387"/>
                <a:gd name="T22" fmla="*/ 2147483647 w 250"/>
                <a:gd name="T23" fmla="*/ 2147483647 h 387"/>
                <a:gd name="T24" fmla="*/ 2147483647 w 250"/>
                <a:gd name="T25" fmla="*/ 2147483647 h 387"/>
                <a:gd name="T26" fmla="*/ 2147483647 w 250"/>
                <a:gd name="T27" fmla="*/ 0 h 387"/>
                <a:gd name="T28" fmla="*/ 2147483647 w 250"/>
                <a:gd name="T29" fmla="*/ 2147483647 h 387"/>
                <a:gd name="T30" fmla="*/ 2147483647 w 250"/>
                <a:gd name="T31" fmla="*/ 2147483647 h 387"/>
                <a:gd name="T32" fmla="*/ 2147483647 w 250"/>
                <a:gd name="T33" fmla="*/ 2147483647 h 387"/>
                <a:gd name="T34" fmla="*/ 2147483647 w 250"/>
                <a:gd name="T35" fmla="*/ 2147483647 h 387"/>
                <a:gd name="T36" fmla="*/ 0 w 250"/>
                <a:gd name="T37" fmla="*/ 2147483647 h 38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50" h="387">
                  <a:moveTo>
                    <a:pt x="0" y="288"/>
                  </a:moveTo>
                  <a:lnTo>
                    <a:pt x="6" y="309"/>
                  </a:lnTo>
                  <a:lnTo>
                    <a:pt x="37" y="376"/>
                  </a:lnTo>
                  <a:lnTo>
                    <a:pt x="44" y="366"/>
                  </a:lnTo>
                  <a:lnTo>
                    <a:pt x="56" y="387"/>
                  </a:lnTo>
                  <a:lnTo>
                    <a:pt x="75" y="322"/>
                  </a:lnTo>
                  <a:lnTo>
                    <a:pt x="144" y="353"/>
                  </a:lnTo>
                  <a:lnTo>
                    <a:pt x="205" y="322"/>
                  </a:lnTo>
                  <a:lnTo>
                    <a:pt x="205" y="299"/>
                  </a:lnTo>
                  <a:lnTo>
                    <a:pt x="237" y="220"/>
                  </a:lnTo>
                  <a:lnTo>
                    <a:pt x="250" y="111"/>
                  </a:lnTo>
                  <a:lnTo>
                    <a:pt x="231" y="67"/>
                  </a:lnTo>
                  <a:lnTo>
                    <a:pt x="231" y="23"/>
                  </a:lnTo>
                  <a:lnTo>
                    <a:pt x="181" y="0"/>
                  </a:lnTo>
                  <a:lnTo>
                    <a:pt x="87" y="132"/>
                  </a:lnTo>
                  <a:lnTo>
                    <a:pt x="62" y="155"/>
                  </a:lnTo>
                  <a:lnTo>
                    <a:pt x="62" y="253"/>
                  </a:lnTo>
                  <a:lnTo>
                    <a:pt x="49" y="265"/>
                  </a:lnTo>
                  <a:lnTo>
                    <a:pt x="0" y="28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43" name="Freeform 999"/>
            <p:cNvSpPr>
              <a:spLocks/>
            </p:cNvSpPr>
            <p:nvPr>
              <p:custDataLst>
                <p:tags r:id="rId837"/>
              </p:custDataLst>
            </p:nvPr>
          </p:nvSpPr>
          <p:spPr bwMode="auto">
            <a:xfrm>
              <a:off x="4410323" y="3892550"/>
              <a:ext cx="366713" cy="307975"/>
            </a:xfrm>
            <a:custGeom>
              <a:avLst/>
              <a:gdLst>
                <a:gd name="T0" fmla="*/ 0 w 250"/>
                <a:gd name="T1" fmla="*/ 2147483647 h 387"/>
                <a:gd name="T2" fmla="*/ 2147483647 w 250"/>
                <a:gd name="T3" fmla="*/ 2147483647 h 387"/>
                <a:gd name="T4" fmla="*/ 2147483647 w 250"/>
                <a:gd name="T5" fmla="*/ 2147483647 h 387"/>
                <a:gd name="T6" fmla="*/ 2147483647 w 250"/>
                <a:gd name="T7" fmla="*/ 2147483647 h 387"/>
                <a:gd name="T8" fmla="*/ 2147483647 w 250"/>
                <a:gd name="T9" fmla="*/ 2147483647 h 387"/>
                <a:gd name="T10" fmla="*/ 2147483647 w 250"/>
                <a:gd name="T11" fmla="*/ 2147483647 h 387"/>
                <a:gd name="T12" fmla="*/ 2147483647 w 250"/>
                <a:gd name="T13" fmla="*/ 2147483647 h 387"/>
                <a:gd name="T14" fmla="*/ 2147483647 w 250"/>
                <a:gd name="T15" fmla="*/ 2147483647 h 387"/>
                <a:gd name="T16" fmla="*/ 2147483647 w 250"/>
                <a:gd name="T17" fmla="*/ 2147483647 h 387"/>
                <a:gd name="T18" fmla="*/ 2147483647 w 250"/>
                <a:gd name="T19" fmla="*/ 2147483647 h 387"/>
                <a:gd name="T20" fmla="*/ 2147483647 w 250"/>
                <a:gd name="T21" fmla="*/ 2147483647 h 387"/>
                <a:gd name="T22" fmla="*/ 2147483647 w 250"/>
                <a:gd name="T23" fmla="*/ 2147483647 h 387"/>
                <a:gd name="T24" fmla="*/ 2147483647 w 250"/>
                <a:gd name="T25" fmla="*/ 2147483647 h 387"/>
                <a:gd name="T26" fmla="*/ 2147483647 w 250"/>
                <a:gd name="T27" fmla="*/ 0 h 387"/>
                <a:gd name="T28" fmla="*/ 2147483647 w 250"/>
                <a:gd name="T29" fmla="*/ 2147483647 h 387"/>
                <a:gd name="T30" fmla="*/ 2147483647 w 250"/>
                <a:gd name="T31" fmla="*/ 2147483647 h 387"/>
                <a:gd name="T32" fmla="*/ 2147483647 w 250"/>
                <a:gd name="T33" fmla="*/ 2147483647 h 387"/>
                <a:gd name="T34" fmla="*/ 2147483647 w 250"/>
                <a:gd name="T35" fmla="*/ 2147483647 h 387"/>
                <a:gd name="T36" fmla="*/ 0 w 250"/>
                <a:gd name="T37" fmla="*/ 2147483647 h 38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50" h="387">
                  <a:moveTo>
                    <a:pt x="0" y="288"/>
                  </a:moveTo>
                  <a:lnTo>
                    <a:pt x="6" y="309"/>
                  </a:lnTo>
                  <a:lnTo>
                    <a:pt x="37" y="376"/>
                  </a:lnTo>
                  <a:lnTo>
                    <a:pt x="44" y="366"/>
                  </a:lnTo>
                  <a:lnTo>
                    <a:pt x="56" y="387"/>
                  </a:lnTo>
                  <a:lnTo>
                    <a:pt x="75" y="322"/>
                  </a:lnTo>
                  <a:lnTo>
                    <a:pt x="144" y="353"/>
                  </a:lnTo>
                  <a:lnTo>
                    <a:pt x="205" y="322"/>
                  </a:lnTo>
                  <a:lnTo>
                    <a:pt x="205" y="299"/>
                  </a:lnTo>
                  <a:lnTo>
                    <a:pt x="237" y="220"/>
                  </a:lnTo>
                  <a:lnTo>
                    <a:pt x="250" y="111"/>
                  </a:lnTo>
                  <a:lnTo>
                    <a:pt x="231" y="67"/>
                  </a:lnTo>
                  <a:lnTo>
                    <a:pt x="231" y="23"/>
                  </a:lnTo>
                  <a:lnTo>
                    <a:pt x="181" y="0"/>
                  </a:lnTo>
                  <a:lnTo>
                    <a:pt x="87" y="132"/>
                  </a:lnTo>
                  <a:lnTo>
                    <a:pt x="62" y="155"/>
                  </a:lnTo>
                  <a:lnTo>
                    <a:pt x="62" y="253"/>
                  </a:lnTo>
                  <a:lnTo>
                    <a:pt x="49" y="265"/>
                  </a:lnTo>
                  <a:lnTo>
                    <a:pt x="0" y="288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44" name="Freeform 1000"/>
            <p:cNvSpPr>
              <a:spLocks/>
            </p:cNvSpPr>
            <p:nvPr>
              <p:custDataLst>
                <p:tags r:id="rId838"/>
              </p:custDataLst>
            </p:nvPr>
          </p:nvSpPr>
          <p:spPr bwMode="auto">
            <a:xfrm>
              <a:off x="4410323" y="3892550"/>
              <a:ext cx="366713" cy="307975"/>
            </a:xfrm>
            <a:custGeom>
              <a:avLst/>
              <a:gdLst>
                <a:gd name="T0" fmla="*/ 0 w 250"/>
                <a:gd name="T1" fmla="*/ 2147483647 h 387"/>
                <a:gd name="T2" fmla="*/ 2147483647 w 250"/>
                <a:gd name="T3" fmla="*/ 2147483647 h 387"/>
                <a:gd name="T4" fmla="*/ 2147483647 w 250"/>
                <a:gd name="T5" fmla="*/ 2147483647 h 387"/>
                <a:gd name="T6" fmla="*/ 2147483647 w 250"/>
                <a:gd name="T7" fmla="*/ 2147483647 h 387"/>
                <a:gd name="T8" fmla="*/ 2147483647 w 250"/>
                <a:gd name="T9" fmla="*/ 2147483647 h 387"/>
                <a:gd name="T10" fmla="*/ 2147483647 w 250"/>
                <a:gd name="T11" fmla="*/ 2147483647 h 387"/>
                <a:gd name="T12" fmla="*/ 2147483647 w 250"/>
                <a:gd name="T13" fmla="*/ 2147483647 h 387"/>
                <a:gd name="T14" fmla="*/ 2147483647 w 250"/>
                <a:gd name="T15" fmla="*/ 2147483647 h 387"/>
                <a:gd name="T16" fmla="*/ 2147483647 w 250"/>
                <a:gd name="T17" fmla="*/ 2147483647 h 387"/>
                <a:gd name="T18" fmla="*/ 2147483647 w 250"/>
                <a:gd name="T19" fmla="*/ 2147483647 h 387"/>
                <a:gd name="T20" fmla="*/ 2147483647 w 250"/>
                <a:gd name="T21" fmla="*/ 2147483647 h 387"/>
                <a:gd name="T22" fmla="*/ 2147483647 w 250"/>
                <a:gd name="T23" fmla="*/ 2147483647 h 387"/>
                <a:gd name="T24" fmla="*/ 2147483647 w 250"/>
                <a:gd name="T25" fmla="*/ 2147483647 h 387"/>
                <a:gd name="T26" fmla="*/ 2147483647 w 250"/>
                <a:gd name="T27" fmla="*/ 0 h 387"/>
                <a:gd name="T28" fmla="*/ 2147483647 w 250"/>
                <a:gd name="T29" fmla="*/ 2147483647 h 387"/>
                <a:gd name="T30" fmla="*/ 2147483647 w 250"/>
                <a:gd name="T31" fmla="*/ 2147483647 h 387"/>
                <a:gd name="T32" fmla="*/ 2147483647 w 250"/>
                <a:gd name="T33" fmla="*/ 2147483647 h 387"/>
                <a:gd name="T34" fmla="*/ 2147483647 w 250"/>
                <a:gd name="T35" fmla="*/ 2147483647 h 387"/>
                <a:gd name="T36" fmla="*/ 0 w 250"/>
                <a:gd name="T37" fmla="*/ 2147483647 h 38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50" h="387">
                  <a:moveTo>
                    <a:pt x="0" y="288"/>
                  </a:moveTo>
                  <a:lnTo>
                    <a:pt x="6" y="309"/>
                  </a:lnTo>
                  <a:lnTo>
                    <a:pt x="37" y="376"/>
                  </a:lnTo>
                  <a:lnTo>
                    <a:pt x="44" y="366"/>
                  </a:lnTo>
                  <a:lnTo>
                    <a:pt x="56" y="387"/>
                  </a:lnTo>
                  <a:lnTo>
                    <a:pt x="75" y="322"/>
                  </a:lnTo>
                  <a:lnTo>
                    <a:pt x="144" y="353"/>
                  </a:lnTo>
                  <a:lnTo>
                    <a:pt x="205" y="322"/>
                  </a:lnTo>
                  <a:lnTo>
                    <a:pt x="205" y="299"/>
                  </a:lnTo>
                  <a:lnTo>
                    <a:pt x="237" y="220"/>
                  </a:lnTo>
                  <a:lnTo>
                    <a:pt x="250" y="111"/>
                  </a:lnTo>
                  <a:lnTo>
                    <a:pt x="231" y="67"/>
                  </a:lnTo>
                  <a:lnTo>
                    <a:pt x="231" y="23"/>
                  </a:lnTo>
                  <a:lnTo>
                    <a:pt x="181" y="0"/>
                  </a:lnTo>
                  <a:lnTo>
                    <a:pt x="87" y="132"/>
                  </a:lnTo>
                  <a:lnTo>
                    <a:pt x="62" y="155"/>
                  </a:lnTo>
                  <a:lnTo>
                    <a:pt x="62" y="253"/>
                  </a:lnTo>
                  <a:lnTo>
                    <a:pt x="49" y="265"/>
                  </a:lnTo>
                  <a:lnTo>
                    <a:pt x="0" y="288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45" name="Freeform 1001"/>
            <p:cNvSpPr>
              <a:spLocks/>
            </p:cNvSpPr>
            <p:nvPr>
              <p:custDataLst>
                <p:tags r:id="rId839"/>
              </p:custDataLst>
            </p:nvPr>
          </p:nvSpPr>
          <p:spPr bwMode="auto">
            <a:xfrm>
              <a:off x="4475411" y="4148138"/>
              <a:ext cx="266700" cy="247650"/>
            </a:xfrm>
            <a:custGeom>
              <a:avLst/>
              <a:gdLst>
                <a:gd name="T0" fmla="*/ 0 w 182"/>
                <a:gd name="T1" fmla="*/ 2147483647 h 311"/>
                <a:gd name="T2" fmla="*/ 2147483647 w 182"/>
                <a:gd name="T3" fmla="*/ 2147483647 h 311"/>
                <a:gd name="T4" fmla="*/ 2147483647 w 182"/>
                <a:gd name="T5" fmla="*/ 0 h 311"/>
                <a:gd name="T6" fmla="*/ 2147483647 w 182"/>
                <a:gd name="T7" fmla="*/ 2147483647 h 311"/>
                <a:gd name="T8" fmla="*/ 2147483647 w 182"/>
                <a:gd name="T9" fmla="*/ 0 h 311"/>
                <a:gd name="T10" fmla="*/ 2147483647 w 182"/>
                <a:gd name="T11" fmla="*/ 2147483647 h 311"/>
                <a:gd name="T12" fmla="*/ 2147483647 w 182"/>
                <a:gd name="T13" fmla="*/ 2147483647 h 311"/>
                <a:gd name="T14" fmla="*/ 2147483647 w 182"/>
                <a:gd name="T15" fmla="*/ 2147483647 h 311"/>
                <a:gd name="T16" fmla="*/ 2147483647 w 182"/>
                <a:gd name="T17" fmla="*/ 2147483647 h 311"/>
                <a:gd name="T18" fmla="*/ 2147483647 w 182"/>
                <a:gd name="T19" fmla="*/ 2147483647 h 311"/>
                <a:gd name="T20" fmla="*/ 2147483647 w 182"/>
                <a:gd name="T21" fmla="*/ 2147483647 h 311"/>
                <a:gd name="T22" fmla="*/ 2147483647 w 182"/>
                <a:gd name="T23" fmla="*/ 2147483647 h 311"/>
                <a:gd name="T24" fmla="*/ 2147483647 w 182"/>
                <a:gd name="T25" fmla="*/ 2147483647 h 311"/>
                <a:gd name="T26" fmla="*/ 0 w 182"/>
                <a:gd name="T27" fmla="*/ 2147483647 h 3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82" h="311">
                  <a:moveTo>
                    <a:pt x="0" y="244"/>
                  </a:moveTo>
                  <a:lnTo>
                    <a:pt x="12" y="65"/>
                  </a:lnTo>
                  <a:lnTo>
                    <a:pt x="31" y="0"/>
                  </a:lnTo>
                  <a:lnTo>
                    <a:pt x="100" y="33"/>
                  </a:lnTo>
                  <a:lnTo>
                    <a:pt x="163" y="0"/>
                  </a:lnTo>
                  <a:lnTo>
                    <a:pt x="175" y="44"/>
                  </a:lnTo>
                  <a:lnTo>
                    <a:pt x="182" y="65"/>
                  </a:lnTo>
                  <a:lnTo>
                    <a:pt x="163" y="89"/>
                  </a:lnTo>
                  <a:lnTo>
                    <a:pt x="131" y="233"/>
                  </a:lnTo>
                  <a:lnTo>
                    <a:pt x="100" y="223"/>
                  </a:lnTo>
                  <a:lnTo>
                    <a:pt x="87" y="288"/>
                  </a:lnTo>
                  <a:lnTo>
                    <a:pt x="50" y="311"/>
                  </a:lnTo>
                  <a:lnTo>
                    <a:pt x="31" y="244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846" name="Group 1002"/>
            <p:cNvGrpSpPr>
              <a:grpSpLocks/>
            </p:cNvGrpSpPr>
            <p:nvPr>
              <p:custDataLst>
                <p:tags r:id="rId840"/>
              </p:custDataLst>
            </p:nvPr>
          </p:nvGrpSpPr>
          <p:grpSpPr bwMode="auto">
            <a:xfrm>
              <a:off x="4475411" y="4148138"/>
              <a:ext cx="266700" cy="247650"/>
              <a:chOff x="2989" y="2431"/>
              <a:chExt cx="182" cy="156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75" name="Freeform 1003"/>
              <p:cNvSpPr>
                <a:spLocks/>
              </p:cNvSpPr>
              <p:nvPr/>
            </p:nvSpPr>
            <p:spPr bwMode="auto">
              <a:xfrm>
                <a:off x="2989" y="2431"/>
                <a:ext cx="182" cy="156"/>
              </a:xfrm>
              <a:custGeom>
                <a:avLst/>
                <a:gdLst>
                  <a:gd name="T0" fmla="*/ 0 w 182"/>
                  <a:gd name="T1" fmla="*/ 1 h 311"/>
                  <a:gd name="T2" fmla="*/ 12 w 182"/>
                  <a:gd name="T3" fmla="*/ 1 h 311"/>
                  <a:gd name="T4" fmla="*/ 31 w 182"/>
                  <a:gd name="T5" fmla="*/ 0 h 311"/>
                  <a:gd name="T6" fmla="*/ 100 w 182"/>
                  <a:gd name="T7" fmla="*/ 1 h 311"/>
                  <a:gd name="T8" fmla="*/ 163 w 182"/>
                  <a:gd name="T9" fmla="*/ 0 h 311"/>
                  <a:gd name="T10" fmla="*/ 175 w 182"/>
                  <a:gd name="T11" fmla="*/ 1 h 311"/>
                  <a:gd name="T12" fmla="*/ 182 w 182"/>
                  <a:gd name="T13" fmla="*/ 1 h 311"/>
                  <a:gd name="T14" fmla="*/ 163 w 182"/>
                  <a:gd name="T15" fmla="*/ 1 h 311"/>
                  <a:gd name="T16" fmla="*/ 131 w 182"/>
                  <a:gd name="T17" fmla="*/ 1 h 311"/>
                  <a:gd name="T18" fmla="*/ 100 w 182"/>
                  <a:gd name="T19" fmla="*/ 1 h 311"/>
                  <a:gd name="T20" fmla="*/ 87 w 182"/>
                  <a:gd name="T21" fmla="*/ 1 h 311"/>
                  <a:gd name="T22" fmla="*/ 50 w 182"/>
                  <a:gd name="T23" fmla="*/ 1 h 311"/>
                  <a:gd name="T24" fmla="*/ 31 w 182"/>
                  <a:gd name="T25" fmla="*/ 1 h 311"/>
                  <a:gd name="T26" fmla="*/ 0 w 182"/>
                  <a:gd name="T27" fmla="*/ 1 h 3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82" h="311">
                    <a:moveTo>
                      <a:pt x="0" y="244"/>
                    </a:moveTo>
                    <a:lnTo>
                      <a:pt x="12" y="65"/>
                    </a:lnTo>
                    <a:lnTo>
                      <a:pt x="31" y="0"/>
                    </a:lnTo>
                    <a:lnTo>
                      <a:pt x="100" y="33"/>
                    </a:lnTo>
                    <a:lnTo>
                      <a:pt x="163" y="0"/>
                    </a:lnTo>
                    <a:lnTo>
                      <a:pt x="175" y="44"/>
                    </a:lnTo>
                    <a:lnTo>
                      <a:pt x="182" y="65"/>
                    </a:lnTo>
                    <a:lnTo>
                      <a:pt x="163" y="89"/>
                    </a:lnTo>
                    <a:lnTo>
                      <a:pt x="131" y="233"/>
                    </a:lnTo>
                    <a:lnTo>
                      <a:pt x="100" y="223"/>
                    </a:lnTo>
                    <a:lnTo>
                      <a:pt x="87" y="288"/>
                    </a:lnTo>
                    <a:lnTo>
                      <a:pt x="50" y="311"/>
                    </a:lnTo>
                    <a:lnTo>
                      <a:pt x="31" y="244"/>
                    </a:lnTo>
                    <a:lnTo>
                      <a:pt x="0" y="244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76" name="Freeform 1004"/>
              <p:cNvSpPr>
                <a:spLocks/>
              </p:cNvSpPr>
              <p:nvPr/>
            </p:nvSpPr>
            <p:spPr bwMode="auto">
              <a:xfrm>
                <a:off x="2989" y="2431"/>
                <a:ext cx="182" cy="156"/>
              </a:xfrm>
              <a:custGeom>
                <a:avLst/>
                <a:gdLst>
                  <a:gd name="T0" fmla="*/ 0 w 182"/>
                  <a:gd name="T1" fmla="*/ 1 h 311"/>
                  <a:gd name="T2" fmla="*/ 12 w 182"/>
                  <a:gd name="T3" fmla="*/ 1 h 311"/>
                  <a:gd name="T4" fmla="*/ 31 w 182"/>
                  <a:gd name="T5" fmla="*/ 0 h 311"/>
                  <a:gd name="T6" fmla="*/ 100 w 182"/>
                  <a:gd name="T7" fmla="*/ 1 h 311"/>
                  <a:gd name="T8" fmla="*/ 163 w 182"/>
                  <a:gd name="T9" fmla="*/ 0 h 311"/>
                  <a:gd name="T10" fmla="*/ 175 w 182"/>
                  <a:gd name="T11" fmla="*/ 1 h 311"/>
                  <a:gd name="T12" fmla="*/ 182 w 182"/>
                  <a:gd name="T13" fmla="*/ 1 h 311"/>
                  <a:gd name="T14" fmla="*/ 163 w 182"/>
                  <a:gd name="T15" fmla="*/ 1 h 311"/>
                  <a:gd name="T16" fmla="*/ 131 w 182"/>
                  <a:gd name="T17" fmla="*/ 1 h 311"/>
                  <a:gd name="T18" fmla="*/ 100 w 182"/>
                  <a:gd name="T19" fmla="*/ 1 h 311"/>
                  <a:gd name="T20" fmla="*/ 87 w 182"/>
                  <a:gd name="T21" fmla="*/ 1 h 311"/>
                  <a:gd name="T22" fmla="*/ 50 w 182"/>
                  <a:gd name="T23" fmla="*/ 1 h 311"/>
                  <a:gd name="T24" fmla="*/ 31 w 182"/>
                  <a:gd name="T25" fmla="*/ 1 h 311"/>
                  <a:gd name="T26" fmla="*/ 0 w 182"/>
                  <a:gd name="T27" fmla="*/ 1 h 3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82" h="311">
                    <a:moveTo>
                      <a:pt x="0" y="244"/>
                    </a:moveTo>
                    <a:lnTo>
                      <a:pt x="12" y="65"/>
                    </a:lnTo>
                    <a:lnTo>
                      <a:pt x="31" y="0"/>
                    </a:lnTo>
                    <a:lnTo>
                      <a:pt x="100" y="33"/>
                    </a:lnTo>
                    <a:lnTo>
                      <a:pt x="163" y="0"/>
                    </a:lnTo>
                    <a:lnTo>
                      <a:pt x="175" y="44"/>
                    </a:lnTo>
                    <a:lnTo>
                      <a:pt x="182" y="65"/>
                    </a:lnTo>
                    <a:lnTo>
                      <a:pt x="163" y="89"/>
                    </a:lnTo>
                    <a:lnTo>
                      <a:pt x="131" y="233"/>
                    </a:lnTo>
                    <a:lnTo>
                      <a:pt x="100" y="223"/>
                    </a:lnTo>
                    <a:lnTo>
                      <a:pt x="87" y="288"/>
                    </a:lnTo>
                    <a:lnTo>
                      <a:pt x="50" y="311"/>
                    </a:lnTo>
                    <a:lnTo>
                      <a:pt x="31" y="244"/>
                    </a:lnTo>
                    <a:lnTo>
                      <a:pt x="0" y="244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47" name="Freeform 1005"/>
            <p:cNvSpPr>
              <a:spLocks/>
            </p:cNvSpPr>
            <p:nvPr>
              <p:custDataLst>
                <p:tags r:id="rId841"/>
              </p:custDataLst>
            </p:nvPr>
          </p:nvSpPr>
          <p:spPr bwMode="auto">
            <a:xfrm>
              <a:off x="4475411" y="4148138"/>
              <a:ext cx="266700" cy="247650"/>
            </a:xfrm>
            <a:custGeom>
              <a:avLst/>
              <a:gdLst>
                <a:gd name="T0" fmla="*/ 0 w 182"/>
                <a:gd name="T1" fmla="*/ 2147483647 h 311"/>
                <a:gd name="T2" fmla="*/ 2147483647 w 182"/>
                <a:gd name="T3" fmla="*/ 2147483647 h 311"/>
                <a:gd name="T4" fmla="*/ 2147483647 w 182"/>
                <a:gd name="T5" fmla="*/ 0 h 311"/>
                <a:gd name="T6" fmla="*/ 2147483647 w 182"/>
                <a:gd name="T7" fmla="*/ 2147483647 h 311"/>
                <a:gd name="T8" fmla="*/ 2147483647 w 182"/>
                <a:gd name="T9" fmla="*/ 0 h 311"/>
                <a:gd name="T10" fmla="*/ 2147483647 w 182"/>
                <a:gd name="T11" fmla="*/ 2147483647 h 311"/>
                <a:gd name="T12" fmla="*/ 2147483647 w 182"/>
                <a:gd name="T13" fmla="*/ 2147483647 h 311"/>
                <a:gd name="T14" fmla="*/ 2147483647 w 182"/>
                <a:gd name="T15" fmla="*/ 2147483647 h 311"/>
                <a:gd name="T16" fmla="*/ 2147483647 w 182"/>
                <a:gd name="T17" fmla="*/ 2147483647 h 311"/>
                <a:gd name="T18" fmla="*/ 2147483647 w 182"/>
                <a:gd name="T19" fmla="*/ 2147483647 h 311"/>
                <a:gd name="T20" fmla="*/ 2147483647 w 182"/>
                <a:gd name="T21" fmla="*/ 2147483647 h 311"/>
                <a:gd name="T22" fmla="*/ 2147483647 w 182"/>
                <a:gd name="T23" fmla="*/ 2147483647 h 311"/>
                <a:gd name="T24" fmla="*/ 2147483647 w 182"/>
                <a:gd name="T25" fmla="*/ 2147483647 h 311"/>
                <a:gd name="T26" fmla="*/ 0 w 182"/>
                <a:gd name="T27" fmla="*/ 2147483647 h 3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82" h="311">
                  <a:moveTo>
                    <a:pt x="0" y="244"/>
                  </a:moveTo>
                  <a:lnTo>
                    <a:pt x="12" y="65"/>
                  </a:lnTo>
                  <a:lnTo>
                    <a:pt x="31" y="0"/>
                  </a:lnTo>
                  <a:lnTo>
                    <a:pt x="100" y="33"/>
                  </a:lnTo>
                  <a:lnTo>
                    <a:pt x="163" y="0"/>
                  </a:lnTo>
                  <a:lnTo>
                    <a:pt x="175" y="44"/>
                  </a:lnTo>
                  <a:lnTo>
                    <a:pt x="182" y="65"/>
                  </a:lnTo>
                  <a:lnTo>
                    <a:pt x="163" y="89"/>
                  </a:lnTo>
                  <a:lnTo>
                    <a:pt x="131" y="233"/>
                  </a:lnTo>
                  <a:lnTo>
                    <a:pt x="100" y="223"/>
                  </a:lnTo>
                  <a:lnTo>
                    <a:pt x="87" y="288"/>
                  </a:lnTo>
                  <a:lnTo>
                    <a:pt x="50" y="311"/>
                  </a:lnTo>
                  <a:lnTo>
                    <a:pt x="31" y="244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848" name="Group 1006"/>
            <p:cNvGrpSpPr>
              <a:grpSpLocks/>
            </p:cNvGrpSpPr>
            <p:nvPr>
              <p:custDataLst>
                <p:tags r:id="rId842"/>
              </p:custDataLst>
            </p:nvPr>
          </p:nvGrpSpPr>
          <p:grpSpPr bwMode="auto">
            <a:xfrm>
              <a:off x="4475411" y="4148138"/>
              <a:ext cx="266700" cy="247650"/>
              <a:chOff x="2989" y="2431"/>
              <a:chExt cx="182" cy="156"/>
            </a:xfrm>
            <a:solidFill>
              <a:schemeClr val="accent4">
                <a:lumMod val="75000"/>
              </a:schemeClr>
            </a:solidFill>
          </p:grpSpPr>
          <p:sp>
            <p:nvSpPr>
              <p:cNvPr id="973" name="Freeform 1007"/>
              <p:cNvSpPr>
                <a:spLocks/>
              </p:cNvSpPr>
              <p:nvPr/>
            </p:nvSpPr>
            <p:spPr bwMode="auto">
              <a:xfrm>
                <a:off x="2989" y="2431"/>
                <a:ext cx="182" cy="156"/>
              </a:xfrm>
              <a:custGeom>
                <a:avLst/>
                <a:gdLst>
                  <a:gd name="T0" fmla="*/ 0 w 182"/>
                  <a:gd name="T1" fmla="*/ 1 h 311"/>
                  <a:gd name="T2" fmla="*/ 12 w 182"/>
                  <a:gd name="T3" fmla="*/ 1 h 311"/>
                  <a:gd name="T4" fmla="*/ 31 w 182"/>
                  <a:gd name="T5" fmla="*/ 0 h 311"/>
                  <a:gd name="T6" fmla="*/ 100 w 182"/>
                  <a:gd name="T7" fmla="*/ 1 h 311"/>
                  <a:gd name="T8" fmla="*/ 163 w 182"/>
                  <a:gd name="T9" fmla="*/ 0 h 311"/>
                  <a:gd name="T10" fmla="*/ 175 w 182"/>
                  <a:gd name="T11" fmla="*/ 1 h 311"/>
                  <a:gd name="T12" fmla="*/ 182 w 182"/>
                  <a:gd name="T13" fmla="*/ 1 h 311"/>
                  <a:gd name="T14" fmla="*/ 163 w 182"/>
                  <a:gd name="T15" fmla="*/ 1 h 311"/>
                  <a:gd name="T16" fmla="*/ 131 w 182"/>
                  <a:gd name="T17" fmla="*/ 1 h 311"/>
                  <a:gd name="T18" fmla="*/ 100 w 182"/>
                  <a:gd name="T19" fmla="*/ 1 h 311"/>
                  <a:gd name="T20" fmla="*/ 87 w 182"/>
                  <a:gd name="T21" fmla="*/ 1 h 311"/>
                  <a:gd name="T22" fmla="*/ 50 w 182"/>
                  <a:gd name="T23" fmla="*/ 1 h 311"/>
                  <a:gd name="T24" fmla="*/ 31 w 182"/>
                  <a:gd name="T25" fmla="*/ 1 h 311"/>
                  <a:gd name="T26" fmla="*/ 0 w 182"/>
                  <a:gd name="T27" fmla="*/ 1 h 3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82" h="311">
                    <a:moveTo>
                      <a:pt x="0" y="244"/>
                    </a:moveTo>
                    <a:lnTo>
                      <a:pt x="12" y="65"/>
                    </a:lnTo>
                    <a:lnTo>
                      <a:pt x="31" y="0"/>
                    </a:lnTo>
                    <a:lnTo>
                      <a:pt x="100" y="33"/>
                    </a:lnTo>
                    <a:lnTo>
                      <a:pt x="163" y="0"/>
                    </a:lnTo>
                    <a:lnTo>
                      <a:pt x="175" y="44"/>
                    </a:lnTo>
                    <a:lnTo>
                      <a:pt x="182" y="65"/>
                    </a:lnTo>
                    <a:lnTo>
                      <a:pt x="163" y="89"/>
                    </a:lnTo>
                    <a:lnTo>
                      <a:pt x="131" y="233"/>
                    </a:lnTo>
                    <a:lnTo>
                      <a:pt x="100" y="223"/>
                    </a:lnTo>
                    <a:lnTo>
                      <a:pt x="87" y="288"/>
                    </a:lnTo>
                    <a:lnTo>
                      <a:pt x="50" y="311"/>
                    </a:lnTo>
                    <a:lnTo>
                      <a:pt x="31" y="244"/>
                    </a:lnTo>
                    <a:lnTo>
                      <a:pt x="0" y="244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74" name="Freeform 1008"/>
              <p:cNvSpPr>
                <a:spLocks/>
              </p:cNvSpPr>
              <p:nvPr/>
            </p:nvSpPr>
            <p:spPr bwMode="auto">
              <a:xfrm>
                <a:off x="2989" y="2431"/>
                <a:ext cx="182" cy="156"/>
              </a:xfrm>
              <a:custGeom>
                <a:avLst/>
                <a:gdLst>
                  <a:gd name="T0" fmla="*/ 0 w 182"/>
                  <a:gd name="T1" fmla="*/ 1 h 311"/>
                  <a:gd name="T2" fmla="*/ 12 w 182"/>
                  <a:gd name="T3" fmla="*/ 1 h 311"/>
                  <a:gd name="T4" fmla="*/ 31 w 182"/>
                  <a:gd name="T5" fmla="*/ 0 h 311"/>
                  <a:gd name="T6" fmla="*/ 100 w 182"/>
                  <a:gd name="T7" fmla="*/ 1 h 311"/>
                  <a:gd name="T8" fmla="*/ 163 w 182"/>
                  <a:gd name="T9" fmla="*/ 0 h 311"/>
                  <a:gd name="T10" fmla="*/ 175 w 182"/>
                  <a:gd name="T11" fmla="*/ 1 h 311"/>
                  <a:gd name="T12" fmla="*/ 182 w 182"/>
                  <a:gd name="T13" fmla="*/ 1 h 311"/>
                  <a:gd name="T14" fmla="*/ 163 w 182"/>
                  <a:gd name="T15" fmla="*/ 1 h 311"/>
                  <a:gd name="T16" fmla="*/ 131 w 182"/>
                  <a:gd name="T17" fmla="*/ 1 h 311"/>
                  <a:gd name="T18" fmla="*/ 100 w 182"/>
                  <a:gd name="T19" fmla="*/ 1 h 311"/>
                  <a:gd name="T20" fmla="*/ 87 w 182"/>
                  <a:gd name="T21" fmla="*/ 1 h 311"/>
                  <a:gd name="T22" fmla="*/ 50 w 182"/>
                  <a:gd name="T23" fmla="*/ 1 h 311"/>
                  <a:gd name="T24" fmla="*/ 31 w 182"/>
                  <a:gd name="T25" fmla="*/ 1 h 311"/>
                  <a:gd name="T26" fmla="*/ 0 w 182"/>
                  <a:gd name="T27" fmla="*/ 1 h 3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82" h="311">
                    <a:moveTo>
                      <a:pt x="0" y="244"/>
                    </a:moveTo>
                    <a:lnTo>
                      <a:pt x="12" y="65"/>
                    </a:lnTo>
                    <a:lnTo>
                      <a:pt x="31" y="0"/>
                    </a:lnTo>
                    <a:lnTo>
                      <a:pt x="100" y="33"/>
                    </a:lnTo>
                    <a:lnTo>
                      <a:pt x="163" y="0"/>
                    </a:lnTo>
                    <a:lnTo>
                      <a:pt x="175" y="44"/>
                    </a:lnTo>
                    <a:lnTo>
                      <a:pt x="182" y="65"/>
                    </a:lnTo>
                    <a:lnTo>
                      <a:pt x="163" y="89"/>
                    </a:lnTo>
                    <a:lnTo>
                      <a:pt x="131" y="233"/>
                    </a:lnTo>
                    <a:lnTo>
                      <a:pt x="100" y="223"/>
                    </a:lnTo>
                    <a:lnTo>
                      <a:pt x="87" y="288"/>
                    </a:lnTo>
                    <a:lnTo>
                      <a:pt x="50" y="311"/>
                    </a:lnTo>
                    <a:lnTo>
                      <a:pt x="31" y="244"/>
                    </a:lnTo>
                    <a:lnTo>
                      <a:pt x="0" y="244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849" name="Freeform 1009"/>
            <p:cNvSpPr>
              <a:spLocks/>
            </p:cNvSpPr>
            <p:nvPr>
              <p:custDataLst>
                <p:tags r:id="rId843"/>
              </p:custDataLst>
            </p:nvPr>
          </p:nvSpPr>
          <p:spPr bwMode="auto">
            <a:xfrm>
              <a:off x="4024561" y="4173538"/>
              <a:ext cx="73025" cy="44450"/>
            </a:xfrm>
            <a:custGeom>
              <a:avLst/>
              <a:gdLst>
                <a:gd name="T0" fmla="*/ 0 w 50"/>
                <a:gd name="T1" fmla="*/ 2147483647 h 56"/>
                <a:gd name="T2" fmla="*/ 2147483647 w 50"/>
                <a:gd name="T3" fmla="*/ 2147483647 h 56"/>
                <a:gd name="T4" fmla="*/ 2147483647 w 50"/>
                <a:gd name="T5" fmla="*/ 2147483647 h 56"/>
                <a:gd name="T6" fmla="*/ 2147483647 w 50"/>
                <a:gd name="T7" fmla="*/ 2147483647 h 56"/>
                <a:gd name="T8" fmla="*/ 2147483647 w 50"/>
                <a:gd name="T9" fmla="*/ 2147483647 h 56"/>
                <a:gd name="T10" fmla="*/ 2147483647 w 50"/>
                <a:gd name="T11" fmla="*/ 2147483647 h 56"/>
                <a:gd name="T12" fmla="*/ 2147483647 w 50"/>
                <a:gd name="T13" fmla="*/ 0 h 56"/>
                <a:gd name="T14" fmla="*/ 0 w 50"/>
                <a:gd name="T15" fmla="*/ 2147483647 h 5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0" h="56">
                  <a:moveTo>
                    <a:pt x="0" y="11"/>
                  </a:moveTo>
                  <a:lnTo>
                    <a:pt x="13" y="32"/>
                  </a:lnTo>
                  <a:lnTo>
                    <a:pt x="31" y="32"/>
                  </a:lnTo>
                  <a:lnTo>
                    <a:pt x="19" y="32"/>
                  </a:lnTo>
                  <a:lnTo>
                    <a:pt x="31" y="56"/>
                  </a:lnTo>
                  <a:lnTo>
                    <a:pt x="50" y="32"/>
                  </a:lnTo>
                  <a:lnTo>
                    <a:pt x="50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50" name="Freeform 1010"/>
            <p:cNvSpPr>
              <a:spLocks/>
            </p:cNvSpPr>
            <p:nvPr>
              <p:custDataLst>
                <p:tags r:id="rId844"/>
              </p:custDataLst>
            </p:nvPr>
          </p:nvSpPr>
          <p:spPr bwMode="auto">
            <a:xfrm>
              <a:off x="4024561" y="4173538"/>
              <a:ext cx="73025" cy="44450"/>
            </a:xfrm>
            <a:custGeom>
              <a:avLst/>
              <a:gdLst>
                <a:gd name="T0" fmla="*/ 0 w 50"/>
                <a:gd name="T1" fmla="*/ 2147483647 h 56"/>
                <a:gd name="T2" fmla="*/ 2147483647 w 50"/>
                <a:gd name="T3" fmla="*/ 2147483647 h 56"/>
                <a:gd name="T4" fmla="*/ 2147483647 w 50"/>
                <a:gd name="T5" fmla="*/ 2147483647 h 56"/>
                <a:gd name="T6" fmla="*/ 2147483647 w 50"/>
                <a:gd name="T7" fmla="*/ 2147483647 h 56"/>
                <a:gd name="T8" fmla="*/ 2147483647 w 50"/>
                <a:gd name="T9" fmla="*/ 2147483647 h 56"/>
                <a:gd name="T10" fmla="*/ 2147483647 w 50"/>
                <a:gd name="T11" fmla="*/ 2147483647 h 56"/>
                <a:gd name="T12" fmla="*/ 2147483647 w 50"/>
                <a:gd name="T13" fmla="*/ 0 h 56"/>
                <a:gd name="T14" fmla="*/ 0 w 50"/>
                <a:gd name="T15" fmla="*/ 2147483647 h 5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0" h="56">
                  <a:moveTo>
                    <a:pt x="0" y="11"/>
                  </a:moveTo>
                  <a:lnTo>
                    <a:pt x="13" y="32"/>
                  </a:lnTo>
                  <a:lnTo>
                    <a:pt x="31" y="32"/>
                  </a:lnTo>
                  <a:lnTo>
                    <a:pt x="19" y="32"/>
                  </a:lnTo>
                  <a:lnTo>
                    <a:pt x="31" y="56"/>
                  </a:lnTo>
                  <a:lnTo>
                    <a:pt x="50" y="32"/>
                  </a:lnTo>
                  <a:lnTo>
                    <a:pt x="50" y="0"/>
                  </a:lnTo>
                  <a:lnTo>
                    <a:pt x="0" y="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51" name="Freeform 1011"/>
            <p:cNvSpPr>
              <a:spLocks/>
            </p:cNvSpPr>
            <p:nvPr>
              <p:custDataLst>
                <p:tags r:id="rId845"/>
              </p:custDataLst>
            </p:nvPr>
          </p:nvSpPr>
          <p:spPr bwMode="auto">
            <a:xfrm>
              <a:off x="4024561" y="4173538"/>
              <a:ext cx="73025" cy="44450"/>
            </a:xfrm>
            <a:custGeom>
              <a:avLst/>
              <a:gdLst>
                <a:gd name="T0" fmla="*/ 0 w 50"/>
                <a:gd name="T1" fmla="*/ 2147483647 h 56"/>
                <a:gd name="T2" fmla="*/ 2147483647 w 50"/>
                <a:gd name="T3" fmla="*/ 2147483647 h 56"/>
                <a:gd name="T4" fmla="*/ 2147483647 w 50"/>
                <a:gd name="T5" fmla="*/ 2147483647 h 56"/>
                <a:gd name="T6" fmla="*/ 2147483647 w 50"/>
                <a:gd name="T7" fmla="*/ 2147483647 h 56"/>
                <a:gd name="T8" fmla="*/ 2147483647 w 50"/>
                <a:gd name="T9" fmla="*/ 2147483647 h 56"/>
                <a:gd name="T10" fmla="*/ 2147483647 w 50"/>
                <a:gd name="T11" fmla="*/ 2147483647 h 56"/>
                <a:gd name="T12" fmla="*/ 2147483647 w 50"/>
                <a:gd name="T13" fmla="*/ 0 h 56"/>
                <a:gd name="T14" fmla="*/ 0 w 50"/>
                <a:gd name="T15" fmla="*/ 2147483647 h 5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0" h="56">
                  <a:moveTo>
                    <a:pt x="0" y="11"/>
                  </a:moveTo>
                  <a:lnTo>
                    <a:pt x="13" y="32"/>
                  </a:lnTo>
                  <a:lnTo>
                    <a:pt x="31" y="32"/>
                  </a:lnTo>
                  <a:lnTo>
                    <a:pt x="19" y="32"/>
                  </a:lnTo>
                  <a:lnTo>
                    <a:pt x="31" y="56"/>
                  </a:lnTo>
                  <a:lnTo>
                    <a:pt x="50" y="32"/>
                  </a:lnTo>
                  <a:lnTo>
                    <a:pt x="50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52" name="Freeform 1012"/>
            <p:cNvSpPr>
              <a:spLocks/>
            </p:cNvSpPr>
            <p:nvPr>
              <p:custDataLst>
                <p:tags r:id="rId846"/>
              </p:custDataLst>
            </p:nvPr>
          </p:nvSpPr>
          <p:spPr bwMode="auto">
            <a:xfrm>
              <a:off x="4024561" y="4173538"/>
              <a:ext cx="73025" cy="44450"/>
            </a:xfrm>
            <a:custGeom>
              <a:avLst/>
              <a:gdLst>
                <a:gd name="T0" fmla="*/ 0 w 50"/>
                <a:gd name="T1" fmla="*/ 2147483647 h 56"/>
                <a:gd name="T2" fmla="*/ 2147483647 w 50"/>
                <a:gd name="T3" fmla="*/ 2147483647 h 56"/>
                <a:gd name="T4" fmla="*/ 2147483647 w 50"/>
                <a:gd name="T5" fmla="*/ 2147483647 h 56"/>
                <a:gd name="T6" fmla="*/ 2147483647 w 50"/>
                <a:gd name="T7" fmla="*/ 2147483647 h 56"/>
                <a:gd name="T8" fmla="*/ 2147483647 w 50"/>
                <a:gd name="T9" fmla="*/ 2147483647 h 56"/>
                <a:gd name="T10" fmla="*/ 2147483647 w 50"/>
                <a:gd name="T11" fmla="*/ 2147483647 h 56"/>
                <a:gd name="T12" fmla="*/ 2147483647 w 50"/>
                <a:gd name="T13" fmla="*/ 0 h 56"/>
                <a:gd name="T14" fmla="*/ 0 w 50"/>
                <a:gd name="T15" fmla="*/ 2147483647 h 5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0" h="56">
                  <a:moveTo>
                    <a:pt x="0" y="11"/>
                  </a:moveTo>
                  <a:lnTo>
                    <a:pt x="13" y="32"/>
                  </a:lnTo>
                  <a:lnTo>
                    <a:pt x="31" y="32"/>
                  </a:lnTo>
                  <a:lnTo>
                    <a:pt x="19" y="32"/>
                  </a:lnTo>
                  <a:lnTo>
                    <a:pt x="31" y="56"/>
                  </a:lnTo>
                  <a:lnTo>
                    <a:pt x="50" y="32"/>
                  </a:lnTo>
                  <a:lnTo>
                    <a:pt x="50" y="0"/>
                  </a:lnTo>
                  <a:lnTo>
                    <a:pt x="0" y="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53" name="Freeform 1013"/>
            <p:cNvSpPr>
              <a:spLocks/>
            </p:cNvSpPr>
            <p:nvPr>
              <p:custDataLst>
                <p:tags r:id="rId847"/>
              </p:custDataLst>
            </p:nvPr>
          </p:nvSpPr>
          <p:spPr bwMode="auto">
            <a:xfrm>
              <a:off x="5566023" y="3821113"/>
              <a:ext cx="26988" cy="42862"/>
            </a:xfrm>
            <a:custGeom>
              <a:avLst/>
              <a:gdLst>
                <a:gd name="T0" fmla="*/ 0 w 19"/>
                <a:gd name="T1" fmla="*/ 2147483647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2147483647 w 19"/>
                <a:gd name="T7" fmla="*/ 0 h 56"/>
                <a:gd name="T8" fmla="*/ 0 w 19"/>
                <a:gd name="T9" fmla="*/ 2147483647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6">
                  <a:moveTo>
                    <a:pt x="0" y="44"/>
                  </a:moveTo>
                  <a:lnTo>
                    <a:pt x="5" y="56"/>
                  </a:lnTo>
                  <a:lnTo>
                    <a:pt x="19" y="56"/>
                  </a:lnTo>
                  <a:lnTo>
                    <a:pt x="5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54" name="Freeform 1014"/>
            <p:cNvSpPr>
              <a:spLocks/>
            </p:cNvSpPr>
            <p:nvPr>
              <p:custDataLst>
                <p:tags r:id="rId848"/>
              </p:custDataLst>
            </p:nvPr>
          </p:nvSpPr>
          <p:spPr bwMode="auto">
            <a:xfrm>
              <a:off x="5566023" y="3821113"/>
              <a:ext cx="26988" cy="42862"/>
            </a:xfrm>
            <a:custGeom>
              <a:avLst/>
              <a:gdLst>
                <a:gd name="T0" fmla="*/ 0 w 19"/>
                <a:gd name="T1" fmla="*/ 2147483647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2147483647 w 19"/>
                <a:gd name="T7" fmla="*/ 0 h 56"/>
                <a:gd name="T8" fmla="*/ 0 w 19"/>
                <a:gd name="T9" fmla="*/ 2147483647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6">
                  <a:moveTo>
                    <a:pt x="0" y="44"/>
                  </a:moveTo>
                  <a:lnTo>
                    <a:pt x="5" y="56"/>
                  </a:lnTo>
                  <a:lnTo>
                    <a:pt x="19" y="56"/>
                  </a:lnTo>
                  <a:lnTo>
                    <a:pt x="5" y="0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55" name="Freeform 1015"/>
            <p:cNvSpPr>
              <a:spLocks/>
            </p:cNvSpPr>
            <p:nvPr>
              <p:custDataLst>
                <p:tags r:id="rId849"/>
              </p:custDataLst>
            </p:nvPr>
          </p:nvSpPr>
          <p:spPr bwMode="auto">
            <a:xfrm>
              <a:off x="5566023" y="3821113"/>
              <a:ext cx="26988" cy="42862"/>
            </a:xfrm>
            <a:custGeom>
              <a:avLst/>
              <a:gdLst>
                <a:gd name="T0" fmla="*/ 0 w 19"/>
                <a:gd name="T1" fmla="*/ 2147483647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2147483647 w 19"/>
                <a:gd name="T7" fmla="*/ 0 h 56"/>
                <a:gd name="T8" fmla="*/ 0 w 19"/>
                <a:gd name="T9" fmla="*/ 2147483647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6">
                  <a:moveTo>
                    <a:pt x="0" y="44"/>
                  </a:moveTo>
                  <a:lnTo>
                    <a:pt x="5" y="56"/>
                  </a:lnTo>
                  <a:lnTo>
                    <a:pt x="19" y="56"/>
                  </a:lnTo>
                  <a:lnTo>
                    <a:pt x="5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56" name="Freeform 1016"/>
            <p:cNvSpPr>
              <a:spLocks/>
            </p:cNvSpPr>
            <p:nvPr>
              <p:custDataLst>
                <p:tags r:id="rId850"/>
              </p:custDataLst>
            </p:nvPr>
          </p:nvSpPr>
          <p:spPr bwMode="auto">
            <a:xfrm>
              <a:off x="5566023" y="3821113"/>
              <a:ext cx="26988" cy="42862"/>
            </a:xfrm>
            <a:custGeom>
              <a:avLst/>
              <a:gdLst>
                <a:gd name="T0" fmla="*/ 0 w 19"/>
                <a:gd name="T1" fmla="*/ 2147483647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2147483647 w 19"/>
                <a:gd name="T7" fmla="*/ 0 h 56"/>
                <a:gd name="T8" fmla="*/ 0 w 19"/>
                <a:gd name="T9" fmla="*/ 2147483647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6">
                  <a:moveTo>
                    <a:pt x="0" y="44"/>
                  </a:moveTo>
                  <a:lnTo>
                    <a:pt x="5" y="56"/>
                  </a:lnTo>
                  <a:lnTo>
                    <a:pt x="19" y="56"/>
                  </a:lnTo>
                  <a:lnTo>
                    <a:pt x="5" y="0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57" name="Freeform 1017"/>
            <p:cNvSpPr>
              <a:spLocks/>
            </p:cNvSpPr>
            <p:nvPr>
              <p:custDataLst>
                <p:tags r:id="rId851"/>
              </p:custDataLst>
            </p:nvPr>
          </p:nvSpPr>
          <p:spPr bwMode="auto">
            <a:xfrm>
              <a:off x="5070723" y="4527550"/>
              <a:ext cx="36513" cy="34925"/>
            </a:xfrm>
            <a:custGeom>
              <a:avLst/>
              <a:gdLst>
                <a:gd name="T0" fmla="*/ 0 w 25"/>
                <a:gd name="T1" fmla="*/ 2147483647 h 45"/>
                <a:gd name="T2" fmla="*/ 2147483647 w 25"/>
                <a:gd name="T3" fmla="*/ 2147483647 h 45"/>
                <a:gd name="T4" fmla="*/ 2147483647 w 25"/>
                <a:gd name="T5" fmla="*/ 0 h 45"/>
                <a:gd name="T6" fmla="*/ 2147483647 w 25"/>
                <a:gd name="T7" fmla="*/ 2147483647 h 45"/>
                <a:gd name="T8" fmla="*/ 0 w 25"/>
                <a:gd name="T9" fmla="*/ 2147483647 h 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45">
                  <a:moveTo>
                    <a:pt x="0" y="45"/>
                  </a:moveTo>
                  <a:lnTo>
                    <a:pt x="13" y="12"/>
                  </a:lnTo>
                  <a:lnTo>
                    <a:pt x="25" y="0"/>
                  </a:lnTo>
                  <a:lnTo>
                    <a:pt x="25" y="3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58" name="Freeform 1018"/>
            <p:cNvSpPr>
              <a:spLocks/>
            </p:cNvSpPr>
            <p:nvPr>
              <p:custDataLst>
                <p:tags r:id="rId852"/>
              </p:custDataLst>
            </p:nvPr>
          </p:nvSpPr>
          <p:spPr bwMode="auto">
            <a:xfrm>
              <a:off x="5070723" y="4527550"/>
              <a:ext cx="36513" cy="34925"/>
            </a:xfrm>
            <a:custGeom>
              <a:avLst/>
              <a:gdLst>
                <a:gd name="T0" fmla="*/ 0 w 25"/>
                <a:gd name="T1" fmla="*/ 2147483647 h 45"/>
                <a:gd name="T2" fmla="*/ 2147483647 w 25"/>
                <a:gd name="T3" fmla="*/ 2147483647 h 45"/>
                <a:gd name="T4" fmla="*/ 2147483647 w 25"/>
                <a:gd name="T5" fmla="*/ 0 h 45"/>
                <a:gd name="T6" fmla="*/ 2147483647 w 25"/>
                <a:gd name="T7" fmla="*/ 2147483647 h 45"/>
                <a:gd name="T8" fmla="*/ 0 w 25"/>
                <a:gd name="T9" fmla="*/ 2147483647 h 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45">
                  <a:moveTo>
                    <a:pt x="0" y="45"/>
                  </a:moveTo>
                  <a:lnTo>
                    <a:pt x="13" y="12"/>
                  </a:lnTo>
                  <a:lnTo>
                    <a:pt x="25" y="0"/>
                  </a:lnTo>
                  <a:lnTo>
                    <a:pt x="25" y="35"/>
                  </a:lnTo>
                  <a:lnTo>
                    <a:pt x="0" y="4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59" name="Freeform 1019"/>
            <p:cNvSpPr>
              <a:spLocks/>
            </p:cNvSpPr>
            <p:nvPr>
              <p:custDataLst>
                <p:tags r:id="rId853"/>
              </p:custDataLst>
            </p:nvPr>
          </p:nvSpPr>
          <p:spPr bwMode="auto">
            <a:xfrm>
              <a:off x="5070723" y="4527550"/>
              <a:ext cx="36513" cy="34925"/>
            </a:xfrm>
            <a:custGeom>
              <a:avLst/>
              <a:gdLst>
                <a:gd name="T0" fmla="*/ 0 w 25"/>
                <a:gd name="T1" fmla="*/ 2147483647 h 45"/>
                <a:gd name="T2" fmla="*/ 2147483647 w 25"/>
                <a:gd name="T3" fmla="*/ 2147483647 h 45"/>
                <a:gd name="T4" fmla="*/ 2147483647 w 25"/>
                <a:gd name="T5" fmla="*/ 0 h 45"/>
                <a:gd name="T6" fmla="*/ 2147483647 w 25"/>
                <a:gd name="T7" fmla="*/ 2147483647 h 45"/>
                <a:gd name="T8" fmla="*/ 0 w 25"/>
                <a:gd name="T9" fmla="*/ 2147483647 h 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45">
                  <a:moveTo>
                    <a:pt x="0" y="45"/>
                  </a:moveTo>
                  <a:lnTo>
                    <a:pt x="13" y="12"/>
                  </a:lnTo>
                  <a:lnTo>
                    <a:pt x="25" y="0"/>
                  </a:lnTo>
                  <a:lnTo>
                    <a:pt x="25" y="3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60" name="Freeform 1020"/>
            <p:cNvSpPr>
              <a:spLocks/>
            </p:cNvSpPr>
            <p:nvPr>
              <p:custDataLst>
                <p:tags r:id="rId854"/>
              </p:custDataLst>
            </p:nvPr>
          </p:nvSpPr>
          <p:spPr bwMode="auto">
            <a:xfrm>
              <a:off x="5070723" y="4527550"/>
              <a:ext cx="36513" cy="34925"/>
            </a:xfrm>
            <a:custGeom>
              <a:avLst/>
              <a:gdLst>
                <a:gd name="T0" fmla="*/ 0 w 25"/>
                <a:gd name="T1" fmla="*/ 2147483647 h 45"/>
                <a:gd name="T2" fmla="*/ 2147483647 w 25"/>
                <a:gd name="T3" fmla="*/ 2147483647 h 45"/>
                <a:gd name="T4" fmla="*/ 2147483647 w 25"/>
                <a:gd name="T5" fmla="*/ 0 h 45"/>
                <a:gd name="T6" fmla="*/ 2147483647 w 25"/>
                <a:gd name="T7" fmla="*/ 2147483647 h 45"/>
                <a:gd name="T8" fmla="*/ 0 w 25"/>
                <a:gd name="T9" fmla="*/ 2147483647 h 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45">
                  <a:moveTo>
                    <a:pt x="0" y="45"/>
                  </a:moveTo>
                  <a:lnTo>
                    <a:pt x="13" y="12"/>
                  </a:lnTo>
                  <a:lnTo>
                    <a:pt x="25" y="0"/>
                  </a:lnTo>
                  <a:lnTo>
                    <a:pt x="25" y="35"/>
                  </a:lnTo>
                  <a:lnTo>
                    <a:pt x="0" y="4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61" name="Freeform 1021"/>
            <p:cNvSpPr>
              <a:spLocks/>
            </p:cNvSpPr>
            <p:nvPr>
              <p:custDataLst>
                <p:tags r:id="rId855"/>
              </p:custDataLst>
            </p:nvPr>
          </p:nvSpPr>
          <p:spPr bwMode="auto">
            <a:xfrm>
              <a:off x="4008686" y="4076700"/>
              <a:ext cx="134937" cy="106363"/>
            </a:xfrm>
            <a:custGeom>
              <a:avLst/>
              <a:gdLst>
                <a:gd name="T0" fmla="*/ 0 w 93"/>
                <a:gd name="T1" fmla="*/ 2147483647 h 134"/>
                <a:gd name="T2" fmla="*/ 2147483647 w 93"/>
                <a:gd name="T3" fmla="*/ 2147483647 h 134"/>
                <a:gd name="T4" fmla="*/ 2147483647 w 93"/>
                <a:gd name="T5" fmla="*/ 2147483647 h 134"/>
                <a:gd name="T6" fmla="*/ 2147483647 w 93"/>
                <a:gd name="T7" fmla="*/ 2147483647 h 134"/>
                <a:gd name="T8" fmla="*/ 2147483647 w 93"/>
                <a:gd name="T9" fmla="*/ 2147483647 h 134"/>
                <a:gd name="T10" fmla="*/ 2147483647 w 93"/>
                <a:gd name="T11" fmla="*/ 2147483647 h 134"/>
                <a:gd name="T12" fmla="*/ 2147483647 w 93"/>
                <a:gd name="T13" fmla="*/ 2147483647 h 134"/>
                <a:gd name="T14" fmla="*/ 2147483647 w 93"/>
                <a:gd name="T15" fmla="*/ 2147483647 h 134"/>
                <a:gd name="T16" fmla="*/ 2147483647 w 93"/>
                <a:gd name="T17" fmla="*/ 0 h 134"/>
                <a:gd name="T18" fmla="*/ 2147483647 w 93"/>
                <a:gd name="T19" fmla="*/ 2147483647 h 134"/>
                <a:gd name="T20" fmla="*/ 0 w 93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3" h="134">
                  <a:moveTo>
                    <a:pt x="0" y="56"/>
                  </a:moveTo>
                  <a:lnTo>
                    <a:pt x="18" y="102"/>
                  </a:lnTo>
                  <a:lnTo>
                    <a:pt x="56" y="102"/>
                  </a:lnTo>
                  <a:lnTo>
                    <a:pt x="11" y="111"/>
                  </a:lnTo>
                  <a:lnTo>
                    <a:pt x="11" y="134"/>
                  </a:lnTo>
                  <a:lnTo>
                    <a:pt x="56" y="123"/>
                  </a:lnTo>
                  <a:lnTo>
                    <a:pt x="93" y="134"/>
                  </a:lnTo>
                  <a:lnTo>
                    <a:pt x="87" y="56"/>
                  </a:lnTo>
                  <a:lnTo>
                    <a:pt x="50" y="0"/>
                  </a:lnTo>
                  <a:lnTo>
                    <a:pt x="18" y="23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62" name="Freeform 1022"/>
            <p:cNvSpPr>
              <a:spLocks/>
            </p:cNvSpPr>
            <p:nvPr>
              <p:custDataLst>
                <p:tags r:id="rId856"/>
              </p:custDataLst>
            </p:nvPr>
          </p:nvSpPr>
          <p:spPr bwMode="auto">
            <a:xfrm>
              <a:off x="4008686" y="4076700"/>
              <a:ext cx="134937" cy="106363"/>
            </a:xfrm>
            <a:custGeom>
              <a:avLst/>
              <a:gdLst>
                <a:gd name="T0" fmla="*/ 0 w 93"/>
                <a:gd name="T1" fmla="*/ 2147483647 h 134"/>
                <a:gd name="T2" fmla="*/ 2147483647 w 93"/>
                <a:gd name="T3" fmla="*/ 2147483647 h 134"/>
                <a:gd name="T4" fmla="*/ 2147483647 w 93"/>
                <a:gd name="T5" fmla="*/ 2147483647 h 134"/>
                <a:gd name="T6" fmla="*/ 2147483647 w 93"/>
                <a:gd name="T7" fmla="*/ 2147483647 h 134"/>
                <a:gd name="T8" fmla="*/ 2147483647 w 93"/>
                <a:gd name="T9" fmla="*/ 2147483647 h 134"/>
                <a:gd name="T10" fmla="*/ 2147483647 w 93"/>
                <a:gd name="T11" fmla="*/ 2147483647 h 134"/>
                <a:gd name="T12" fmla="*/ 2147483647 w 93"/>
                <a:gd name="T13" fmla="*/ 2147483647 h 134"/>
                <a:gd name="T14" fmla="*/ 2147483647 w 93"/>
                <a:gd name="T15" fmla="*/ 2147483647 h 134"/>
                <a:gd name="T16" fmla="*/ 2147483647 w 93"/>
                <a:gd name="T17" fmla="*/ 0 h 134"/>
                <a:gd name="T18" fmla="*/ 2147483647 w 93"/>
                <a:gd name="T19" fmla="*/ 2147483647 h 134"/>
                <a:gd name="T20" fmla="*/ 0 w 93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3" h="134">
                  <a:moveTo>
                    <a:pt x="0" y="56"/>
                  </a:moveTo>
                  <a:lnTo>
                    <a:pt x="18" y="102"/>
                  </a:lnTo>
                  <a:lnTo>
                    <a:pt x="56" y="102"/>
                  </a:lnTo>
                  <a:lnTo>
                    <a:pt x="11" y="111"/>
                  </a:lnTo>
                  <a:lnTo>
                    <a:pt x="11" y="134"/>
                  </a:lnTo>
                  <a:lnTo>
                    <a:pt x="56" y="123"/>
                  </a:lnTo>
                  <a:lnTo>
                    <a:pt x="93" y="134"/>
                  </a:lnTo>
                  <a:lnTo>
                    <a:pt x="87" y="56"/>
                  </a:lnTo>
                  <a:lnTo>
                    <a:pt x="50" y="0"/>
                  </a:lnTo>
                  <a:lnTo>
                    <a:pt x="18" y="23"/>
                  </a:lnTo>
                  <a:lnTo>
                    <a:pt x="0" y="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63" name="Freeform 1023"/>
            <p:cNvSpPr>
              <a:spLocks/>
            </p:cNvSpPr>
            <p:nvPr>
              <p:custDataLst>
                <p:tags r:id="rId857"/>
              </p:custDataLst>
            </p:nvPr>
          </p:nvSpPr>
          <p:spPr bwMode="auto">
            <a:xfrm>
              <a:off x="4008686" y="4076700"/>
              <a:ext cx="134937" cy="106363"/>
            </a:xfrm>
            <a:custGeom>
              <a:avLst/>
              <a:gdLst>
                <a:gd name="T0" fmla="*/ 0 w 93"/>
                <a:gd name="T1" fmla="*/ 2147483647 h 134"/>
                <a:gd name="T2" fmla="*/ 2147483647 w 93"/>
                <a:gd name="T3" fmla="*/ 2147483647 h 134"/>
                <a:gd name="T4" fmla="*/ 2147483647 w 93"/>
                <a:gd name="T5" fmla="*/ 2147483647 h 134"/>
                <a:gd name="T6" fmla="*/ 2147483647 w 93"/>
                <a:gd name="T7" fmla="*/ 2147483647 h 134"/>
                <a:gd name="T8" fmla="*/ 2147483647 w 93"/>
                <a:gd name="T9" fmla="*/ 2147483647 h 134"/>
                <a:gd name="T10" fmla="*/ 2147483647 w 93"/>
                <a:gd name="T11" fmla="*/ 2147483647 h 134"/>
                <a:gd name="T12" fmla="*/ 2147483647 w 93"/>
                <a:gd name="T13" fmla="*/ 2147483647 h 134"/>
                <a:gd name="T14" fmla="*/ 2147483647 w 93"/>
                <a:gd name="T15" fmla="*/ 2147483647 h 134"/>
                <a:gd name="T16" fmla="*/ 2147483647 w 93"/>
                <a:gd name="T17" fmla="*/ 0 h 134"/>
                <a:gd name="T18" fmla="*/ 2147483647 w 93"/>
                <a:gd name="T19" fmla="*/ 2147483647 h 134"/>
                <a:gd name="T20" fmla="*/ 0 w 93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3" h="134">
                  <a:moveTo>
                    <a:pt x="0" y="56"/>
                  </a:moveTo>
                  <a:lnTo>
                    <a:pt x="18" y="102"/>
                  </a:lnTo>
                  <a:lnTo>
                    <a:pt x="56" y="102"/>
                  </a:lnTo>
                  <a:lnTo>
                    <a:pt x="11" y="111"/>
                  </a:lnTo>
                  <a:lnTo>
                    <a:pt x="11" y="134"/>
                  </a:lnTo>
                  <a:lnTo>
                    <a:pt x="56" y="123"/>
                  </a:lnTo>
                  <a:lnTo>
                    <a:pt x="93" y="134"/>
                  </a:lnTo>
                  <a:lnTo>
                    <a:pt x="87" y="56"/>
                  </a:lnTo>
                  <a:lnTo>
                    <a:pt x="50" y="0"/>
                  </a:lnTo>
                  <a:lnTo>
                    <a:pt x="18" y="23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64" name="Freeform 1024"/>
            <p:cNvSpPr>
              <a:spLocks/>
            </p:cNvSpPr>
            <p:nvPr>
              <p:custDataLst>
                <p:tags r:id="rId858"/>
              </p:custDataLst>
            </p:nvPr>
          </p:nvSpPr>
          <p:spPr bwMode="auto">
            <a:xfrm>
              <a:off x="4008686" y="4076700"/>
              <a:ext cx="134937" cy="106363"/>
            </a:xfrm>
            <a:custGeom>
              <a:avLst/>
              <a:gdLst>
                <a:gd name="T0" fmla="*/ 0 w 93"/>
                <a:gd name="T1" fmla="*/ 2147483647 h 134"/>
                <a:gd name="T2" fmla="*/ 2147483647 w 93"/>
                <a:gd name="T3" fmla="*/ 2147483647 h 134"/>
                <a:gd name="T4" fmla="*/ 2147483647 w 93"/>
                <a:gd name="T5" fmla="*/ 2147483647 h 134"/>
                <a:gd name="T6" fmla="*/ 2147483647 w 93"/>
                <a:gd name="T7" fmla="*/ 2147483647 h 134"/>
                <a:gd name="T8" fmla="*/ 2147483647 w 93"/>
                <a:gd name="T9" fmla="*/ 2147483647 h 134"/>
                <a:gd name="T10" fmla="*/ 2147483647 w 93"/>
                <a:gd name="T11" fmla="*/ 2147483647 h 134"/>
                <a:gd name="T12" fmla="*/ 2147483647 w 93"/>
                <a:gd name="T13" fmla="*/ 2147483647 h 134"/>
                <a:gd name="T14" fmla="*/ 2147483647 w 93"/>
                <a:gd name="T15" fmla="*/ 2147483647 h 134"/>
                <a:gd name="T16" fmla="*/ 2147483647 w 93"/>
                <a:gd name="T17" fmla="*/ 0 h 134"/>
                <a:gd name="T18" fmla="*/ 2147483647 w 93"/>
                <a:gd name="T19" fmla="*/ 2147483647 h 134"/>
                <a:gd name="T20" fmla="*/ 0 w 93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3" h="134">
                  <a:moveTo>
                    <a:pt x="0" y="56"/>
                  </a:moveTo>
                  <a:lnTo>
                    <a:pt x="18" y="102"/>
                  </a:lnTo>
                  <a:lnTo>
                    <a:pt x="56" y="102"/>
                  </a:lnTo>
                  <a:lnTo>
                    <a:pt x="11" y="111"/>
                  </a:lnTo>
                  <a:lnTo>
                    <a:pt x="11" y="134"/>
                  </a:lnTo>
                  <a:lnTo>
                    <a:pt x="56" y="123"/>
                  </a:lnTo>
                  <a:lnTo>
                    <a:pt x="93" y="134"/>
                  </a:lnTo>
                  <a:lnTo>
                    <a:pt x="87" y="56"/>
                  </a:lnTo>
                  <a:lnTo>
                    <a:pt x="50" y="0"/>
                  </a:lnTo>
                  <a:lnTo>
                    <a:pt x="18" y="23"/>
                  </a:lnTo>
                  <a:lnTo>
                    <a:pt x="0" y="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65" name="Freeform 1025"/>
            <p:cNvSpPr>
              <a:spLocks/>
            </p:cNvSpPr>
            <p:nvPr>
              <p:custDataLst>
                <p:tags r:id="rId859"/>
              </p:custDataLst>
            </p:nvPr>
          </p:nvSpPr>
          <p:spPr bwMode="auto">
            <a:xfrm>
              <a:off x="4108698" y="4246563"/>
              <a:ext cx="63500" cy="77787"/>
            </a:xfrm>
            <a:custGeom>
              <a:avLst/>
              <a:gdLst>
                <a:gd name="T0" fmla="*/ 0 w 43"/>
                <a:gd name="T1" fmla="*/ 2147483647 h 100"/>
                <a:gd name="T2" fmla="*/ 2147483647 w 43"/>
                <a:gd name="T3" fmla="*/ 2147483647 h 100"/>
                <a:gd name="T4" fmla="*/ 2147483647 w 43"/>
                <a:gd name="T5" fmla="*/ 2147483647 h 100"/>
                <a:gd name="T6" fmla="*/ 2147483647 w 43"/>
                <a:gd name="T7" fmla="*/ 2147483647 h 100"/>
                <a:gd name="T8" fmla="*/ 2147483647 w 43"/>
                <a:gd name="T9" fmla="*/ 0 h 100"/>
                <a:gd name="T10" fmla="*/ 0 w 43"/>
                <a:gd name="T11" fmla="*/ 2147483647 h 1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3" h="100">
                  <a:moveTo>
                    <a:pt x="0" y="33"/>
                  </a:moveTo>
                  <a:lnTo>
                    <a:pt x="6" y="65"/>
                  </a:lnTo>
                  <a:lnTo>
                    <a:pt x="25" y="100"/>
                  </a:lnTo>
                  <a:lnTo>
                    <a:pt x="43" y="56"/>
                  </a:lnTo>
                  <a:lnTo>
                    <a:pt x="32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66" name="Freeform 1026"/>
            <p:cNvSpPr>
              <a:spLocks/>
            </p:cNvSpPr>
            <p:nvPr>
              <p:custDataLst>
                <p:tags r:id="rId860"/>
              </p:custDataLst>
            </p:nvPr>
          </p:nvSpPr>
          <p:spPr bwMode="auto">
            <a:xfrm>
              <a:off x="4108698" y="4246563"/>
              <a:ext cx="63500" cy="77787"/>
            </a:xfrm>
            <a:custGeom>
              <a:avLst/>
              <a:gdLst>
                <a:gd name="T0" fmla="*/ 0 w 43"/>
                <a:gd name="T1" fmla="*/ 2147483647 h 100"/>
                <a:gd name="T2" fmla="*/ 2147483647 w 43"/>
                <a:gd name="T3" fmla="*/ 2147483647 h 100"/>
                <a:gd name="T4" fmla="*/ 2147483647 w 43"/>
                <a:gd name="T5" fmla="*/ 2147483647 h 100"/>
                <a:gd name="T6" fmla="*/ 2147483647 w 43"/>
                <a:gd name="T7" fmla="*/ 2147483647 h 100"/>
                <a:gd name="T8" fmla="*/ 2147483647 w 43"/>
                <a:gd name="T9" fmla="*/ 0 h 100"/>
                <a:gd name="T10" fmla="*/ 0 w 43"/>
                <a:gd name="T11" fmla="*/ 2147483647 h 1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3" h="100">
                  <a:moveTo>
                    <a:pt x="0" y="33"/>
                  </a:moveTo>
                  <a:lnTo>
                    <a:pt x="6" y="65"/>
                  </a:lnTo>
                  <a:lnTo>
                    <a:pt x="25" y="100"/>
                  </a:lnTo>
                  <a:lnTo>
                    <a:pt x="43" y="56"/>
                  </a:lnTo>
                  <a:lnTo>
                    <a:pt x="32" y="0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67" name="Freeform 1027"/>
            <p:cNvSpPr>
              <a:spLocks/>
            </p:cNvSpPr>
            <p:nvPr>
              <p:custDataLst>
                <p:tags r:id="rId861"/>
              </p:custDataLst>
            </p:nvPr>
          </p:nvSpPr>
          <p:spPr bwMode="auto">
            <a:xfrm>
              <a:off x="4108698" y="4246563"/>
              <a:ext cx="63500" cy="77787"/>
            </a:xfrm>
            <a:custGeom>
              <a:avLst/>
              <a:gdLst>
                <a:gd name="T0" fmla="*/ 0 w 43"/>
                <a:gd name="T1" fmla="*/ 2147483647 h 100"/>
                <a:gd name="T2" fmla="*/ 2147483647 w 43"/>
                <a:gd name="T3" fmla="*/ 2147483647 h 100"/>
                <a:gd name="T4" fmla="*/ 2147483647 w 43"/>
                <a:gd name="T5" fmla="*/ 2147483647 h 100"/>
                <a:gd name="T6" fmla="*/ 2147483647 w 43"/>
                <a:gd name="T7" fmla="*/ 2147483647 h 100"/>
                <a:gd name="T8" fmla="*/ 2147483647 w 43"/>
                <a:gd name="T9" fmla="*/ 0 h 100"/>
                <a:gd name="T10" fmla="*/ 0 w 43"/>
                <a:gd name="T11" fmla="*/ 2147483647 h 1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3" h="100">
                  <a:moveTo>
                    <a:pt x="0" y="33"/>
                  </a:moveTo>
                  <a:lnTo>
                    <a:pt x="6" y="65"/>
                  </a:lnTo>
                  <a:lnTo>
                    <a:pt x="25" y="100"/>
                  </a:lnTo>
                  <a:lnTo>
                    <a:pt x="43" y="56"/>
                  </a:lnTo>
                  <a:lnTo>
                    <a:pt x="32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68" name="Freeform 1028"/>
            <p:cNvSpPr>
              <a:spLocks/>
            </p:cNvSpPr>
            <p:nvPr>
              <p:custDataLst>
                <p:tags r:id="rId862"/>
              </p:custDataLst>
            </p:nvPr>
          </p:nvSpPr>
          <p:spPr bwMode="auto">
            <a:xfrm>
              <a:off x="4108698" y="4246563"/>
              <a:ext cx="63500" cy="77787"/>
            </a:xfrm>
            <a:custGeom>
              <a:avLst/>
              <a:gdLst>
                <a:gd name="T0" fmla="*/ 0 w 43"/>
                <a:gd name="T1" fmla="*/ 2147483647 h 100"/>
                <a:gd name="T2" fmla="*/ 2147483647 w 43"/>
                <a:gd name="T3" fmla="*/ 2147483647 h 100"/>
                <a:gd name="T4" fmla="*/ 2147483647 w 43"/>
                <a:gd name="T5" fmla="*/ 2147483647 h 100"/>
                <a:gd name="T6" fmla="*/ 2147483647 w 43"/>
                <a:gd name="T7" fmla="*/ 2147483647 h 100"/>
                <a:gd name="T8" fmla="*/ 2147483647 w 43"/>
                <a:gd name="T9" fmla="*/ 0 h 100"/>
                <a:gd name="T10" fmla="*/ 0 w 43"/>
                <a:gd name="T11" fmla="*/ 2147483647 h 1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3" h="100">
                  <a:moveTo>
                    <a:pt x="0" y="33"/>
                  </a:moveTo>
                  <a:lnTo>
                    <a:pt x="6" y="65"/>
                  </a:lnTo>
                  <a:lnTo>
                    <a:pt x="25" y="100"/>
                  </a:lnTo>
                  <a:lnTo>
                    <a:pt x="43" y="56"/>
                  </a:lnTo>
                  <a:lnTo>
                    <a:pt x="32" y="0"/>
                  </a:lnTo>
                  <a:lnTo>
                    <a:pt x="0" y="3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69" name="Freeform 1029"/>
            <p:cNvSpPr>
              <a:spLocks/>
            </p:cNvSpPr>
            <p:nvPr>
              <p:custDataLst>
                <p:tags r:id="rId863"/>
              </p:custDataLst>
            </p:nvPr>
          </p:nvSpPr>
          <p:spPr bwMode="auto">
            <a:xfrm>
              <a:off x="5343773" y="4191000"/>
              <a:ext cx="230188" cy="346075"/>
            </a:xfrm>
            <a:custGeom>
              <a:avLst/>
              <a:gdLst>
                <a:gd name="T0" fmla="*/ 0 w 157"/>
                <a:gd name="T1" fmla="*/ 2147483647 h 436"/>
                <a:gd name="T2" fmla="*/ 0 w 157"/>
                <a:gd name="T3" fmla="*/ 2147483647 h 436"/>
                <a:gd name="T4" fmla="*/ 2147483647 w 157"/>
                <a:gd name="T5" fmla="*/ 2147483647 h 436"/>
                <a:gd name="T6" fmla="*/ 2147483647 w 157"/>
                <a:gd name="T7" fmla="*/ 2147483647 h 436"/>
                <a:gd name="T8" fmla="*/ 2147483647 w 157"/>
                <a:gd name="T9" fmla="*/ 2147483647 h 436"/>
                <a:gd name="T10" fmla="*/ 2147483647 w 157"/>
                <a:gd name="T11" fmla="*/ 2147483647 h 436"/>
                <a:gd name="T12" fmla="*/ 2147483647 w 157"/>
                <a:gd name="T13" fmla="*/ 2147483647 h 436"/>
                <a:gd name="T14" fmla="*/ 2147483647 w 157"/>
                <a:gd name="T15" fmla="*/ 2147483647 h 436"/>
                <a:gd name="T16" fmla="*/ 2147483647 w 157"/>
                <a:gd name="T17" fmla="*/ 2147483647 h 436"/>
                <a:gd name="T18" fmla="*/ 2147483647 w 157"/>
                <a:gd name="T19" fmla="*/ 0 h 436"/>
                <a:gd name="T20" fmla="*/ 2147483647 w 157"/>
                <a:gd name="T21" fmla="*/ 2147483647 h 436"/>
                <a:gd name="T22" fmla="*/ 2147483647 w 157"/>
                <a:gd name="T23" fmla="*/ 2147483647 h 436"/>
                <a:gd name="T24" fmla="*/ 2147483647 w 157"/>
                <a:gd name="T25" fmla="*/ 2147483647 h 436"/>
                <a:gd name="T26" fmla="*/ 0 w 157"/>
                <a:gd name="T27" fmla="*/ 2147483647 h 4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7" h="436">
                  <a:moveTo>
                    <a:pt x="0" y="413"/>
                  </a:moveTo>
                  <a:lnTo>
                    <a:pt x="0" y="290"/>
                  </a:lnTo>
                  <a:lnTo>
                    <a:pt x="13" y="257"/>
                  </a:lnTo>
                  <a:lnTo>
                    <a:pt x="63" y="223"/>
                  </a:lnTo>
                  <a:lnTo>
                    <a:pt x="108" y="134"/>
                  </a:lnTo>
                  <a:lnTo>
                    <a:pt x="45" y="100"/>
                  </a:lnTo>
                  <a:lnTo>
                    <a:pt x="26" y="46"/>
                  </a:lnTo>
                  <a:lnTo>
                    <a:pt x="38" y="23"/>
                  </a:lnTo>
                  <a:lnTo>
                    <a:pt x="57" y="56"/>
                  </a:lnTo>
                  <a:lnTo>
                    <a:pt x="151" y="0"/>
                  </a:lnTo>
                  <a:lnTo>
                    <a:pt x="157" y="56"/>
                  </a:lnTo>
                  <a:lnTo>
                    <a:pt x="101" y="257"/>
                  </a:lnTo>
                  <a:lnTo>
                    <a:pt x="7" y="436"/>
                  </a:lnTo>
                  <a:lnTo>
                    <a:pt x="0" y="4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70" name="Freeform 1030"/>
            <p:cNvSpPr>
              <a:spLocks/>
            </p:cNvSpPr>
            <p:nvPr>
              <p:custDataLst>
                <p:tags r:id="rId864"/>
              </p:custDataLst>
            </p:nvPr>
          </p:nvSpPr>
          <p:spPr bwMode="auto">
            <a:xfrm>
              <a:off x="5343773" y="4191000"/>
              <a:ext cx="230188" cy="346075"/>
            </a:xfrm>
            <a:custGeom>
              <a:avLst/>
              <a:gdLst>
                <a:gd name="T0" fmla="*/ 0 w 157"/>
                <a:gd name="T1" fmla="*/ 2147483647 h 436"/>
                <a:gd name="T2" fmla="*/ 0 w 157"/>
                <a:gd name="T3" fmla="*/ 2147483647 h 436"/>
                <a:gd name="T4" fmla="*/ 2147483647 w 157"/>
                <a:gd name="T5" fmla="*/ 2147483647 h 436"/>
                <a:gd name="T6" fmla="*/ 2147483647 w 157"/>
                <a:gd name="T7" fmla="*/ 2147483647 h 436"/>
                <a:gd name="T8" fmla="*/ 2147483647 w 157"/>
                <a:gd name="T9" fmla="*/ 2147483647 h 436"/>
                <a:gd name="T10" fmla="*/ 2147483647 w 157"/>
                <a:gd name="T11" fmla="*/ 2147483647 h 436"/>
                <a:gd name="T12" fmla="*/ 2147483647 w 157"/>
                <a:gd name="T13" fmla="*/ 2147483647 h 436"/>
                <a:gd name="T14" fmla="*/ 2147483647 w 157"/>
                <a:gd name="T15" fmla="*/ 2147483647 h 436"/>
                <a:gd name="T16" fmla="*/ 2147483647 w 157"/>
                <a:gd name="T17" fmla="*/ 2147483647 h 436"/>
                <a:gd name="T18" fmla="*/ 2147483647 w 157"/>
                <a:gd name="T19" fmla="*/ 0 h 436"/>
                <a:gd name="T20" fmla="*/ 2147483647 w 157"/>
                <a:gd name="T21" fmla="*/ 2147483647 h 436"/>
                <a:gd name="T22" fmla="*/ 2147483647 w 157"/>
                <a:gd name="T23" fmla="*/ 2147483647 h 436"/>
                <a:gd name="T24" fmla="*/ 2147483647 w 157"/>
                <a:gd name="T25" fmla="*/ 2147483647 h 436"/>
                <a:gd name="T26" fmla="*/ 0 w 157"/>
                <a:gd name="T27" fmla="*/ 2147483647 h 4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7" h="436">
                  <a:moveTo>
                    <a:pt x="0" y="413"/>
                  </a:moveTo>
                  <a:lnTo>
                    <a:pt x="0" y="290"/>
                  </a:lnTo>
                  <a:lnTo>
                    <a:pt x="13" y="257"/>
                  </a:lnTo>
                  <a:lnTo>
                    <a:pt x="63" y="223"/>
                  </a:lnTo>
                  <a:lnTo>
                    <a:pt x="108" y="134"/>
                  </a:lnTo>
                  <a:lnTo>
                    <a:pt x="45" y="100"/>
                  </a:lnTo>
                  <a:lnTo>
                    <a:pt x="26" y="46"/>
                  </a:lnTo>
                  <a:lnTo>
                    <a:pt x="38" y="23"/>
                  </a:lnTo>
                  <a:lnTo>
                    <a:pt x="57" y="56"/>
                  </a:lnTo>
                  <a:lnTo>
                    <a:pt x="151" y="0"/>
                  </a:lnTo>
                  <a:lnTo>
                    <a:pt x="157" y="56"/>
                  </a:lnTo>
                  <a:lnTo>
                    <a:pt x="101" y="257"/>
                  </a:lnTo>
                  <a:lnTo>
                    <a:pt x="7" y="436"/>
                  </a:lnTo>
                  <a:lnTo>
                    <a:pt x="0" y="41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71" name="Freeform 1031"/>
            <p:cNvSpPr>
              <a:spLocks/>
            </p:cNvSpPr>
            <p:nvPr>
              <p:custDataLst>
                <p:tags r:id="rId865"/>
              </p:custDataLst>
            </p:nvPr>
          </p:nvSpPr>
          <p:spPr bwMode="auto">
            <a:xfrm>
              <a:off x="5343773" y="4191000"/>
              <a:ext cx="230188" cy="346075"/>
            </a:xfrm>
            <a:custGeom>
              <a:avLst/>
              <a:gdLst>
                <a:gd name="T0" fmla="*/ 0 w 157"/>
                <a:gd name="T1" fmla="*/ 2147483647 h 436"/>
                <a:gd name="T2" fmla="*/ 0 w 157"/>
                <a:gd name="T3" fmla="*/ 2147483647 h 436"/>
                <a:gd name="T4" fmla="*/ 2147483647 w 157"/>
                <a:gd name="T5" fmla="*/ 2147483647 h 436"/>
                <a:gd name="T6" fmla="*/ 2147483647 w 157"/>
                <a:gd name="T7" fmla="*/ 2147483647 h 436"/>
                <a:gd name="T8" fmla="*/ 2147483647 w 157"/>
                <a:gd name="T9" fmla="*/ 2147483647 h 436"/>
                <a:gd name="T10" fmla="*/ 2147483647 w 157"/>
                <a:gd name="T11" fmla="*/ 2147483647 h 436"/>
                <a:gd name="T12" fmla="*/ 2147483647 w 157"/>
                <a:gd name="T13" fmla="*/ 2147483647 h 436"/>
                <a:gd name="T14" fmla="*/ 2147483647 w 157"/>
                <a:gd name="T15" fmla="*/ 2147483647 h 436"/>
                <a:gd name="T16" fmla="*/ 2147483647 w 157"/>
                <a:gd name="T17" fmla="*/ 2147483647 h 436"/>
                <a:gd name="T18" fmla="*/ 2147483647 w 157"/>
                <a:gd name="T19" fmla="*/ 0 h 436"/>
                <a:gd name="T20" fmla="*/ 2147483647 w 157"/>
                <a:gd name="T21" fmla="*/ 2147483647 h 436"/>
                <a:gd name="T22" fmla="*/ 2147483647 w 157"/>
                <a:gd name="T23" fmla="*/ 2147483647 h 436"/>
                <a:gd name="T24" fmla="*/ 2147483647 w 157"/>
                <a:gd name="T25" fmla="*/ 2147483647 h 436"/>
                <a:gd name="T26" fmla="*/ 0 w 157"/>
                <a:gd name="T27" fmla="*/ 2147483647 h 4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7" h="436">
                  <a:moveTo>
                    <a:pt x="0" y="413"/>
                  </a:moveTo>
                  <a:lnTo>
                    <a:pt x="0" y="290"/>
                  </a:lnTo>
                  <a:lnTo>
                    <a:pt x="13" y="257"/>
                  </a:lnTo>
                  <a:lnTo>
                    <a:pt x="63" y="223"/>
                  </a:lnTo>
                  <a:lnTo>
                    <a:pt x="108" y="134"/>
                  </a:lnTo>
                  <a:lnTo>
                    <a:pt x="45" y="100"/>
                  </a:lnTo>
                  <a:lnTo>
                    <a:pt x="26" y="46"/>
                  </a:lnTo>
                  <a:lnTo>
                    <a:pt x="38" y="23"/>
                  </a:lnTo>
                  <a:lnTo>
                    <a:pt x="57" y="56"/>
                  </a:lnTo>
                  <a:lnTo>
                    <a:pt x="151" y="0"/>
                  </a:lnTo>
                  <a:lnTo>
                    <a:pt x="157" y="56"/>
                  </a:lnTo>
                  <a:lnTo>
                    <a:pt x="101" y="257"/>
                  </a:lnTo>
                  <a:lnTo>
                    <a:pt x="7" y="436"/>
                  </a:lnTo>
                  <a:lnTo>
                    <a:pt x="0" y="41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72" name="Freeform 1032"/>
            <p:cNvSpPr>
              <a:spLocks/>
            </p:cNvSpPr>
            <p:nvPr>
              <p:custDataLst>
                <p:tags r:id="rId866"/>
              </p:custDataLst>
            </p:nvPr>
          </p:nvSpPr>
          <p:spPr bwMode="auto">
            <a:xfrm>
              <a:off x="5343773" y="4191000"/>
              <a:ext cx="230188" cy="346075"/>
            </a:xfrm>
            <a:custGeom>
              <a:avLst/>
              <a:gdLst>
                <a:gd name="T0" fmla="*/ 0 w 157"/>
                <a:gd name="T1" fmla="*/ 2147483647 h 436"/>
                <a:gd name="T2" fmla="*/ 0 w 157"/>
                <a:gd name="T3" fmla="*/ 2147483647 h 436"/>
                <a:gd name="T4" fmla="*/ 2147483647 w 157"/>
                <a:gd name="T5" fmla="*/ 2147483647 h 436"/>
                <a:gd name="T6" fmla="*/ 2147483647 w 157"/>
                <a:gd name="T7" fmla="*/ 2147483647 h 436"/>
                <a:gd name="T8" fmla="*/ 2147483647 w 157"/>
                <a:gd name="T9" fmla="*/ 2147483647 h 436"/>
                <a:gd name="T10" fmla="*/ 2147483647 w 157"/>
                <a:gd name="T11" fmla="*/ 2147483647 h 436"/>
                <a:gd name="T12" fmla="*/ 2147483647 w 157"/>
                <a:gd name="T13" fmla="*/ 2147483647 h 436"/>
                <a:gd name="T14" fmla="*/ 2147483647 w 157"/>
                <a:gd name="T15" fmla="*/ 2147483647 h 436"/>
                <a:gd name="T16" fmla="*/ 2147483647 w 157"/>
                <a:gd name="T17" fmla="*/ 2147483647 h 436"/>
                <a:gd name="T18" fmla="*/ 2147483647 w 157"/>
                <a:gd name="T19" fmla="*/ 0 h 436"/>
                <a:gd name="T20" fmla="*/ 2147483647 w 157"/>
                <a:gd name="T21" fmla="*/ 2147483647 h 436"/>
                <a:gd name="T22" fmla="*/ 2147483647 w 157"/>
                <a:gd name="T23" fmla="*/ 2147483647 h 436"/>
                <a:gd name="T24" fmla="*/ 2147483647 w 157"/>
                <a:gd name="T25" fmla="*/ 2147483647 h 436"/>
                <a:gd name="T26" fmla="*/ 0 w 157"/>
                <a:gd name="T27" fmla="*/ 2147483647 h 4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7" h="436">
                  <a:moveTo>
                    <a:pt x="0" y="413"/>
                  </a:moveTo>
                  <a:lnTo>
                    <a:pt x="0" y="290"/>
                  </a:lnTo>
                  <a:lnTo>
                    <a:pt x="13" y="257"/>
                  </a:lnTo>
                  <a:lnTo>
                    <a:pt x="63" y="223"/>
                  </a:lnTo>
                  <a:lnTo>
                    <a:pt x="108" y="134"/>
                  </a:lnTo>
                  <a:lnTo>
                    <a:pt x="45" y="100"/>
                  </a:lnTo>
                  <a:lnTo>
                    <a:pt x="26" y="46"/>
                  </a:lnTo>
                  <a:lnTo>
                    <a:pt x="38" y="23"/>
                  </a:lnTo>
                  <a:lnTo>
                    <a:pt x="57" y="56"/>
                  </a:lnTo>
                  <a:lnTo>
                    <a:pt x="151" y="0"/>
                  </a:lnTo>
                  <a:lnTo>
                    <a:pt x="157" y="56"/>
                  </a:lnTo>
                  <a:lnTo>
                    <a:pt x="101" y="257"/>
                  </a:lnTo>
                  <a:lnTo>
                    <a:pt x="7" y="436"/>
                  </a:lnTo>
                  <a:lnTo>
                    <a:pt x="0" y="41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73" name="Freeform 1033"/>
            <p:cNvSpPr>
              <a:spLocks/>
            </p:cNvSpPr>
            <p:nvPr>
              <p:custDataLst>
                <p:tags r:id="rId867"/>
              </p:custDataLst>
            </p:nvPr>
          </p:nvSpPr>
          <p:spPr bwMode="auto">
            <a:xfrm>
              <a:off x="4980236" y="4900613"/>
              <a:ext cx="182562" cy="184150"/>
            </a:xfrm>
            <a:custGeom>
              <a:avLst/>
              <a:gdLst>
                <a:gd name="T0" fmla="*/ 0 w 125"/>
                <a:gd name="T1" fmla="*/ 2147483647 h 232"/>
                <a:gd name="T2" fmla="*/ 2147483647 w 125"/>
                <a:gd name="T3" fmla="*/ 2147483647 h 232"/>
                <a:gd name="T4" fmla="*/ 2147483647 w 125"/>
                <a:gd name="T5" fmla="*/ 2147483647 h 232"/>
                <a:gd name="T6" fmla="*/ 2147483647 w 125"/>
                <a:gd name="T7" fmla="*/ 2147483647 h 232"/>
                <a:gd name="T8" fmla="*/ 2147483647 w 125"/>
                <a:gd name="T9" fmla="*/ 0 h 232"/>
                <a:gd name="T10" fmla="*/ 2147483647 w 125"/>
                <a:gd name="T11" fmla="*/ 2147483647 h 232"/>
                <a:gd name="T12" fmla="*/ 2147483647 w 125"/>
                <a:gd name="T13" fmla="*/ 2147483647 h 232"/>
                <a:gd name="T14" fmla="*/ 2147483647 w 125"/>
                <a:gd name="T15" fmla="*/ 2147483647 h 232"/>
                <a:gd name="T16" fmla="*/ 2147483647 w 125"/>
                <a:gd name="T17" fmla="*/ 2147483647 h 232"/>
                <a:gd name="T18" fmla="*/ 2147483647 w 125"/>
                <a:gd name="T19" fmla="*/ 2147483647 h 232"/>
                <a:gd name="T20" fmla="*/ 2147483647 w 125"/>
                <a:gd name="T21" fmla="*/ 2147483647 h 232"/>
                <a:gd name="T22" fmla="*/ 0 w 125"/>
                <a:gd name="T23" fmla="*/ 2147483647 h 2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5" h="232">
                  <a:moveTo>
                    <a:pt x="0" y="65"/>
                  </a:moveTo>
                  <a:lnTo>
                    <a:pt x="31" y="65"/>
                  </a:lnTo>
                  <a:lnTo>
                    <a:pt x="55" y="33"/>
                  </a:lnTo>
                  <a:lnTo>
                    <a:pt x="55" y="12"/>
                  </a:lnTo>
                  <a:lnTo>
                    <a:pt x="81" y="0"/>
                  </a:lnTo>
                  <a:lnTo>
                    <a:pt x="118" y="21"/>
                  </a:lnTo>
                  <a:lnTo>
                    <a:pt x="125" y="56"/>
                  </a:lnTo>
                  <a:lnTo>
                    <a:pt x="125" y="144"/>
                  </a:lnTo>
                  <a:lnTo>
                    <a:pt x="100" y="232"/>
                  </a:lnTo>
                  <a:lnTo>
                    <a:pt x="68" y="211"/>
                  </a:lnTo>
                  <a:lnTo>
                    <a:pt x="42" y="188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74" name="Freeform 1034"/>
            <p:cNvSpPr>
              <a:spLocks/>
            </p:cNvSpPr>
            <p:nvPr>
              <p:custDataLst>
                <p:tags r:id="rId868"/>
              </p:custDataLst>
            </p:nvPr>
          </p:nvSpPr>
          <p:spPr bwMode="auto">
            <a:xfrm>
              <a:off x="4980236" y="4900613"/>
              <a:ext cx="182562" cy="184150"/>
            </a:xfrm>
            <a:custGeom>
              <a:avLst/>
              <a:gdLst>
                <a:gd name="T0" fmla="*/ 0 w 125"/>
                <a:gd name="T1" fmla="*/ 2147483647 h 232"/>
                <a:gd name="T2" fmla="*/ 2147483647 w 125"/>
                <a:gd name="T3" fmla="*/ 2147483647 h 232"/>
                <a:gd name="T4" fmla="*/ 2147483647 w 125"/>
                <a:gd name="T5" fmla="*/ 2147483647 h 232"/>
                <a:gd name="T6" fmla="*/ 2147483647 w 125"/>
                <a:gd name="T7" fmla="*/ 2147483647 h 232"/>
                <a:gd name="T8" fmla="*/ 2147483647 w 125"/>
                <a:gd name="T9" fmla="*/ 0 h 232"/>
                <a:gd name="T10" fmla="*/ 2147483647 w 125"/>
                <a:gd name="T11" fmla="*/ 2147483647 h 232"/>
                <a:gd name="T12" fmla="*/ 2147483647 w 125"/>
                <a:gd name="T13" fmla="*/ 2147483647 h 232"/>
                <a:gd name="T14" fmla="*/ 2147483647 w 125"/>
                <a:gd name="T15" fmla="*/ 2147483647 h 232"/>
                <a:gd name="T16" fmla="*/ 2147483647 w 125"/>
                <a:gd name="T17" fmla="*/ 2147483647 h 232"/>
                <a:gd name="T18" fmla="*/ 2147483647 w 125"/>
                <a:gd name="T19" fmla="*/ 2147483647 h 232"/>
                <a:gd name="T20" fmla="*/ 2147483647 w 125"/>
                <a:gd name="T21" fmla="*/ 2147483647 h 232"/>
                <a:gd name="T22" fmla="*/ 0 w 125"/>
                <a:gd name="T23" fmla="*/ 2147483647 h 2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5" h="232">
                  <a:moveTo>
                    <a:pt x="0" y="65"/>
                  </a:moveTo>
                  <a:lnTo>
                    <a:pt x="31" y="65"/>
                  </a:lnTo>
                  <a:lnTo>
                    <a:pt x="55" y="33"/>
                  </a:lnTo>
                  <a:lnTo>
                    <a:pt x="55" y="12"/>
                  </a:lnTo>
                  <a:lnTo>
                    <a:pt x="81" y="0"/>
                  </a:lnTo>
                  <a:lnTo>
                    <a:pt x="118" y="21"/>
                  </a:lnTo>
                  <a:lnTo>
                    <a:pt x="125" y="56"/>
                  </a:lnTo>
                  <a:lnTo>
                    <a:pt x="125" y="144"/>
                  </a:lnTo>
                  <a:lnTo>
                    <a:pt x="100" y="232"/>
                  </a:lnTo>
                  <a:lnTo>
                    <a:pt x="68" y="211"/>
                  </a:lnTo>
                  <a:lnTo>
                    <a:pt x="42" y="188"/>
                  </a:lnTo>
                  <a:lnTo>
                    <a:pt x="0" y="6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75" name="Freeform 1035"/>
            <p:cNvSpPr>
              <a:spLocks/>
            </p:cNvSpPr>
            <p:nvPr>
              <p:custDataLst>
                <p:tags r:id="rId869"/>
              </p:custDataLst>
            </p:nvPr>
          </p:nvSpPr>
          <p:spPr bwMode="auto">
            <a:xfrm>
              <a:off x="4980236" y="4900613"/>
              <a:ext cx="182562" cy="184150"/>
            </a:xfrm>
            <a:custGeom>
              <a:avLst/>
              <a:gdLst>
                <a:gd name="T0" fmla="*/ 0 w 125"/>
                <a:gd name="T1" fmla="*/ 2147483647 h 232"/>
                <a:gd name="T2" fmla="*/ 2147483647 w 125"/>
                <a:gd name="T3" fmla="*/ 2147483647 h 232"/>
                <a:gd name="T4" fmla="*/ 2147483647 w 125"/>
                <a:gd name="T5" fmla="*/ 2147483647 h 232"/>
                <a:gd name="T6" fmla="*/ 2147483647 w 125"/>
                <a:gd name="T7" fmla="*/ 2147483647 h 232"/>
                <a:gd name="T8" fmla="*/ 2147483647 w 125"/>
                <a:gd name="T9" fmla="*/ 0 h 232"/>
                <a:gd name="T10" fmla="*/ 2147483647 w 125"/>
                <a:gd name="T11" fmla="*/ 2147483647 h 232"/>
                <a:gd name="T12" fmla="*/ 2147483647 w 125"/>
                <a:gd name="T13" fmla="*/ 2147483647 h 232"/>
                <a:gd name="T14" fmla="*/ 2147483647 w 125"/>
                <a:gd name="T15" fmla="*/ 2147483647 h 232"/>
                <a:gd name="T16" fmla="*/ 2147483647 w 125"/>
                <a:gd name="T17" fmla="*/ 2147483647 h 232"/>
                <a:gd name="T18" fmla="*/ 2147483647 w 125"/>
                <a:gd name="T19" fmla="*/ 2147483647 h 232"/>
                <a:gd name="T20" fmla="*/ 2147483647 w 125"/>
                <a:gd name="T21" fmla="*/ 2147483647 h 232"/>
                <a:gd name="T22" fmla="*/ 0 w 125"/>
                <a:gd name="T23" fmla="*/ 2147483647 h 2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5" h="232">
                  <a:moveTo>
                    <a:pt x="0" y="65"/>
                  </a:moveTo>
                  <a:lnTo>
                    <a:pt x="31" y="65"/>
                  </a:lnTo>
                  <a:lnTo>
                    <a:pt x="55" y="33"/>
                  </a:lnTo>
                  <a:lnTo>
                    <a:pt x="55" y="12"/>
                  </a:lnTo>
                  <a:lnTo>
                    <a:pt x="81" y="0"/>
                  </a:lnTo>
                  <a:lnTo>
                    <a:pt x="118" y="21"/>
                  </a:lnTo>
                  <a:lnTo>
                    <a:pt x="125" y="56"/>
                  </a:lnTo>
                  <a:lnTo>
                    <a:pt x="125" y="144"/>
                  </a:lnTo>
                  <a:lnTo>
                    <a:pt x="100" y="232"/>
                  </a:lnTo>
                  <a:lnTo>
                    <a:pt x="68" y="211"/>
                  </a:lnTo>
                  <a:lnTo>
                    <a:pt x="42" y="188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76" name="Freeform 1036"/>
            <p:cNvSpPr>
              <a:spLocks/>
            </p:cNvSpPr>
            <p:nvPr>
              <p:custDataLst>
                <p:tags r:id="rId870"/>
              </p:custDataLst>
            </p:nvPr>
          </p:nvSpPr>
          <p:spPr bwMode="auto">
            <a:xfrm>
              <a:off x="4980236" y="4900613"/>
              <a:ext cx="182562" cy="184150"/>
            </a:xfrm>
            <a:custGeom>
              <a:avLst/>
              <a:gdLst>
                <a:gd name="T0" fmla="*/ 0 w 125"/>
                <a:gd name="T1" fmla="*/ 2147483647 h 232"/>
                <a:gd name="T2" fmla="*/ 2147483647 w 125"/>
                <a:gd name="T3" fmla="*/ 2147483647 h 232"/>
                <a:gd name="T4" fmla="*/ 2147483647 w 125"/>
                <a:gd name="T5" fmla="*/ 2147483647 h 232"/>
                <a:gd name="T6" fmla="*/ 2147483647 w 125"/>
                <a:gd name="T7" fmla="*/ 2147483647 h 232"/>
                <a:gd name="T8" fmla="*/ 2147483647 w 125"/>
                <a:gd name="T9" fmla="*/ 0 h 232"/>
                <a:gd name="T10" fmla="*/ 2147483647 w 125"/>
                <a:gd name="T11" fmla="*/ 2147483647 h 232"/>
                <a:gd name="T12" fmla="*/ 2147483647 w 125"/>
                <a:gd name="T13" fmla="*/ 2147483647 h 232"/>
                <a:gd name="T14" fmla="*/ 2147483647 w 125"/>
                <a:gd name="T15" fmla="*/ 2147483647 h 232"/>
                <a:gd name="T16" fmla="*/ 2147483647 w 125"/>
                <a:gd name="T17" fmla="*/ 2147483647 h 232"/>
                <a:gd name="T18" fmla="*/ 2147483647 w 125"/>
                <a:gd name="T19" fmla="*/ 2147483647 h 232"/>
                <a:gd name="T20" fmla="*/ 2147483647 w 125"/>
                <a:gd name="T21" fmla="*/ 2147483647 h 232"/>
                <a:gd name="T22" fmla="*/ 0 w 125"/>
                <a:gd name="T23" fmla="*/ 2147483647 h 2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5" h="232">
                  <a:moveTo>
                    <a:pt x="0" y="65"/>
                  </a:moveTo>
                  <a:lnTo>
                    <a:pt x="31" y="65"/>
                  </a:lnTo>
                  <a:lnTo>
                    <a:pt x="55" y="33"/>
                  </a:lnTo>
                  <a:lnTo>
                    <a:pt x="55" y="12"/>
                  </a:lnTo>
                  <a:lnTo>
                    <a:pt x="81" y="0"/>
                  </a:lnTo>
                  <a:lnTo>
                    <a:pt x="118" y="21"/>
                  </a:lnTo>
                  <a:lnTo>
                    <a:pt x="125" y="56"/>
                  </a:lnTo>
                  <a:lnTo>
                    <a:pt x="125" y="144"/>
                  </a:lnTo>
                  <a:lnTo>
                    <a:pt x="100" y="232"/>
                  </a:lnTo>
                  <a:lnTo>
                    <a:pt x="68" y="211"/>
                  </a:lnTo>
                  <a:lnTo>
                    <a:pt x="42" y="188"/>
                  </a:lnTo>
                  <a:lnTo>
                    <a:pt x="0" y="65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77" name="Freeform 1037"/>
            <p:cNvSpPr>
              <a:spLocks/>
            </p:cNvSpPr>
            <p:nvPr>
              <p:custDataLst>
                <p:tags r:id="rId871"/>
              </p:custDataLst>
            </p:nvPr>
          </p:nvSpPr>
          <p:spPr bwMode="auto">
            <a:xfrm>
              <a:off x="4669086" y="4935538"/>
              <a:ext cx="311150" cy="315912"/>
            </a:xfrm>
            <a:custGeom>
              <a:avLst/>
              <a:gdLst>
                <a:gd name="T0" fmla="*/ 0 w 212"/>
                <a:gd name="T1" fmla="*/ 2147483647 h 400"/>
                <a:gd name="T2" fmla="*/ 2147483647 w 212"/>
                <a:gd name="T3" fmla="*/ 0 h 400"/>
                <a:gd name="T4" fmla="*/ 2147483647 w 212"/>
                <a:gd name="T5" fmla="*/ 2147483647 h 400"/>
                <a:gd name="T6" fmla="*/ 2147483647 w 212"/>
                <a:gd name="T7" fmla="*/ 2147483647 h 400"/>
                <a:gd name="T8" fmla="*/ 2147483647 w 212"/>
                <a:gd name="T9" fmla="*/ 2147483647 h 400"/>
                <a:gd name="T10" fmla="*/ 2147483647 w 212"/>
                <a:gd name="T11" fmla="*/ 2147483647 h 400"/>
                <a:gd name="T12" fmla="*/ 2147483647 w 212"/>
                <a:gd name="T13" fmla="*/ 2147483647 h 400"/>
                <a:gd name="T14" fmla="*/ 2147483647 w 212"/>
                <a:gd name="T15" fmla="*/ 2147483647 h 400"/>
                <a:gd name="T16" fmla="*/ 2147483647 w 212"/>
                <a:gd name="T17" fmla="*/ 2147483647 h 400"/>
                <a:gd name="T18" fmla="*/ 2147483647 w 212"/>
                <a:gd name="T19" fmla="*/ 2147483647 h 400"/>
                <a:gd name="T20" fmla="*/ 2147483647 w 212"/>
                <a:gd name="T21" fmla="*/ 2147483647 h 400"/>
                <a:gd name="T22" fmla="*/ 2147483647 w 212"/>
                <a:gd name="T23" fmla="*/ 2147483647 h 400"/>
                <a:gd name="T24" fmla="*/ 2147483647 w 212"/>
                <a:gd name="T25" fmla="*/ 2147483647 h 400"/>
                <a:gd name="T26" fmla="*/ 2147483647 w 212"/>
                <a:gd name="T27" fmla="*/ 2147483647 h 400"/>
                <a:gd name="T28" fmla="*/ 2147483647 w 212"/>
                <a:gd name="T29" fmla="*/ 2147483647 h 400"/>
                <a:gd name="T30" fmla="*/ 2147483647 w 212"/>
                <a:gd name="T31" fmla="*/ 2147483647 h 400"/>
                <a:gd name="T32" fmla="*/ 2147483647 w 212"/>
                <a:gd name="T33" fmla="*/ 2147483647 h 400"/>
                <a:gd name="T34" fmla="*/ 2147483647 w 212"/>
                <a:gd name="T35" fmla="*/ 2147483647 h 400"/>
                <a:gd name="T36" fmla="*/ 2147483647 w 212"/>
                <a:gd name="T37" fmla="*/ 2147483647 h 400"/>
                <a:gd name="T38" fmla="*/ 0 w 212"/>
                <a:gd name="T39" fmla="*/ 2147483647 h 4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2" h="400">
                  <a:moveTo>
                    <a:pt x="0" y="10"/>
                  </a:moveTo>
                  <a:lnTo>
                    <a:pt x="31" y="0"/>
                  </a:lnTo>
                  <a:lnTo>
                    <a:pt x="155" y="33"/>
                  </a:lnTo>
                  <a:lnTo>
                    <a:pt x="187" y="21"/>
                  </a:lnTo>
                  <a:lnTo>
                    <a:pt x="212" y="21"/>
                  </a:lnTo>
                  <a:lnTo>
                    <a:pt x="187" y="56"/>
                  </a:lnTo>
                  <a:lnTo>
                    <a:pt x="180" y="33"/>
                  </a:lnTo>
                  <a:lnTo>
                    <a:pt x="149" y="44"/>
                  </a:lnTo>
                  <a:lnTo>
                    <a:pt x="149" y="167"/>
                  </a:lnTo>
                  <a:lnTo>
                    <a:pt x="130" y="167"/>
                  </a:lnTo>
                  <a:lnTo>
                    <a:pt x="130" y="256"/>
                  </a:lnTo>
                  <a:lnTo>
                    <a:pt x="130" y="379"/>
                  </a:lnTo>
                  <a:lnTo>
                    <a:pt x="119" y="400"/>
                  </a:lnTo>
                  <a:lnTo>
                    <a:pt x="99" y="400"/>
                  </a:lnTo>
                  <a:lnTo>
                    <a:pt x="87" y="379"/>
                  </a:lnTo>
                  <a:lnTo>
                    <a:pt x="80" y="390"/>
                  </a:lnTo>
                  <a:lnTo>
                    <a:pt x="55" y="346"/>
                  </a:lnTo>
                  <a:lnTo>
                    <a:pt x="50" y="200"/>
                  </a:lnTo>
                  <a:lnTo>
                    <a:pt x="50" y="188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78" name="Freeform 1038"/>
            <p:cNvSpPr>
              <a:spLocks/>
            </p:cNvSpPr>
            <p:nvPr>
              <p:custDataLst>
                <p:tags r:id="rId872"/>
              </p:custDataLst>
            </p:nvPr>
          </p:nvSpPr>
          <p:spPr bwMode="auto">
            <a:xfrm>
              <a:off x="4669086" y="4935538"/>
              <a:ext cx="311150" cy="315912"/>
            </a:xfrm>
            <a:custGeom>
              <a:avLst/>
              <a:gdLst>
                <a:gd name="T0" fmla="*/ 0 w 212"/>
                <a:gd name="T1" fmla="*/ 2147483647 h 400"/>
                <a:gd name="T2" fmla="*/ 2147483647 w 212"/>
                <a:gd name="T3" fmla="*/ 0 h 400"/>
                <a:gd name="T4" fmla="*/ 2147483647 w 212"/>
                <a:gd name="T5" fmla="*/ 2147483647 h 400"/>
                <a:gd name="T6" fmla="*/ 2147483647 w 212"/>
                <a:gd name="T7" fmla="*/ 2147483647 h 400"/>
                <a:gd name="T8" fmla="*/ 2147483647 w 212"/>
                <a:gd name="T9" fmla="*/ 2147483647 h 400"/>
                <a:gd name="T10" fmla="*/ 2147483647 w 212"/>
                <a:gd name="T11" fmla="*/ 2147483647 h 400"/>
                <a:gd name="T12" fmla="*/ 2147483647 w 212"/>
                <a:gd name="T13" fmla="*/ 2147483647 h 400"/>
                <a:gd name="T14" fmla="*/ 2147483647 w 212"/>
                <a:gd name="T15" fmla="*/ 2147483647 h 400"/>
                <a:gd name="T16" fmla="*/ 2147483647 w 212"/>
                <a:gd name="T17" fmla="*/ 2147483647 h 400"/>
                <a:gd name="T18" fmla="*/ 2147483647 w 212"/>
                <a:gd name="T19" fmla="*/ 2147483647 h 400"/>
                <a:gd name="T20" fmla="*/ 2147483647 w 212"/>
                <a:gd name="T21" fmla="*/ 2147483647 h 400"/>
                <a:gd name="T22" fmla="*/ 2147483647 w 212"/>
                <a:gd name="T23" fmla="*/ 2147483647 h 400"/>
                <a:gd name="T24" fmla="*/ 2147483647 w 212"/>
                <a:gd name="T25" fmla="*/ 2147483647 h 400"/>
                <a:gd name="T26" fmla="*/ 2147483647 w 212"/>
                <a:gd name="T27" fmla="*/ 2147483647 h 400"/>
                <a:gd name="T28" fmla="*/ 2147483647 w 212"/>
                <a:gd name="T29" fmla="*/ 2147483647 h 400"/>
                <a:gd name="T30" fmla="*/ 2147483647 w 212"/>
                <a:gd name="T31" fmla="*/ 2147483647 h 400"/>
                <a:gd name="T32" fmla="*/ 2147483647 w 212"/>
                <a:gd name="T33" fmla="*/ 2147483647 h 400"/>
                <a:gd name="T34" fmla="*/ 2147483647 w 212"/>
                <a:gd name="T35" fmla="*/ 2147483647 h 400"/>
                <a:gd name="T36" fmla="*/ 2147483647 w 212"/>
                <a:gd name="T37" fmla="*/ 2147483647 h 400"/>
                <a:gd name="T38" fmla="*/ 0 w 212"/>
                <a:gd name="T39" fmla="*/ 2147483647 h 4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2" h="400">
                  <a:moveTo>
                    <a:pt x="0" y="10"/>
                  </a:moveTo>
                  <a:lnTo>
                    <a:pt x="31" y="0"/>
                  </a:lnTo>
                  <a:lnTo>
                    <a:pt x="155" y="33"/>
                  </a:lnTo>
                  <a:lnTo>
                    <a:pt x="187" y="21"/>
                  </a:lnTo>
                  <a:lnTo>
                    <a:pt x="212" y="21"/>
                  </a:lnTo>
                  <a:lnTo>
                    <a:pt x="187" y="56"/>
                  </a:lnTo>
                  <a:lnTo>
                    <a:pt x="180" y="33"/>
                  </a:lnTo>
                  <a:lnTo>
                    <a:pt x="149" y="44"/>
                  </a:lnTo>
                  <a:lnTo>
                    <a:pt x="149" y="167"/>
                  </a:lnTo>
                  <a:lnTo>
                    <a:pt x="130" y="167"/>
                  </a:lnTo>
                  <a:lnTo>
                    <a:pt x="130" y="256"/>
                  </a:lnTo>
                  <a:lnTo>
                    <a:pt x="130" y="379"/>
                  </a:lnTo>
                  <a:lnTo>
                    <a:pt x="119" y="400"/>
                  </a:lnTo>
                  <a:lnTo>
                    <a:pt x="99" y="400"/>
                  </a:lnTo>
                  <a:lnTo>
                    <a:pt x="87" y="379"/>
                  </a:lnTo>
                  <a:lnTo>
                    <a:pt x="80" y="390"/>
                  </a:lnTo>
                  <a:lnTo>
                    <a:pt x="55" y="346"/>
                  </a:lnTo>
                  <a:lnTo>
                    <a:pt x="50" y="200"/>
                  </a:lnTo>
                  <a:lnTo>
                    <a:pt x="50" y="188"/>
                  </a:lnTo>
                  <a:lnTo>
                    <a:pt x="0" y="1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79" name="Freeform 1039"/>
            <p:cNvSpPr>
              <a:spLocks/>
            </p:cNvSpPr>
            <p:nvPr>
              <p:custDataLst>
                <p:tags r:id="rId873"/>
              </p:custDataLst>
            </p:nvPr>
          </p:nvSpPr>
          <p:spPr bwMode="auto">
            <a:xfrm>
              <a:off x="4669086" y="4935538"/>
              <a:ext cx="311150" cy="315912"/>
            </a:xfrm>
            <a:custGeom>
              <a:avLst/>
              <a:gdLst>
                <a:gd name="T0" fmla="*/ 0 w 212"/>
                <a:gd name="T1" fmla="*/ 2147483647 h 400"/>
                <a:gd name="T2" fmla="*/ 2147483647 w 212"/>
                <a:gd name="T3" fmla="*/ 0 h 400"/>
                <a:gd name="T4" fmla="*/ 2147483647 w 212"/>
                <a:gd name="T5" fmla="*/ 2147483647 h 400"/>
                <a:gd name="T6" fmla="*/ 2147483647 w 212"/>
                <a:gd name="T7" fmla="*/ 2147483647 h 400"/>
                <a:gd name="T8" fmla="*/ 2147483647 w 212"/>
                <a:gd name="T9" fmla="*/ 2147483647 h 400"/>
                <a:gd name="T10" fmla="*/ 2147483647 w 212"/>
                <a:gd name="T11" fmla="*/ 2147483647 h 400"/>
                <a:gd name="T12" fmla="*/ 2147483647 w 212"/>
                <a:gd name="T13" fmla="*/ 2147483647 h 400"/>
                <a:gd name="T14" fmla="*/ 2147483647 w 212"/>
                <a:gd name="T15" fmla="*/ 2147483647 h 400"/>
                <a:gd name="T16" fmla="*/ 2147483647 w 212"/>
                <a:gd name="T17" fmla="*/ 2147483647 h 400"/>
                <a:gd name="T18" fmla="*/ 2147483647 w 212"/>
                <a:gd name="T19" fmla="*/ 2147483647 h 400"/>
                <a:gd name="T20" fmla="*/ 2147483647 w 212"/>
                <a:gd name="T21" fmla="*/ 2147483647 h 400"/>
                <a:gd name="T22" fmla="*/ 2147483647 w 212"/>
                <a:gd name="T23" fmla="*/ 2147483647 h 400"/>
                <a:gd name="T24" fmla="*/ 2147483647 w 212"/>
                <a:gd name="T25" fmla="*/ 2147483647 h 400"/>
                <a:gd name="T26" fmla="*/ 2147483647 w 212"/>
                <a:gd name="T27" fmla="*/ 2147483647 h 400"/>
                <a:gd name="T28" fmla="*/ 2147483647 w 212"/>
                <a:gd name="T29" fmla="*/ 2147483647 h 400"/>
                <a:gd name="T30" fmla="*/ 2147483647 w 212"/>
                <a:gd name="T31" fmla="*/ 2147483647 h 400"/>
                <a:gd name="T32" fmla="*/ 2147483647 w 212"/>
                <a:gd name="T33" fmla="*/ 2147483647 h 400"/>
                <a:gd name="T34" fmla="*/ 2147483647 w 212"/>
                <a:gd name="T35" fmla="*/ 2147483647 h 400"/>
                <a:gd name="T36" fmla="*/ 2147483647 w 212"/>
                <a:gd name="T37" fmla="*/ 2147483647 h 400"/>
                <a:gd name="T38" fmla="*/ 0 w 212"/>
                <a:gd name="T39" fmla="*/ 2147483647 h 4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2" h="400">
                  <a:moveTo>
                    <a:pt x="0" y="10"/>
                  </a:moveTo>
                  <a:lnTo>
                    <a:pt x="31" y="0"/>
                  </a:lnTo>
                  <a:lnTo>
                    <a:pt x="155" y="33"/>
                  </a:lnTo>
                  <a:lnTo>
                    <a:pt x="187" y="21"/>
                  </a:lnTo>
                  <a:lnTo>
                    <a:pt x="212" y="21"/>
                  </a:lnTo>
                  <a:lnTo>
                    <a:pt x="187" y="56"/>
                  </a:lnTo>
                  <a:lnTo>
                    <a:pt x="180" y="33"/>
                  </a:lnTo>
                  <a:lnTo>
                    <a:pt x="149" y="44"/>
                  </a:lnTo>
                  <a:lnTo>
                    <a:pt x="149" y="167"/>
                  </a:lnTo>
                  <a:lnTo>
                    <a:pt x="130" y="167"/>
                  </a:lnTo>
                  <a:lnTo>
                    <a:pt x="130" y="256"/>
                  </a:lnTo>
                  <a:lnTo>
                    <a:pt x="130" y="379"/>
                  </a:lnTo>
                  <a:lnTo>
                    <a:pt x="119" y="400"/>
                  </a:lnTo>
                  <a:lnTo>
                    <a:pt x="99" y="400"/>
                  </a:lnTo>
                  <a:lnTo>
                    <a:pt x="87" y="379"/>
                  </a:lnTo>
                  <a:lnTo>
                    <a:pt x="80" y="390"/>
                  </a:lnTo>
                  <a:lnTo>
                    <a:pt x="55" y="346"/>
                  </a:lnTo>
                  <a:lnTo>
                    <a:pt x="50" y="200"/>
                  </a:lnTo>
                  <a:lnTo>
                    <a:pt x="50" y="188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80" name="Freeform 1040"/>
            <p:cNvSpPr>
              <a:spLocks/>
            </p:cNvSpPr>
            <p:nvPr>
              <p:custDataLst>
                <p:tags r:id="rId874"/>
              </p:custDataLst>
            </p:nvPr>
          </p:nvSpPr>
          <p:spPr bwMode="auto">
            <a:xfrm>
              <a:off x="4669086" y="4935538"/>
              <a:ext cx="311150" cy="315912"/>
            </a:xfrm>
            <a:custGeom>
              <a:avLst/>
              <a:gdLst>
                <a:gd name="T0" fmla="*/ 0 w 212"/>
                <a:gd name="T1" fmla="*/ 2147483647 h 400"/>
                <a:gd name="T2" fmla="*/ 2147483647 w 212"/>
                <a:gd name="T3" fmla="*/ 0 h 400"/>
                <a:gd name="T4" fmla="*/ 2147483647 w 212"/>
                <a:gd name="T5" fmla="*/ 2147483647 h 400"/>
                <a:gd name="T6" fmla="*/ 2147483647 w 212"/>
                <a:gd name="T7" fmla="*/ 2147483647 h 400"/>
                <a:gd name="T8" fmla="*/ 2147483647 w 212"/>
                <a:gd name="T9" fmla="*/ 2147483647 h 400"/>
                <a:gd name="T10" fmla="*/ 2147483647 w 212"/>
                <a:gd name="T11" fmla="*/ 2147483647 h 400"/>
                <a:gd name="T12" fmla="*/ 2147483647 w 212"/>
                <a:gd name="T13" fmla="*/ 2147483647 h 400"/>
                <a:gd name="T14" fmla="*/ 2147483647 w 212"/>
                <a:gd name="T15" fmla="*/ 2147483647 h 400"/>
                <a:gd name="T16" fmla="*/ 2147483647 w 212"/>
                <a:gd name="T17" fmla="*/ 2147483647 h 400"/>
                <a:gd name="T18" fmla="*/ 2147483647 w 212"/>
                <a:gd name="T19" fmla="*/ 2147483647 h 400"/>
                <a:gd name="T20" fmla="*/ 2147483647 w 212"/>
                <a:gd name="T21" fmla="*/ 2147483647 h 400"/>
                <a:gd name="T22" fmla="*/ 2147483647 w 212"/>
                <a:gd name="T23" fmla="*/ 2147483647 h 400"/>
                <a:gd name="T24" fmla="*/ 2147483647 w 212"/>
                <a:gd name="T25" fmla="*/ 2147483647 h 400"/>
                <a:gd name="T26" fmla="*/ 2147483647 w 212"/>
                <a:gd name="T27" fmla="*/ 2147483647 h 400"/>
                <a:gd name="T28" fmla="*/ 2147483647 w 212"/>
                <a:gd name="T29" fmla="*/ 2147483647 h 400"/>
                <a:gd name="T30" fmla="*/ 2147483647 w 212"/>
                <a:gd name="T31" fmla="*/ 2147483647 h 400"/>
                <a:gd name="T32" fmla="*/ 2147483647 w 212"/>
                <a:gd name="T33" fmla="*/ 2147483647 h 400"/>
                <a:gd name="T34" fmla="*/ 2147483647 w 212"/>
                <a:gd name="T35" fmla="*/ 2147483647 h 400"/>
                <a:gd name="T36" fmla="*/ 2147483647 w 212"/>
                <a:gd name="T37" fmla="*/ 2147483647 h 400"/>
                <a:gd name="T38" fmla="*/ 0 w 212"/>
                <a:gd name="T39" fmla="*/ 2147483647 h 4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2" h="400">
                  <a:moveTo>
                    <a:pt x="0" y="10"/>
                  </a:moveTo>
                  <a:lnTo>
                    <a:pt x="31" y="0"/>
                  </a:lnTo>
                  <a:lnTo>
                    <a:pt x="155" y="33"/>
                  </a:lnTo>
                  <a:lnTo>
                    <a:pt x="187" y="21"/>
                  </a:lnTo>
                  <a:lnTo>
                    <a:pt x="212" y="21"/>
                  </a:lnTo>
                  <a:lnTo>
                    <a:pt x="187" y="56"/>
                  </a:lnTo>
                  <a:lnTo>
                    <a:pt x="180" y="33"/>
                  </a:lnTo>
                  <a:lnTo>
                    <a:pt x="149" y="44"/>
                  </a:lnTo>
                  <a:lnTo>
                    <a:pt x="149" y="167"/>
                  </a:lnTo>
                  <a:lnTo>
                    <a:pt x="130" y="167"/>
                  </a:lnTo>
                  <a:lnTo>
                    <a:pt x="130" y="256"/>
                  </a:lnTo>
                  <a:lnTo>
                    <a:pt x="130" y="379"/>
                  </a:lnTo>
                  <a:lnTo>
                    <a:pt x="119" y="400"/>
                  </a:lnTo>
                  <a:lnTo>
                    <a:pt x="99" y="400"/>
                  </a:lnTo>
                  <a:lnTo>
                    <a:pt x="87" y="379"/>
                  </a:lnTo>
                  <a:lnTo>
                    <a:pt x="80" y="390"/>
                  </a:lnTo>
                  <a:lnTo>
                    <a:pt x="55" y="346"/>
                  </a:lnTo>
                  <a:lnTo>
                    <a:pt x="50" y="200"/>
                  </a:lnTo>
                  <a:lnTo>
                    <a:pt x="50" y="188"/>
                  </a:lnTo>
                  <a:lnTo>
                    <a:pt x="0" y="1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81" name="Freeform 1041"/>
            <p:cNvSpPr>
              <a:spLocks/>
            </p:cNvSpPr>
            <p:nvPr>
              <p:custDataLst>
                <p:tags r:id="rId875"/>
              </p:custDataLst>
            </p:nvPr>
          </p:nvSpPr>
          <p:spPr bwMode="auto">
            <a:xfrm>
              <a:off x="4024561" y="3778250"/>
              <a:ext cx="195262" cy="182563"/>
            </a:xfrm>
            <a:custGeom>
              <a:avLst/>
              <a:gdLst>
                <a:gd name="T0" fmla="*/ 0 w 133"/>
                <a:gd name="T1" fmla="*/ 2147483647 h 231"/>
                <a:gd name="T2" fmla="*/ 2147483647 w 133"/>
                <a:gd name="T3" fmla="*/ 0 h 231"/>
                <a:gd name="T4" fmla="*/ 2147483647 w 133"/>
                <a:gd name="T5" fmla="*/ 2147483647 h 231"/>
                <a:gd name="T6" fmla="*/ 2147483647 w 133"/>
                <a:gd name="T7" fmla="*/ 2147483647 h 231"/>
                <a:gd name="T8" fmla="*/ 2147483647 w 133"/>
                <a:gd name="T9" fmla="*/ 2147483647 h 231"/>
                <a:gd name="T10" fmla="*/ 2147483647 w 133"/>
                <a:gd name="T11" fmla="*/ 2147483647 h 231"/>
                <a:gd name="T12" fmla="*/ 2147483647 w 133"/>
                <a:gd name="T13" fmla="*/ 2147483647 h 231"/>
                <a:gd name="T14" fmla="*/ 2147483647 w 133"/>
                <a:gd name="T15" fmla="*/ 2147483647 h 231"/>
                <a:gd name="T16" fmla="*/ 2147483647 w 133"/>
                <a:gd name="T17" fmla="*/ 2147483647 h 231"/>
                <a:gd name="T18" fmla="*/ 0 w 133"/>
                <a:gd name="T19" fmla="*/ 2147483647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3" h="231">
                  <a:moveTo>
                    <a:pt x="0" y="231"/>
                  </a:moveTo>
                  <a:lnTo>
                    <a:pt x="58" y="0"/>
                  </a:lnTo>
                  <a:lnTo>
                    <a:pt x="127" y="10"/>
                  </a:lnTo>
                  <a:lnTo>
                    <a:pt x="133" y="22"/>
                  </a:lnTo>
                  <a:lnTo>
                    <a:pt x="127" y="66"/>
                  </a:lnTo>
                  <a:lnTo>
                    <a:pt x="76" y="54"/>
                  </a:lnTo>
                  <a:lnTo>
                    <a:pt x="76" y="143"/>
                  </a:lnTo>
                  <a:lnTo>
                    <a:pt x="58" y="166"/>
                  </a:lnTo>
                  <a:lnTo>
                    <a:pt x="64" y="221"/>
                  </a:lnTo>
                  <a:lnTo>
                    <a:pt x="0" y="23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82" name="Freeform 1042"/>
            <p:cNvSpPr>
              <a:spLocks/>
            </p:cNvSpPr>
            <p:nvPr>
              <p:custDataLst>
                <p:tags r:id="rId876"/>
              </p:custDataLst>
            </p:nvPr>
          </p:nvSpPr>
          <p:spPr bwMode="auto">
            <a:xfrm>
              <a:off x="4024561" y="3778250"/>
              <a:ext cx="195262" cy="182563"/>
            </a:xfrm>
            <a:custGeom>
              <a:avLst/>
              <a:gdLst>
                <a:gd name="T0" fmla="*/ 0 w 133"/>
                <a:gd name="T1" fmla="*/ 2147483647 h 231"/>
                <a:gd name="T2" fmla="*/ 2147483647 w 133"/>
                <a:gd name="T3" fmla="*/ 0 h 231"/>
                <a:gd name="T4" fmla="*/ 2147483647 w 133"/>
                <a:gd name="T5" fmla="*/ 2147483647 h 231"/>
                <a:gd name="T6" fmla="*/ 2147483647 w 133"/>
                <a:gd name="T7" fmla="*/ 2147483647 h 231"/>
                <a:gd name="T8" fmla="*/ 2147483647 w 133"/>
                <a:gd name="T9" fmla="*/ 2147483647 h 231"/>
                <a:gd name="T10" fmla="*/ 2147483647 w 133"/>
                <a:gd name="T11" fmla="*/ 2147483647 h 231"/>
                <a:gd name="T12" fmla="*/ 2147483647 w 133"/>
                <a:gd name="T13" fmla="*/ 2147483647 h 231"/>
                <a:gd name="T14" fmla="*/ 2147483647 w 133"/>
                <a:gd name="T15" fmla="*/ 2147483647 h 231"/>
                <a:gd name="T16" fmla="*/ 2147483647 w 133"/>
                <a:gd name="T17" fmla="*/ 2147483647 h 231"/>
                <a:gd name="T18" fmla="*/ 0 w 133"/>
                <a:gd name="T19" fmla="*/ 2147483647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3" h="231">
                  <a:moveTo>
                    <a:pt x="0" y="231"/>
                  </a:moveTo>
                  <a:lnTo>
                    <a:pt x="58" y="0"/>
                  </a:lnTo>
                  <a:lnTo>
                    <a:pt x="127" y="10"/>
                  </a:lnTo>
                  <a:lnTo>
                    <a:pt x="133" y="22"/>
                  </a:lnTo>
                  <a:lnTo>
                    <a:pt x="127" y="66"/>
                  </a:lnTo>
                  <a:lnTo>
                    <a:pt x="76" y="54"/>
                  </a:lnTo>
                  <a:lnTo>
                    <a:pt x="76" y="143"/>
                  </a:lnTo>
                  <a:lnTo>
                    <a:pt x="58" y="166"/>
                  </a:lnTo>
                  <a:lnTo>
                    <a:pt x="64" y="221"/>
                  </a:lnTo>
                  <a:lnTo>
                    <a:pt x="0" y="23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83" name="Freeform 1043"/>
            <p:cNvSpPr>
              <a:spLocks/>
            </p:cNvSpPr>
            <p:nvPr>
              <p:custDataLst>
                <p:tags r:id="rId877"/>
              </p:custDataLst>
            </p:nvPr>
          </p:nvSpPr>
          <p:spPr bwMode="auto">
            <a:xfrm>
              <a:off x="4024561" y="3778250"/>
              <a:ext cx="195262" cy="182563"/>
            </a:xfrm>
            <a:custGeom>
              <a:avLst/>
              <a:gdLst>
                <a:gd name="T0" fmla="*/ 0 w 133"/>
                <a:gd name="T1" fmla="*/ 2147483647 h 231"/>
                <a:gd name="T2" fmla="*/ 2147483647 w 133"/>
                <a:gd name="T3" fmla="*/ 0 h 231"/>
                <a:gd name="T4" fmla="*/ 2147483647 w 133"/>
                <a:gd name="T5" fmla="*/ 2147483647 h 231"/>
                <a:gd name="T6" fmla="*/ 2147483647 w 133"/>
                <a:gd name="T7" fmla="*/ 2147483647 h 231"/>
                <a:gd name="T8" fmla="*/ 2147483647 w 133"/>
                <a:gd name="T9" fmla="*/ 2147483647 h 231"/>
                <a:gd name="T10" fmla="*/ 2147483647 w 133"/>
                <a:gd name="T11" fmla="*/ 2147483647 h 231"/>
                <a:gd name="T12" fmla="*/ 2147483647 w 133"/>
                <a:gd name="T13" fmla="*/ 2147483647 h 231"/>
                <a:gd name="T14" fmla="*/ 2147483647 w 133"/>
                <a:gd name="T15" fmla="*/ 2147483647 h 231"/>
                <a:gd name="T16" fmla="*/ 2147483647 w 133"/>
                <a:gd name="T17" fmla="*/ 2147483647 h 231"/>
                <a:gd name="T18" fmla="*/ 0 w 133"/>
                <a:gd name="T19" fmla="*/ 2147483647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3" h="231">
                  <a:moveTo>
                    <a:pt x="0" y="231"/>
                  </a:moveTo>
                  <a:lnTo>
                    <a:pt x="58" y="0"/>
                  </a:lnTo>
                  <a:lnTo>
                    <a:pt x="127" y="10"/>
                  </a:lnTo>
                  <a:lnTo>
                    <a:pt x="133" y="22"/>
                  </a:lnTo>
                  <a:lnTo>
                    <a:pt x="127" y="66"/>
                  </a:lnTo>
                  <a:lnTo>
                    <a:pt x="76" y="54"/>
                  </a:lnTo>
                  <a:lnTo>
                    <a:pt x="76" y="143"/>
                  </a:lnTo>
                  <a:lnTo>
                    <a:pt x="58" y="166"/>
                  </a:lnTo>
                  <a:lnTo>
                    <a:pt x="64" y="221"/>
                  </a:lnTo>
                  <a:lnTo>
                    <a:pt x="0" y="23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84" name="Freeform 1044"/>
            <p:cNvSpPr>
              <a:spLocks/>
            </p:cNvSpPr>
            <p:nvPr>
              <p:custDataLst>
                <p:tags r:id="rId878"/>
              </p:custDataLst>
            </p:nvPr>
          </p:nvSpPr>
          <p:spPr bwMode="auto">
            <a:xfrm>
              <a:off x="4024561" y="3778250"/>
              <a:ext cx="195262" cy="182563"/>
            </a:xfrm>
            <a:custGeom>
              <a:avLst/>
              <a:gdLst>
                <a:gd name="T0" fmla="*/ 0 w 133"/>
                <a:gd name="T1" fmla="*/ 2147483647 h 231"/>
                <a:gd name="T2" fmla="*/ 2147483647 w 133"/>
                <a:gd name="T3" fmla="*/ 0 h 231"/>
                <a:gd name="T4" fmla="*/ 2147483647 w 133"/>
                <a:gd name="T5" fmla="*/ 2147483647 h 231"/>
                <a:gd name="T6" fmla="*/ 2147483647 w 133"/>
                <a:gd name="T7" fmla="*/ 2147483647 h 231"/>
                <a:gd name="T8" fmla="*/ 2147483647 w 133"/>
                <a:gd name="T9" fmla="*/ 2147483647 h 231"/>
                <a:gd name="T10" fmla="*/ 2147483647 w 133"/>
                <a:gd name="T11" fmla="*/ 2147483647 h 231"/>
                <a:gd name="T12" fmla="*/ 2147483647 w 133"/>
                <a:gd name="T13" fmla="*/ 2147483647 h 231"/>
                <a:gd name="T14" fmla="*/ 2147483647 w 133"/>
                <a:gd name="T15" fmla="*/ 2147483647 h 231"/>
                <a:gd name="T16" fmla="*/ 2147483647 w 133"/>
                <a:gd name="T17" fmla="*/ 2147483647 h 231"/>
                <a:gd name="T18" fmla="*/ 0 w 133"/>
                <a:gd name="T19" fmla="*/ 2147483647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3" h="231">
                  <a:moveTo>
                    <a:pt x="0" y="231"/>
                  </a:moveTo>
                  <a:lnTo>
                    <a:pt x="58" y="0"/>
                  </a:lnTo>
                  <a:lnTo>
                    <a:pt x="127" y="10"/>
                  </a:lnTo>
                  <a:lnTo>
                    <a:pt x="133" y="22"/>
                  </a:lnTo>
                  <a:lnTo>
                    <a:pt x="127" y="66"/>
                  </a:lnTo>
                  <a:lnTo>
                    <a:pt x="76" y="54"/>
                  </a:lnTo>
                  <a:lnTo>
                    <a:pt x="76" y="143"/>
                  </a:lnTo>
                  <a:lnTo>
                    <a:pt x="58" y="166"/>
                  </a:lnTo>
                  <a:lnTo>
                    <a:pt x="64" y="221"/>
                  </a:lnTo>
                  <a:lnTo>
                    <a:pt x="0" y="23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85" name="Freeform 1045"/>
            <p:cNvSpPr>
              <a:spLocks/>
            </p:cNvSpPr>
            <p:nvPr>
              <p:custDataLst>
                <p:tags r:id="rId879"/>
              </p:custDataLst>
            </p:nvPr>
          </p:nvSpPr>
          <p:spPr bwMode="auto">
            <a:xfrm>
              <a:off x="4905623" y="3908425"/>
              <a:ext cx="377825" cy="493713"/>
            </a:xfrm>
            <a:custGeom>
              <a:avLst/>
              <a:gdLst>
                <a:gd name="T0" fmla="*/ 0 w 257"/>
                <a:gd name="T1" fmla="*/ 2147483647 h 622"/>
                <a:gd name="T2" fmla="*/ 2147483647 w 257"/>
                <a:gd name="T3" fmla="*/ 2147483647 h 622"/>
                <a:gd name="T4" fmla="*/ 2147483647 w 257"/>
                <a:gd name="T5" fmla="*/ 2147483647 h 622"/>
                <a:gd name="T6" fmla="*/ 2147483647 w 257"/>
                <a:gd name="T7" fmla="*/ 2147483647 h 622"/>
                <a:gd name="T8" fmla="*/ 2147483647 w 257"/>
                <a:gd name="T9" fmla="*/ 2147483647 h 622"/>
                <a:gd name="T10" fmla="*/ 2147483647 w 257"/>
                <a:gd name="T11" fmla="*/ 2147483647 h 622"/>
                <a:gd name="T12" fmla="*/ 2147483647 w 257"/>
                <a:gd name="T13" fmla="*/ 2147483647 h 622"/>
                <a:gd name="T14" fmla="*/ 2147483647 w 257"/>
                <a:gd name="T15" fmla="*/ 2147483647 h 622"/>
                <a:gd name="T16" fmla="*/ 2147483647 w 257"/>
                <a:gd name="T17" fmla="*/ 2147483647 h 622"/>
                <a:gd name="T18" fmla="*/ 2147483647 w 257"/>
                <a:gd name="T19" fmla="*/ 2147483647 h 622"/>
                <a:gd name="T20" fmla="*/ 2147483647 w 257"/>
                <a:gd name="T21" fmla="*/ 2147483647 h 622"/>
                <a:gd name="T22" fmla="*/ 2147483647 w 257"/>
                <a:gd name="T23" fmla="*/ 2147483647 h 622"/>
                <a:gd name="T24" fmla="*/ 2147483647 w 257"/>
                <a:gd name="T25" fmla="*/ 2147483647 h 622"/>
                <a:gd name="T26" fmla="*/ 2147483647 w 257"/>
                <a:gd name="T27" fmla="*/ 2147483647 h 622"/>
                <a:gd name="T28" fmla="*/ 2147483647 w 257"/>
                <a:gd name="T29" fmla="*/ 2147483647 h 622"/>
                <a:gd name="T30" fmla="*/ 2147483647 w 257"/>
                <a:gd name="T31" fmla="*/ 2147483647 h 622"/>
                <a:gd name="T32" fmla="*/ 2147483647 w 257"/>
                <a:gd name="T33" fmla="*/ 2147483647 h 622"/>
                <a:gd name="T34" fmla="*/ 2147483647 w 257"/>
                <a:gd name="T35" fmla="*/ 0 h 622"/>
                <a:gd name="T36" fmla="*/ 2147483647 w 257"/>
                <a:gd name="T37" fmla="*/ 2147483647 h 622"/>
                <a:gd name="T38" fmla="*/ 2147483647 w 257"/>
                <a:gd name="T39" fmla="*/ 2147483647 h 622"/>
                <a:gd name="T40" fmla="*/ 2147483647 w 257"/>
                <a:gd name="T41" fmla="*/ 2147483647 h 622"/>
                <a:gd name="T42" fmla="*/ 2147483647 w 257"/>
                <a:gd name="T43" fmla="*/ 2147483647 h 622"/>
                <a:gd name="T44" fmla="*/ 2147483647 w 257"/>
                <a:gd name="T45" fmla="*/ 2147483647 h 622"/>
                <a:gd name="T46" fmla="*/ 2147483647 w 257"/>
                <a:gd name="T47" fmla="*/ 2147483647 h 622"/>
                <a:gd name="T48" fmla="*/ 2147483647 w 257"/>
                <a:gd name="T49" fmla="*/ 2147483647 h 622"/>
                <a:gd name="T50" fmla="*/ 0 w 257"/>
                <a:gd name="T51" fmla="*/ 2147483647 h 62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7" h="622">
                  <a:moveTo>
                    <a:pt x="0" y="322"/>
                  </a:moveTo>
                  <a:lnTo>
                    <a:pt x="12" y="390"/>
                  </a:lnTo>
                  <a:lnTo>
                    <a:pt x="25" y="455"/>
                  </a:lnTo>
                  <a:lnTo>
                    <a:pt x="50" y="489"/>
                  </a:lnTo>
                  <a:lnTo>
                    <a:pt x="87" y="578"/>
                  </a:lnTo>
                  <a:lnTo>
                    <a:pt x="143" y="622"/>
                  </a:lnTo>
                  <a:lnTo>
                    <a:pt x="187" y="610"/>
                  </a:lnTo>
                  <a:lnTo>
                    <a:pt x="219" y="601"/>
                  </a:lnTo>
                  <a:lnTo>
                    <a:pt x="201" y="534"/>
                  </a:lnTo>
                  <a:lnTo>
                    <a:pt x="175" y="489"/>
                  </a:lnTo>
                  <a:lnTo>
                    <a:pt x="193" y="466"/>
                  </a:lnTo>
                  <a:lnTo>
                    <a:pt x="193" y="411"/>
                  </a:lnTo>
                  <a:lnTo>
                    <a:pt x="225" y="332"/>
                  </a:lnTo>
                  <a:lnTo>
                    <a:pt x="238" y="188"/>
                  </a:lnTo>
                  <a:lnTo>
                    <a:pt x="257" y="167"/>
                  </a:lnTo>
                  <a:lnTo>
                    <a:pt x="243" y="132"/>
                  </a:lnTo>
                  <a:lnTo>
                    <a:pt x="231" y="32"/>
                  </a:lnTo>
                  <a:lnTo>
                    <a:pt x="212" y="0"/>
                  </a:lnTo>
                  <a:lnTo>
                    <a:pt x="187" y="44"/>
                  </a:lnTo>
                  <a:lnTo>
                    <a:pt x="50" y="32"/>
                  </a:lnTo>
                  <a:lnTo>
                    <a:pt x="50" y="100"/>
                  </a:lnTo>
                  <a:lnTo>
                    <a:pt x="37" y="100"/>
                  </a:lnTo>
                  <a:lnTo>
                    <a:pt x="37" y="109"/>
                  </a:lnTo>
                  <a:lnTo>
                    <a:pt x="37" y="232"/>
                  </a:lnTo>
                  <a:lnTo>
                    <a:pt x="18" y="244"/>
                  </a:lnTo>
                  <a:lnTo>
                    <a:pt x="0" y="32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86" name="Freeform 1046"/>
            <p:cNvSpPr>
              <a:spLocks/>
            </p:cNvSpPr>
            <p:nvPr>
              <p:custDataLst>
                <p:tags r:id="rId880"/>
              </p:custDataLst>
            </p:nvPr>
          </p:nvSpPr>
          <p:spPr bwMode="auto">
            <a:xfrm>
              <a:off x="4905623" y="3908425"/>
              <a:ext cx="377825" cy="493713"/>
            </a:xfrm>
            <a:custGeom>
              <a:avLst/>
              <a:gdLst>
                <a:gd name="T0" fmla="*/ 0 w 257"/>
                <a:gd name="T1" fmla="*/ 2147483647 h 622"/>
                <a:gd name="T2" fmla="*/ 2147483647 w 257"/>
                <a:gd name="T3" fmla="*/ 2147483647 h 622"/>
                <a:gd name="T4" fmla="*/ 2147483647 w 257"/>
                <a:gd name="T5" fmla="*/ 2147483647 h 622"/>
                <a:gd name="T6" fmla="*/ 2147483647 w 257"/>
                <a:gd name="T7" fmla="*/ 2147483647 h 622"/>
                <a:gd name="T8" fmla="*/ 2147483647 w 257"/>
                <a:gd name="T9" fmla="*/ 2147483647 h 622"/>
                <a:gd name="T10" fmla="*/ 2147483647 w 257"/>
                <a:gd name="T11" fmla="*/ 2147483647 h 622"/>
                <a:gd name="T12" fmla="*/ 2147483647 w 257"/>
                <a:gd name="T13" fmla="*/ 2147483647 h 622"/>
                <a:gd name="T14" fmla="*/ 2147483647 w 257"/>
                <a:gd name="T15" fmla="*/ 2147483647 h 622"/>
                <a:gd name="T16" fmla="*/ 2147483647 w 257"/>
                <a:gd name="T17" fmla="*/ 2147483647 h 622"/>
                <a:gd name="T18" fmla="*/ 2147483647 w 257"/>
                <a:gd name="T19" fmla="*/ 2147483647 h 622"/>
                <a:gd name="T20" fmla="*/ 2147483647 w 257"/>
                <a:gd name="T21" fmla="*/ 2147483647 h 622"/>
                <a:gd name="T22" fmla="*/ 2147483647 w 257"/>
                <a:gd name="T23" fmla="*/ 2147483647 h 622"/>
                <a:gd name="T24" fmla="*/ 2147483647 w 257"/>
                <a:gd name="T25" fmla="*/ 2147483647 h 622"/>
                <a:gd name="T26" fmla="*/ 2147483647 w 257"/>
                <a:gd name="T27" fmla="*/ 2147483647 h 622"/>
                <a:gd name="T28" fmla="*/ 2147483647 w 257"/>
                <a:gd name="T29" fmla="*/ 2147483647 h 622"/>
                <a:gd name="T30" fmla="*/ 2147483647 w 257"/>
                <a:gd name="T31" fmla="*/ 2147483647 h 622"/>
                <a:gd name="T32" fmla="*/ 2147483647 w 257"/>
                <a:gd name="T33" fmla="*/ 2147483647 h 622"/>
                <a:gd name="T34" fmla="*/ 2147483647 w 257"/>
                <a:gd name="T35" fmla="*/ 0 h 622"/>
                <a:gd name="T36" fmla="*/ 2147483647 w 257"/>
                <a:gd name="T37" fmla="*/ 2147483647 h 622"/>
                <a:gd name="T38" fmla="*/ 2147483647 w 257"/>
                <a:gd name="T39" fmla="*/ 2147483647 h 622"/>
                <a:gd name="T40" fmla="*/ 2147483647 w 257"/>
                <a:gd name="T41" fmla="*/ 2147483647 h 622"/>
                <a:gd name="T42" fmla="*/ 2147483647 w 257"/>
                <a:gd name="T43" fmla="*/ 2147483647 h 622"/>
                <a:gd name="T44" fmla="*/ 2147483647 w 257"/>
                <a:gd name="T45" fmla="*/ 2147483647 h 622"/>
                <a:gd name="T46" fmla="*/ 2147483647 w 257"/>
                <a:gd name="T47" fmla="*/ 2147483647 h 622"/>
                <a:gd name="T48" fmla="*/ 2147483647 w 257"/>
                <a:gd name="T49" fmla="*/ 2147483647 h 622"/>
                <a:gd name="T50" fmla="*/ 0 w 257"/>
                <a:gd name="T51" fmla="*/ 2147483647 h 62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7" h="622">
                  <a:moveTo>
                    <a:pt x="0" y="322"/>
                  </a:moveTo>
                  <a:lnTo>
                    <a:pt x="12" y="390"/>
                  </a:lnTo>
                  <a:lnTo>
                    <a:pt x="25" y="455"/>
                  </a:lnTo>
                  <a:lnTo>
                    <a:pt x="50" y="489"/>
                  </a:lnTo>
                  <a:lnTo>
                    <a:pt x="87" y="578"/>
                  </a:lnTo>
                  <a:lnTo>
                    <a:pt x="143" y="622"/>
                  </a:lnTo>
                  <a:lnTo>
                    <a:pt x="187" y="610"/>
                  </a:lnTo>
                  <a:lnTo>
                    <a:pt x="219" y="601"/>
                  </a:lnTo>
                  <a:lnTo>
                    <a:pt x="201" y="534"/>
                  </a:lnTo>
                  <a:lnTo>
                    <a:pt x="175" y="489"/>
                  </a:lnTo>
                  <a:lnTo>
                    <a:pt x="193" y="466"/>
                  </a:lnTo>
                  <a:lnTo>
                    <a:pt x="193" y="411"/>
                  </a:lnTo>
                  <a:lnTo>
                    <a:pt x="225" y="332"/>
                  </a:lnTo>
                  <a:lnTo>
                    <a:pt x="238" y="188"/>
                  </a:lnTo>
                  <a:lnTo>
                    <a:pt x="257" y="167"/>
                  </a:lnTo>
                  <a:lnTo>
                    <a:pt x="243" y="132"/>
                  </a:lnTo>
                  <a:lnTo>
                    <a:pt x="231" y="32"/>
                  </a:lnTo>
                  <a:lnTo>
                    <a:pt x="212" y="0"/>
                  </a:lnTo>
                  <a:lnTo>
                    <a:pt x="187" y="44"/>
                  </a:lnTo>
                  <a:lnTo>
                    <a:pt x="50" y="32"/>
                  </a:lnTo>
                  <a:lnTo>
                    <a:pt x="50" y="100"/>
                  </a:lnTo>
                  <a:lnTo>
                    <a:pt x="37" y="100"/>
                  </a:lnTo>
                  <a:lnTo>
                    <a:pt x="37" y="109"/>
                  </a:lnTo>
                  <a:lnTo>
                    <a:pt x="37" y="232"/>
                  </a:lnTo>
                  <a:lnTo>
                    <a:pt x="18" y="244"/>
                  </a:lnTo>
                  <a:lnTo>
                    <a:pt x="0" y="32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87" name="Freeform 1047"/>
            <p:cNvSpPr>
              <a:spLocks/>
            </p:cNvSpPr>
            <p:nvPr>
              <p:custDataLst>
                <p:tags r:id="rId881"/>
              </p:custDataLst>
            </p:nvPr>
          </p:nvSpPr>
          <p:spPr bwMode="auto">
            <a:xfrm>
              <a:off x="4905623" y="3908425"/>
              <a:ext cx="377825" cy="493713"/>
            </a:xfrm>
            <a:custGeom>
              <a:avLst/>
              <a:gdLst>
                <a:gd name="T0" fmla="*/ 0 w 257"/>
                <a:gd name="T1" fmla="*/ 2147483647 h 622"/>
                <a:gd name="T2" fmla="*/ 2147483647 w 257"/>
                <a:gd name="T3" fmla="*/ 2147483647 h 622"/>
                <a:gd name="T4" fmla="*/ 2147483647 w 257"/>
                <a:gd name="T5" fmla="*/ 2147483647 h 622"/>
                <a:gd name="T6" fmla="*/ 2147483647 w 257"/>
                <a:gd name="T7" fmla="*/ 2147483647 h 622"/>
                <a:gd name="T8" fmla="*/ 2147483647 w 257"/>
                <a:gd name="T9" fmla="*/ 2147483647 h 622"/>
                <a:gd name="T10" fmla="*/ 2147483647 w 257"/>
                <a:gd name="T11" fmla="*/ 2147483647 h 622"/>
                <a:gd name="T12" fmla="*/ 2147483647 w 257"/>
                <a:gd name="T13" fmla="*/ 2147483647 h 622"/>
                <a:gd name="T14" fmla="*/ 2147483647 w 257"/>
                <a:gd name="T15" fmla="*/ 2147483647 h 622"/>
                <a:gd name="T16" fmla="*/ 2147483647 w 257"/>
                <a:gd name="T17" fmla="*/ 2147483647 h 622"/>
                <a:gd name="T18" fmla="*/ 2147483647 w 257"/>
                <a:gd name="T19" fmla="*/ 2147483647 h 622"/>
                <a:gd name="T20" fmla="*/ 2147483647 w 257"/>
                <a:gd name="T21" fmla="*/ 2147483647 h 622"/>
                <a:gd name="T22" fmla="*/ 2147483647 w 257"/>
                <a:gd name="T23" fmla="*/ 2147483647 h 622"/>
                <a:gd name="T24" fmla="*/ 2147483647 w 257"/>
                <a:gd name="T25" fmla="*/ 2147483647 h 622"/>
                <a:gd name="T26" fmla="*/ 2147483647 w 257"/>
                <a:gd name="T27" fmla="*/ 2147483647 h 622"/>
                <a:gd name="T28" fmla="*/ 2147483647 w 257"/>
                <a:gd name="T29" fmla="*/ 2147483647 h 622"/>
                <a:gd name="T30" fmla="*/ 2147483647 w 257"/>
                <a:gd name="T31" fmla="*/ 2147483647 h 622"/>
                <a:gd name="T32" fmla="*/ 2147483647 w 257"/>
                <a:gd name="T33" fmla="*/ 2147483647 h 622"/>
                <a:gd name="T34" fmla="*/ 2147483647 w 257"/>
                <a:gd name="T35" fmla="*/ 0 h 622"/>
                <a:gd name="T36" fmla="*/ 2147483647 w 257"/>
                <a:gd name="T37" fmla="*/ 2147483647 h 622"/>
                <a:gd name="T38" fmla="*/ 2147483647 w 257"/>
                <a:gd name="T39" fmla="*/ 2147483647 h 622"/>
                <a:gd name="T40" fmla="*/ 2147483647 w 257"/>
                <a:gd name="T41" fmla="*/ 2147483647 h 622"/>
                <a:gd name="T42" fmla="*/ 2147483647 w 257"/>
                <a:gd name="T43" fmla="*/ 2147483647 h 622"/>
                <a:gd name="T44" fmla="*/ 2147483647 w 257"/>
                <a:gd name="T45" fmla="*/ 2147483647 h 622"/>
                <a:gd name="T46" fmla="*/ 2147483647 w 257"/>
                <a:gd name="T47" fmla="*/ 2147483647 h 622"/>
                <a:gd name="T48" fmla="*/ 2147483647 w 257"/>
                <a:gd name="T49" fmla="*/ 2147483647 h 622"/>
                <a:gd name="T50" fmla="*/ 0 w 257"/>
                <a:gd name="T51" fmla="*/ 2147483647 h 62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7" h="622">
                  <a:moveTo>
                    <a:pt x="0" y="322"/>
                  </a:moveTo>
                  <a:lnTo>
                    <a:pt x="12" y="390"/>
                  </a:lnTo>
                  <a:lnTo>
                    <a:pt x="25" y="455"/>
                  </a:lnTo>
                  <a:lnTo>
                    <a:pt x="50" y="489"/>
                  </a:lnTo>
                  <a:lnTo>
                    <a:pt x="87" y="578"/>
                  </a:lnTo>
                  <a:lnTo>
                    <a:pt x="143" y="622"/>
                  </a:lnTo>
                  <a:lnTo>
                    <a:pt x="187" y="610"/>
                  </a:lnTo>
                  <a:lnTo>
                    <a:pt x="219" y="601"/>
                  </a:lnTo>
                  <a:lnTo>
                    <a:pt x="201" y="534"/>
                  </a:lnTo>
                  <a:lnTo>
                    <a:pt x="175" y="489"/>
                  </a:lnTo>
                  <a:lnTo>
                    <a:pt x="193" y="466"/>
                  </a:lnTo>
                  <a:lnTo>
                    <a:pt x="193" y="411"/>
                  </a:lnTo>
                  <a:lnTo>
                    <a:pt x="225" y="332"/>
                  </a:lnTo>
                  <a:lnTo>
                    <a:pt x="238" y="188"/>
                  </a:lnTo>
                  <a:lnTo>
                    <a:pt x="257" y="167"/>
                  </a:lnTo>
                  <a:lnTo>
                    <a:pt x="243" y="132"/>
                  </a:lnTo>
                  <a:lnTo>
                    <a:pt x="231" y="32"/>
                  </a:lnTo>
                  <a:lnTo>
                    <a:pt x="212" y="0"/>
                  </a:lnTo>
                  <a:lnTo>
                    <a:pt x="187" y="44"/>
                  </a:lnTo>
                  <a:lnTo>
                    <a:pt x="50" y="32"/>
                  </a:lnTo>
                  <a:lnTo>
                    <a:pt x="50" y="100"/>
                  </a:lnTo>
                  <a:lnTo>
                    <a:pt x="37" y="100"/>
                  </a:lnTo>
                  <a:lnTo>
                    <a:pt x="37" y="109"/>
                  </a:lnTo>
                  <a:lnTo>
                    <a:pt x="37" y="232"/>
                  </a:lnTo>
                  <a:lnTo>
                    <a:pt x="18" y="244"/>
                  </a:lnTo>
                  <a:lnTo>
                    <a:pt x="0" y="32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88" name="Freeform 1048"/>
            <p:cNvSpPr>
              <a:spLocks/>
            </p:cNvSpPr>
            <p:nvPr>
              <p:custDataLst>
                <p:tags r:id="rId882"/>
              </p:custDataLst>
            </p:nvPr>
          </p:nvSpPr>
          <p:spPr bwMode="auto">
            <a:xfrm>
              <a:off x="4905623" y="3908425"/>
              <a:ext cx="377825" cy="493713"/>
            </a:xfrm>
            <a:custGeom>
              <a:avLst/>
              <a:gdLst>
                <a:gd name="T0" fmla="*/ 0 w 257"/>
                <a:gd name="T1" fmla="*/ 2147483647 h 622"/>
                <a:gd name="T2" fmla="*/ 2147483647 w 257"/>
                <a:gd name="T3" fmla="*/ 2147483647 h 622"/>
                <a:gd name="T4" fmla="*/ 2147483647 w 257"/>
                <a:gd name="T5" fmla="*/ 2147483647 h 622"/>
                <a:gd name="T6" fmla="*/ 2147483647 w 257"/>
                <a:gd name="T7" fmla="*/ 2147483647 h 622"/>
                <a:gd name="T8" fmla="*/ 2147483647 w 257"/>
                <a:gd name="T9" fmla="*/ 2147483647 h 622"/>
                <a:gd name="T10" fmla="*/ 2147483647 w 257"/>
                <a:gd name="T11" fmla="*/ 2147483647 h 622"/>
                <a:gd name="T12" fmla="*/ 2147483647 w 257"/>
                <a:gd name="T13" fmla="*/ 2147483647 h 622"/>
                <a:gd name="T14" fmla="*/ 2147483647 w 257"/>
                <a:gd name="T15" fmla="*/ 2147483647 h 622"/>
                <a:gd name="T16" fmla="*/ 2147483647 w 257"/>
                <a:gd name="T17" fmla="*/ 2147483647 h 622"/>
                <a:gd name="T18" fmla="*/ 2147483647 w 257"/>
                <a:gd name="T19" fmla="*/ 2147483647 h 622"/>
                <a:gd name="T20" fmla="*/ 2147483647 w 257"/>
                <a:gd name="T21" fmla="*/ 2147483647 h 622"/>
                <a:gd name="T22" fmla="*/ 2147483647 w 257"/>
                <a:gd name="T23" fmla="*/ 2147483647 h 622"/>
                <a:gd name="T24" fmla="*/ 2147483647 w 257"/>
                <a:gd name="T25" fmla="*/ 2147483647 h 622"/>
                <a:gd name="T26" fmla="*/ 2147483647 w 257"/>
                <a:gd name="T27" fmla="*/ 2147483647 h 622"/>
                <a:gd name="T28" fmla="*/ 2147483647 w 257"/>
                <a:gd name="T29" fmla="*/ 2147483647 h 622"/>
                <a:gd name="T30" fmla="*/ 2147483647 w 257"/>
                <a:gd name="T31" fmla="*/ 2147483647 h 622"/>
                <a:gd name="T32" fmla="*/ 2147483647 w 257"/>
                <a:gd name="T33" fmla="*/ 2147483647 h 622"/>
                <a:gd name="T34" fmla="*/ 2147483647 w 257"/>
                <a:gd name="T35" fmla="*/ 0 h 622"/>
                <a:gd name="T36" fmla="*/ 2147483647 w 257"/>
                <a:gd name="T37" fmla="*/ 2147483647 h 622"/>
                <a:gd name="T38" fmla="*/ 2147483647 w 257"/>
                <a:gd name="T39" fmla="*/ 2147483647 h 622"/>
                <a:gd name="T40" fmla="*/ 2147483647 w 257"/>
                <a:gd name="T41" fmla="*/ 2147483647 h 622"/>
                <a:gd name="T42" fmla="*/ 2147483647 w 257"/>
                <a:gd name="T43" fmla="*/ 2147483647 h 622"/>
                <a:gd name="T44" fmla="*/ 2147483647 w 257"/>
                <a:gd name="T45" fmla="*/ 2147483647 h 622"/>
                <a:gd name="T46" fmla="*/ 2147483647 w 257"/>
                <a:gd name="T47" fmla="*/ 2147483647 h 622"/>
                <a:gd name="T48" fmla="*/ 2147483647 w 257"/>
                <a:gd name="T49" fmla="*/ 2147483647 h 622"/>
                <a:gd name="T50" fmla="*/ 0 w 257"/>
                <a:gd name="T51" fmla="*/ 2147483647 h 62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7" h="622">
                  <a:moveTo>
                    <a:pt x="0" y="322"/>
                  </a:moveTo>
                  <a:lnTo>
                    <a:pt x="12" y="390"/>
                  </a:lnTo>
                  <a:lnTo>
                    <a:pt x="25" y="455"/>
                  </a:lnTo>
                  <a:lnTo>
                    <a:pt x="50" y="489"/>
                  </a:lnTo>
                  <a:lnTo>
                    <a:pt x="87" y="578"/>
                  </a:lnTo>
                  <a:lnTo>
                    <a:pt x="143" y="622"/>
                  </a:lnTo>
                  <a:lnTo>
                    <a:pt x="187" y="610"/>
                  </a:lnTo>
                  <a:lnTo>
                    <a:pt x="219" y="601"/>
                  </a:lnTo>
                  <a:lnTo>
                    <a:pt x="201" y="534"/>
                  </a:lnTo>
                  <a:lnTo>
                    <a:pt x="175" y="489"/>
                  </a:lnTo>
                  <a:lnTo>
                    <a:pt x="193" y="466"/>
                  </a:lnTo>
                  <a:lnTo>
                    <a:pt x="193" y="411"/>
                  </a:lnTo>
                  <a:lnTo>
                    <a:pt x="225" y="332"/>
                  </a:lnTo>
                  <a:lnTo>
                    <a:pt x="238" y="188"/>
                  </a:lnTo>
                  <a:lnTo>
                    <a:pt x="257" y="167"/>
                  </a:lnTo>
                  <a:lnTo>
                    <a:pt x="243" y="132"/>
                  </a:lnTo>
                  <a:lnTo>
                    <a:pt x="231" y="32"/>
                  </a:lnTo>
                  <a:lnTo>
                    <a:pt x="212" y="0"/>
                  </a:lnTo>
                  <a:lnTo>
                    <a:pt x="187" y="44"/>
                  </a:lnTo>
                  <a:lnTo>
                    <a:pt x="50" y="32"/>
                  </a:lnTo>
                  <a:lnTo>
                    <a:pt x="50" y="100"/>
                  </a:lnTo>
                  <a:lnTo>
                    <a:pt x="37" y="100"/>
                  </a:lnTo>
                  <a:lnTo>
                    <a:pt x="37" y="109"/>
                  </a:lnTo>
                  <a:lnTo>
                    <a:pt x="37" y="232"/>
                  </a:lnTo>
                  <a:lnTo>
                    <a:pt x="18" y="244"/>
                  </a:lnTo>
                  <a:lnTo>
                    <a:pt x="0" y="322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89" name="Freeform 1049"/>
            <p:cNvSpPr>
              <a:spLocks/>
            </p:cNvSpPr>
            <p:nvPr>
              <p:custDataLst>
                <p:tags r:id="rId883"/>
              </p:custDataLst>
            </p:nvPr>
          </p:nvSpPr>
          <p:spPr bwMode="auto">
            <a:xfrm>
              <a:off x="5107236" y="5164138"/>
              <a:ext cx="26987" cy="36512"/>
            </a:xfrm>
            <a:custGeom>
              <a:avLst/>
              <a:gdLst>
                <a:gd name="T0" fmla="*/ 0 w 19"/>
                <a:gd name="T1" fmla="*/ 2147483647 h 46"/>
                <a:gd name="T2" fmla="*/ 2147483647 w 19"/>
                <a:gd name="T3" fmla="*/ 2147483647 h 46"/>
                <a:gd name="T4" fmla="*/ 2147483647 w 19"/>
                <a:gd name="T5" fmla="*/ 2147483647 h 46"/>
                <a:gd name="T6" fmla="*/ 2147483647 w 19"/>
                <a:gd name="T7" fmla="*/ 0 h 46"/>
                <a:gd name="T8" fmla="*/ 0 w 19"/>
                <a:gd name="T9" fmla="*/ 2147483647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46">
                  <a:moveTo>
                    <a:pt x="0" y="23"/>
                  </a:moveTo>
                  <a:lnTo>
                    <a:pt x="13" y="46"/>
                  </a:lnTo>
                  <a:lnTo>
                    <a:pt x="19" y="33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90" name="Freeform 1050"/>
            <p:cNvSpPr>
              <a:spLocks/>
            </p:cNvSpPr>
            <p:nvPr>
              <p:custDataLst>
                <p:tags r:id="rId884"/>
              </p:custDataLst>
            </p:nvPr>
          </p:nvSpPr>
          <p:spPr bwMode="auto">
            <a:xfrm>
              <a:off x="5107236" y="5164138"/>
              <a:ext cx="26987" cy="36512"/>
            </a:xfrm>
            <a:custGeom>
              <a:avLst/>
              <a:gdLst>
                <a:gd name="T0" fmla="*/ 0 w 19"/>
                <a:gd name="T1" fmla="*/ 2147483647 h 46"/>
                <a:gd name="T2" fmla="*/ 2147483647 w 19"/>
                <a:gd name="T3" fmla="*/ 2147483647 h 46"/>
                <a:gd name="T4" fmla="*/ 2147483647 w 19"/>
                <a:gd name="T5" fmla="*/ 2147483647 h 46"/>
                <a:gd name="T6" fmla="*/ 2147483647 w 19"/>
                <a:gd name="T7" fmla="*/ 0 h 46"/>
                <a:gd name="T8" fmla="*/ 0 w 19"/>
                <a:gd name="T9" fmla="*/ 2147483647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46">
                  <a:moveTo>
                    <a:pt x="0" y="23"/>
                  </a:moveTo>
                  <a:lnTo>
                    <a:pt x="13" y="46"/>
                  </a:lnTo>
                  <a:lnTo>
                    <a:pt x="19" y="33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91" name="Freeform 1051"/>
            <p:cNvSpPr>
              <a:spLocks/>
            </p:cNvSpPr>
            <p:nvPr>
              <p:custDataLst>
                <p:tags r:id="rId885"/>
              </p:custDataLst>
            </p:nvPr>
          </p:nvSpPr>
          <p:spPr bwMode="auto">
            <a:xfrm>
              <a:off x="5107236" y="5164138"/>
              <a:ext cx="26987" cy="36512"/>
            </a:xfrm>
            <a:custGeom>
              <a:avLst/>
              <a:gdLst>
                <a:gd name="T0" fmla="*/ 0 w 19"/>
                <a:gd name="T1" fmla="*/ 2147483647 h 46"/>
                <a:gd name="T2" fmla="*/ 2147483647 w 19"/>
                <a:gd name="T3" fmla="*/ 2147483647 h 46"/>
                <a:gd name="T4" fmla="*/ 2147483647 w 19"/>
                <a:gd name="T5" fmla="*/ 2147483647 h 46"/>
                <a:gd name="T6" fmla="*/ 2147483647 w 19"/>
                <a:gd name="T7" fmla="*/ 0 h 46"/>
                <a:gd name="T8" fmla="*/ 0 w 19"/>
                <a:gd name="T9" fmla="*/ 2147483647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46">
                  <a:moveTo>
                    <a:pt x="0" y="23"/>
                  </a:moveTo>
                  <a:lnTo>
                    <a:pt x="13" y="46"/>
                  </a:lnTo>
                  <a:lnTo>
                    <a:pt x="19" y="33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92" name="Freeform 1052"/>
            <p:cNvSpPr>
              <a:spLocks/>
            </p:cNvSpPr>
            <p:nvPr>
              <p:custDataLst>
                <p:tags r:id="rId886"/>
              </p:custDataLst>
            </p:nvPr>
          </p:nvSpPr>
          <p:spPr bwMode="auto">
            <a:xfrm>
              <a:off x="5107236" y="5164138"/>
              <a:ext cx="26987" cy="36512"/>
            </a:xfrm>
            <a:custGeom>
              <a:avLst/>
              <a:gdLst>
                <a:gd name="T0" fmla="*/ 0 w 19"/>
                <a:gd name="T1" fmla="*/ 2147483647 h 46"/>
                <a:gd name="T2" fmla="*/ 2147483647 w 19"/>
                <a:gd name="T3" fmla="*/ 2147483647 h 46"/>
                <a:gd name="T4" fmla="*/ 2147483647 w 19"/>
                <a:gd name="T5" fmla="*/ 2147483647 h 46"/>
                <a:gd name="T6" fmla="*/ 2147483647 w 19"/>
                <a:gd name="T7" fmla="*/ 0 h 46"/>
                <a:gd name="T8" fmla="*/ 0 w 19"/>
                <a:gd name="T9" fmla="*/ 2147483647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46">
                  <a:moveTo>
                    <a:pt x="0" y="23"/>
                  </a:moveTo>
                  <a:lnTo>
                    <a:pt x="13" y="46"/>
                  </a:lnTo>
                  <a:lnTo>
                    <a:pt x="19" y="33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93" name="Freeform 1053"/>
            <p:cNvSpPr>
              <a:spLocks/>
            </p:cNvSpPr>
            <p:nvPr>
              <p:custDataLst>
                <p:tags r:id="rId887"/>
              </p:custDataLst>
            </p:nvPr>
          </p:nvSpPr>
          <p:spPr bwMode="auto">
            <a:xfrm>
              <a:off x="5089773" y="4518025"/>
              <a:ext cx="238125" cy="274638"/>
            </a:xfrm>
            <a:custGeom>
              <a:avLst/>
              <a:gdLst>
                <a:gd name="T0" fmla="*/ 0 w 163"/>
                <a:gd name="T1" fmla="*/ 2147483647 h 346"/>
                <a:gd name="T2" fmla="*/ 0 w 163"/>
                <a:gd name="T3" fmla="*/ 2147483647 h 346"/>
                <a:gd name="T4" fmla="*/ 2147483647 w 163"/>
                <a:gd name="T5" fmla="*/ 2147483647 h 346"/>
                <a:gd name="T6" fmla="*/ 2147483647 w 163"/>
                <a:gd name="T7" fmla="*/ 2147483647 h 346"/>
                <a:gd name="T8" fmla="*/ 2147483647 w 163"/>
                <a:gd name="T9" fmla="*/ 2147483647 h 346"/>
                <a:gd name="T10" fmla="*/ 2147483647 w 163"/>
                <a:gd name="T11" fmla="*/ 2147483647 h 346"/>
                <a:gd name="T12" fmla="*/ 2147483647 w 163"/>
                <a:gd name="T13" fmla="*/ 2147483647 h 346"/>
                <a:gd name="T14" fmla="*/ 2147483647 w 163"/>
                <a:gd name="T15" fmla="*/ 2147483647 h 346"/>
                <a:gd name="T16" fmla="*/ 2147483647 w 163"/>
                <a:gd name="T17" fmla="*/ 2147483647 h 346"/>
                <a:gd name="T18" fmla="*/ 2147483647 w 163"/>
                <a:gd name="T19" fmla="*/ 2147483647 h 346"/>
                <a:gd name="T20" fmla="*/ 2147483647 w 163"/>
                <a:gd name="T21" fmla="*/ 0 h 346"/>
                <a:gd name="T22" fmla="*/ 2147483647 w 163"/>
                <a:gd name="T23" fmla="*/ 2147483647 h 346"/>
                <a:gd name="T24" fmla="*/ 2147483647 w 163"/>
                <a:gd name="T25" fmla="*/ 2147483647 h 346"/>
                <a:gd name="T26" fmla="*/ 2147483647 w 163"/>
                <a:gd name="T27" fmla="*/ 2147483647 h 346"/>
                <a:gd name="T28" fmla="*/ 2147483647 w 163"/>
                <a:gd name="T29" fmla="*/ 0 h 346"/>
                <a:gd name="T30" fmla="*/ 2147483647 w 163"/>
                <a:gd name="T31" fmla="*/ 2147483647 h 346"/>
                <a:gd name="T32" fmla="*/ 2147483647 w 163"/>
                <a:gd name="T33" fmla="*/ 2147483647 h 346"/>
                <a:gd name="T34" fmla="*/ 2147483647 w 163"/>
                <a:gd name="T35" fmla="*/ 2147483647 h 346"/>
                <a:gd name="T36" fmla="*/ 0 w 163"/>
                <a:gd name="T37" fmla="*/ 2147483647 h 34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63" h="346">
                  <a:moveTo>
                    <a:pt x="0" y="111"/>
                  </a:moveTo>
                  <a:lnTo>
                    <a:pt x="0" y="178"/>
                  </a:lnTo>
                  <a:lnTo>
                    <a:pt x="18" y="244"/>
                  </a:lnTo>
                  <a:lnTo>
                    <a:pt x="50" y="278"/>
                  </a:lnTo>
                  <a:lnTo>
                    <a:pt x="62" y="278"/>
                  </a:lnTo>
                  <a:lnTo>
                    <a:pt x="81" y="346"/>
                  </a:lnTo>
                  <a:lnTo>
                    <a:pt x="145" y="334"/>
                  </a:lnTo>
                  <a:lnTo>
                    <a:pt x="163" y="313"/>
                  </a:lnTo>
                  <a:lnTo>
                    <a:pt x="145" y="178"/>
                  </a:lnTo>
                  <a:lnTo>
                    <a:pt x="150" y="121"/>
                  </a:lnTo>
                  <a:lnTo>
                    <a:pt x="68" y="0"/>
                  </a:lnTo>
                  <a:lnTo>
                    <a:pt x="50" y="65"/>
                  </a:lnTo>
                  <a:lnTo>
                    <a:pt x="37" y="56"/>
                  </a:lnTo>
                  <a:lnTo>
                    <a:pt x="31" y="65"/>
                  </a:lnTo>
                  <a:lnTo>
                    <a:pt x="31" y="0"/>
                  </a:lnTo>
                  <a:lnTo>
                    <a:pt x="12" y="11"/>
                  </a:lnTo>
                  <a:lnTo>
                    <a:pt x="12" y="56"/>
                  </a:lnTo>
                  <a:lnTo>
                    <a:pt x="18" y="77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94" name="Freeform 1054"/>
            <p:cNvSpPr>
              <a:spLocks/>
            </p:cNvSpPr>
            <p:nvPr>
              <p:custDataLst>
                <p:tags r:id="rId888"/>
              </p:custDataLst>
            </p:nvPr>
          </p:nvSpPr>
          <p:spPr bwMode="auto">
            <a:xfrm>
              <a:off x="5089773" y="4518025"/>
              <a:ext cx="238125" cy="274638"/>
            </a:xfrm>
            <a:custGeom>
              <a:avLst/>
              <a:gdLst>
                <a:gd name="T0" fmla="*/ 0 w 163"/>
                <a:gd name="T1" fmla="*/ 2147483647 h 346"/>
                <a:gd name="T2" fmla="*/ 0 w 163"/>
                <a:gd name="T3" fmla="*/ 2147483647 h 346"/>
                <a:gd name="T4" fmla="*/ 2147483647 w 163"/>
                <a:gd name="T5" fmla="*/ 2147483647 h 346"/>
                <a:gd name="T6" fmla="*/ 2147483647 w 163"/>
                <a:gd name="T7" fmla="*/ 2147483647 h 346"/>
                <a:gd name="T8" fmla="*/ 2147483647 w 163"/>
                <a:gd name="T9" fmla="*/ 2147483647 h 346"/>
                <a:gd name="T10" fmla="*/ 2147483647 w 163"/>
                <a:gd name="T11" fmla="*/ 2147483647 h 346"/>
                <a:gd name="T12" fmla="*/ 2147483647 w 163"/>
                <a:gd name="T13" fmla="*/ 2147483647 h 346"/>
                <a:gd name="T14" fmla="*/ 2147483647 w 163"/>
                <a:gd name="T15" fmla="*/ 2147483647 h 346"/>
                <a:gd name="T16" fmla="*/ 2147483647 w 163"/>
                <a:gd name="T17" fmla="*/ 2147483647 h 346"/>
                <a:gd name="T18" fmla="*/ 2147483647 w 163"/>
                <a:gd name="T19" fmla="*/ 2147483647 h 346"/>
                <a:gd name="T20" fmla="*/ 2147483647 w 163"/>
                <a:gd name="T21" fmla="*/ 0 h 346"/>
                <a:gd name="T22" fmla="*/ 2147483647 w 163"/>
                <a:gd name="T23" fmla="*/ 2147483647 h 346"/>
                <a:gd name="T24" fmla="*/ 2147483647 w 163"/>
                <a:gd name="T25" fmla="*/ 2147483647 h 346"/>
                <a:gd name="T26" fmla="*/ 2147483647 w 163"/>
                <a:gd name="T27" fmla="*/ 2147483647 h 346"/>
                <a:gd name="T28" fmla="*/ 2147483647 w 163"/>
                <a:gd name="T29" fmla="*/ 0 h 346"/>
                <a:gd name="T30" fmla="*/ 2147483647 w 163"/>
                <a:gd name="T31" fmla="*/ 2147483647 h 346"/>
                <a:gd name="T32" fmla="*/ 2147483647 w 163"/>
                <a:gd name="T33" fmla="*/ 2147483647 h 346"/>
                <a:gd name="T34" fmla="*/ 2147483647 w 163"/>
                <a:gd name="T35" fmla="*/ 2147483647 h 346"/>
                <a:gd name="T36" fmla="*/ 0 w 163"/>
                <a:gd name="T37" fmla="*/ 2147483647 h 34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63" h="346">
                  <a:moveTo>
                    <a:pt x="0" y="111"/>
                  </a:moveTo>
                  <a:lnTo>
                    <a:pt x="0" y="178"/>
                  </a:lnTo>
                  <a:lnTo>
                    <a:pt x="18" y="244"/>
                  </a:lnTo>
                  <a:lnTo>
                    <a:pt x="50" y="278"/>
                  </a:lnTo>
                  <a:lnTo>
                    <a:pt x="62" y="278"/>
                  </a:lnTo>
                  <a:lnTo>
                    <a:pt x="81" y="346"/>
                  </a:lnTo>
                  <a:lnTo>
                    <a:pt x="145" y="334"/>
                  </a:lnTo>
                  <a:lnTo>
                    <a:pt x="163" y="313"/>
                  </a:lnTo>
                  <a:lnTo>
                    <a:pt x="145" y="178"/>
                  </a:lnTo>
                  <a:lnTo>
                    <a:pt x="150" y="121"/>
                  </a:lnTo>
                  <a:lnTo>
                    <a:pt x="68" y="0"/>
                  </a:lnTo>
                  <a:lnTo>
                    <a:pt x="50" y="65"/>
                  </a:lnTo>
                  <a:lnTo>
                    <a:pt x="37" y="56"/>
                  </a:lnTo>
                  <a:lnTo>
                    <a:pt x="31" y="65"/>
                  </a:lnTo>
                  <a:lnTo>
                    <a:pt x="31" y="0"/>
                  </a:lnTo>
                  <a:lnTo>
                    <a:pt x="12" y="11"/>
                  </a:lnTo>
                  <a:lnTo>
                    <a:pt x="12" y="56"/>
                  </a:lnTo>
                  <a:lnTo>
                    <a:pt x="18" y="77"/>
                  </a:lnTo>
                  <a:lnTo>
                    <a:pt x="0" y="1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95" name="Freeform 1055"/>
            <p:cNvSpPr>
              <a:spLocks/>
            </p:cNvSpPr>
            <p:nvPr>
              <p:custDataLst>
                <p:tags r:id="rId889"/>
              </p:custDataLst>
            </p:nvPr>
          </p:nvSpPr>
          <p:spPr bwMode="auto">
            <a:xfrm>
              <a:off x="5089773" y="4518025"/>
              <a:ext cx="238125" cy="274638"/>
            </a:xfrm>
            <a:custGeom>
              <a:avLst/>
              <a:gdLst>
                <a:gd name="T0" fmla="*/ 0 w 163"/>
                <a:gd name="T1" fmla="*/ 2147483647 h 346"/>
                <a:gd name="T2" fmla="*/ 0 w 163"/>
                <a:gd name="T3" fmla="*/ 2147483647 h 346"/>
                <a:gd name="T4" fmla="*/ 2147483647 w 163"/>
                <a:gd name="T5" fmla="*/ 2147483647 h 346"/>
                <a:gd name="T6" fmla="*/ 2147483647 w 163"/>
                <a:gd name="T7" fmla="*/ 2147483647 h 346"/>
                <a:gd name="T8" fmla="*/ 2147483647 w 163"/>
                <a:gd name="T9" fmla="*/ 2147483647 h 346"/>
                <a:gd name="T10" fmla="*/ 2147483647 w 163"/>
                <a:gd name="T11" fmla="*/ 2147483647 h 346"/>
                <a:gd name="T12" fmla="*/ 2147483647 w 163"/>
                <a:gd name="T13" fmla="*/ 2147483647 h 346"/>
                <a:gd name="T14" fmla="*/ 2147483647 w 163"/>
                <a:gd name="T15" fmla="*/ 2147483647 h 346"/>
                <a:gd name="T16" fmla="*/ 2147483647 w 163"/>
                <a:gd name="T17" fmla="*/ 2147483647 h 346"/>
                <a:gd name="T18" fmla="*/ 2147483647 w 163"/>
                <a:gd name="T19" fmla="*/ 2147483647 h 346"/>
                <a:gd name="T20" fmla="*/ 2147483647 w 163"/>
                <a:gd name="T21" fmla="*/ 0 h 346"/>
                <a:gd name="T22" fmla="*/ 2147483647 w 163"/>
                <a:gd name="T23" fmla="*/ 2147483647 h 346"/>
                <a:gd name="T24" fmla="*/ 2147483647 w 163"/>
                <a:gd name="T25" fmla="*/ 2147483647 h 346"/>
                <a:gd name="T26" fmla="*/ 2147483647 w 163"/>
                <a:gd name="T27" fmla="*/ 2147483647 h 346"/>
                <a:gd name="T28" fmla="*/ 2147483647 w 163"/>
                <a:gd name="T29" fmla="*/ 0 h 346"/>
                <a:gd name="T30" fmla="*/ 2147483647 w 163"/>
                <a:gd name="T31" fmla="*/ 2147483647 h 346"/>
                <a:gd name="T32" fmla="*/ 2147483647 w 163"/>
                <a:gd name="T33" fmla="*/ 2147483647 h 346"/>
                <a:gd name="T34" fmla="*/ 2147483647 w 163"/>
                <a:gd name="T35" fmla="*/ 2147483647 h 346"/>
                <a:gd name="T36" fmla="*/ 0 w 163"/>
                <a:gd name="T37" fmla="*/ 2147483647 h 34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63" h="346">
                  <a:moveTo>
                    <a:pt x="0" y="111"/>
                  </a:moveTo>
                  <a:lnTo>
                    <a:pt x="0" y="178"/>
                  </a:lnTo>
                  <a:lnTo>
                    <a:pt x="18" y="244"/>
                  </a:lnTo>
                  <a:lnTo>
                    <a:pt x="50" y="278"/>
                  </a:lnTo>
                  <a:lnTo>
                    <a:pt x="62" y="278"/>
                  </a:lnTo>
                  <a:lnTo>
                    <a:pt x="81" y="346"/>
                  </a:lnTo>
                  <a:lnTo>
                    <a:pt x="145" y="334"/>
                  </a:lnTo>
                  <a:lnTo>
                    <a:pt x="163" y="313"/>
                  </a:lnTo>
                  <a:lnTo>
                    <a:pt x="145" y="178"/>
                  </a:lnTo>
                  <a:lnTo>
                    <a:pt x="150" y="121"/>
                  </a:lnTo>
                  <a:lnTo>
                    <a:pt x="68" y="0"/>
                  </a:lnTo>
                  <a:lnTo>
                    <a:pt x="50" y="65"/>
                  </a:lnTo>
                  <a:lnTo>
                    <a:pt x="37" y="56"/>
                  </a:lnTo>
                  <a:lnTo>
                    <a:pt x="31" y="65"/>
                  </a:lnTo>
                  <a:lnTo>
                    <a:pt x="31" y="0"/>
                  </a:lnTo>
                  <a:lnTo>
                    <a:pt x="12" y="11"/>
                  </a:lnTo>
                  <a:lnTo>
                    <a:pt x="12" y="56"/>
                  </a:lnTo>
                  <a:lnTo>
                    <a:pt x="18" y="77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96" name="Freeform 1056"/>
            <p:cNvSpPr>
              <a:spLocks/>
            </p:cNvSpPr>
            <p:nvPr>
              <p:custDataLst>
                <p:tags r:id="rId890"/>
              </p:custDataLst>
            </p:nvPr>
          </p:nvSpPr>
          <p:spPr bwMode="auto">
            <a:xfrm>
              <a:off x="5089773" y="4518025"/>
              <a:ext cx="238125" cy="274638"/>
            </a:xfrm>
            <a:custGeom>
              <a:avLst/>
              <a:gdLst>
                <a:gd name="T0" fmla="*/ 0 w 163"/>
                <a:gd name="T1" fmla="*/ 2147483647 h 346"/>
                <a:gd name="T2" fmla="*/ 0 w 163"/>
                <a:gd name="T3" fmla="*/ 2147483647 h 346"/>
                <a:gd name="T4" fmla="*/ 2147483647 w 163"/>
                <a:gd name="T5" fmla="*/ 2147483647 h 346"/>
                <a:gd name="T6" fmla="*/ 2147483647 w 163"/>
                <a:gd name="T7" fmla="*/ 2147483647 h 346"/>
                <a:gd name="T8" fmla="*/ 2147483647 w 163"/>
                <a:gd name="T9" fmla="*/ 2147483647 h 346"/>
                <a:gd name="T10" fmla="*/ 2147483647 w 163"/>
                <a:gd name="T11" fmla="*/ 2147483647 h 346"/>
                <a:gd name="T12" fmla="*/ 2147483647 w 163"/>
                <a:gd name="T13" fmla="*/ 2147483647 h 346"/>
                <a:gd name="T14" fmla="*/ 2147483647 w 163"/>
                <a:gd name="T15" fmla="*/ 2147483647 h 346"/>
                <a:gd name="T16" fmla="*/ 2147483647 w 163"/>
                <a:gd name="T17" fmla="*/ 2147483647 h 346"/>
                <a:gd name="T18" fmla="*/ 2147483647 w 163"/>
                <a:gd name="T19" fmla="*/ 2147483647 h 346"/>
                <a:gd name="T20" fmla="*/ 2147483647 w 163"/>
                <a:gd name="T21" fmla="*/ 0 h 346"/>
                <a:gd name="T22" fmla="*/ 2147483647 w 163"/>
                <a:gd name="T23" fmla="*/ 2147483647 h 346"/>
                <a:gd name="T24" fmla="*/ 2147483647 w 163"/>
                <a:gd name="T25" fmla="*/ 2147483647 h 346"/>
                <a:gd name="T26" fmla="*/ 2147483647 w 163"/>
                <a:gd name="T27" fmla="*/ 2147483647 h 346"/>
                <a:gd name="T28" fmla="*/ 2147483647 w 163"/>
                <a:gd name="T29" fmla="*/ 0 h 346"/>
                <a:gd name="T30" fmla="*/ 2147483647 w 163"/>
                <a:gd name="T31" fmla="*/ 2147483647 h 346"/>
                <a:gd name="T32" fmla="*/ 2147483647 w 163"/>
                <a:gd name="T33" fmla="*/ 2147483647 h 346"/>
                <a:gd name="T34" fmla="*/ 2147483647 w 163"/>
                <a:gd name="T35" fmla="*/ 2147483647 h 346"/>
                <a:gd name="T36" fmla="*/ 0 w 163"/>
                <a:gd name="T37" fmla="*/ 2147483647 h 34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63" h="346">
                  <a:moveTo>
                    <a:pt x="0" y="111"/>
                  </a:moveTo>
                  <a:lnTo>
                    <a:pt x="0" y="178"/>
                  </a:lnTo>
                  <a:lnTo>
                    <a:pt x="18" y="244"/>
                  </a:lnTo>
                  <a:lnTo>
                    <a:pt x="50" y="278"/>
                  </a:lnTo>
                  <a:lnTo>
                    <a:pt x="62" y="278"/>
                  </a:lnTo>
                  <a:lnTo>
                    <a:pt x="81" y="346"/>
                  </a:lnTo>
                  <a:lnTo>
                    <a:pt x="145" y="334"/>
                  </a:lnTo>
                  <a:lnTo>
                    <a:pt x="163" y="313"/>
                  </a:lnTo>
                  <a:lnTo>
                    <a:pt x="145" y="178"/>
                  </a:lnTo>
                  <a:lnTo>
                    <a:pt x="150" y="121"/>
                  </a:lnTo>
                  <a:lnTo>
                    <a:pt x="68" y="0"/>
                  </a:lnTo>
                  <a:lnTo>
                    <a:pt x="50" y="65"/>
                  </a:lnTo>
                  <a:lnTo>
                    <a:pt x="37" y="56"/>
                  </a:lnTo>
                  <a:lnTo>
                    <a:pt x="31" y="65"/>
                  </a:lnTo>
                  <a:lnTo>
                    <a:pt x="31" y="0"/>
                  </a:lnTo>
                  <a:lnTo>
                    <a:pt x="12" y="11"/>
                  </a:lnTo>
                  <a:lnTo>
                    <a:pt x="12" y="56"/>
                  </a:lnTo>
                  <a:lnTo>
                    <a:pt x="18" y="77"/>
                  </a:lnTo>
                  <a:lnTo>
                    <a:pt x="0" y="11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97" name="Freeform 1057"/>
            <p:cNvSpPr>
              <a:spLocks/>
            </p:cNvSpPr>
            <p:nvPr>
              <p:custDataLst>
                <p:tags r:id="rId891"/>
              </p:custDataLst>
            </p:nvPr>
          </p:nvSpPr>
          <p:spPr bwMode="auto">
            <a:xfrm>
              <a:off x="4402386" y="4217988"/>
              <a:ext cx="52387" cy="122237"/>
            </a:xfrm>
            <a:custGeom>
              <a:avLst/>
              <a:gdLst>
                <a:gd name="T0" fmla="*/ 0 w 36"/>
                <a:gd name="T1" fmla="*/ 0 h 153"/>
                <a:gd name="T2" fmla="*/ 2147483647 w 36"/>
                <a:gd name="T3" fmla="*/ 0 h 153"/>
                <a:gd name="T4" fmla="*/ 2147483647 w 36"/>
                <a:gd name="T5" fmla="*/ 2147483647 h 153"/>
                <a:gd name="T6" fmla="*/ 2147483647 w 36"/>
                <a:gd name="T7" fmla="*/ 2147483647 h 153"/>
                <a:gd name="T8" fmla="*/ 0 w 36"/>
                <a:gd name="T9" fmla="*/ 0 h 1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153">
                  <a:moveTo>
                    <a:pt x="0" y="0"/>
                  </a:moveTo>
                  <a:lnTo>
                    <a:pt x="18" y="0"/>
                  </a:lnTo>
                  <a:lnTo>
                    <a:pt x="36" y="153"/>
                  </a:lnTo>
                  <a:lnTo>
                    <a:pt x="25" y="1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98" name="Freeform 1058"/>
            <p:cNvSpPr>
              <a:spLocks/>
            </p:cNvSpPr>
            <p:nvPr>
              <p:custDataLst>
                <p:tags r:id="rId892"/>
              </p:custDataLst>
            </p:nvPr>
          </p:nvSpPr>
          <p:spPr bwMode="auto">
            <a:xfrm>
              <a:off x="4402386" y="4217988"/>
              <a:ext cx="52387" cy="122237"/>
            </a:xfrm>
            <a:custGeom>
              <a:avLst/>
              <a:gdLst>
                <a:gd name="T0" fmla="*/ 0 w 36"/>
                <a:gd name="T1" fmla="*/ 0 h 153"/>
                <a:gd name="T2" fmla="*/ 2147483647 w 36"/>
                <a:gd name="T3" fmla="*/ 0 h 153"/>
                <a:gd name="T4" fmla="*/ 2147483647 w 36"/>
                <a:gd name="T5" fmla="*/ 2147483647 h 153"/>
                <a:gd name="T6" fmla="*/ 2147483647 w 36"/>
                <a:gd name="T7" fmla="*/ 2147483647 h 153"/>
                <a:gd name="T8" fmla="*/ 0 w 36"/>
                <a:gd name="T9" fmla="*/ 0 h 1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153">
                  <a:moveTo>
                    <a:pt x="0" y="0"/>
                  </a:moveTo>
                  <a:lnTo>
                    <a:pt x="18" y="0"/>
                  </a:lnTo>
                  <a:lnTo>
                    <a:pt x="36" y="153"/>
                  </a:lnTo>
                  <a:lnTo>
                    <a:pt x="25" y="153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899" name="Freeform 1059"/>
            <p:cNvSpPr>
              <a:spLocks/>
            </p:cNvSpPr>
            <p:nvPr>
              <p:custDataLst>
                <p:tags r:id="rId893"/>
              </p:custDataLst>
            </p:nvPr>
          </p:nvSpPr>
          <p:spPr bwMode="auto">
            <a:xfrm>
              <a:off x="4402386" y="4217988"/>
              <a:ext cx="52387" cy="122237"/>
            </a:xfrm>
            <a:custGeom>
              <a:avLst/>
              <a:gdLst>
                <a:gd name="T0" fmla="*/ 0 w 36"/>
                <a:gd name="T1" fmla="*/ 0 h 153"/>
                <a:gd name="T2" fmla="*/ 2147483647 w 36"/>
                <a:gd name="T3" fmla="*/ 0 h 153"/>
                <a:gd name="T4" fmla="*/ 2147483647 w 36"/>
                <a:gd name="T5" fmla="*/ 2147483647 h 153"/>
                <a:gd name="T6" fmla="*/ 2147483647 w 36"/>
                <a:gd name="T7" fmla="*/ 2147483647 h 153"/>
                <a:gd name="T8" fmla="*/ 0 w 36"/>
                <a:gd name="T9" fmla="*/ 0 h 1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153">
                  <a:moveTo>
                    <a:pt x="0" y="0"/>
                  </a:moveTo>
                  <a:lnTo>
                    <a:pt x="18" y="0"/>
                  </a:lnTo>
                  <a:lnTo>
                    <a:pt x="36" y="153"/>
                  </a:lnTo>
                  <a:lnTo>
                    <a:pt x="25" y="1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00" name="Freeform 1060"/>
            <p:cNvSpPr>
              <a:spLocks/>
            </p:cNvSpPr>
            <p:nvPr>
              <p:custDataLst>
                <p:tags r:id="rId894"/>
              </p:custDataLst>
            </p:nvPr>
          </p:nvSpPr>
          <p:spPr bwMode="auto">
            <a:xfrm>
              <a:off x="4402386" y="4217988"/>
              <a:ext cx="52387" cy="122237"/>
            </a:xfrm>
            <a:custGeom>
              <a:avLst/>
              <a:gdLst>
                <a:gd name="T0" fmla="*/ 0 w 36"/>
                <a:gd name="T1" fmla="*/ 0 h 153"/>
                <a:gd name="T2" fmla="*/ 2147483647 w 36"/>
                <a:gd name="T3" fmla="*/ 0 h 153"/>
                <a:gd name="T4" fmla="*/ 2147483647 w 36"/>
                <a:gd name="T5" fmla="*/ 2147483647 h 153"/>
                <a:gd name="T6" fmla="*/ 2147483647 w 36"/>
                <a:gd name="T7" fmla="*/ 2147483647 h 153"/>
                <a:gd name="T8" fmla="*/ 0 w 36"/>
                <a:gd name="T9" fmla="*/ 0 h 1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153">
                  <a:moveTo>
                    <a:pt x="0" y="0"/>
                  </a:moveTo>
                  <a:lnTo>
                    <a:pt x="18" y="0"/>
                  </a:lnTo>
                  <a:lnTo>
                    <a:pt x="36" y="153"/>
                  </a:lnTo>
                  <a:lnTo>
                    <a:pt x="25" y="153"/>
                  </a:lnTo>
                  <a:lnTo>
                    <a:pt x="0" y="0"/>
                  </a:lnTo>
                </a:path>
              </a:pathLst>
            </a:custGeom>
            <a:solidFill>
              <a:schemeClr val="accent4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01" name="Freeform 1061"/>
            <p:cNvSpPr>
              <a:spLocks/>
            </p:cNvSpPr>
            <p:nvPr>
              <p:custDataLst>
                <p:tags r:id="rId895"/>
              </p:custDataLst>
            </p:nvPr>
          </p:nvSpPr>
          <p:spPr bwMode="auto">
            <a:xfrm>
              <a:off x="5089773" y="4395788"/>
              <a:ext cx="119063" cy="141287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2147483647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0 h 179"/>
                <a:gd name="T14" fmla="*/ 2147483647 w 81"/>
                <a:gd name="T15" fmla="*/ 2147483647 h 179"/>
                <a:gd name="T16" fmla="*/ 2147483647 w 81"/>
                <a:gd name="T17" fmla="*/ 2147483647 h 179"/>
                <a:gd name="T18" fmla="*/ 2147483647 w 81"/>
                <a:gd name="T19" fmla="*/ 2147483647 h 179"/>
                <a:gd name="T20" fmla="*/ 0 w 8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79">
                  <a:moveTo>
                    <a:pt x="0" y="179"/>
                  </a:moveTo>
                  <a:lnTo>
                    <a:pt x="12" y="167"/>
                  </a:lnTo>
                  <a:lnTo>
                    <a:pt x="31" y="167"/>
                  </a:lnTo>
                  <a:lnTo>
                    <a:pt x="31" y="133"/>
                  </a:lnTo>
                  <a:lnTo>
                    <a:pt x="62" y="123"/>
                  </a:lnTo>
                  <a:lnTo>
                    <a:pt x="81" y="66"/>
                  </a:lnTo>
                  <a:lnTo>
                    <a:pt x="62" y="0"/>
                  </a:lnTo>
                  <a:lnTo>
                    <a:pt x="17" y="10"/>
                  </a:lnTo>
                  <a:lnTo>
                    <a:pt x="25" y="66"/>
                  </a:lnTo>
                  <a:lnTo>
                    <a:pt x="12" y="89"/>
                  </a:lnTo>
                  <a:lnTo>
                    <a:pt x="0" y="17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02" name="Freeform 1062"/>
            <p:cNvSpPr>
              <a:spLocks/>
            </p:cNvSpPr>
            <p:nvPr>
              <p:custDataLst>
                <p:tags r:id="rId896"/>
              </p:custDataLst>
            </p:nvPr>
          </p:nvSpPr>
          <p:spPr bwMode="auto">
            <a:xfrm>
              <a:off x="5089773" y="4395788"/>
              <a:ext cx="119063" cy="141287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2147483647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0 h 179"/>
                <a:gd name="T14" fmla="*/ 2147483647 w 81"/>
                <a:gd name="T15" fmla="*/ 2147483647 h 179"/>
                <a:gd name="T16" fmla="*/ 2147483647 w 81"/>
                <a:gd name="T17" fmla="*/ 2147483647 h 179"/>
                <a:gd name="T18" fmla="*/ 2147483647 w 81"/>
                <a:gd name="T19" fmla="*/ 2147483647 h 179"/>
                <a:gd name="T20" fmla="*/ 0 w 8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79">
                  <a:moveTo>
                    <a:pt x="0" y="179"/>
                  </a:moveTo>
                  <a:lnTo>
                    <a:pt x="12" y="167"/>
                  </a:lnTo>
                  <a:lnTo>
                    <a:pt x="31" y="167"/>
                  </a:lnTo>
                  <a:lnTo>
                    <a:pt x="31" y="133"/>
                  </a:lnTo>
                  <a:lnTo>
                    <a:pt x="62" y="123"/>
                  </a:lnTo>
                  <a:lnTo>
                    <a:pt x="81" y="66"/>
                  </a:lnTo>
                  <a:lnTo>
                    <a:pt x="62" y="0"/>
                  </a:lnTo>
                  <a:lnTo>
                    <a:pt x="17" y="10"/>
                  </a:lnTo>
                  <a:lnTo>
                    <a:pt x="25" y="66"/>
                  </a:lnTo>
                  <a:lnTo>
                    <a:pt x="12" y="89"/>
                  </a:lnTo>
                  <a:lnTo>
                    <a:pt x="0" y="17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03" name="Freeform 1063"/>
            <p:cNvSpPr>
              <a:spLocks/>
            </p:cNvSpPr>
            <p:nvPr>
              <p:custDataLst>
                <p:tags r:id="rId897"/>
              </p:custDataLst>
            </p:nvPr>
          </p:nvSpPr>
          <p:spPr bwMode="auto">
            <a:xfrm>
              <a:off x="5089773" y="4395788"/>
              <a:ext cx="119063" cy="141287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2147483647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0 h 179"/>
                <a:gd name="T14" fmla="*/ 2147483647 w 81"/>
                <a:gd name="T15" fmla="*/ 2147483647 h 179"/>
                <a:gd name="T16" fmla="*/ 2147483647 w 81"/>
                <a:gd name="T17" fmla="*/ 2147483647 h 179"/>
                <a:gd name="T18" fmla="*/ 2147483647 w 81"/>
                <a:gd name="T19" fmla="*/ 2147483647 h 179"/>
                <a:gd name="T20" fmla="*/ 0 w 8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79">
                  <a:moveTo>
                    <a:pt x="0" y="179"/>
                  </a:moveTo>
                  <a:lnTo>
                    <a:pt x="12" y="167"/>
                  </a:lnTo>
                  <a:lnTo>
                    <a:pt x="31" y="167"/>
                  </a:lnTo>
                  <a:lnTo>
                    <a:pt x="31" y="133"/>
                  </a:lnTo>
                  <a:lnTo>
                    <a:pt x="62" y="123"/>
                  </a:lnTo>
                  <a:lnTo>
                    <a:pt x="81" y="66"/>
                  </a:lnTo>
                  <a:lnTo>
                    <a:pt x="62" y="0"/>
                  </a:lnTo>
                  <a:lnTo>
                    <a:pt x="17" y="10"/>
                  </a:lnTo>
                  <a:lnTo>
                    <a:pt x="25" y="66"/>
                  </a:lnTo>
                  <a:lnTo>
                    <a:pt x="12" y="89"/>
                  </a:lnTo>
                  <a:lnTo>
                    <a:pt x="0" y="17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04" name="Freeform 1064"/>
            <p:cNvSpPr>
              <a:spLocks/>
            </p:cNvSpPr>
            <p:nvPr>
              <p:custDataLst>
                <p:tags r:id="rId898"/>
              </p:custDataLst>
            </p:nvPr>
          </p:nvSpPr>
          <p:spPr bwMode="auto">
            <a:xfrm>
              <a:off x="5089773" y="4395788"/>
              <a:ext cx="119063" cy="141287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2147483647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0 h 179"/>
                <a:gd name="T14" fmla="*/ 2147483647 w 81"/>
                <a:gd name="T15" fmla="*/ 2147483647 h 179"/>
                <a:gd name="T16" fmla="*/ 2147483647 w 81"/>
                <a:gd name="T17" fmla="*/ 2147483647 h 179"/>
                <a:gd name="T18" fmla="*/ 2147483647 w 81"/>
                <a:gd name="T19" fmla="*/ 2147483647 h 179"/>
                <a:gd name="T20" fmla="*/ 0 w 8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79">
                  <a:moveTo>
                    <a:pt x="0" y="179"/>
                  </a:moveTo>
                  <a:lnTo>
                    <a:pt x="12" y="167"/>
                  </a:lnTo>
                  <a:lnTo>
                    <a:pt x="31" y="167"/>
                  </a:lnTo>
                  <a:lnTo>
                    <a:pt x="31" y="133"/>
                  </a:lnTo>
                  <a:lnTo>
                    <a:pt x="62" y="123"/>
                  </a:lnTo>
                  <a:lnTo>
                    <a:pt x="81" y="66"/>
                  </a:lnTo>
                  <a:lnTo>
                    <a:pt x="62" y="0"/>
                  </a:lnTo>
                  <a:lnTo>
                    <a:pt x="17" y="10"/>
                  </a:lnTo>
                  <a:lnTo>
                    <a:pt x="25" y="66"/>
                  </a:lnTo>
                  <a:lnTo>
                    <a:pt x="12" y="89"/>
                  </a:lnTo>
                  <a:lnTo>
                    <a:pt x="0" y="17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05" name="Freeform 1065"/>
            <p:cNvSpPr>
              <a:spLocks/>
            </p:cNvSpPr>
            <p:nvPr>
              <p:custDataLst>
                <p:tags r:id="rId899"/>
              </p:custDataLst>
            </p:nvPr>
          </p:nvSpPr>
          <p:spPr bwMode="auto">
            <a:xfrm>
              <a:off x="4969123" y="3671888"/>
              <a:ext cx="257175" cy="263525"/>
            </a:xfrm>
            <a:custGeom>
              <a:avLst/>
              <a:gdLst>
                <a:gd name="T0" fmla="*/ 0 w 175"/>
                <a:gd name="T1" fmla="*/ 2147483647 h 332"/>
                <a:gd name="T2" fmla="*/ 2147483647 w 175"/>
                <a:gd name="T3" fmla="*/ 2147483647 h 332"/>
                <a:gd name="T4" fmla="*/ 2147483647 w 175"/>
                <a:gd name="T5" fmla="*/ 2147483647 h 332"/>
                <a:gd name="T6" fmla="*/ 2147483647 w 175"/>
                <a:gd name="T7" fmla="*/ 2147483647 h 332"/>
                <a:gd name="T8" fmla="*/ 2147483647 w 175"/>
                <a:gd name="T9" fmla="*/ 2147483647 h 332"/>
                <a:gd name="T10" fmla="*/ 2147483647 w 175"/>
                <a:gd name="T11" fmla="*/ 2147483647 h 332"/>
                <a:gd name="T12" fmla="*/ 2147483647 w 175"/>
                <a:gd name="T13" fmla="*/ 2147483647 h 332"/>
                <a:gd name="T14" fmla="*/ 2147483647 w 175"/>
                <a:gd name="T15" fmla="*/ 2147483647 h 332"/>
                <a:gd name="T16" fmla="*/ 2147483647 w 175"/>
                <a:gd name="T17" fmla="*/ 2147483647 h 332"/>
                <a:gd name="T18" fmla="*/ 2147483647 w 175"/>
                <a:gd name="T19" fmla="*/ 2147483647 h 332"/>
                <a:gd name="T20" fmla="*/ 2147483647 w 175"/>
                <a:gd name="T21" fmla="*/ 2147483647 h 332"/>
                <a:gd name="T22" fmla="*/ 2147483647 w 175"/>
                <a:gd name="T23" fmla="*/ 2147483647 h 332"/>
                <a:gd name="T24" fmla="*/ 2147483647 w 175"/>
                <a:gd name="T25" fmla="*/ 2147483647 h 332"/>
                <a:gd name="T26" fmla="*/ 2147483647 w 175"/>
                <a:gd name="T27" fmla="*/ 0 h 332"/>
                <a:gd name="T28" fmla="*/ 0 w 175"/>
                <a:gd name="T29" fmla="*/ 2147483647 h 3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75" h="332">
                  <a:moveTo>
                    <a:pt x="0" y="54"/>
                  </a:moveTo>
                  <a:lnTo>
                    <a:pt x="7" y="332"/>
                  </a:lnTo>
                  <a:lnTo>
                    <a:pt x="144" y="332"/>
                  </a:lnTo>
                  <a:lnTo>
                    <a:pt x="169" y="300"/>
                  </a:lnTo>
                  <a:lnTo>
                    <a:pt x="175" y="267"/>
                  </a:lnTo>
                  <a:lnTo>
                    <a:pt x="118" y="77"/>
                  </a:lnTo>
                  <a:lnTo>
                    <a:pt x="144" y="133"/>
                  </a:lnTo>
                  <a:lnTo>
                    <a:pt x="163" y="77"/>
                  </a:lnTo>
                  <a:lnTo>
                    <a:pt x="144" y="10"/>
                  </a:lnTo>
                  <a:lnTo>
                    <a:pt x="113" y="21"/>
                  </a:lnTo>
                  <a:lnTo>
                    <a:pt x="113" y="10"/>
                  </a:lnTo>
                  <a:lnTo>
                    <a:pt x="94" y="10"/>
                  </a:lnTo>
                  <a:lnTo>
                    <a:pt x="69" y="31"/>
                  </a:lnTo>
                  <a:lnTo>
                    <a:pt x="7" y="0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06" name="Freeform 1066"/>
            <p:cNvSpPr>
              <a:spLocks/>
            </p:cNvSpPr>
            <p:nvPr>
              <p:custDataLst>
                <p:tags r:id="rId900"/>
              </p:custDataLst>
            </p:nvPr>
          </p:nvSpPr>
          <p:spPr bwMode="auto">
            <a:xfrm>
              <a:off x="4969123" y="3671888"/>
              <a:ext cx="257175" cy="263525"/>
            </a:xfrm>
            <a:custGeom>
              <a:avLst/>
              <a:gdLst>
                <a:gd name="T0" fmla="*/ 0 w 175"/>
                <a:gd name="T1" fmla="*/ 2147483647 h 332"/>
                <a:gd name="T2" fmla="*/ 2147483647 w 175"/>
                <a:gd name="T3" fmla="*/ 2147483647 h 332"/>
                <a:gd name="T4" fmla="*/ 2147483647 w 175"/>
                <a:gd name="T5" fmla="*/ 2147483647 h 332"/>
                <a:gd name="T6" fmla="*/ 2147483647 w 175"/>
                <a:gd name="T7" fmla="*/ 2147483647 h 332"/>
                <a:gd name="T8" fmla="*/ 2147483647 w 175"/>
                <a:gd name="T9" fmla="*/ 2147483647 h 332"/>
                <a:gd name="T10" fmla="*/ 2147483647 w 175"/>
                <a:gd name="T11" fmla="*/ 2147483647 h 332"/>
                <a:gd name="T12" fmla="*/ 2147483647 w 175"/>
                <a:gd name="T13" fmla="*/ 2147483647 h 332"/>
                <a:gd name="T14" fmla="*/ 2147483647 w 175"/>
                <a:gd name="T15" fmla="*/ 2147483647 h 332"/>
                <a:gd name="T16" fmla="*/ 2147483647 w 175"/>
                <a:gd name="T17" fmla="*/ 2147483647 h 332"/>
                <a:gd name="T18" fmla="*/ 2147483647 w 175"/>
                <a:gd name="T19" fmla="*/ 2147483647 h 332"/>
                <a:gd name="T20" fmla="*/ 2147483647 w 175"/>
                <a:gd name="T21" fmla="*/ 2147483647 h 332"/>
                <a:gd name="T22" fmla="*/ 2147483647 w 175"/>
                <a:gd name="T23" fmla="*/ 2147483647 h 332"/>
                <a:gd name="T24" fmla="*/ 2147483647 w 175"/>
                <a:gd name="T25" fmla="*/ 2147483647 h 332"/>
                <a:gd name="T26" fmla="*/ 2147483647 w 175"/>
                <a:gd name="T27" fmla="*/ 0 h 332"/>
                <a:gd name="T28" fmla="*/ 0 w 175"/>
                <a:gd name="T29" fmla="*/ 2147483647 h 3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75" h="332">
                  <a:moveTo>
                    <a:pt x="0" y="54"/>
                  </a:moveTo>
                  <a:lnTo>
                    <a:pt x="7" y="332"/>
                  </a:lnTo>
                  <a:lnTo>
                    <a:pt x="144" y="332"/>
                  </a:lnTo>
                  <a:lnTo>
                    <a:pt x="169" y="300"/>
                  </a:lnTo>
                  <a:lnTo>
                    <a:pt x="175" y="267"/>
                  </a:lnTo>
                  <a:lnTo>
                    <a:pt x="118" y="77"/>
                  </a:lnTo>
                  <a:lnTo>
                    <a:pt x="144" y="133"/>
                  </a:lnTo>
                  <a:lnTo>
                    <a:pt x="163" y="77"/>
                  </a:lnTo>
                  <a:lnTo>
                    <a:pt x="144" y="10"/>
                  </a:lnTo>
                  <a:lnTo>
                    <a:pt x="113" y="21"/>
                  </a:lnTo>
                  <a:lnTo>
                    <a:pt x="113" y="10"/>
                  </a:lnTo>
                  <a:lnTo>
                    <a:pt x="94" y="10"/>
                  </a:lnTo>
                  <a:lnTo>
                    <a:pt x="69" y="31"/>
                  </a:lnTo>
                  <a:lnTo>
                    <a:pt x="7" y="0"/>
                  </a:lnTo>
                  <a:lnTo>
                    <a:pt x="0" y="5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07" name="Freeform 1067"/>
            <p:cNvSpPr>
              <a:spLocks/>
            </p:cNvSpPr>
            <p:nvPr>
              <p:custDataLst>
                <p:tags r:id="rId901"/>
              </p:custDataLst>
            </p:nvPr>
          </p:nvSpPr>
          <p:spPr bwMode="auto">
            <a:xfrm>
              <a:off x="4969123" y="3671888"/>
              <a:ext cx="257175" cy="263525"/>
            </a:xfrm>
            <a:custGeom>
              <a:avLst/>
              <a:gdLst>
                <a:gd name="T0" fmla="*/ 0 w 175"/>
                <a:gd name="T1" fmla="*/ 2147483647 h 332"/>
                <a:gd name="T2" fmla="*/ 2147483647 w 175"/>
                <a:gd name="T3" fmla="*/ 2147483647 h 332"/>
                <a:gd name="T4" fmla="*/ 2147483647 w 175"/>
                <a:gd name="T5" fmla="*/ 2147483647 h 332"/>
                <a:gd name="T6" fmla="*/ 2147483647 w 175"/>
                <a:gd name="T7" fmla="*/ 2147483647 h 332"/>
                <a:gd name="T8" fmla="*/ 2147483647 w 175"/>
                <a:gd name="T9" fmla="*/ 2147483647 h 332"/>
                <a:gd name="T10" fmla="*/ 2147483647 w 175"/>
                <a:gd name="T11" fmla="*/ 2147483647 h 332"/>
                <a:gd name="T12" fmla="*/ 2147483647 w 175"/>
                <a:gd name="T13" fmla="*/ 2147483647 h 332"/>
                <a:gd name="T14" fmla="*/ 2147483647 w 175"/>
                <a:gd name="T15" fmla="*/ 2147483647 h 332"/>
                <a:gd name="T16" fmla="*/ 2147483647 w 175"/>
                <a:gd name="T17" fmla="*/ 2147483647 h 332"/>
                <a:gd name="T18" fmla="*/ 2147483647 w 175"/>
                <a:gd name="T19" fmla="*/ 2147483647 h 332"/>
                <a:gd name="T20" fmla="*/ 2147483647 w 175"/>
                <a:gd name="T21" fmla="*/ 2147483647 h 332"/>
                <a:gd name="T22" fmla="*/ 2147483647 w 175"/>
                <a:gd name="T23" fmla="*/ 2147483647 h 332"/>
                <a:gd name="T24" fmla="*/ 2147483647 w 175"/>
                <a:gd name="T25" fmla="*/ 2147483647 h 332"/>
                <a:gd name="T26" fmla="*/ 2147483647 w 175"/>
                <a:gd name="T27" fmla="*/ 0 h 332"/>
                <a:gd name="T28" fmla="*/ 0 w 175"/>
                <a:gd name="T29" fmla="*/ 2147483647 h 3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75" h="332">
                  <a:moveTo>
                    <a:pt x="0" y="54"/>
                  </a:moveTo>
                  <a:lnTo>
                    <a:pt x="7" y="332"/>
                  </a:lnTo>
                  <a:lnTo>
                    <a:pt x="144" y="332"/>
                  </a:lnTo>
                  <a:lnTo>
                    <a:pt x="169" y="300"/>
                  </a:lnTo>
                  <a:lnTo>
                    <a:pt x="175" y="267"/>
                  </a:lnTo>
                  <a:lnTo>
                    <a:pt x="118" y="77"/>
                  </a:lnTo>
                  <a:lnTo>
                    <a:pt x="144" y="133"/>
                  </a:lnTo>
                  <a:lnTo>
                    <a:pt x="163" y="77"/>
                  </a:lnTo>
                  <a:lnTo>
                    <a:pt x="144" y="10"/>
                  </a:lnTo>
                  <a:lnTo>
                    <a:pt x="113" y="21"/>
                  </a:lnTo>
                  <a:lnTo>
                    <a:pt x="113" y="10"/>
                  </a:lnTo>
                  <a:lnTo>
                    <a:pt x="94" y="10"/>
                  </a:lnTo>
                  <a:lnTo>
                    <a:pt x="69" y="31"/>
                  </a:lnTo>
                  <a:lnTo>
                    <a:pt x="7" y="0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08" name="Freeform 1068"/>
            <p:cNvSpPr>
              <a:spLocks/>
            </p:cNvSpPr>
            <p:nvPr>
              <p:custDataLst>
                <p:tags r:id="rId902"/>
              </p:custDataLst>
            </p:nvPr>
          </p:nvSpPr>
          <p:spPr bwMode="auto">
            <a:xfrm>
              <a:off x="4969123" y="3671888"/>
              <a:ext cx="257175" cy="263525"/>
            </a:xfrm>
            <a:custGeom>
              <a:avLst/>
              <a:gdLst>
                <a:gd name="T0" fmla="*/ 0 w 175"/>
                <a:gd name="T1" fmla="*/ 2147483647 h 332"/>
                <a:gd name="T2" fmla="*/ 2147483647 w 175"/>
                <a:gd name="T3" fmla="*/ 2147483647 h 332"/>
                <a:gd name="T4" fmla="*/ 2147483647 w 175"/>
                <a:gd name="T5" fmla="*/ 2147483647 h 332"/>
                <a:gd name="T6" fmla="*/ 2147483647 w 175"/>
                <a:gd name="T7" fmla="*/ 2147483647 h 332"/>
                <a:gd name="T8" fmla="*/ 2147483647 w 175"/>
                <a:gd name="T9" fmla="*/ 2147483647 h 332"/>
                <a:gd name="T10" fmla="*/ 2147483647 w 175"/>
                <a:gd name="T11" fmla="*/ 2147483647 h 332"/>
                <a:gd name="T12" fmla="*/ 2147483647 w 175"/>
                <a:gd name="T13" fmla="*/ 2147483647 h 332"/>
                <a:gd name="T14" fmla="*/ 2147483647 w 175"/>
                <a:gd name="T15" fmla="*/ 2147483647 h 332"/>
                <a:gd name="T16" fmla="*/ 2147483647 w 175"/>
                <a:gd name="T17" fmla="*/ 2147483647 h 332"/>
                <a:gd name="T18" fmla="*/ 2147483647 w 175"/>
                <a:gd name="T19" fmla="*/ 2147483647 h 332"/>
                <a:gd name="T20" fmla="*/ 2147483647 w 175"/>
                <a:gd name="T21" fmla="*/ 2147483647 h 332"/>
                <a:gd name="T22" fmla="*/ 2147483647 w 175"/>
                <a:gd name="T23" fmla="*/ 2147483647 h 332"/>
                <a:gd name="T24" fmla="*/ 2147483647 w 175"/>
                <a:gd name="T25" fmla="*/ 2147483647 h 332"/>
                <a:gd name="T26" fmla="*/ 2147483647 w 175"/>
                <a:gd name="T27" fmla="*/ 0 h 332"/>
                <a:gd name="T28" fmla="*/ 0 w 175"/>
                <a:gd name="T29" fmla="*/ 2147483647 h 3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75" h="332">
                  <a:moveTo>
                    <a:pt x="0" y="54"/>
                  </a:moveTo>
                  <a:lnTo>
                    <a:pt x="7" y="332"/>
                  </a:lnTo>
                  <a:lnTo>
                    <a:pt x="144" y="332"/>
                  </a:lnTo>
                  <a:lnTo>
                    <a:pt x="169" y="300"/>
                  </a:lnTo>
                  <a:lnTo>
                    <a:pt x="175" y="267"/>
                  </a:lnTo>
                  <a:lnTo>
                    <a:pt x="118" y="77"/>
                  </a:lnTo>
                  <a:lnTo>
                    <a:pt x="144" y="133"/>
                  </a:lnTo>
                  <a:lnTo>
                    <a:pt x="163" y="77"/>
                  </a:lnTo>
                  <a:lnTo>
                    <a:pt x="144" y="10"/>
                  </a:lnTo>
                  <a:lnTo>
                    <a:pt x="113" y="21"/>
                  </a:lnTo>
                  <a:lnTo>
                    <a:pt x="113" y="10"/>
                  </a:lnTo>
                  <a:lnTo>
                    <a:pt x="94" y="10"/>
                  </a:lnTo>
                  <a:lnTo>
                    <a:pt x="69" y="31"/>
                  </a:lnTo>
                  <a:lnTo>
                    <a:pt x="7" y="0"/>
                  </a:lnTo>
                  <a:lnTo>
                    <a:pt x="0" y="54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09" name="Freeform 1069"/>
            <p:cNvSpPr>
              <a:spLocks/>
            </p:cNvSpPr>
            <p:nvPr>
              <p:custDataLst>
                <p:tags r:id="rId903"/>
              </p:custDataLst>
            </p:nvPr>
          </p:nvSpPr>
          <p:spPr bwMode="auto">
            <a:xfrm>
              <a:off x="4292848" y="4111625"/>
              <a:ext cx="161925" cy="141288"/>
            </a:xfrm>
            <a:custGeom>
              <a:avLst/>
              <a:gdLst>
                <a:gd name="T0" fmla="*/ 0 w 111"/>
                <a:gd name="T1" fmla="*/ 2147483647 h 179"/>
                <a:gd name="T2" fmla="*/ 2147483647 w 111"/>
                <a:gd name="T3" fmla="*/ 2147483647 h 179"/>
                <a:gd name="T4" fmla="*/ 2147483647 w 111"/>
                <a:gd name="T5" fmla="*/ 2147483647 h 179"/>
                <a:gd name="T6" fmla="*/ 2147483647 w 111"/>
                <a:gd name="T7" fmla="*/ 2147483647 h 179"/>
                <a:gd name="T8" fmla="*/ 2147483647 w 111"/>
                <a:gd name="T9" fmla="*/ 2147483647 h 179"/>
                <a:gd name="T10" fmla="*/ 2147483647 w 111"/>
                <a:gd name="T11" fmla="*/ 2147483647 h 179"/>
                <a:gd name="T12" fmla="*/ 2147483647 w 111"/>
                <a:gd name="T13" fmla="*/ 2147483647 h 179"/>
                <a:gd name="T14" fmla="*/ 2147483647 w 111"/>
                <a:gd name="T15" fmla="*/ 2147483647 h 179"/>
                <a:gd name="T16" fmla="*/ 2147483647 w 111"/>
                <a:gd name="T17" fmla="*/ 0 h 179"/>
                <a:gd name="T18" fmla="*/ 2147483647 w 111"/>
                <a:gd name="T19" fmla="*/ 2147483647 h 179"/>
                <a:gd name="T20" fmla="*/ 0 w 11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1" h="179">
                  <a:moveTo>
                    <a:pt x="0" y="156"/>
                  </a:moveTo>
                  <a:lnTo>
                    <a:pt x="6" y="179"/>
                  </a:lnTo>
                  <a:lnTo>
                    <a:pt x="37" y="179"/>
                  </a:lnTo>
                  <a:lnTo>
                    <a:pt x="37" y="135"/>
                  </a:lnTo>
                  <a:lnTo>
                    <a:pt x="81" y="135"/>
                  </a:lnTo>
                  <a:lnTo>
                    <a:pt x="92" y="135"/>
                  </a:lnTo>
                  <a:lnTo>
                    <a:pt x="111" y="100"/>
                  </a:lnTo>
                  <a:lnTo>
                    <a:pt x="87" y="33"/>
                  </a:lnTo>
                  <a:lnTo>
                    <a:pt x="81" y="0"/>
                  </a:lnTo>
                  <a:lnTo>
                    <a:pt x="18" y="67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10" name="Freeform 1070"/>
            <p:cNvSpPr>
              <a:spLocks/>
            </p:cNvSpPr>
            <p:nvPr>
              <p:custDataLst>
                <p:tags r:id="rId904"/>
              </p:custDataLst>
            </p:nvPr>
          </p:nvSpPr>
          <p:spPr bwMode="auto">
            <a:xfrm>
              <a:off x="4292848" y="4111625"/>
              <a:ext cx="161925" cy="141288"/>
            </a:xfrm>
            <a:custGeom>
              <a:avLst/>
              <a:gdLst>
                <a:gd name="T0" fmla="*/ 0 w 111"/>
                <a:gd name="T1" fmla="*/ 2147483647 h 179"/>
                <a:gd name="T2" fmla="*/ 2147483647 w 111"/>
                <a:gd name="T3" fmla="*/ 2147483647 h 179"/>
                <a:gd name="T4" fmla="*/ 2147483647 w 111"/>
                <a:gd name="T5" fmla="*/ 2147483647 h 179"/>
                <a:gd name="T6" fmla="*/ 2147483647 w 111"/>
                <a:gd name="T7" fmla="*/ 2147483647 h 179"/>
                <a:gd name="T8" fmla="*/ 2147483647 w 111"/>
                <a:gd name="T9" fmla="*/ 2147483647 h 179"/>
                <a:gd name="T10" fmla="*/ 2147483647 w 111"/>
                <a:gd name="T11" fmla="*/ 2147483647 h 179"/>
                <a:gd name="T12" fmla="*/ 2147483647 w 111"/>
                <a:gd name="T13" fmla="*/ 2147483647 h 179"/>
                <a:gd name="T14" fmla="*/ 2147483647 w 111"/>
                <a:gd name="T15" fmla="*/ 2147483647 h 179"/>
                <a:gd name="T16" fmla="*/ 2147483647 w 111"/>
                <a:gd name="T17" fmla="*/ 0 h 179"/>
                <a:gd name="T18" fmla="*/ 2147483647 w 111"/>
                <a:gd name="T19" fmla="*/ 2147483647 h 179"/>
                <a:gd name="T20" fmla="*/ 0 w 11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1" h="179">
                  <a:moveTo>
                    <a:pt x="0" y="156"/>
                  </a:moveTo>
                  <a:lnTo>
                    <a:pt x="6" y="179"/>
                  </a:lnTo>
                  <a:lnTo>
                    <a:pt x="37" y="179"/>
                  </a:lnTo>
                  <a:lnTo>
                    <a:pt x="37" y="135"/>
                  </a:lnTo>
                  <a:lnTo>
                    <a:pt x="81" y="135"/>
                  </a:lnTo>
                  <a:lnTo>
                    <a:pt x="92" y="135"/>
                  </a:lnTo>
                  <a:lnTo>
                    <a:pt x="111" y="100"/>
                  </a:lnTo>
                  <a:lnTo>
                    <a:pt x="87" y="33"/>
                  </a:lnTo>
                  <a:lnTo>
                    <a:pt x="81" y="0"/>
                  </a:lnTo>
                  <a:lnTo>
                    <a:pt x="18" y="67"/>
                  </a:lnTo>
                  <a:lnTo>
                    <a:pt x="0" y="1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11" name="Freeform 1071"/>
            <p:cNvSpPr>
              <a:spLocks/>
            </p:cNvSpPr>
            <p:nvPr>
              <p:custDataLst>
                <p:tags r:id="rId905"/>
              </p:custDataLst>
            </p:nvPr>
          </p:nvSpPr>
          <p:spPr bwMode="auto">
            <a:xfrm>
              <a:off x="4292848" y="4111625"/>
              <a:ext cx="161925" cy="141288"/>
            </a:xfrm>
            <a:custGeom>
              <a:avLst/>
              <a:gdLst>
                <a:gd name="T0" fmla="*/ 0 w 111"/>
                <a:gd name="T1" fmla="*/ 2147483647 h 179"/>
                <a:gd name="T2" fmla="*/ 2147483647 w 111"/>
                <a:gd name="T3" fmla="*/ 2147483647 h 179"/>
                <a:gd name="T4" fmla="*/ 2147483647 w 111"/>
                <a:gd name="T5" fmla="*/ 2147483647 h 179"/>
                <a:gd name="T6" fmla="*/ 2147483647 w 111"/>
                <a:gd name="T7" fmla="*/ 2147483647 h 179"/>
                <a:gd name="T8" fmla="*/ 2147483647 w 111"/>
                <a:gd name="T9" fmla="*/ 2147483647 h 179"/>
                <a:gd name="T10" fmla="*/ 2147483647 w 111"/>
                <a:gd name="T11" fmla="*/ 2147483647 h 179"/>
                <a:gd name="T12" fmla="*/ 2147483647 w 111"/>
                <a:gd name="T13" fmla="*/ 2147483647 h 179"/>
                <a:gd name="T14" fmla="*/ 2147483647 w 111"/>
                <a:gd name="T15" fmla="*/ 2147483647 h 179"/>
                <a:gd name="T16" fmla="*/ 2147483647 w 111"/>
                <a:gd name="T17" fmla="*/ 0 h 179"/>
                <a:gd name="T18" fmla="*/ 2147483647 w 111"/>
                <a:gd name="T19" fmla="*/ 2147483647 h 179"/>
                <a:gd name="T20" fmla="*/ 0 w 11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1" h="179">
                  <a:moveTo>
                    <a:pt x="0" y="156"/>
                  </a:moveTo>
                  <a:lnTo>
                    <a:pt x="6" y="179"/>
                  </a:lnTo>
                  <a:lnTo>
                    <a:pt x="37" y="179"/>
                  </a:lnTo>
                  <a:lnTo>
                    <a:pt x="37" y="135"/>
                  </a:lnTo>
                  <a:lnTo>
                    <a:pt x="81" y="135"/>
                  </a:lnTo>
                  <a:lnTo>
                    <a:pt x="92" y="135"/>
                  </a:lnTo>
                  <a:lnTo>
                    <a:pt x="111" y="100"/>
                  </a:lnTo>
                  <a:lnTo>
                    <a:pt x="87" y="33"/>
                  </a:lnTo>
                  <a:lnTo>
                    <a:pt x="81" y="0"/>
                  </a:lnTo>
                  <a:lnTo>
                    <a:pt x="18" y="67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12" name="Freeform 1072"/>
            <p:cNvSpPr>
              <a:spLocks/>
            </p:cNvSpPr>
            <p:nvPr>
              <p:custDataLst>
                <p:tags r:id="rId906"/>
              </p:custDataLst>
            </p:nvPr>
          </p:nvSpPr>
          <p:spPr bwMode="auto">
            <a:xfrm>
              <a:off x="4292848" y="4111625"/>
              <a:ext cx="161925" cy="141288"/>
            </a:xfrm>
            <a:custGeom>
              <a:avLst/>
              <a:gdLst>
                <a:gd name="T0" fmla="*/ 0 w 111"/>
                <a:gd name="T1" fmla="*/ 2147483647 h 179"/>
                <a:gd name="T2" fmla="*/ 2147483647 w 111"/>
                <a:gd name="T3" fmla="*/ 2147483647 h 179"/>
                <a:gd name="T4" fmla="*/ 2147483647 w 111"/>
                <a:gd name="T5" fmla="*/ 2147483647 h 179"/>
                <a:gd name="T6" fmla="*/ 2147483647 w 111"/>
                <a:gd name="T7" fmla="*/ 2147483647 h 179"/>
                <a:gd name="T8" fmla="*/ 2147483647 w 111"/>
                <a:gd name="T9" fmla="*/ 2147483647 h 179"/>
                <a:gd name="T10" fmla="*/ 2147483647 w 111"/>
                <a:gd name="T11" fmla="*/ 2147483647 h 179"/>
                <a:gd name="T12" fmla="*/ 2147483647 w 111"/>
                <a:gd name="T13" fmla="*/ 2147483647 h 179"/>
                <a:gd name="T14" fmla="*/ 2147483647 w 111"/>
                <a:gd name="T15" fmla="*/ 2147483647 h 179"/>
                <a:gd name="T16" fmla="*/ 2147483647 w 111"/>
                <a:gd name="T17" fmla="*/ 0 h 179"/>
                <a:gd name="T18" fmla="*/ 2147483647 w 111"/>
                <a:gd name="T19" fmla="*/ 2147483647 h 179"/>
                <a:gd name="T20" fmla="*/ 0 w 11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1" h="179">
                  <a:moveTo>
                    <a:pt x="0" y="156"/>
                  </a:moveTo>
                  <a:lnTo>
                    <a:pt x="6" y="179"/>
                  </a:lnTo>
                  <a:lnTo>
                    <a:pt x="37" y="179"/>
                  </a:lnTo>
                  <a:lnTo>
                    <a:pt x="37" y="135"/>
                  </a:lnTo>
                  <a:lnTo>
                    <a:pt x="81" y="135"/>
                  </a:lnTo>
                  <a:lnTo>
                    <a:pt x="92" y="135"/>
                  </a:lnTo>
                  <a:lnTo>
                    <a:pt x="111" y="100"/>
                  </a:lnTo>
                  <a:lnTo>
                    <a:pt x="87" y="33"/>
                  </a:lnTo>
                  <a:lnTo>
                    <a:pt x="81" y="0"/>
                  </a:lnTo>
                  <a:lnTo>
                    <a:pt x="18" y="67"/>
                  </a:lnTo>
                  <a:lnTo>
                    <a:pt x="0" y="1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13" name="Freeform 1073"/>
            <p:cNvSpPr>
              <a:spLocks/>
            </p:cNvSpPr>
            <p:nvPr>
              <p:custDataLst>
                <p:tags r:id="rId907"/>
              </p:custDataLst>
            </p:nvPr>
          </p:nvSpPr>
          <p:spPr bwMode="auto">
            <a:xfrm>
              <a:off x="4905623" y="4705350"/>
              <a:ext cx="274638" cy="244475"/>
            </a:xfrm>
            <a:custGeom>
              <a:avLst/>
              <a:gdLst>
                <a:gd name="T0" fmla="*/ 0 w 187"/>
                <a:gd name="T1" fmla="*/ 2147483647 h 309"/>
                <a:gd name="T2" fmla="*/ 0 w 187"/>
                <a:gd name="T3" fmla="*/ 2147483647 h 309"/>
                <a:gd name="T4" fmla="*/ 2147483647 w 187"/>
                <a:gd name="T5" fmla="*/ 2147483647 h 309"/>
                <a:gd name="T6" fmla="*/ 2147483647 w 187"/>
                <a:gd name="T7" fmla="*/ 2147483647 h 309"/>
                <a:gd name="T8" fmla="*/ 2147483647 w 187"/>
                <a:gd name="T9" fmla="*/ 2147483647 h 309"/>
                <a:gd name="T10" fmla="*/ 2147483647 w 187"/>
                <a:gd name="T11" fmla="*/ 2147483647 h 309"/>
                <a:gd name="T12" fmla="*/ 2147483647 w 187"/>
                <a:gd name="T13" fmla="*/ 2147483647 h 309"/>
                <a:gd name="T14" fmla="*/ 2147483647 w 187"/>
                <a:gd name="T15" fmla="*/ 2147483647 h 309"/>
                <a:gd name="T16" fmla="*/ 2147483647 w 187"/>
                <a:gd name="T17" fmla="*/ 2147483647 h 309"/>
                <a:gd name="T18" fmla="*/ 2147483647 w 187"/>
                <a:gd name="T19" fmla="*/ 2147483647 h 309"/>
                <a:gd name="T20" fmla="*/ 2147483647 w 187"/>
                <a:gd name="T21" fmla="*/ 2147483647 h 309"/>
                <a:gd name="T22" fmla="*/ 2147483647 w 187"/>
                <a:gd name="T23" fmla="*/ 2147483647 h 309"/>
                <a:gd name="T24" fmla="*/ 2147483647 w 187"/>
                <a:gd name="T25" fmla="*/ 2147483647 h 309"/>
                <a:gd name="T26" fmla="*/ 2147483647 w 187"/>
                <a:gd name="T27" fmla="*/ 2147483647 h 309"/>
                <a:gd name="T28" fmla="*/ 2147483647 w 187"/>
                <a:gd name="T29" fmla="*/ 0 h 309"/>
                <a:gd name="T30" fmla="*/ 2147483647 w 187"/>
                <a:gd name="T31" fmla="*/ 2147483647 h 309"/>
                <a:gd name="T32" fmla="*/ 2147483647 w 187"/>
                <a:gd name="T33" fmla="*/ 2147483647 h 309"/>
                <a:gd name="T34" fmla="*/ 2147483647 w 187"/>
                <a:gd name="T35" fmla="*/ 2147483647 h 309"/>
                <a:gd name="T36" fmla="*/ 2147483647 w 187"/>
                <a:gd name="T37" fmla="*/ 2147483647 h 309"/>
                <a:gd name="T38" fmla="*/ 2147483647 w 187"/>
                <a:gd name="T39" fmla="*/ 2147483647 h 309"/>
                <a:gd name="T40" fmla="*/ 2147483647 w 187"/>
                <a:gd name="T41" fmla="*/ 2147483647 h 309"/>
                <a:gd name="T42" fmla="*/ 0 w 187"/>
                <a:gd name="T43" fmla="*/ 2147483647 h 3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7" h="309">
                  <a:moveTo>
                    <a:pt x="0" y="156"/>
                  </a:moveTo>
                  <a:lnTo>
                    <a:pt x="0" y="277"/>
                  </a:lnTo>
                  <a:lnTo>
                    <a:pt x="25" y="300"/>
                  </a:lnTo>
                  <a:lnTo>
                    <a:pt x="50" y="309"/>
                  </a:lnTo>
                  <a:lnTo>
                    <a:pt x="81" y="309"/>
                  </a:lnTo>
                  <a:lnTo>
                    <a:pt x="106" y="265"/>
                  </a:lnTo>
                  <a:lnTo>
                    <a:pt x="106" y="256"/>
                  </a:lnTo>
                  <a:lnTo>
                    <a:pt x="131" y="244"/>
                  </a:lnTo>
                  <a:lnTo>
                    <a:pt x="131" y="221"/>
                  </a:lnTo>
                  <a:lnTo>
                    <a:pt x="181" y="188"/>
                  </a:lnTo>
                  <a:lnTo>
                    <a:pt x="168" y="177"/>
                  </a:lnTo>
                  <a:lnTo>
                    <a:pt x="187" y="77"/>
                  </a:lnTo>
                  <a:lnTo>
                    <a:pt x="175" y="44"/>
                  </a:lnTo>
                  <a:lnTo>
                    <a:pt x="143" y="10"/>
                  </a:lnTo>
                  <a:lnTo>
                    <a:pt x="137" y="0"/>
                  </a:lnTo>
                  <a:lnTo>
                    <a:pt x="112" y="33"/>
                  </a:lnTo>
                  <a:lnTo>
                    <a:pt x="106" y="112"/>
                  </a:lnTo>
                  <a:lnTo>
                    <a:pt x="125" y="133"/>
                  </a:lnTo>
                  <a:lnTo>
                    <a:pt x="125" y="167"/>
                  </a:lnTo>
                  <a:lnTo>
                    <a:pt x="37" y="89"/>
                  </a:lnTo>
                  <a:lnTo>
                    <a:pt x="37" y="156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14" name="Freeform 1074"/>
            <p:cNvSpPr>
              <a:spLocks/>
            </p:cNvSpPr>
            <p:nvPr>
              <p:custDataLst>
                <p:tags r:id="rId908"/>
              </p:custDataLst>
            </p:nvPr>
          </p:nvSpPr>
          <p:spPr bwMode="auto">
            <a:xfrm>
              <a:off x="4905623" y="4705350"/>
              <a:ext cx="274638" cy="244475"/>
            </a:xfrm>
            <a:custGeom>
              <a:avLst/>
              <a:gdLst>
                <a:gd name="T0" fmla="*/ 0 w 187"/>
                <a:gd name="T1" fmla="*/ 2147483647 h 309"/>
                <a:gd name="T2" fmla="*/ 0 w 187"/>
                <a:gd name="T3" fmla="*/ 2147483647 h 309"/>
                <a:gd name="T4" fmla="*/ 2147483647 w 187"/>
                <a:gd name="T5" fmla="*/ 2147483647 h 309"/>
                <a:gd name="T6" fmla="*/ 2147483647 w 187"/>
                <a:gd name="T7" fmla="*/ 2147483647 h 309"/>
                <a:gd name="T8" fmla="*/ 2147483647 w 187"/>
                <a:gd name="T9" fmla="*/ 2147483647 h 309"/>
                <a:gd name="T10" fmla="*/ 2147483647 w 187"/>
                <a:gd name="T11" fmla="*/ 2147483647 h 309"/>
                <a:gd name="T12" fmla="*/ 2147483647 w 187"/>
                <a:gd name="T13" fmla="*/ 2147483647 h 309"/>
                <a:gd name="T14" fmla="*/ 2147483647 w 187"/>
                <a:gd name="T15" fmla="*/ 2147483647 h 309"/>
                <a:gd name="T16" fmla="*/ 2147483647 w 187"/>
                <a:gd name="T17" fmla="*/ 2147483647 h 309"/>
                <a:gd name="T18" fmla="*/ 2147483647 w 187"/>
                <a:gd name="T19" fmla="*/ 2147483647 h 309"/>
                <a:gd name="T20" fmla="*/ 2147483647 w 187"/>
                <a:gd name="T21" fmla="*/ 2147483647 h 309"/>
                <a:gd name="T22" fmla="*/ 2147483647 w 187"/>
                <a:gd name="T23" fmla="*/ 2147483647 h 309"/>
                <a:gd name="T24" fmla="*/ 2147483647 w 187"/>
                <a:gd name="T25" fmla="*/ 2147483647 h 309"/>
                <a:gd name="T26" fmla="*/ 2147483647 w 187"/>
                <a:gd name="T27" fmla="*/ 2147483647 h 309"/>
                <a:gd name="T28" fmla="*/ 2147483647 w 187"/>
                <a:gd name="T29" fmla="*/ 0 h 309"/>
                <a:gd name="T30" fmla="*/ 2147483647 w 187"/>
                <a:gd name="T31" fmla="*/ 2147483647 h 309"/>
                <a:gd name="T32" fmla="*/ 2147483647 w 187"/>
                <a:gd name="T33" fmla="*/ 2147483647 h 309"/>
                <a:gd name="T34" fmla="*/ 2147483647 w 187"/>
                <a:gd name="T35" fmla="*/ 2147483647 h 309"/>
                <a:gd name="T36" fmla="*/ 2147483647 w 187"/>
                <a:gd name="T37" fmla="*/ 2147483647 h 309"/>
                <a:gd name="T38" fmla="*/ 2147483647 w 187"/>
                <a:gd name="T39" fmla="*/ 2147483647 h 309"/>
                <a:gd name="T40" fmla="*/ 2147483647 w 187"/>
                <a:gd name="T41" fmla="*/ 2147483647 h 309"/>
                <a:gd name="T42" fmla="*/ 0 w 187"/>
                <a:gd name="T43" fmla="*/ 2147483647 h 3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7" h="309">
                  <a:moveTo>
                    <a:pt x="0" y="156"/>
                  </a:moveTo>
                  <a:lnTo>
                    <a:pt x="0" y="277"/>
                  </a:lnTo>
                  <a:lnTo>
                    <a:pt x="25" y="300"/>
                  </a:lnTo>
                  <a:lnTo>
                    <a:pt x="50" y="309"/>
                  </a:lnTo>
                  <a:lnTo>
                    <a:pt x="81" y="309"/>
                  </a:lnTo>
                  <a:lnTo>
                    <a:pt x="106" y="265"/>
                  </a:lnTo>
                  <a:lnTo>
                    <a:pt x="106" y="256"/>
                  </a:lnTo>
                  <a:lnTo>
                    <a:pt x="131" y="244"/>
                  </a:lnTo>
                  <a:lnTo>
                    <a:pt x="131" y="221"/>
                  </a:lnTo>
                  <a:lnTo>
                    <a:pt x="181" y="188"/>
                  </a:lnTo>
                  <a:lnTo>
                    <a:pt x="168" y="177"/>
                  </a:lnTo>
                  <a:lnTo>
                    <a:pt x="187" y="77"/>
                  </a:lnTo>
                  <a:lnTo>
                    <a:pt x="175" y="44"/>
                  </a:lnTo>
                  <a:lnTo>
                    <a:pt x="143" y="10"/>
                  </a:lnTo>
                  <a:lnTo>
                    <a:pt x="137" y="0"/>
                  </a:lnTo>
                  <a:lnTo>
                    <a:pt x="112" y="33"/>
                  </a:lnTo>
                  <a:lnTo>
                    <a:pt x="106" y="112"/>
                  </a:lnTo>
                  <a:lnTo>
                    <a:pt x="125" y="133"/>
                  </a:lnTo>
                  <a:lnTo>
                    <a:pt x="125" y="167"/>
                  </a:lnTo>
                  <a:lnTo>
                    <a:pt x="37" y="89"/>
                  </a:lnTo>
                  <a:lnTo>
                    <a:pt x="37" y="156"/>
                  </a:lnTo>
                  <a:lnTo>
                    <a:pt x="0" y="1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15" name="Freeform 1075"/>
            <p:cNvSpPr>
              <a:spLocks/>
            </p:cNvSpPr>
            <p:nvPr>
              <p:custDataLst>
                <p:tags r:id="rId909"/>
              </p:custDataLst>
            </p:nvPr>
          </p:nvSpPr>
          <p:spPr bwMode="auto">
            <a:xfrm>
              <a:off x="4905623" y="4705350"/>
              <a:ext cx="274638" cy="244475"/>
            </a:xfrm>
            <a:custGeom>
              <a:avLst/>
              <a:gdLst>
                <a:gd name="T0" fmla="*/ 0 w 187"/>
                <a:gd name="T1" fmla="*/ 2147483647 h 309"/>
                <a:gd name="T2" fmla="*/ 0 w 187"/>
                <a:gd name="T3" fmla="*/ 2147483647 h 309"/>
                <a:gd name="T4" fmla="*/ 2147483647 w 187"/>
                <a:gd name="T5" fmla="*/ 2147483647 h 309"/>
                <a:gd name="T6" fmla="*/ 2147483647 w 187"/>
                <a:gd name="T7" fmla="*/ 2147483647 h 309"/>
                <a:gd name="T8" fmla="*/ 2147483647 w 187"/>
                <a:gd name="T9" fmla="*/ 2147483647 h 309"/>
                <a:gd name="T10" fmla="*/ 2147483647 w 187"/>
                <a:gd name="T11" fmla="*/ 2147483647 h 309"/>
                <a:gd name="T12" fmla="*/ 2147483647 w 187"/>
                <a:gd name="T13" fmla="*/ 2147483647 h 309"/>
                <a:gd name="T14" fmla="*/ 2147483647 w 187"/>
                <a:gd name="T15" fmla="*/ 2147483647 h 309"/>
                <a:gd name="T16" fmla="*/ 2147483647 w 187"/>
                <a:gd name="T17" fmla="*/ 2147483647 h 309"/>
                <a:gd name="T18" fmla="*/ 2147483647 w 187"/>
                <a:gd name="T19" fmla="*/ 2147483647 h 309"/>
                <a:gd name="T20" fmla="*/ 2147483647 w 187"/>
                <a:gd name="T21" fmla="*/ 2147483647 h 309"/>
                <a:gd name="T22" fmla="*/ 2147483647 w 187"/>
                <a:gd name="T23" fmla="*/ 2147483647 h 309"/>
                <a:gd name="T24" fmla="*/ 2147483647 w 187"/>
                <a:gd name="T25" fmla="*/ 2147483647 h 309"/>
                <a:gd name="T26" fmla="*/ 2147483647 w 187"/>
                <a:gd name="T27" fmla="*/ 2147483647 h 309"/>
                <a:gd name="T28" fmla="*/ 2147483647 w 187"/>
                <a:gd name="T29" fmla="*/ 0 h 309"/>
                <a:gd name="T30" fmla="*/ 2147483647 w 187"/>
                <a:gd name="T31" fmla="*/ 2147483647 h 309"/>
                <a:gd name="T32" fmla="*/ 2147483647 w 187"/>
                <a:gd name="T33" fmla="*/ 2147483647 h 309"/>
                <a:gd name="T34" fmla="*/ 2147483647 w 187"/>
                <a:gd name="T35" fmla="*/ 2147483647 h 309"/>
                <a:gd name="T36" fmla="*/ 2147483647 w 187"/>
                <a:gd name="T37" fmla="*/ 2147483647 h 309"/>
                <a:gd name="T38" fmla="*/ 2147483647 w 187"/>
                <a:gd name="T39" fmla="*/ 2147483647 h 309"/>
                <a:gd name="T40" fmla="*/ 2147483647 w 187"/>
                <a:gd name="T41" fmla="*/ 2147483647 h 309"/>
                <a:gd name="T42" fmla="*/ 0 w 187"/>
                <a:gd name="T43" fmla="*/ 2147483647 h 3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7" h="309">
                  <a:moveTo>
                    <a:pt x="0" y="156"/>
                  </a:moveTo>
                  <a:lnTo>
                    <a:pt x="0" y="277"/>
                  </a:lnTo>
                  <a:lnTo>
                    <a:pt x="25" y="300"/>
                  </a:lnTo>
                  <a:lnTo>
                    <a:pt x="50" y="309"/>
                  </a:lnTo>
                  <a:lnTo>
                    <a:pt x="81" y="309"/>
                  </a:lnTo>
                  <a:lnTo>
                    <a:pt x="106" y="265"/>
                  </a:lnTo>
                  <a:lnTo>
                    <a:pt x="106" y="256"/>
                  </a:lnTo>
                  <a:lnTo>
                    <a:pt x="131" y="244"/>
                  </a:lnTo>
                  <a:lnTo>
                    <a:pt x="131" y="221"/>
                  </a:lnTo>
                  <a:lnTo>
                    <a:pt x="181" y="188"/>
                  </a:lnTo>
                  <a:lnTo>
                    <a:pt x="168" y="177"/>
                  </a:lnTo>
                  <a:lnTo>
                    <a:pt x="187" y="77"/>
                  </a:lnTo>
                  <a:lnTo>
                    <a:pt x="175" y="44"/>
                  </a:lnTo>
                  <a:lnTo>
                    <a:pt x="143" y="10"/>
                  </a:lnTo>
                  <a:lnTo>
                    <a:pt x="137" y="0"/>
                  </a:lnTo>
                  <a:lnTo>
                    <a:pt x="112" y="33"/>
                  </a:lnTo>
                  <a:lnTo>
                    <a:pt x="106" y="112"/>
                  </a:lnTo>
                  <a:lnTo>
                    <a:pt x="125" y="133"/>
                  </a:lnTo>
                  <a:lnTo>
                    <a:pt x="125" y="167"/>
                  </a:lnTo>
                  <a:lnTo>
                    <a:pt x="37" y="89"/>
                  </a:lnTo>
                  <a:lnTo>
                    <a:pt x="37" y="156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16" name="Freeform 1076"/>
            <p:cNvSpPr>
              <a:spLocks/>
            </p:cNvSpPr>
            <p:nvPr>
              <p:custDataLst>
                <p:tags r:id="rId910"/>
              </p:custDataLst>
            </p:nvPr>
          </p:nvSpPr>
          <p:spPr bwMode="auto">
            <a:xfrm>
              <a:off x="4905623" y="4705350"/>
              <a:ext cx="274638" cy="244475"/>
            </a:xfrm>
            <a:custGeom>
              <a:avLst/>
              <a:gdLst>
                <a:gd name="T0" fmla="*/ 0 w 187"/>
                <a:gd name="T1" fmla="*/ 2147483647 h 309"/>
                <a:gd name="T2" fmla="*/ 0 w 187"/>
                <a:gd name="T3" fmla="*/ 2147483647 h 309"/>
                <a:gd name="T4" fmla="*/ 2147483647 w 187"/>
                <a:gd name="T5" fmla="*/ 2147483647 h 309"/>
                <a:gd name="T6" fmla="*/ 2147483647 w 187"/>
                <a:gd name="T7" fmla="*/ 2147483647 h 309"/>
                <a:gd name="T8" fmla="*/ 2147483647 w 187"/>
                <a:gd name="T9" fmla="*/ 2147483647 h 309"/>
                <a:gd name="T10" fmla="*/ 2147483647 w 187"/>
                <a:gd name="T11" fmla="*/ 2147483647 h 309"/>
                <a:gd name="T12" fmla="*/ 2147483647 w 187"/>
                <a:gd name="T13" fmla="*/ 2147483647 h 309"/>
                <a:gd name="T14" fmla="*/ 2147483647 w 187"/>
                <a:gd name="T15" fmla="*/ 2147483647 h 309"/>
                <a:gd name="T16" fmla="*/ 2147483647 w 187"/>
                <a:gd name="T17" fmla="*/ 2147483647 h 309"/>
                <a:gd name="T18" fmla="*/ 2147483647 w 187"/>
                <a:gd name="T19" fmla="*/ 2147483647 h 309"/>
                <a:gd name="T20" fmla="*/ 2147483647 w 187"/>
                <a:gd name="T21" fmla="*/ 2147483647 h 309"/>
                <a:gd name="T22" fmla="*/ 2147483647 w 187"/>
                <a:gd name="T23" fmla="*/ 2147483647 h 309"/>
                <a:gd name="T24" fmla="*/ 2147483647 w 187"/>
                <a:gd name="T25" fmla="*/ 2147483647 h 309"/>
                <a:gd name="T26" fmla="*/ 2147483647 w 187"/>
                <a:gd name="T27" fmla="*/ 2147483647 h 309"/>
                <a:gd name="T28" fmla="*/ 2147483647 w 187"/>
                <a:gd name="T29" fmla="*/ 0 h 309"/>
                <a:gd name="T30" fmla="*/ 2147483647 w 187"/>
                <a:gd name="T31" fmla="*/ 2147483647 h 309"/>
                <a:gd name="T32" fmla="*/ 2147483647 w 187"/>
                <a:gd name="T33" fmla="*/ 2147483647 h 309"/>
                <a:gd name="T34" fmla="*/ 2147483647 w 187"/>
                <a:gd name="T35" fmla="*/ 2147483647 h 309"/>
                <a:gd name="T36" fmla="*/ 2147483647 w 187"/>
                <a:gd name="T37" fmla="*/ 2147483647 h 309"/>
                <a:gd name="T38" fmla="*/ 2147483647 w 187"/>
                <a:gd name="T39" fmla="*/ 2147483647 h 309"/>
                <a:gd name="T40" fmla="*/ 2147483647 w 187"/>
                <a:gd name="T41" fmla="*/ 2147483647 h 309"/>
                <a:gd name="T42" fmla="*/ 0 w 187"/>
                <a:gd name="T43" fmla="*/ 2147483647 h 3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7" h="309">
                  <a:moveTo>
                    <a:pt x="0" y="156"/>
                  </a:moveTo>
                  <a:lnTo>
                    <a:pt x="0" y="277"/>
                  </a:lnTo>
                  <a:lnTo>
                    <a:pt x="25" y="300"/>
                  </a:lnTo>
                  <a:lnTo>
                    <a:pt x="50" y="309"/>
                  </a:lnTo>
                  <a:lnTo>
                    <a:pt x="81" y="309"/>
                  </a:lnTo>
                  <a:lnTo>
                    <a:pt x="106" y="265"/>
                  </a:lnTo>
                  <a:lnTo>
                    <a:pt x="106" y="256"/>
                  </a:lnTo>
                  <a:lnTo>
                    <a:pt x="131" y="244"/>
                  </a:lnTo>
                  <a:lnTo>
                    <a:pt x="131" y="221"/>
                  </a:lnTo>
                  <a:lnTo>
                    <a:pt x="181" y="188"/>
                  </a:lnTo>
                  <a:lnTo>
                    <a:pt x="168" y="177"/>
                  </a:lnTo>
                  <a:lnTo>
                    <a:pt x="187" y="77"/>
                  </a:lnTo>
                  <a:lnTo>
                    <a:pt x="175" y="44"/>
                  </a:lnTo>
                  <a:lnTo>
                    <a:pt x="143" y="10"/>
                  </a:lnTo>
                  <a:lnTo>
                    <a:pt x="137" y="0"/>
                  </a:lnTo>
                  <a:lnTo>
                    <a:pt x="112" y="33"/>
                  </a:lnTo>
                  <a:lnTo>
                    <a:pt x="106" y="112"/>
                  </a:lnTo>
                  <a:lnTo>
                    <a:pt x="125" y="133"/>
                  </a:lnTo>
                  <a:lnTo>
                    <a:pt x="125" y="167"/>
                  </a:lnTo>
                  <a:lnTo>
                    <a:pt x="37" y="89"/>
                  </a:lnTo>
                  <a:lnTo>
                    <a:pt x="37" y="156"/>
                  </a:lnTo>
                  <a:lnTo>
                    <a:pt x="0" y="156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17" name="Freeform 1077"/>
            <p:cNvSpPr>
              <a:spLocks/>
            </p:cNvSpPr>
            <p:nvPr>
              <p:custDataLst>
                <p:tags r:id="rId911"/>
              </p:custDataLst>
            </p:nvPr>
          </p:nvSpPr>
          <p:spPr bwMode="auto">
            <a:xfrm>
              <a:off x="4786561" y="5065713"/>
              <a:ext cx="366712" cy="334962"/>
            </a:xfrm>
            <a:custGeom>
              <a:avLst/>
              <a:gdLst>
                <a:gd name="T0" fmla="*/ 0 w 250"/>
                <a:gd name="T1" fmla="*/ 2147483647 h 423"/>
                <a:gd name="T2" fmla="*/ 2147483647 w 250"/>
                <a:gd name="T3" fmla="*/ 2147483647 h 423"/>
                <a:gd name="T4" fmla="*/ 2147483647 w 250"/>
                <a:gd name="T5" fmla="*/ 2147483647 h 423"/>
                <a:gd name="T6" fmla="*/ 2147483647 w 250"/>
                <a:gd name="T7" fmla="*/ 2147483647 h 423"/>
                <a:gd name="T8" fmla="*/ 2147483647 w 250"/>
                <a:gd name="T9" fmla="*/ 2147483647 h 423"/>
                <a:gd name="T10" fmla="*/ 2147483647 w 250"/>
                <a:gd name="T11" fmla="*/ 2147483647 h 423"/>
                <a:gd name="T12" fmla="*/ 2147483647 w 250"/>
                <a:gd name="T13" fmla="*/ 2147483647 h 423"/>
                <a:gd name="T14" fmla="*/ 2147483647 w 250"/>
                <a:gd name="T15" fmla="*/ 2147483647 h 423"/>
                <a:gd name="T16" fmla="*/ 2147483647 w 250"/>
                <a:gd name="T17" fmla="*/ 2147483647 h 423"/>
                <a:gd name="T18" fmla="*/ 2147483647 w 250"/>
                <a:gd name="T19" fmla="*/ 2147483647 h 423"/>
                <a:gd name="T20" fmla="*/ 2147483647 w 250"/>
                <a:gd name="T21" fmla="*/ 2147483647 h 423"/>
                <a:gd name="T22" fmla="*/ 2147483647 w 250"/>
                <a:gd name="T23" fmla="*/ 0 h 423"/>
                <a:gd name="T24" fmla="*/ 2147483647 w 250"/>
                <a:gd name="T25" fmla="*/ 2147483647 h 423"/>
                <a:gd name="T26" fmla="*/ 2147483647 w 250"/>
                <a:gd name="T27" fmla="*/ 2147483647 h 423"/>
                <a:gd name="T28" fmla="*/ 2147483647 w 250"/>
                <a:gd name="T29" fmla="*/ 2147483647 h 423"/>
                <a:gd name="T30" fmla="*/ 2147483647 w 250"/>
                <a:gd name="T31" fmla="*/ 2147483647 h 423"/>
                <a:gd name="T32" fmla="*/ 2147483647 w 250"/>
                <a:gd name="T33" fmla="*/ 2147483647 h 423"/>
                <a:gd name="T34" fmla="*/ 2147483647 w 250"/>
                <a:gd name="T35" fmla="*/ 2147483647 h 423"/>
                <a:gd name="T36" fmla="*/ 2147483647 w 250"/>
                <a:gd name="T37" fmla="*/ 2147483647 h 423"/>
                <a:gd name="T38" fmla="*/ 2147483647 w 250"/>
                <a:gd name="T39" fmla="*/ 2147483647 h 423"/>
                <a:gd name="T40" fmla="*/ 2147483647 w 250"/>
                <a:gd name="T41" fmla="*/ 2147483647 h 423"/>
                <a:gd name="T42" fmla="*/ 2147483647 w 250"/>
                <a:gd name="T43" fmla="*/ 2147483647 h 423"/>
                <a:gd name="T44" fmla="*/ 2147483647 w 250"/>
                <a:gd name="T45" fmla="*/ 2147483647 h 423"/>
                <a:gd name="T46" fmla="*/ 2147483647 w 250"/>
                <a:gd name="T47" fmla="*/ 2147483647 h 423"/>
                <a:gd name="T48" fmla="*/ 2147483647 w 250"/>
                <a:gd name="T49" fmla="*/ 2147483647 h 423"/>
                <a:gd name="T50" fmla="*/ 0 w 250"/>
                <a:gd name="T51" fmla="*/ 2147483647 h 42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0" h="423">
                  <a:moveTo>
                    <a:pt x="0" y="223"/>
                  </a:moveTo>
                  <a:lnTo>
                    <a:pt x="7" y="214"/>
                  </a:lnTo>
                  <a:lnTo>
                    <a:pt x="19" y="235"/>
                  </a:lnTo>
                  <a:lnTo>
                    <a:pt x="39" y="235"/>
                  </a:lnTo>
                  <a:lnTo>
                    <a:pt x="50" y="214"/>
                  </a:lnTo>
                  <a:lnTo>
                    <a:pt x="50" y="91"/>
                  </a:lnTo>
                  <a:lnTo>
                    <a:pt x="63" y="121"/>
                  </a:lnTo>
                  <a:lnTo>
                    <a:pt x="63" y="156"/>
                  </a:lnTo>
                  <a:lnTo>
                    <a:pt x="88" y="156"/>
                  </a:lnTo>
                  <a:lnTo>
                    <a:pt x="108" y="112"/>
                  </a:lnTo>
                  <a:lnTo>
                    <a:pt x="138" y="112"/>
                  </a:lnTo>
                  <a:lnTo>
                    <a:pt x="195" y="0"/>
                  </a:lnTo>
                  <a:lnTo>
                    <a:pt x="232" y="21"/>
                  </a:lnTo>
                  <a:lnTo>
                    <a:pt x="238" y="121"/>
                  </a:lnTo>
                  <a:lnTo>
                    <a:pt x="219" y="156"/>
                  </a:lnTo>
                  <a:lnTo>
                    <a:pt x="232" y="179"/>
                  </a:lnTo>
                  <a:lnTo>
                    <a:pt x="238" y="156"/>
                  </a:lnTo>
                  <a:lnTo>
                    <a:pt x="250" y="156"/>
                  </a:lnTo>
                  <a:lnTo>
                    <a:pt x="244" y="214"/>
                  </a:lnTo>
                  <a:lnTo>
                    <a:pt x="207" y="313"/>
                  </a:lnTo>
                  <a:lnTo>
                    <a:pt x="163" y="402"/>
                  </a:lnTo>
                  <a:lnTo>
                    <a:pt x="126" y="423"/>
                  </a:lnTo>
                  <a:lnTo>
                    <a:pt x="32" y="423"/>
                  </a:lnTo>
                  <a:lnTo>
                    <a:pt x="19" y="379"/>
                  </a:lnTo>
                  <a:lnTo>
                    <a:pt x="25" y="346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918" name="Group 1078"/>
            <p:cNvGrpSpPr>
              <a:grpSpLocks/>
            </p:cNvGrpSpPr>
            <p:nvPr>
              <p:custDataLst>
                <p:tags r:id="rId912"/>
              </p:custDataLst>
            </p:nvPr>
          </p:nvGrpSpPr>
          <p:grpSpPr bwMode="auto">
            <a:xfrm>
              <a:off x="4786561" y="5065713"/>
              <a:ext cx="366712" cy="334962"/>
              <a:chOff x="3201" y="3009"/>
              <a:chExt cx="250" cy="211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71" name="Freeform 1079"/>
              <p:cNvSpPr>
                <a:spLocks/>
              </p:cNvSpPr>
              <p:nvPr/>
            </p:nvSpPr>
            <p:spPr bwMode="auto">
              <a:xfrm>
                <a:off x="3201" y="3009"/>
                <a:ext cx="250" cy="211"/>
              </a:xfrm>
              <a:custGeom>
                <a:avLst/>
                <a:gdLst>
                  <a:gd name="T0" fmla="*/ 0 w 250"/>
                  <a:gd name="T1" fmla="*/ 0 h 423"/>
                  <a:gd name="T2" fmla="*/ 7 w 250"/>
                  <a:gd name="T3" fmla="*/ 0 h 423"/>
                  <a:gd name="T4" fmla="*/ 19 w 250"/>
                  <a:gd name="T5" fmla="*/ 0 h 423"/>
                  <a:gd name="T6" fmla="*/ 39 w 250"/>
                  <a:gd name="T7" fmla="*/ 0 h 423"/>
                  <a:gd name="T8" fmla="*/ 50 w 250"/>
                  <a:gd name="T9" fmla="*/ 0 h 423"/>
                  <a:gd name="T10" fmla="*/ 50 w 250"/>
                  <a:gd name="T11" fmla="*/ 0 h 423"/>
                  <a:gd name="T12" fmla="*/ 63 w 250"/>
                  <a:gd name="T13" fmla="*/ 0 h 423"/>
                  <a:gd name="T14" fmla="*/ 63 w 250"/>
                  <a:gd name="T15" fmla="*/ 0 h 423"/>
                  <a:gd name="T16" fmla="*/ 88 w 250"/>
                  <a:gd name="T17" fmla="*/ 0 h 423"/>
                  <a:gd name="T18" fmla="*/ 108 w 250"/>
                  <a:gd name="T19" fmla="*/ 0 h 423"/>
                  <a:gd name="T20" fmla="*/ 138 w 250"/>
                  <a:gd name="T21" fmla="*/ 0 h 423"/>
                  <a:gd name="T22" fmla="*/ 195 w 250"/>
                  <a:gd name="T23" fmla="*/ 0 h 423"/>
                  <a:gd name="T24" fmla="*/ 232 w 250"/>
                  <a:gd name="T25" fmla="*/ 0 h 423"/>
                  <a:gd name="T26" fmla="*/ 238 w 250"/>
                  <a:gd name="T27" fmla="*/ 0 h 423"/>
                  <a:gd name="T28" fmla="*/ 219 w 250"/>
                  <a:gd name="T29" fmla="*/ 0 h 423"/>
                  <a:gd name="T30" fmla="*/ 232 w 250"/>
                  <a:gd name="T31" fmla="*/ 0 h 423"/>
                  <a:gd name="T32" fmla="*/ 238 w 250"/>
                  <a:gd name="T33" fmla="*/ 0 h 423"/>
                  <a:gd name="T34" fmla="*/ 250 w 250"/>
                  <a:gd name="T35" fmla="*/ 0 h 423"/>
                  <a:gd name="T36" fmla="*/ 244 w 250"/>
                  <a:gd name="T37" fmla="*/ 0 h 423"/>
                  <a:gd name="T38" fmla="*/ 207 w 250"/>
                  <a:gd name="T39" fmla="*/ 0 h 423"/>
                  <a:gd name="T40" fmla="*/ 163 w 250"/>
                  <a:gd name="T41" fmla="*/ 0 h 423"/>
                  <a:gd name="T42" fmla="*/ 126 w 250"/>
                  <a:gd name="T43" fmla="*/ 0 h 423"/>
                  <a:gd name="T44" fmla="*/ 32 w 250"/>
                  <a:gd name="T45" fmla="*/ 0 h 423"/>
                  <a:gd name="T46" fmla="*/ 19 w 250"/>
                  <a:gd name="T47" fmla="*/ 0 h 423"/>
                  <a:gd name="T48" fmla="*/ 25 w 250"/>
                  <a:gd name="T49" fmla="*/ 0 h 423"/>
                  <a:gd name="T50" fmla="*/ 0 w 250"/>
                  <a:gd name="T51" fmla="*/ 0 h 42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250" h="423">
                    <a:moveTo>
                      <a:pt x="0" y="223"/>
                    </a:moveTo>
                    <a:lnTo>
                      <a:pt x="7" y="214"/>
                    </a:lnTo>
                    <a:lnTo>
                      <a:pt x="19" y="235"/>
                    </a:lnTo>
                    <a:lnTo>
                      <a:pt x="39" y="235"/>
                    </a:lnTo>
                    <a:lnTo>
                      <a:pt x="50" y="214"/>
                    </a:lnTo>
                    <a:lnTo>
                      <a:pt x="50" y="91"/>
                    </a:lnTo>
                    <a:lnTo>
                      <a:pt x="63" y="121"/>
                    </a:lnTo>
                    <a:lnTo>
                      <a:pt x="63" y="156"/>
                    </a:lnTo>
                    <a:lnTo>
                      <a:pt x="88" y="156"/>
                    </a:lnTo>
                    <a:lnTo>
                      <a:pt x="108" y="112"/>
                    </a:lnTo>
                    <a:lnTo>
                      <a:pt x="138" y="112"/>
                    </a:lnTo>
                    <a:lnTo>
                      <a:pt x="195" y="0"/>
                    </a:lnTo>
                    <a:lnTo>
                      <a:pt x="232" y="21"/>
                    </a:lnTo>
                    <a:lnTo>
                      <a:pt x="238" y="121"/>
                    </a:lnTo>
                    <a:lnTo>
                      <a:pt x="219" y="156"/>
                    </a:lnTo>
                    <a:lnTo>
                      <a:pt x="232" y="179"/>
                    </a:lnTo>
                    <a:lnTo>
                      <a:pt x="238" y="156"/>
                    </a:lnTo>
                    <a:lnTo>
                      <a:pt x="250" y="156"/>
                    </a:lnTo>
                    <a:lnTo>
                      <a:pt x="244" y="214"/>
                    </a:lnTo>
                    <a:lnTo>
                      <a:pt x="207" y="313"/>
                    </a:lnTo>
                    <a:lnTo>
                      <a:pt x="163" y="402"/>
                    </a:lnTo>
                    <a:lnTo>
                      <a:pt x="126" y="423"/>
                    </a:lnTo>
                    <a:lnTo>
                      <a:pt x="32" y="423"/>
                    </a:lnTo>
                    <a:lnTo>
                      <a:pt x="19" y="379"/>
                    </a:lnTo>
                    <a:lnTo>
                      <a:pt x="25" y="346"/>
                    </a:lnTo>
                    <a:lnTo>
                      <a:pt x="0" y="223"/>
                    </a:lnTo>
                    <a:close/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72" name="Freeform 1080"/>
              <p:cNvSpPr>
                <a:spLocks/>
              </p:cNvSpPr>
              <p:nvPr/>
            </p:nvSpPr>
            <p:spPr bwMode="auto">
              <a:xfrm>
                <a:off x="3201" y="3009"/>
                <a:ext cx="250" cy="211"/>
              </a:xfrm>
              <a:custGeom>
                <a:avLst/>
                <a:gdLst>
                  <a:gd name="T0" fmla="*/ 0 w 250"/>
                  <a:gd name="T1" fmla="*/ 0 h 423"/>
                  <a:gd name="T2" fmla="*/ 7 w 250"/>
                  <a:gd name="T3" fmla="*/ 0 h 423"/>
                  <a:gd name="T4" fmla="*/ 19 w 250"/>
                  <a:gd name="T5" fmla="*/ 0 h 423"/>
                  <a:gd name="T6" fmla="*/ 39 w 250"/>
                  <a:gd name="T7" fmla="*/ 0 h 423"/>
                  <a:gd name="T8" fmla="*/ 50 w 250"/>
                  <a:gd name="T9" fmla="*/ 0 h 423"/>
                  <a:gd name="T10" fmla="*/ 50 w 250"/>
                  <a:gd name="T11" fmla="*/ 0 h 423"/>
                  <a:gd name="T12" fmla="*/ 63 w 250"/>
                  <a:gd name="T13" fmla="*/ 0 h 423"/>
                  <a:gd name="T14" fmla="*/ 63 w 250"/>
                  <a:gd name="T15" fmla="*/ 0 h 423"/>
                  <a:gd name="T16" fmla="*/ 88 w 250"/>
                  <a:gd name="T17" fmla="*/ 0 h 423"/>
                  <a:gd name="T18" fmla="*/ 108 w 250"/>
                  <a:gd name="T19" fmla="*/ 0 h 423"/>
                  <a:gd name="T20" fmla="*/ 138 w 250"/>
                  <a:gd name="T21" fmla="*/ 0 h 423"/>
                  <a:gd name="T22" fmla="*/ 195 w 250"/>
                  <a:gd name="T23" fmla="*/ 0 h 423"/>
                  <a:gd name="T24" fmla="*/ 232 w 250"/>
                  <a:gd name="T25" fmla="*/ 0 h 423"/>
                  <a:gd name="T26" fmla="*/ 238 w 250"/>
                  <a:gd name="T27" fmla="*/ 0 h 423"/>
                  <a:gd name="T28" fmla="*/ 219 w 250"/>
                  <a:gd name="T29" fmla="*/ 0 h 423"/>
                  <a:gd name="T30" fmla="*/ 232 w 250"/>
                  <a:gd name="T31" fmla="*/ 0 h 423"/>
                  <a:gd name="T32" fmla="*/ 238 w 250"/>
                  <a:gd name="T33" fmla="*/ 0 h 423"/>
                  <a:gd name="T34" fmla="*/ 250 w 250"/>
                  <a:gd name="T35" fmla="*/ 0 h 423"/>
                  <a:gd name="T36" fmla="*/ 244 w 250"/>
                  <a:gd name="T37" fmla="*/ 0 h 423"/>
                  <a:gd name="T38" fmla="*/ 207 w 250"/>
                  <a:gd name="T39" fmla="*/ 0 h 423"/>
                  <a:gd name="T40" fmla="*/ 163 w 250"/>
                  <a:gd name="T41" fmla="*/ 0 h 423"/>
                  <a:gd name="T42" fmla="*/ 126 w 250"/>
                  <a:gd name="T43" fmla="*/ 0 h 423"/>
                  <a:gd name="T44" fmla="*/ 32 w 250"/>
                  <a:gd name="T45" fmla="*/ 0 h 423"/>
                  <a:gd name="T46" fmla="*/ 19 w 250"/>
                  <a:gd name="T47" fmla="*/ 0 h 423"/>
                  <a:gd name="T48" fmla="*/ 25 w 250"/>
                  <a:gd name="T49" fmla="*/ 0 h 423"/>
                  <a:gd name="T50" fmla="*/ 0 w 250"/>
                  <a:gd name="T51" fmla="*/ 0 h 42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250" h="423">
                    <a:moveTo>
                      <a:pt x="0" y="223"/>
                    </a:moveTo>
                    <a:lnTo>
                      <a:pt x="7" y="214"/>
                    </a:lnTo>
                    <a:lnTo>
                      <a:pt x="19" y="235"/>
                    </a:lnTo>
                    <a:lnTo>
                      <a:pt x="39" y="235"/>
                    </a:lnTo>
                    <a:lnTo>
                      <a:pt x="50" y="214"/>
                    </a:lnTo>
                    <a:lnTo>
                      <a:pt x="50" y="91"/>
                    </a:lnTo>
                    <a:lnTo>
                      <a:pt x="63" y="121"/>
                    </a:lnTo>
                    <a:lnTo>
                      <a:pt x="63" y="156"/>
                    </a:lnTo>
                    <a:lnTo>
                      <a:pt x="88" y="156"/>
                    </a:lnTo>
                    <a:lnTo>
                      <a:pt x="108" y="112"/>
                    </a:lnTo>
                    <a:lnTo>
                      <a:pt x="138" y="112"/>
                    </a:lnTo>
                    <a:lnTo>
                      <a:pt x="195" y="0"/>
                    </a:lnTo>
                    <a:lnTo>
                      <a:pt x="232" y="21"/>
                    </a:lnTo>
                    <a:lnTo>
                      <a:pt x="238" y="121"/>
                    </a:lnTo>
                    <a:lnTo>
                      <a:pt x="219" y="156"/>
                    </a:lnTo>
                    <a:lnTo>
                      <a:pt x="232" y="179"/>
                    </a:lnTo>
                    <a:lnTo>
                      <a:pt x="238" y="156"/>
                    </a:lnTo>
                    <a:lnTo>
                      <a:pt x="250" y="156"/>
                    </a:lnTo>
                    <a:lnTo>
                      <a:pt x="244" y="214"/>
                    </a:lnTo>
                    <a:lnTo>
                      <a:pt x="207" y="313"/>
                    </a:lnTo>
                    <a:lnTo>
                      <a:pt x="163" y="402"/>
                    </a:lnTo>
                    <a:lnTo>
                      <a:pt x="126" y="423"/>
                    </a:lnTo>
                    <a:lnTo>
                      <a:pt x="32" y="423"/>
                    </a:lnTo>
                    <a:lnTo>
                      <a:pt x="19" y="379"/>
                    </a:lnTo>
                    <a:lnTo>
                      <a:pt x="25" y="346"/>
                    </a:lnTo>
                    <a:lnTo>
                      <a:pt x="0" y="223"/>
                    </a:lnTo>
                  </a:path>
                </a:pathLst>
              </a:custGeom>
              <a:grpFill/>
              <a:ln w="0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919" name="Freeform 1081"/>
            <p:cNvSpPr>
              <a:spLocks/>
            </p:cNvSpPr>
            <p:nvPr>
              <p:custDataLst>
                <p:tags r:id="rId913"/>
              </p:custDataLst>
            </p:nvPr>
          </p:nvSpPr>
          <p:spPr bwMode="auto">
            <a:xfrm>
              <a:off x="4786561" y="5065713"/>
              <a:ext cx="366712" cy="334962"/>
            </a:xfrm>
            <a:custGeom>
              <a:avLst/>
              <a:gdLst>
                <a:gd name="T0" fmla="*/ 0 w 250"/>
                <a:gd name="T1" fmla="*/ 2147483647 h 423"/>
                <a:gd name="T2" fmla="*/ 2147483647 w 250"/>
                <a:gd name="T3" fmla="*/ 2147483647 h 423"/>
                <a:gd name="T4" fmla="*/ 2147483647 w 250"/>
                <a:gd name="T5" fmla="*/ 2147483647 h 423"/>
                <a:gd name="T6" fmla="*/ 2147483647 w 250"/>
                <a:gd name="T7" fmla="*/ 2147483647 h 423"/>
                <a:gd name="T8" fmla="*/ 2147483647 w 250"/>
                <a:gd name="T9" fmla="*/ 2147483647 h 423"/>
                <a:gd name="T10" fmla="*/ 2147483647 w 250"/>
                <a:gd name="T11" fmla="*/ 2147483647 h 423"/>
                <a:gd name="T12" fmla="*/ 2147483647 w 250"/>
                <a:gd name="T13" fmla="*/ 2147483647 h 423"/>
                <a:gd name="T14" fmla="*/ 2147483647 w 250"/>
                <a:gd name="T15" fmla="*/ 2147483647 h 423"/>
                <a:gd name="T16" fmla="*/ 2147483647 w 250"/>
                <a:gd name="T17" fmla="*/ 2147483647 h 423"/>
                <a:gd name="T18" fmla="*/ 2147483647 w 250"/>
                <a:gd name="T19" fmla="*/ 2147483647 h 423"/>
                <a:gd name="T20" fmla="*/ 2147483647 w 250"/>
                <a:gd name="T21" fmla="*/ 2147483647 h 423"/>
                <a:gd name="T22" fmla="*/ 2147483647 w 250"/>
                <a:gd name="T23" fmla="*/ 0 h 423"/>
                <a:gd name="T24" fmla="*/ 2147483647 w 250"/>
                <a:gd name="T25" fmla="*/ 2147483647 h 423"/>
                <a:gd name="T26" fmla="*/ 2147483647 w 250"/>
                <a:gd name="T27" fmla="*/ 2147483647 h 423"/>
                <a:gd name="T28" fmla="*/ 2147483647 w 250"/>
                <a:gd name="T29" fmla="*/ 2147483647 h 423"/>
                <a:gd name="T30" fmla="*/ 2147483647 w 250"/>
                <a:gd name="T31" fmla="*/ 2147483647 h 423"/>
                <a:gd name="T32" fmla="*/ 2147483647 w 250"/>
                <a:gd name="T33" fmla="*/ 2147483647 h 423"/>
                <a:gd name="T34" fmla="*/ 2147483647 w 250"/>
                <a:gd name="T35" fmla="*/ 2147483647 h 423"/>
                <a:gd name="T36" fmla="*/ 2147483647 w 250"/>
                <a:gd name="T37" fmla="*/ 2147483647 h 423"/>
                <a:gd name="T38" fmla="*/ 2147483647 w 250"/>
                <a:gd name="T39" fmla="*/ 2147483647 h 423"/>
                <a:gd name="T40" fmla="*/ 2147483647 w 250"/>
                <a:gd name="T41" fmla="*/ 2147483647 h 423"/>
                <a:gd name="T42" fmla="*/ 2147483647 w 250"/>
                <a:gd name="T43" fmla="*/ 2147483647 h 423"/>
                <a:gd name="T44" fmla="*/ 2147483647 w 250"/>
                <a:gd name="T45" fmla="*/ 2147483647 h 423"/>
                <a:gd name="T46" fmla="*/ 2147483647 w 250"/>
                <a:gd name="T47" fmla="*/ 2147483647 h 423"/>
                <a:gd name="T48" fmla="*/ 2147483647 w 250"/>
                <a:gd name="T49" fmla="*/ 2147483647 h 423"/>
                <a:gd name="T50" fmla="*/ 0 w 250"/>
                <a:gd name="T51" fmla="*/ 2147483647 h 42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0" h="423">
                  <a:moveTo>
                    <a:pt x="0" y="223"/>
                  </a:moveTo>
                  <a:lnTo>
                    <a:pt x="7" y="214"/>
                  </a:lnTo>
                  <a:lnTo>
                    <a:pt x="19" y="235"/>
                  </a:lnTo>
                  <a:lnTo>
                    <a:pt x="39" y="235"/>
                  </a:lnTo>
                  <a:lnTo>
                    <a:pt x="50" y="214"/>
                  </a:lnTo>
                  <a:lnTo>
                    <a:pt x="50" y="91"/>
                  </a:lnTo>
                  <a:lnTo>
                    <a:pt x="63" y="121"/>
                  </a:lnTo>
                  <a:lnTo>
                    <a:pt x="63" y="156"/>
                  </a:lnTo>
                  <a:lnTo>
                    <a:pt x="88" y="156"/>
                  </a:lnTo>
                  <a:lnTo>
                    <a:pt x="108" y="112"/>
                  </a:lnTo>
                  <a:lnTo>
                    <a:pt x="138" y="112"/>
                  </a:lnTo>
                  <a:lnTo>
                    <a:pt x="195" y="0"/>
                  </a:lnTo>
                  <a:lnTo>
                    <a:pt x="232" y="21"/>
                  </a:lnTo>
                  <a:lnTo>
                    <a:pt x="238" y="121"/>
                  </a:lnTo>
                  <a:lnTo>
                    <a:pt x="219" y="156"/>
                  </a:lnTo>
                  <a:lnTo>
                    <a:pt x="232" y="179"/>
                  </a:lnTo>
                  <a:lnTo>
                    <a:pt x="238" y="156"/>
                  </a:lnTo>
                  <a:lnTo>
                    <a:pt x="250" y="156"/>
                  </a:lnTo>
                  <a:lnTo>
                    <a:pt x="244" y="214"/>
                  </a:lnTo>
                  <a:lnTo>
                    <a:pt x="207" y="313"/>
                  </a:lnTo>
                  <a:lnTo>
                    <a:pt x="163" y="402"/>
                  </a:lnTo>
                  <a:lnTo>
                    <a:pt x="126" y="423"/>
                  </a:lnTo>
                  <a:lnTo>
                    <a:pt x="32" y="423"/>
                  </a:lnTo>
                  <a:lnTo>
                    <a:pt x="19" y="379"/>
                  </a:lnTo>
                  <a:lnTo>
                    <a:pt x="25" y="346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grpSp>
          <p:nvGrpSpPr>
            <p:cNvPr id="920" name="Group 1082"/>
            <p:cNvGrpSpPr>
              <a:grpSpLocks/>
            </p:cNvGrpSpPr>
            <p:nvPr>
              <p:custDataLst>
                <p:tags r:id="rId914"/>
              </p:custDataLst>
            </p:nvPr>
          </p:nvGrpSpPr>
          <p:grpSpPr bwMode="auto">
            <a:xfrm>
              <a:off x="4786561" y="5065713"/>
              <a:ext cx="366712" cy="334962"/>
              <a:chOff x="3201" y="3009"/>
              <a:chExt cx="250" cy="211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969" name="Freeform 1083"/>
              <p:cNvSpPr>
                <a:spLocks/>
              </p:cNvSpPr>
              <p:nvPr/>
            </p:nvSpPr>
            <p:spPr bwMode="auto">
              <a:xfrm>
                <a:off x="3201" y="3009"/>
                <a:ext cx="250" cy="211"/>
              </a:xfrm>
              <a:custGeom>
                <a:avLst/>
                <a:gdLst>
                  <a:gd name="T0" fmla="*/ 0 w 250"/>
                  <a:gd name="T1" fmla="*/ 0 h 423"/>
                  <a:gd name="T2" fmla="*/ 7 w 250"/>
                  <a:gd name="T3" fmla="*/ 0 h 423"/>
                  <a:gd name="T4" fmla="*/ 19 w 250"/>
                  <a:gd name="T5" fmla="*/ 0 h 423"/>
                  <a:gd name="T6" fmla="*/ 39 w 250"/>
                  <a:gd name="T7" fmla="*/ 0 h 423"/>
                  <a:gd name="T8" fmla="*/ 50 w 250"/>
                  <a:gd name="T9" fmla="*/ 0 h 423"/>
                  <a:gd name="T10" fmla="*/ 50 w 250"/>
                  <a:gd name="T11" fmla="*/ 0 h 423"/>
                  <a:gd name="T12" fmla="*/ 63 w 250"/>
                  <a:gd name="T13" fmla="*/ 0 h 423"/>
                  <a:gd name="T14" fmla="*/ 63 w 250"/>
                  <a:gd name="T15" fmla="*/ 0 h 423"/>
                  <a:gd name="T16" fmla="*/ 88 w 250"/>
                  <a:gd name="T17" fmla="*/ 0 h 423"/>
                  <a:gd name="T18" fmla="*/ 108 w 250"/>
                  <a:gd name="T19" fmla="*/ 0 h 423"/>
                  <a:gd name="T20" fmla="*/ 138 w 250"/>
                  <a:gd name="T21" fmla="*/ 0 h 423"/>
                  <a:gd name="T22" fmla="*/ 195 w 250"/>
                  <a:gd name="T23" fmla="*/ 0 h 423"/>
                  <a:gd name="T24" fmla="*/ 232 w 250"/>
                  <a:gd name="T25" fmla="*/ 0 h 423"/>
                  <a:gd name="T26" fmla="*/ 238 w 250"/>
                  <a:gd name="T27" fmla="*/ 0 h 423"/>
                  <a:gd name="T28" fmla="*/ 219 w 250"/>
                  <a:gd name="T29" fmla="*/ 0 h 423"/>
                  <a:gd name="T30" fmla="*/ 232 w 250"/>
                  <a:gd name="T31" fmla="*/ 0 h 423"/>
                  <a:gd name="T32" fmla="*/ 238 w 250"/>
                  <a:gd name="T33" fmla="*/ 0 h 423"/>
                  <a:gd name="T34" fmla="*/ 250 w 250"/>
                  <a:gd name="T35" fmla="*/ 0 h 423"/>
                  <a:gd name="T36" fmla="*/ 244 w 250"/>
                  <a:gd name="T37" fmla="*/ 0 h 423"/>
                  <a:gd name="T38" fmla="*/ 207 w 250"/>
                  <a:gd name="T39" fmla="*/ 0 h 423"/>
                  <a:gd name="T40" fmla="*/ 163 w 250"/>
                  <a:gd name="T41" fmla="*/ 0 h 423"/>
                  <a:gd name="T42" fmla="*/ 126 w 250"/>
                  <a:gd name="T43" fmla="*/ 0 h 423"/>
                  <a:gd name="T44" fmla="*/ 32 w 250"/>
                  <a:gd name="T45" fmla="*/ 0 h 423"/>
                  <a:gd name="T46" fmla="*/ 19 w 250"/>
                  <a:gd name="T47" fmla="*/ 0 h 423"/>
                  <a:gd name="T48" fmla="*/ 25 w 250"/>
                  <a:gd name="T49" fmla="*/ 0 h 423"/>
                  <a:gd name="T50" fmla="*/ 0 w 250"/>
                  <a:gd name="T51" fmla="*/ 0 h 42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250" h="423">
                    <a:moveTo>
                      <a:pt x="0" y="223"/>
                    </a:moveTo>
                    <a:lnTo>
                      <a:pt x="7" y="214"/>
                    </a:lnTo>
                    <a:lnTo>
                      <a:pt x="19" y="235"/>
                    </a:lnTo>
                    <a:lnTo>
                      <a:pt x="39" y="235"/>
                    </a:lnTo>
                    <a:lnTo>
                      <a:pt x="50" y="214"/>
                    </a:lnTo>
                    <a:lnTo>
                      <a:pt x="50" y="91"/>
                    </a:lnTo>
                    <a:lnTo>
                      <a:pt x="63" y="121"/>
                    </a:lnTo>
                    <a:lnTo>
                      <a:pt x="63" y="156"/>
                    </a:lnTo>
                    <a:lnTo>
                      <a:pt x="88" y="156"/>
                    </a:lnTo>
                    <a:lnTo>
                      <a:pt x="108" y="112"/>
                    </a:lnTo>
                    <a:lnTo>
                      <a:pt x="138" y="112"/>
                    </a:lnTo>
                    <a:lnTo>
                      <a:pt x="195" y="0"/>
                    </a:lnTo>
                    <a:lnTo>
                      <a:pt x="232" y="21"/>
                    </a:lnTo>
                    <a:lnTo>
                      <a:pt x="238" y="121"/>
                    </a:lnTo>
                    <a:lnTo>
                      <a:pt x="219" y="156"/>
                    </a:lnTo>
                    <a:lnTo>
                      <a:pt x="232" y="179"/>
                    </a:lnTo>
                    <a:lnTo>
                      <a:pt x="238" y="156"/>
                    </a:lnTo>
                    <a:lnTo>
                      <a:pt x="250" y="156"/>
                    </a:lnTo>
                    <a:lnTo>
                      <a:pt x="244" y="214"/>
                    </a:lnTo>
                    <a:lnTo>
                      <a:pt x="207" y="313"/>
                    </a:lnTo>
                    <a:lnTo>
                      <a:pt x="163" y="402"/>
                    </a:lnTo>
                    <a:lnTo>
                      <a:pt x="126" y="423"/>
                    </a:lnTo>
                    <a:lnTo>
                      <a:pt x="32" y="423"/>
                    </a:lnTo>
                    <a:lnTo>
                      <a:pt x="19" y="379"/>
                    </a:lnTo>
                    <a:lnTo>
                      <a:pt x="25" y="346"/>
                    </a:lnTo>
                    <a:lnTo>
                      <a:pt x="0" y="223"/>
                    </a:lnTo>
                    <a:close/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970" name="Freeform 1084"/>
              <p:cNvSpPr>
                <a:spLocks/>
              </p:cNvSpPr>
              <p:nvPr/>
            </p:nvSpPr>
            <p:spPr bwMode="auto">
              <a:xfrm>
                <a:off x="3201" y="3009"/>
                <a:ext cx="250" cy="211"/>
              </a:xfrm>
              <a:custGeom>
                <a:avLst/>
                <a:gdLst>
                  <a:gd name="T0" fmla="*/ 0 w 250"/>
                  <a:gd name="T1" fmla="*/ 0 h 423"/>
                  <a:gd name="T2" fmla="*/ 7 w 250"/>
                  <a:gd name="T3" fmla="*/ 0 h 423"/>
                  <a:gd name="T4" fmla="*/ 19 w 250"/>
                  <a:gd name="T5" fmla="*/ 0 h 423"/>
                  <a:gd name="T6" fmla="*/ 39 w 250"/>
                  <a:gd name="T7" fmla="*/ 0 h 423"/>
                  <a:gd name="T8" fmla="*/ 50 w 250"/>
                  <a:gd name="T9" fmla="*/ 0 h 423"/>
                  <a:gd name="T10" fmla="*/ 50 w 250"/>
                  <a:gd name="T11" fmla="*/ 0 h 423"/>
                  <a:gd name="T12" fmla="*/ 63 w 250"/>
                  <a:gd name="T13" fmla="*/ 0 h 423"/>
                  <a:gd name="T14" fmla="*/ 63 w 250"/>
                  <a:gd name="T15" fmla="*/ 0 h 423"/>
                  <a:gd name="T16" fmla="*/ 88 w 250"/>
                  <a:gd name="T17" fmla="*/ 0 h 423"/>
                  <a:gd name="T18" fmla="*/ 108 w 250"/>
                  <a:gd name="T19" fmla="*/ 0 h 423"/>
                  <a:gd name="T20" fmla="*/ 138 w 250"/>
                  <a:gd name="T21" fmla="*/ 0 h 423"/>
                  <a:gd name="T22" fmla="*/ 195 w 250"/>
                  <a:gd name="T23" fmla="*/ 0 h 423"/>
                  <a:gd name="T24" fmla="*/ 232 w 250"/>
                  <a:gd name="T25" fmla="*/ 0 h 423"/>
                  <a:gd name="T26" fmla="*/ 238 w 250"/>
                  <a:gd name="T27" fmla="*/ 0 h 423"/>
                  <a:gd name="T28" fmla="*/ 219 w 250"/>
                  <a:gd name="T29" fmla="*/ 0 h 423"/>
                  <a:gd name="T30" fmla="*/ 232 w 250"/>
                  <a:gd name="T31" fmla="*/ 0 h 423"/>
                  <a:gd name="T32" fmla="*/ 238 w 250"/>
                  <a:gd name="T33" fmla="*/ 0 h 423"/>
                  <a:gd name="T34" fmla="*/ 250 w 250"/>
                  <a:gd name="T35" fmla="*/ 0 h 423"/>
                  <a:gd name="T36" fmla="*/ 244 w 250"/>
                  <a:gd name="T37" fmla="*/ 0 h 423"/>
                  <a:gd name="T38" fmla="*/ 207 w 250"/>
                  <a:gd name="T39" fmla="*/ 0 h 423"/>
                  <a:gd name="T40" fmla="*/ 163 w 250"/>
                  <a:gd name="T41" fmla="*/ 0 h 423"/>
                  <a:gd name="T42" fmla="*/ 126 w 250"/>
                  <a:gd name="T43" fmla="*/ 0 h 423"/>
                  <a:gd name="T44" fmla="*/ 32 w 250"/>
                  <a:gd name="T45" fmla="*/ 0 h 423"/>
                  <a:gd name="T46" fmla="*/ 19 w 250"/>
                  <a:gd name="T47" fmla="*/ 0 h 423"/>
                  <a:gd name="T48" fmla="*/ 25 w 250"/>
                  <a:gd name="T49" fmla="*/ 0 h 423"/>
                  <a:gd name="T50" fmla="*/ 0 w 250"/>
                  <a:gd name="T51" fmla="*/ 0 h 42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250" h="423">
                    <a:moveTo>
                      <a:pt x="0" y="223"/>
                    </a:moveTo>
                    <a:lnTo>
                      <a:pt x="7" y="214"/>
                    </a:lnTo>
                    <a:lnTo>
                      <a:pt x="19" y="235"/>
                    </a:lnTo>
                    <a:lnTo>
                      <a:pt x="39" y="235"/>
                    </a:lnTo>
                    <a:lnTo>
                      <a:pt x="50" y="214"/>
                    </a:lnTo>
                    <a:lnTo>
                      <a:pt x="50" y="91"/>
                    </a:lnTo>
                    <a:lnTo>
                      <a:pt x="63" y="121"/>
                    </a:lnTo>
                    <a:lnTo>
                      <a:pt x="63" y="156"/>
                    </a:lnTo>
                    <a:lnTo>
                      <a:pt x="88" y="156"/>
                    </a:lnTo>
                    <a:lnTo>
                      <a:pt x="108" y="112"/>
                    </a:lnTo>
                    <a:lnTo>
                      <a:pt x="138" y="112"/>
                    </a:lnTo>
                    <a:lnTo>
                      <a:pt x="195" y="0"/>
                    </a:lnTo>
                    <a:lnTo>
                      <a:pt x="232" y="21"/>
                    </a:lnTo>
                    <a:lnTo>
                      <a:pt x="238" y="121"/>
                    </a:lnTo>
                    <a:lnTo>
                      <a:pt x="219" y="156"/>
                    </a:lnTo>
                    <a:lnTo>
                      <a:pt x="232" y="179"/>
                    </a:lnTo>
                    <a:lnTo>
                      <a:pt x="238" y="156"/>
                    </a:lnTo>
                    <a:lnTo>
                      <a:pt x="250" y="156"/>
                    </a:lnTo>
                    <a:lnTo>
                      <a:pt x="244" y="214"/>
                    </a:lnTo>
                    <a:lnTo>
                      <a:pt x="207" y="313"/>
                    </a:lnTo>
                    <a:lnTo>
                      <a:pt x="163" y="402"/>
                    </a:lnTo>
                    <a:lnTo>
                      <a:pt x="126" y="423"/>
                    </a:lnTo>
                    <a:lnTo>
                      <a:pt x="32" y="423"/>
                    </a:lnTo>
                    <a:lnTo>
                      <a:pt x="19" y="379"/>
                    </a:lnTo>
                    <a:lnTo>
                      <a:pt x="25" y="346"/>
                    </a:lnTo>
                    <a:lnTo>
                      <a:pt x="0" y="223"/>
                    </a:lnTo>
                  </a:path>
                </a:pathLst>
              </a:custGeom>
              <a:grpFill/>
              <a:ln w="0" cap="flat" cmpd="sng">
                <a:solidFill>
                  <a:schemeClr val="tx2">
                    <a:lumMod val="20000"/>
                    <a:lumOff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fr-FR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921" name="Freeform 1085"/>
            <p:cNvSpPr>
              <a:spLocks/>
            </p:cNvSpPr>
            <p:nvPr>
              <p:custDataLst>
                <p:tags r:id="rId915"/>
              </p:custDataLst>
            </p:nvPr>
          </p:nvSpPr>
          <p:spPr bwMode="auto">
            <a:xfrm>
              <a:off x="5024686" y="5245100"/>
              <a:ext cx="46037" cy="61913"/>
            </a:xfrm>
            <a:custGeom>
              <a:avLst/>
              <a:gdLst>
                <a:gd name="T0" fmla="*/ 0 w 31"/>
                <a:gd name="T1" fmla="*/ 2147483647 h 79"/>
                <a:gd name="T2" fmla="*/ 2147483647 w 31"/>
                <a:gd name="T3" fmla="*/ 2147483647 h 79"/>
                <a:gd name="T4" fmla="*/ 2147483647 w 31"/>
                <a:gd name="T5" fmla="*/ 2147483647 h 79"/>
                <a:gd name="T6" fmla="*/ 2147483647 w 31"/>
                <a:gd name="T7" fmla="*/ 0 h 79"/>
                <a:gd name="T8" fmla="*/ 0 w 31"/>
                <a:gd name="T9" fmla="*/ 2147483647 h 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79">
                  <a:moveTo>
                    <a:pt x="0" y="44"/>
                  </a:moveTo>
                  <a:lnTo>
                    <a:pt x="11" y="79"/>
                  </a:lnTo>
                  <a:lnTo>
                    <a:pt x="31" y="44"/>
                  </a:lnTo>
                  <a:lnTo>
                    <a:pt x="24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22" name="Freeform 1086"/>
            <p:cNvSpPr>
              <a:spLocks/>
            </p:cNvSpPr>
            <p:nvPr>
              <p:custDataLst>
                <p:tags r:id="rId916"/>
              </p:custDataLst>
            </p:nvPr>
          </p:nvSpPr>
          <p:spPr bwMode="auto">
            <a:xfrm>
              <a:off x="5024686" y="5245100"/>
              <a:ext cx="46037" cy="61913"/>
            </a:xfrm>
            <a:custGeom>
              <a:avLst/>
              <a:gdLst>
                <a:gd name="T0" fmla="*/ 0 w 31"/>
                <a:gd name="T1" fmla="*/ 2147483647 h 79"/>
                <a:gd name="T2" fmla="*/ 2147483647 w 31"/>
                <a:gd name="T3" fmla="*/ 2147483647 h 79"/>
                <a:gd name="T4" fmla="*/ 2147483647 w 31"/>
                <a:gd name="T5" fmla="*/ 2147483647 h 79"/>
                <a:gd name="T6" fmla="*/ 2147483647 w 31"/>
                <a:gd name="T7" fmla="*/ 0 h 79"/>
                <a:gd name="T8" fmla="*/ 0 w 31"/>
                <a:gd name="T9" fmla="*/ 2147483647 h 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79">
                  <a:moveTo>
                    <a:pt x="0" y="44"/>
                  </a:moveTo>
                  <a:lnTo>
                    <a:pt x="11" y="79"/>
                  </a:lnTo>
                  <a:lnTo>
                    <a:pt x="31" y="44"/>
                  </a:lnTo>
                  <a:lnTo>
                    <a:pt x="24" y="0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23" name="Freeform 1087"/>
            <p:cNvSpPr>
              <a:spLocks/>
            </p:cNvSpPr>
            <p:nvPr>
              <p:custDataLst>
                <p:tags r:id="rId917"/>
              </p:custDataLst>
            </p:nvPr>
          </p:nvSpPr>
          <p:spPr bwMode="auto">
            <a:xfrm>
              <a:off x="5024686" y="5245100"/>
              <a:ext cx="46037" cy="61913"/>
            </a:xfrm>
            <a:custGeom>
              <a:avLst/>
              <a:gdLst>
                <a:gd name="T0" fmla="*/ 0 w 31"/>
                <a:gd name="T1" fmla="*/ 2147483647 h 79"/>
                <a:gd name="T2" fmla="*/ 2147483647 w 31"/>
                <a:gd name="T3" fmla="*/ 2147483647 h 79"/>
                <a:gd name="T4" fmla="*/ 2147483647 w 31"/>
                <a:gd name="T5" fmla="*/ 2147483647 h 79"/>
                <a:gd name="T6" fmla="*/ 2147483647 w 31"/>
                <a:gd name="T7" fmla="*/ 0 h 79"/>
                <a:gd name="T8" fmla="*/ 0 w 31"/>
                <a:gd name="T9" fmla="*/ 2147483647 h 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79">
                  <a:moveTo>
                    <a:pt x="0" y="44"/>
                  </a:moveTo>
                  <a:lnTo>
                    <a:pt x="11" y="79"/>
                  </a:lnTo>
                  <a:lnTo>
                    <a:pt x="31" y="44"/>
                  </a:lnTo>
                  <a:lnTo>
                    <a:pt x="24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24" name="Freeform 1088"/>
            <p:cNvSpPr>
              <a:spLocks/>
            </p:cNvSpPr>
            <p:nvPr>
              <p:custDataLst>
                <p:tags r:id="rId918"/>
              </p:custDataLst>
            </p:nvPr>
          </p:nvSpPr>
          <p:spPr bwMode="auto">
            <a:xfrm>
              <a:off x="5024686" y="5245100"/>
              <a:ext cx="46037" cy="61913"/>
            </a:xfrm>
            <a:custGeom>
              <a:avLst/>
              <a:gdLst>
                <a:gd name="T0" fmla="*/ 0 w 31"/>
                <a:gd name="T1" fmla="*/ 2147483647 h 79"/>
                <a:gd name="T2" fmla="*/ 2147483647 w 31"/>
                <a:gd name="T3" fmla="*/ 2147483647 h 79"/>
                <a:gd name="T4" fmla="*/ 2147483647 w 31"/>
                <a:gd name="T5" fmla="*/ 2147483647 h 79"/>
                <a:gd name="T6" fmla="*/ 2147483647 w 31"/>
                <a:gd name="T7" fmla="*/ 0 h 79"/>
                <a:gd name="T8" fmla="*/ 0 w 31"/>
                <a:gd name="T9" fmla="*/ 2147483647 h 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79">
                  <a:moveTo>
                    <a:pt x="0" y="44"/>
                  </a:moveTo>
                  <a:lnTo>
                    <a:pt x="11" y="79"/>
                  </a:lnTo>
                  <a:lnTo>
                    <a:pt x="31" y="44"/>
                  </a:lnTo>
                  <a:lnTo>
                    <a:pt x="24" y="0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25" name="Freeform 1089"/>
            <p:cNvSpPr>
              <a:spLocks/>
            </p:cNvSpPr>
            <p:nvPr>
              <p:custDataLst>
                <p:tags r:id="rId919"/>
              </p:custDataLst>
            </p:nvPr>
          </p:nvSpPr>
          <p:spPr bwMode="auto">
            <a:xfrm>
              <a:off x="4932611" y="2927350"/>
              <a:ext cx="182562" cy="150813"/>
            </a:xfrm>
            <a:custGeom>
              <a:avLst/>
              <a:gdLst>
                <a:gd name="T0" fmla="*/ 2147483647 w 124"/>
                <a:gd name="T1" fmla="*/ 0 h 190"/>
                <a:gd name="T2" fmla="*/ 2147483647 w 124"/>
                <a:gd name="T3" fmla="*/ 0 h 190"/>
                <a:gd name="T4" fmla="*/ 2147483647 w 124"/>
                <a:gd name="T5" fmla="*/ 2147483647 h 190"/>
                <a:gd name="T6" fmla="*/ 2147483647 w 124"/>
                <a:gd name="T7" fmla="*/ 2147483647 h 190"/>
                <a:gd name="T8" fmla="*/ 2147483647 w 124"/>
                <a:gd name="T9" fmla="*/ 2147483647 h 190"/>
                <a:gd name="T10" fmla="*/ 2147483647 w 124"/>
                <a:gd name="T11" fmla="*/ 2147483647 h 190"/>
                <a:gd name="T12" fmla="*/ 2147483647 w 124"/>
                <a:gd name="T13" fmla="*/ 2147483647 h 190"/>
                <a:gd name="T14" fmla="*/ 2147483647 w 124"/>
                <a:gd name="T15" fmla="*/ 2147483647 h 190"/>
                <a:gd name="T16" fmla="*/ 2147483647 w 124"/>
                <a:gd name="T17" fmla="*/ 2147483647 h 190"/>
                <a:gd name="T18" fmla="*/ 2147483647 w 124"/>
                <a:gd name="T19" fmla="*/ 2147483647 h 190"/>
                <a:gd name="T20" fmla="*/ 2147483647 w 124"/>
                <a:gd name="T21" fmla="*/ 2147483647 h 190"/>
                <a:gd name="T22" fmla="*/ 2147483647 w 124"/>
                <a:gd name="T23" fmla="*/ 2147483647 h 190"/>
                <a:gd name="T24" fmla="*/ 2147483647 w 124"/>
                <a:gd name="T25" fmla="*/ 2147483647 h 190"/>
                <a:gd name="T26" fmla="*/ 2147483647 w 124"/>
                <a:gd name="T27" fmla="*/ 2147483647 h 190"/>
                <a:gd name="T28" fmla="*/ 2147483647 w 124"/>
                <a:gd name="T29" fmla="*/ 2147483647 h 190"/>
                <a:gd name="T30" fmla="*/ 2147483647 w 124"/>
                <a:gd name="T31" fmla="*/ 2147483647 h 190"/>
                <a:gd name="T32" fmla="*/ 2147483647 w 124"/>
                <a:gd name="T33" fmla="*/ 2147483647 h 190"/>
                <a:gd name="T34" fmla="*/ 2147483647 w 124"/>
                <a:gd name="T35" fmla="*/ 2147483647 h 190"/>
                <a:gd name="T36" fmla="*/ 2147483647 w 124"/>
                <a:gd name="T37" fmla="*/ 2147483647 h 190"/>
                <a:gd name="T38" fmla="*/ 2147483647 w 124"/>
                <a:gd name="T39" fmla="*/ 2147483647 h 190"/>
                <a:gd name="T40" fmla="*/ 2147483647 w 124"/>
                <a:gd name="T41" fmla="*/ 2147483647 h 190"/>
                <a:gd name="T42" fmla="*/ 2147483647 w 124"/>
                <a:gd name="T43" fmla="*/ 2147483647 h 190"/>
                <a:gd name="T44" fmla="*/ 2147483647 w 124"/>
                <a:gd name="T45" fmla="*/ 2147483647 h 190"/>
                <a:gd name="T46" fmla="*/ 2147483647 w 124"/>
                <a:gd name="T47" fmla="*/ 2147483647 h 190"/>
                <a:gd name="T48" fmla="*/ 2147483647 w 124"/>
                <a:gd name="T49" fmla="*/ 2147483647 h 190"/>
                <a:gd name="T50" fmla="*/ 2147483647 w 124"/>
                <a:gd name="T51" fmla="*/ 2147483647 h 190"/>
                <a:gd name="T52" fmla="*/ 2147483647 w 124"/>
                <a:gd name="T53" fmla="*/ 2147483647 h 190"/>
                <a:gd name="T54" fmla="*/ 2147483647 w 124"/>
                <a:gd name="T55" fmla="*/ 2147483647 h 190"/>
                <a:gd name="T56" fmla="*/ 2147483647 w 124"/>
                <a:gd name="T57" fmla="*/ 2147483647 h 190"/>
                <a:gd name="T58" fmla="*/ 2147483647 w 124"/>
                <a:gd name="T59" fmla="*/ 2147483647 h 190"/>
                <a:gd name="T60" fmla="*/ 0 w 124"/>
                <a:gd name="T61" fmla="*/ 2147483647 h 190"/>
                <a:gd name="T62" fmla="*/ 2147483647 w 124"/>
                <a:gd name="T63" fmla="*/ 2147483647 h 190"/>
                <a:gd name="T64" fmla="*/ 2147483647 w 124"/>
                <a:gd name="T65" fmla="*/ 2147483647 h 190"/>
                <a:gd name="T66" fmla="*/ 2147483647 w 124"/>
                <a:gd name="T67" fmla="*/ 2147483647 h 190"/>
                <a:gd name="T68" fmla="*/ 2147483647 w 124"/>
                <a:gd name="T69" fmla="*/ 2147483647 h 190"/>
                <a:gd name="T70" fmla="*/ 2147483647 w 124"/>
                <a:gd name="T71" fmla="*/ 2147483647 h 190"/>
                <a:gd name="T72" fmla="*/ 2147483647 w 124"/>
                <a:gd name="T73" fmla="*/ 2147483647 h 190"/>
                <a:gd name="T74" fmla="*/ 2147483647 w 124"/>
                <a:gd name="T75" fmla="*/ 2147483647 h 190"/>
                <a:gd name="T76" fmla="*/ 2147483647 w 124"/>
                <a:gd name="T77" fmla="*/ 0 h 190"/>
                <a:gd name="T78" fmla="*/ 2147483647 w 124"/>
                <a:gd name="T79" fmla="*/ 0 h 19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24" h="190">
                  <a:moveTo>
                    <a:pt x="44" y="0"/>
                  </a:moveTo>
                  <a:lnTo>
                    <a:pt x="56" y="0"/>
                  </a:lnTo>
                  <a:lnTo>
                    <a:pt x="63" y="21"/>
                  </a:lnTo>
                  <a:lnTo>
                    <a:pt x="82" y="21"/>
                  </a:lnTo>
                  <a:lnTo>
                    <a:pt x="100" y="21"/>
                  </a:lnTo>
                  <a:lnTo>
                    <a:pt x="106" y="46"/>
                  </a:lnTo>
                  <a:lnTo>
                    <a:pt x="113" y="79"/>
                  </a:lnTo>
                  <a:lnTo>
                    <a:pt x="119" y="90"/>
                  </a:lnTo>
                  <a:lnTo>
                    <a:pt x="124" y="102"/>
                  </a:lnTo>
                  <a:lnTo>
                    <a:pt x="124" y="111"/>
                  </a:lnTo>
                  <a:lnTo>
                    <a:pt x="124" y="125"/>
                  </a:lnTo>
                  <a:lnTo>
                    <a:pt x="119" y="125"/>
                  </a:lnTo>
                  <a:lnTo>
                    <a:pt x="113" y="125"/>
                  </a:lnTo>
                  <a:lnTo>
                    <a:pt x="113" y="134"/>
                  </a:lnTo>
                  <a:lnTo>
                    <a:pt x="119" y="146"/>
                  </a:lnTo>
                  <a:lnTo>
                    <a:pt x="119" y="157"/>
                  </a:lnTo>
                  <a:lnTo>
                    <a:pt x="113" y="169"/>
                  </a:lnTo>
                  <a:lnTo>
                    <a:pt x="106" y="169"/>
                  </a:lnTo>
                  <a:lnTo>
                    <a:pt x="100" y="169"/>
                  </a:lnTo>
                  <a:lnTo>
                    <a:pt x="100" y="180"/>
                  </a:lnTo>
                  <a:lnTo>
                    <a:pt x="100" y="190"/>
                  </a:lnTo>
                  <a:lnTo>
                    <a:pt x="94" y="190"/>
                  </a:lnTo>
                  <a:lnTo>
                    <a:pt x="87" y="190"/>
                  </a:lnTo>
                  <a:lnTo>
                    <a:pt x="74" y="180"/>
                  </a:lnTo>
                  <a:lnTo>
                    <a:pt x="69" y="180"/>
                  </a:lnTo>
                  <a:lnTo>
                    <a:pt x="63" y="180"/>
                  </a:lnTo>
                  <a:lnTo>
                    <a:pt x="32" y="157"/>
                  </a:lnTo>
                  <a:lnTo>
                    <a:pt x="25" y="157"/>
                  </a:lnTo>
                  <a:lnTo>
                    <a:pt x="13" y="157"/>
                  </a:lnTo>
                  <a:lnTo>
                    <a:pt x="7" y="180"/>
                  </a:lnTo>
                  <a:lnTo>
                    <a:pt x="0" y="146"/>
                  </a:lnTo>
                  <a:lnTo>
                    <a:pt x="13" y="125"/>
                  </a:lnTo>
                  <a:lnTo>
                    <a:pt x="7" y="79"/>
                  </a:lnTo>
                  <a:lnTo>
                    <a:pt x="13" y="90"/>
                  </a:lnTo>
                  <a:lnTo>
                    <a:pt x="13" y="79"/>
                  </a:lnTo>
                  <a:lnTo>
                    <a:pt x="18" y="55"/>
                  </a:lnTo>
                  <a:lnTo>
                    <a:pt x="25" y="34"/>
                  </a:lnTo>
                  <a:lnTo>
                    <a:pt x="32" y="11"/>
                  </a:lnTo>
                  <a:lnTo>
                    <a:pt x="37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26" name="Freeform 1090"/>
            <p:cNvSpPr>
              <a:spLocks/>
            </p:cNvSpPr>
            <p:nvPr>
              <p:custDataLst>
                <p:tags r:id="rId920"/>
              </p:custDataLst>
            </p:nvPr>
          </p:nvSpPr>
          <p:spPr bwMode="auto">
            <a:xfrm>
              <a:off x="4932611" y="2927350"/>
              <a:ext cx="182562" cy="150813"/>
            </a:xfrm>
            <a:custGeom>
              <a:avLst/>
              <a:gdLst>
                <a:gd name="T0" fmla="*/ 2147483647 w 124"/>
                <a:gd name="T1" fmla="*/ 0 h 190"/>
                <a:gd name="T2" fmla="*/ 2147483647 w 124"/>
                <a:gd name="T3" fmla="*/ 0 h 190"/>
                <a:gd name="T4" fmla="*/ 2147483647 w 124"/>
                <a:gd name="T5" fmla="*/ 2147483647 h 190"/>
                <a:gd name="T6" fmla="*/ 2147483647 w 124"/>
                <a:gd name="T7" fmla="*/ 2147483647 h 190"/>
                <a:gd name="T8" fmla="*/ 2147483647 w 124"/>
                <a:gd name="T9" fmla="*/ 2147483647 h 190"/>
                <a:gd name="T10" fmla="*/ 2147483647 w 124"/>
                <a:gd name="T11" fmla="*/ 2147483647 h 190"/>
                <a:gd name="T12" fmla="*/ 2147483647 w 124"/>
                <a:gd name="T13" fmla="*/ 2147483647 h 190"/>
                <a:gd name="T14" fmla="*/ 2147483647 w 124"/>
                <a:gd name="T15" fmla="*/ 2147483647 h 190"/>
                <a:gd name="T16" fmla="*/ 2147483647 w 124"/>
                <a:gd name="T17" fmla="*/ 2147483647 h 190"/>
                <a:gd name="T18" fmla="*/ 2147483647 w 124"/>
                <a:gd name="T19" fmla="*/ 2147483647 h 190"/>
                <a:gd name="T20" fmla="*/ 2147483647 w 124"/>
                <a:gd name="T21" fmla="*/ 2147483647 h 190"/>
                <a:gd name="T22" fmla="*/ 2147483647 w 124"/>
                <a:gd name="T23" fmla="*/ 2147483647 h 190"/>
                <a:gd name="T24" fmla="*/ 2147483647 w 124"/>
                <a:gd name="T25" fmla="*/ 2147483647 h 190"/>
                <a:gd name="T26" fmla="*/ 2147483647 w 124"/>
                <a:gd name="T27" fmla="*/ 2147483647 h 190"/>
                <a:gd name="T28" fmla="*/ 2147483647 w 124"/>
                <a:gd name="T29" fmla="*/ 2147483647 h 190"/>
                <a:gd name="T30" fmla="*/ 2147483647 w 124"/>
                <a:gd name="T31" fmla="*/ 2147483647 h 190"/>
                <a:gd name="T32" fmla="*/ 2147483647 w 124"/>
                <a:gd name="T33" fmla="*/ 2147483647 h 190"/>
                <a:gd name="T34" fmla="*/ 2147483647 w 124"/>
                <a:gd name="T35" fmla="*/ 2147483647 h 190"/>
                <a:gd name="T36" fmla="*/ 2147483647 w 124"/>
                <a:gd name="T37" fmla="*/ 2147483647 h 190"/>
                <a:gd name="T38" fmla="*/ 2147483647 w 124"/>
                <a:gd name="T39" fmla="*/ 2147483647 h 190"/>
                <a:gd name="T40" fmla="*/ 2147483647 w 124"/>
                <a:gd name="T41" fmla="*/ 2147483647 h 190"/>
                <a:gd name="T42" fmla="*/ 2147483647 w 124"/>
                <a:gd name="T43" fmla="*/ 2147483647 h 190"/>
                <a:gd name="T44" fmla="*/ 2147483647 w 124"/>
                <a:gd name="T45" fmla="*/ 2147483647 h 190"/>
                <a:gd name="T46" fmla="*/ 2147483647 w 124"/>
                <a:gd name="T47" fmla="*/ 2147483647 h 190"/>
                <a:gd name="T48" fmla="*/ 2147483647 w 124"/>
                <a:gd name="T49" fmla="*/ 2147483647 h 190"/>
                <a:gd name="T50" fmla="*/ 2147483647 w 124"/>
                <a:gd name="T51" fmla="*/ 2147483647 h 190"/>
                <a:gd name="T52" fmla="*/ 2147483647 w 124"/>
                <a:gd name="T53" fmla="*/ 2147483647 h 190"/>
                <a:gd name="T54" fmla="*/ 2147483647 w 124"/>
                <a:gd name="T55" fmla="*/ 2147483647 h 190"/>
                <a:gd name="T56" fmla="*/ 2147483647 w 124"/>
                <a:gd name="T57" fmla="*/ 2147483647 h 190"/>
                <a:gd name="T58" fmla="*/ 2147483647 w 124"/>
                <a:gd name="T59" fmla="*/ 2147483647 h 190"/>
                <a:gd name="T60" fmla="*/ 0 w 124"/>
                <a:gd name="T61" fmla="*/ 2147483647 h 190"/>
                <a:gd name="T62" fmla="*/ 2147483647 w 124"/>
                <a:gd name="T63" fmla="*/ 2147483647 h 190"/>
                <a:gd name="T64" fmla="*/ 2147483647 w 124"/>
                <a:gd name="T65" fmla="*/ 2147483647 h 190"/>
                <a:gd name="T66" fmla="*/ 2147483647 w 124"/>
                <a:gd name="T67" fmla="*/ 2147483647 h 190"/>
                <a:gd name="T68" fmla="*/ 2147483647 w 124"/>
                <a:gd name="T69" fmla="*/ 2147483647 h 190"/>
                <a:gd name="T70" fmla="*/ 2147483647 w 124"/>
                <a:gd name="T71" fmla="*/ 2147483647 h 190"/>
                <a:gd name="T72" fmla="*/ 2147483647 w 124"/>
                <a:gd name="T73" fmla="*/ 2147483647 h 190"/>
                <a:gd name="T74" fmla="*/ 2147483647 w 124"/>
                <a:gd name="T75" fmla="*/ 2147483647 h 190"/>
                <a:gd name="T76" fmla="*/ 2147483647 w 124"/>
                <a:gd name="T77" fmla="*/ 0 h 190"/>
                <a:gd name="T78" fmla="*/ 2147483647 w 124"/>
                <a:gd name="T79" fmla="*/ 0 h 19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24" h="190">
                  <a:moveTo>
                    <a:pt x="44" y="0"/>
                  </a:moveTo>
                  <a:lnTo>
                    <a:pt x="56" y="0"/>
                  </a:lnTo>
                  <a:lnTo>
                    <a:pt x="63" y="21"/>
                  </a:lnTo>
                  <a:lnTo>
                    <a:pt x="82" y="21"/>
                  </a:lnTo>
                  <a:lnTo>
                    <a:pt x="100" y="21"/>
                  </a:lnTo>
                  <a:lnTo>
                    <a:pt x="106" y="46"/>
                  </a:lnTo>
                  <a:lnTo>
                    <a:pt x="113" y="79"/>
                  </a:lnTo>
                  <a:lnTo>
                    <a:pt x="119" y="90"/>
                  </a:lnTo>
                  <a:lnTo>
                    <a:pt x="124" y="102"/>
                  </a:lnTo>
                  <a:lnTo>
                    <a:pt x="124" y="111"/>
                  </a:lnTo>
                  <a:lnTo>
                    <a:pt x="124" y="125"/>
                  </a:lnTo>
                  <a:lnTo>
                    <a:pt x="119" y="125"/>
                  </a:lnTo>
                  <a:lnTo>
                    <a:pt x="113" y="125"/>
                  </a:lnTo>
                  <a:lnTo>
                    <a:pt x="113" y="134"/>
                  </a:lnTo>
                  <a:lnTo>
                    <a:pt x="119" y="146"/>
                  </a:lnTo>
                  <a:lnTo>
                    <a:pt x="119" y="157"/>
                  </a:lnTo>
                  <a:lnTo>
                    <a:pt x="113" y="169"/>
                  </a:lnTo>
                  <a:lnTo>
                    <a:pt x="106" y="169"/>
                  </a:lnTo>
                  <a:lnTo>
                    <a:pt x="100" y="169"/>
                  </a:lnTo>
                  <a:lnTo>
                    <a:pt x="100" y="180"/>
                  </a:lnTo>
                  <a:lnTo>
                    <a:pt x="100" y="190"/>
                  </a:lnTo>
                  <a:lnTo>
                    <a:pt x="94" y="190"/>
                  </a:lnTo>
                  <a:lnTo>
                    <a:pt x="87" y="190"/>
                  </a:lnTo>
                  <a:lnTo>
                    <a:pt x="74" y="180"/>
                  </a:lnTo>
                  <a:lnTo>
                    <a:pt x="69" y="180"/>
                  </a:lnTo>
                  <a:lnTo>
                    <a:pt x="63" y="180"/>
                  </a:lnTo>
                  <a:lnTo>
                    <a:pt x="32" y="157"/>
                  </a:lnTo>
                  <a:lnTo>
                    <a:pt x="25" y="157"/>
                  </a:lnTo>
                  <a:lnTo>
                    <a:pt x="13" y="157"/>
                  </a:lnTo>
                  <a:lnTo>
                    <a:pt x="7" y="180"/>
                  </a:lnTo>
                  <a:lnTo>
                    <a:pt x="0" y="146"/>
                  </a:lnTo>
                  <a:lnTo>
                    <a:pt x="13" y="125"/>
                  </a:lnTo>
                  <a:lnTo>
                    <a:pt x="7" y="79"/>
                  </a:lnTo>
                  <a:lnTo>
                    <a:pt x="13" y="90"/>
                  </a:lnTo>
                  <a:lnTo>
                    <a:pt x="13" y="79"/>
                  </a:lnTo>
                  <a:lnTo>
                    <a:pt x="18" y="55"/>
                  </a:lnTo>
                  <a:lnTo>
                    <a:pt x="25" y="34"/>
                  </a:lnTo>
                  <a:lnTo>
                    <a:pt x="32" y="11"/>
                  </a:lnTo>
                  <a:lnTo>
                    <a:pt x="37" y="0"/>
                  </a:lnTo>
                  <a:lnTo>
                    <a:pt x="44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27" name="Freeform 1091"/>
            <p:cNvSpPr>
              <a:spLocks/>
            </p:cNvSpPr>
            <p:nvPr>
              <p:custDataLst>
                <p:tags r:id="rId921"/>
              </p:custDataLst>
            </p:nvPr>
          </p:nvSpPr>
          <p:spPr bwMode="auto">
            <a:xfrm>
              <a:off x="4932611" y="2927350"/>
              <a:ext cx="182562" cy="150813"/>
            </a:xfrm>
            <a:custGeom>
              <a:avLst/>
              <a:gdLst>
                <a:gd name="T0" fmla="*/ 2147483647 w 124"/>
                <a:gd name="T1" fmla="*/ 0 h 190"/>
                <a:gd name="T2" fmla="*/ 2147483647 w 124"/>
                <a:gd name="T3" fmla="*/ 0 h 190"/>
                <a:gd name="T4" fmla="*/ 2147483647 w 124"/>
                <a:gd name="T5" fmla="*/ 2147483647 h 190"/>
                <a:gd name="T6" fmla="*/ 2147483647 w 124"/>
                <a:gd name="T7" fmla="*/ 2147483647 h 190"/>
                <a:gd name="T8" fmla="*/ 2147483647 w 124"/>
                <a:gd name="T9" fmla="*/ 2147483647 h 190"/>
                <a:gd name="T10" fmla="*/ 2147483647 w 124"/>
                <a:gd name="T11" fmla="*/ 2147483647 h 190"/>
                <a:gd name="T12" fmla="*/ 2147483647 w 124"/>
                <a:gd name="T13" fmla="*/ 2147483647 h 190"/>
                <a:gd name="T14" fmla="*/ 2147483647 w 124"/>
                <a:gd name="T15" fmla="*/ 2147483647 h 190"/>
                <a:gd name="T16" fmla="*/ 2147483647 w 124"/>
                <a:gd name="T17" fmla="*/ 2147483647 h 190"/>
                <a:gd name="T18" fmla="*/ 2147483647 w 124"/>
                <a:gd name="T19" fmla="*/ 2147483647 h 190"/>
                <a:gd name="T20" fmla="*/ 2147483647 w 124"/>
                <a:gd name="T21" fmla="*/ 2147483647 h 190"/>
                <a:gd name="T22" fmla="*/ 2147483647 w 124"/>
                <a:gd name="T23" fmla="*/ 2147483647 h 190"/>
                <a:gd name="T24" fmla="*/ 2147483647 w 124"/>
                <a:gd name="T25" fmla="*/ 2147483647 h 190"/>
                <a:gd name="T26" fmla="*/ 2147483647 w 124"/>
                <a:gd name="T27" fmla="*/ 2147483647 h 190"/>
                <a:gd name="T28" fmla="*/ 2147483647 w 124"/>
                <a:gd name="T29" fmla="*/ 2147483647 h 190"/>
                <a:gd name="T30" fmla="*/ 2147483647 w 124"/>
                <a:gd name="T31" fmla="*/ 2147483647 h 190"/>
                <a:gd name="T32" fmla="*/ 2147483647 w 124"/>
                <a:gd name="T33" fmla="*/ 2147483647 h 190"/>
                <a:gd name="T34" fmla="*/ 2147483647 w 124"/>
                <a:gd name="T35" fmla="*/ 2147483647 h 190"/>
                <a:gd name="T36" fmla="*/ 2147483647 w 124"/>
                <a:gd name="T37" fmla="*/ 2147483647 h 190"/>
                <a:gd name="T38" fmla="*/ 2147483647 w 124"/>
                <a:gd name="T39" fmla="*/ 2147483647 h 190"/>
                <a:gd name="T40" fmla="*/ 2147483647 w 124"/>
                <a:gd name="T41" fmla="*/ 2147483647 h 190"/>
                <a:gd name="T42" fmla="*/ 2147483647 w 124"/>
                <a:gd name="T43" fmla="*/ 2147483647 h 190"/>
                <a:gd name="T44" fmla="*/ 2147483647 w 124"/>
                <a:gd name="T45" fmla="*/ 2147483647 h 190"/>
                <a:gd name="T46" fmla="*/ 2147483647 w 124"/>
                <a:gd name="T47" fmla="*/ 2147483647 h 190"/>
                <a:gd name="T48" fmla="*/ 2147483647 w 124"/>
                <a:gd name="T49" fmla="*/ 2147483647 h 190"/>
                <a:gd name="T50" fmla="*/ 2147483647 w 124"/>
                <a:gd name="T51" fmla="*/ 2147483647 h 190"/>
                <a:gd name="T52" fmla="*/ 2147483647 w 124"/>
                <a:gd name="T53" fmla="*/ 2147483647 h 190"/>
                <a:gd name="T54" fmla="*/ 2147483647 w 124"/>
                <a:gd name="T55" fmla="*/ 2147483647 h 190"/>
                <a:gd name="T56" fmla="*/ 2147483647 w 124"/>
                <a:gd name="T57" fmla="*/ 2147483647 h 190"/>
                <a:gd name="T58" fmla="*/ 2147483647 w 124"/>
                <a:gd name="T59" fmla="*/ 2147483647 h 190"/>
                <a:gd name="T60" fmla="*/ 0 w 124"/>
                <a:gd name="T61" fmla="*/ 2147483647 h 190"/>
                <a:gd name="T62" fmla="*/ 2147483647 w 124"/>
                <a:gd name="T63" fmla="*/ 2147483647 h 190"/>
                <a:gd name="T64" fmla="*/ 2147483647 w 124"/>
                <a:gd name="T65" fmla="*/ 2147483647 h 190"/>
                <a:gd name="T66" fmla="*/ 2147483647 w 124"/>
                <a:gd name="T67" fmla="*/ 2147483647 h 190"/>
                <a:gd name="T68" fmla="*/ 2147483647 w 124"/>
                <a:gd name="T69" fmla="*/ 2147483647 h 190"/>
                <a:gd name="T70" fmla="*/ 2147483647 w 124"/>
                <a:gd name="T71" fmla="*/ 2147483647 h 190"/>
                <a:gd name="T72" fmla="*/ 2147483647 w 124"/>
                <a:gd name="T73" fmla="*/ 2147483647 h 190"/>
                <a:gd name="T74" fmla="*/ 2147483647 w 124"/>
                <a:gd name="T75" fmla="*/ 2147483647 h 190"/>
                <a:gd name="T76" fmla="*/ 2147483647 w 124"/>
                <a:gd name="T77" fmla="*/ 0 h 190"/>
                <a:gd name="T78" fmla="*/ 2147483647 w 124"/>
                <a:gd name="T79" fmla="*/ 0 h 19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24" h="190">
                  <a:moveTo>
                    <a:pt x="44" y="0"/>
                  </a:moveTo>
                  <a:lnTo>
                    <a:pt x="56" y="0"/>
                  </a:lnTo>
                  <a:lnTo>
                    <a:pt x="63" y="21"/>
                  </a:lnTo>
                  <a:lnTo>
                    <a:pt x="82" y="21"/>
                  </a:lnTo>
                  <a:lnTo>
                    <a:pt x="100" y="21"/>
                  </a:lnTo>
                  <a:lnTo>
                    <a:pt x="106" y="46"/>
                  </a:lnTo>
                  <a:lnTo>
                    <a:pt x="113" y="79"/>
                  </a:lnTo>
                  <a:lnTo>
                    <a:pt x="119" y="90"/>
                  </a:lnTo>
                  <a:lnTo>
                    <a:pt x="124" y="102"/>
                  </a:lnTo>
                  <a:lnTo>
                    <a:pt x="124" y="111"/>
                  </a:lnTo>
                  <a:lnTo>
                    <a:pt x="124" y="125"/>
                  </a:lnTo>
                  <a:lnTo>
                    <a:pt x="119" y="125"/>
                  </a:lnTo>
                  <a:lnTo>
                    <a:pt x="113" y="125"/>
                  </a:lnTo>
                  <a:lnTo>
                    <a:pt x="113" y="134"/>
                  </a:lnTo>
                  <a:lnTo>
                    <a:pt x="119" y="146"/>
                  </a:lnTo>
                  <a:lnTo>
                    <a:pt x="119" y="157"/>
                  </a:lnTo>
                  <a:lnTo>
                    <a:pt x="113" y="169"/>
                  </a:lnTo>
                  <a:lnTo>
                    <a:pt x="106" y="169"/>
                  </a:lnTo>
                  <a:lnTo>
                    <a:pt x="100" y="169"/>
                  </a:lnTo>
                  <a:lnTo>
                    <a:pt x="100" y="180"/>
                  </a:lnTo>
                  <a:lnTo>
                    <a:pt x="100" y="190"/>
                  </a:lnTo>
                  <a:lnTo>
                    <a:pt x="94" y="190"/>
                  </a:lnTo>
                  <a:lnTo>
                    <a:pt x="87" y="190"/>
                  </a:lnTo>
                  <a:lnTo>
                    <a:pt x="74" y="180"/>
                  </a:lnTo>
                  <a:lnTo>
                    <a:pt x="69" y="180"/>
                  </a:lnTo>
                  <a:lnTo>
                    <a:pt x="63" y="180"/>
                  </a:lnTo>
                  <a:lnTo>
                    <a:pt x="32" y="157"/>
                  </a:lnTo>
                  <a:lnTo>
                    <a:pt x="25" y="157"/>
                  </a:lnTo>
                  <a:lnTo>
                    <a:pt x="13" y="157"/>
                  </a:lnTo>
                  <a:lnTo>
                    <a:pt x="7" y="180"/>
                  </a:lnTo>
                  <a:lnTo>
                    <a:pt x="0" y="146"/>
                  </a:lnTo>
                  <a:lnTo>
                    <a:pt x="13" y="125"/>
                  </a:lnTo>
                  <a:lnTo>
                    <a:pt x="7" y="79"/>
                  </a:lnTo>
                  <a:lnTo>
                    <a:pt x="13" y="90"/>
                  </a:lnTo>
                  <a:lnTo>
                    <a:pt x="13" y="79"/>
                  </a:lnTo>
                  <a:lnTo>
                    <a:pt x="18" y="55"/>
                  </a:lnTo>
                  <a:lnTo>
                    <a:pt x="25" y="34"/>
                  </a:lnTo>
                  <a:lnTo>
                    <a:pt x="32" y="11"/>
                  </a:lnTo>
                  <a:lnTo>
                    <a:pt x="37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28" name="Freeform 1092"/>
            <p:cNvSpPr>
              <a:spLocks/>
            </p:cNvSpPr>
            <p:nvPr>
              <p:custDataLst>
                <p:tags r:id="rId922"/>
              </p:custDataLst>
            </p:nvPr>
          </p:nvSpPr>
          <p:spPr bwMode="auto">
            <a:xfrm>
              <a:off x="4932611" y="2927350"/>
              <a:ext cx="182562" cy="150813"/>
            </a:xfrm>
            <a:custGeom>
              <a:avLst/>
              <a:gdLst>
                <a:gd name="T0" fmla="*/ 2147483647 w 124"/>
                <a:gd name="T1" fmla="*/ 0 h 190"/>
                <a:gd name="T2" fmla="*/ 2147483647 w 124"/>
                <a:gd name="T3" fmla="*/ 0 h 190"/>
                <a:gd name="T4" fmla="*/ 2147483647 w 124"/>
                <a:gd name="T5" fmla="*/ 2147483647 h 190"/>
                <a:gd name="T6" fmla="*/ 2147483647 w 124"/>
                <a:gd name="T7" fmla="*/ 2147483647 h 190"/>
                <a:gd name="T8" fmla="*/ 2147483647 w 124"/>
                <a:gd name="T9" fmla="*/ 2147483647 h 190"/>
                <a:gd name="T10" fmla="*/ 2147483647 w 124"/>
                <a:gd name="T11" fmla="*/ 2147483647 h 190"/>
                <a:gd name="T12" fmla="*/ 2147483647 w 124"/>
                <a:gd name="T13" fmla="*/ 2147483647 h 190"/>
                <a:gd name="T14" fmla="*/ 2147483647 w 124"/>
                <a:gd name="T15" fmla="*/ 2147483647 h 190"/>
                <a:gd name="T16" fmla="*/ 2147483647 w 124"/>
                <a:gd name="T17" fmla="*/ 2147483647 h 190"/>
                <a:gd name="T18" fmla="*/ 2147483647 w 124"/>
                <a:gd name="T19" fmla="*/ 2147483647 h 190"/>
                <a:gd name="T20" fmla="*/ 2147483647 w 124"/>
                <a:gd name="T21" fmla="*/ 2147483647 h 190"/>
                <a:gd name="T22" fmla="*/ 2147483647 w 124"/>
                <a:gd name="T23" fmla="*/ 2147483647 h 190"/>
                <a:gd name="T24" fmla="*/ 2147483647 w 124"/>
                <a:gd name="T25" fmla="*/ 2147483647 h 190"/>
                <a:gd name="T26" fmla="*/ 2147483647 w 124"/>
                <a:gd name="T27" fmla="*/ 2147483647 h 190"/>
                <a:gd name="T28" fmla="*/ 2147483647 w 124"/>
                <a:gd name="T29" fmla="*/ 2147483647 h 190"/>
                <a:gd name="T30" fmla="*/ 2147483647 w 124"/>
                <a:gd name="T31" fmla="*/ 2147483647 h 190"/>
                <a:gd name="T32" fmla="*/ 2147483647 w 124"/>
                <a:gd name="T33" fmla="*/ 2147483647 h 190"/>
                <a:gd name="T34" fmla="*/ 2147483647 w 124"/>
                <a:gd name="T35" fmla="*/ 2147483647 h 190"/>
                <a:gd name="T36" fmla="*/ 2147483647 w 124"/>
                <a:gd name="T37" fmla="*/ 2147483647 h 190"/>
                <a:gd name="T38" fmla="*/ 2147483647 w 124"/>
                <a:gd name="T39" fmla="*/ 2147483647 h 190"/>
                <a:gd name="T40" fmla="*/ 2147483647 w 124"/>
                <a:gd name="T41" fmla="*/ 2147483647 h 190"/>
                <a:gd name="T42" fmla="*/ 2147483647 w 124"/>
                <a:gd name="T43" fmla="*/ 2147483647 h 190"/>
                <a:gd name="T44" fmla="*/ 2147483647 w 124"/>
                <a:gd name="T45" fmla="*/ 2147483647 h 190"/>
                <a:gd name="T46" fmla="*/ 2147483647 w 124"/>
                <a:gd name="T47" fmla="*/ 2147483647 h 190"/>
                <a:gd name="T48" fmla="*/ 2147483647 w 124"/>
                <a:gd name="T49" fmla="*/ 2147483647 h 190"/>
                <a:gd name="T50" fmla="*/ 2147483647 w 124"/>
                <a:gd name="T51" fmla="*/ 2147483647 h 190"/>
                <a:gd name="T52" fmla="*/ 2147483647 w 124"/>
                <a:gd name="T53" fmla="*/ 2147483647 h 190"/>
                <a:gd name="T54" fmla="*/ 2147483647 w 124"/>
                <a:gd name="T55" fmla="*/ 2147483647 h 190"/>
                <a:gd name="T56" fmla="*/ 2147483647 w 124"/>
                <a:gd name="T57" fmla="*/ 2147483647 h 190"/>
                <a:gd name="T58" fmla="*/ 2147483647 w 124"/>
                <a:gd name="T59" fmla="*/ 2147483647 h 190"/>
                <a:gd name="T60" fmla="*/ 0 w 124"/>
                <a:gd name="T61" fmla="*/ 2147483647 h 190"/>
                <a:gd name="T62" fmla="*/ 2147483647 w 124"/>
                <a:gd name="T63" fmla="*/ 2147483647 h 190"/>
                <a:gd name="T64" fmla="*/ 2147483647 w 124"/>
                <a:gd name="T65" fmla="*/ 2147483647 h 190"/>
                <a:gd name="T66" fmla="*/ 2147483647 w 124"/>
                <a:gd name="T67" fmla="*/ 2147483647 h 190"/>
                <a:gd name="T68" fmla="*/ 2147483647 w 124"/>
                <a:gd name="T69" fmla="*/ 2147483647 h 190"/>
                <a:gd name="T70" fmla="*/ 2147483647 w 124"/>
                <a:gd name="T71" fmla="*/ 2147483647 h 190"/>
                <a:gd name="T72" fmla="*/ 2147483647 w 124"/>
                <a:gd name="T73" fmla="*/ 2147483647 h 190"/>
                <a:gd name="T74" fmla="*/ 2147483647 w 124"/>
                <a:gd name="T75" fmla="*/ 2147483647 h 190"/>
                <a:gd name="T76" fmla="*/ 2147483647 w 124"/>
                <a:gd name="T77" fmla="*/ 0 h 190"/>
                <a:gd name="T78" fmla="*/ 2147483647 w 124"/>
                <a:gd name="T79" fmla="*/ 0 h 19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24" h="190">
                  <a:moveTo>
                    <a:pt x="44" y="0"/>
                  </a:moveTo>
                  <a:lnTo>
                    <a:pt x="56" y="0"/>
                  </a:lnTo>
                  <a:lnTo>
                    <a:pt x="63" y="21"/>
                  </a:lnTo>
                  <a:lnTo>
                    <a:pt x="82" y="21"/>
                  </a:lnTo>
                  <a:lnTo>
                    <a:pt x="100" y="21"/>
                  </a:lnTo>
                  <a:lnTo>
                    <a:pt x="106" y="46"/>
                  </a:lnTo>
                  <a:lnTo>
                    <a:pt x="113" y="79"/>
                  </a:lnTo>
                  <a:lnTo>
                    <a:pt x="119" y="90"/>
                  </a:lnTo>
                  <a:lnTo>
                    <a:pt x="124" y="102"/>
                  </a:lnTo>
                  <a:lnTo>
                    <a:pt x="124" y="111"/>
                  </a:lnTo>
                  <a:lnTo>
                    <a:pt x="124" y="125"/>
                  </a:lnTo>
                  <a:lnTo>
                    <a:pt x="119" y="125"/>
                  </a:lnTo>
                  <a:lnTo>
                    <a:pt x="113" y="125"/>
                  </a:lnTo>
                  <a:lnTo>
                    <a:pt x="113" y="134"/>
                  </a:lnTo>
                  <a:lnTo>
                    <a:pt x="119" y="146"/>
                  </a:lnTo>
                  <a:lnTo>
                    <a:pt x="119" y="157"/>
                  </a:lnTo>
                  <a:lnTo>
                    <a:pt x="113" y="169"/>
                  </a:lnTo>
                  <a:lnTo>
                    <a:pt x="106" y="169"/>
                  </a:lnTo>
                  <a:lnTo>
                    <a:pt x="100" y="169"/>
                  </a:lnTo>
                  <a:lnTo>
                    <a:pt x="100" y="180"/>
                  </a:lnTo>
                  <a:lnTo>
                    <a:pt x="100" y="190"/>
                  </a:lnTo>
                  <a:lnTo>
                    <a:pt x="94" y="190"/>
                  </a:lnTo>
                  <a:lnTo>
                    <a:pt x="87" y="190"/>
                  </a:lnTo>
                  <a:lnTo>
                    <a:pt x="74" y="180"/>
                  </a:lnTo>
                  <a:lnTo>
                    <a:pt x="69" y="180"/>
                  </a:lnTo>
                  <a:lnTo>
                    <a:pt x="63" y="180"/>
                  </a:lnTo>
                  <a:lnTo>
                    <a:pt x="32" y="157"/>
                  </a:lnTo>
                  <a:lnTo>
                    <a:pt x="25" y="157"/>
                  </a:lnTo>
                  <a:lnTo>
                    <a:pt x="13" y="157"/>
                  </a:lnTo>
                  <a:lnTo>
                    <a:pt x="7" y="180"/>
                  </a:lnTo>
                  <a:lnTo>
                    <a:pt x="0" y="146"/>
                  </a:lnTo>
                  <a:lnTo>
                    <a:pt x="13" y="125"/>
                  </a:lnTo>
                  <a:lnTo>
                    <a:pt x="7" y="79"/>
                  </a:lnTo>
                  <a:lnTo>
                    <a:pt x="13" y="90"/>
                  </a:lnTo>
                  <a:lnTo>
                    <a:pt x="13" y="79"/>
                  </a:lnTo>
                  <a:lnTo>
                    <a:pt x="18" y="55"/>
                  </a:lnTo>
                  <a:lnTo>
                    <a:pt x="25" y="34"/>
                  </a:lnTo>
                  <a:lnTo>
                    <a:pt x="32" y="11"/>
                  </a:lnTo>
                  <a:lnTo>
                    <a:pt x="37" y="0"/>
                  </a:lnTo>
                  <a:lnTo>
                    <a:pt x="44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29" name="Freeform 1093"/>
            <p:cNvSpPr>
              <a:spLocks/>
            </p:cNvSpPr>
            <p:nvPr>
              <p:custDataLst>
                <p:tags r:id="rId923"/>
              </p:custDataLst>
            </p:nvPr>
          </p:nvSpPr>
          <p:spPr bwMode="auto">
            <a:xfrm>
              <a:off x="4913561" y="3033713"/>
              <a:ext cx="395287" cy="257175"/>
            </a:xfrm>
            <a:custGeom>
              <a:avLst/>
              <a:gdLst>
                <a:gd name="T0" fmla="*/ 2147483647 w 270"/>
                <a:gd name="T1" fmla="*/ 2147483647 h 325"/>
                <a:gd name="T2" fmla="*/ 2147483647 w 270"/>
                <a:gd name="T3" fmla="*/ 0 h 325"/>
                <a:gd name="T4" fmla="*/ 2147483647 w 270"/>
                <a:gd name="T5" fmla="*/ 2147483647 h 325"/>
                <a:gd name="T6" fmla="*/ 2147483647 w 270"/>
                <a:gd name="T7" fmla="*/ 2147483647 h 325"/>
                <a:gd name="T8" fmla="*/ 2147483647 w 270"/>
                <a:gd name="T9" fmla="*/ 2147483647 h 325"/>
                <a:gd name="T10" fmla="*/ 2147483647 w 270"/>
                <a:gd name="T11" fmla="*/ 2147483647 h 325"/>
                <a:gd name="T12" fmla="*/ 2147483647 w 270"/>
                <a:gd name="T13" fmla="*/ 2147483647 h 325"/>
                <a:gd name="T14" fmla="*/ 2147483647 w 270"/>
                <a:gd name="T15" fmla="*/ 2147483647 h 325"/>
                <a:gd name="T16" fmla="*/ 2147483647 w 270"/>
                <a:gd name="T17" fmla="*/ 2147483647 h 325"/>
                <a:gd name="T18" fmla="*/ 2147483647 w 270"/>
                <a:gd name="T19" fmla="*/ 2147483647 h 325"/>
                <a:gd name="T20" fmla="*/ 2147483647 w 270"/>
                <a:gd name="T21" fmla="*/ 2147483647 h 325"/>
                <a:gd name="T22" fmla="*/ 2147483647 w 270"/>
                <a:gd name="T23" fmla="*/ 2147483647 h 325"/>
                <a:gd name="T24" fmla="*/ 2147483647 w 270"/>
                <a:gd name="T25" fmla="*/ 2147483647 h 325"/>
                <a:gd name="T26" fmla="*/ 2147483647 w 270"/>
                <a:gd name="T27" fmla="*/ 2147483647 h 325"/>
                <a:gd name="T28" fmla="*/ 2147483647 w 270"/>
                <a:gd name="T29" fmla="*/ 2147483647 h 325"/>
                <a:gd name="T30" fmla="*/ 2147483647 w 270"/>
                <a:gd name="T31" fmla="*/ 2147483647 h 325"/>
                <a:gd name="T32" fmla="*/ 2147483647 w 270"/>
                <a:gd name="T33" fmla="*/ 2147483647 h 325"/>
                <a:gd name="T34" fmla="*/ 2147483647 w 270"/>
                <a:gd name="T35" fmla="*/ 2147483647 h 325"/>
                <a:gd name="T36" fmla="*/ 2147483647 w 270"/>
                <a:gd name="T37" fmla="*/ 2147483647 h 325"/>
                <a:gd name="T38" fmla="*/ 2147483647 w 270"/>
                <a:gd name="T39" fmla="*/ 2147483647 h 325"/>
                <a:gd name="T40" fmla="*/ 2147483647 w 270"/>
                <a:gd name="T41" fmla="*/ 2147483647 h 325"/>
                <a:gd name="T42" fmla="*/ 2147483647 w 270"/>
                <a:gd name="T43" fmla="*/ 2147483647 h 325"/>
                <a:gd name="T44" fmla="*/ 2147483647 w 270"/>
                <a:gd name="T45" fmla="*/ 2147483647 h 325"/>
                <a:gd name="T46" fmla="*/ 0 w 270"/>
                <a:gd name="T47" fmla="*/ 2147483647 h 325"/>
                <a:gd name="T48" fmla="*/ 2147483647 w 270"/>
                <a:gd name="T49" fmla="*/ 2147483647 h 325"/>
                <a:gd name="T50" fmla="*/ 2147483647 w 270"/>
                <a:gd name="T51" fmla="*/ 2147483647 h 325"/>
                <a:gd name="T52" fmla="*/ 2147483647 w 270"/>
                <a:gd name="T53" fmla="*/ 2147483647 h 325"/>
                <a:gd name="T54" fmla="*/ 2147483647 w 270"/>
                <a:gd name="T55" fmla="*/ 2147483647 h 325"/>
                <a:gd name="T56" fmla="*/ 2147483647 w 270"/>
                <a:gd name="T57" fmla="*/ 2147483647 h 325"/>
                <a:gd name="T58" fmla="*/ 2147483647 w 270"/>
                <a:gd name="T59" fmla="*/ 2147483647 h 325"/>
                <a:gd name="T60" fmla="*/ 2147483647 w 270"/>
                <a:gd name="T61" fmla="*/ 2147483647 h 325"/>
                <a:gd name="T62" fmla="*/ 2147483647 w 270"/>
                <a:gd name="T63" fmla="*/ 2147483647 h 325"/>
                <a:gd name="T64" fmla="*/ 2147483647 w 270"/>
                <a:gd name="T65" fmla="*/ 2147483647 h 32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0" h="325">
                  <a:moveTo>
                    <a:pt x="132" y="23"/>
                  </a:moveTo>
                  <a:lnTo>
                    <a:pt x="138" y="23"/>
                  </a:lnTo>
                  <a:lnTo>
                    <a:pt x="145" y="12"/>
                  </a:lnTo>
                  <a:lnTo>
                    <a:pt x="151" y="0"/>
                  </a:lnTo>
                  <a:lnTo>
                    <a:pt x="163" y="12"/>
                  </a:lnTo>
                  <a:lnTo>
                    <a:pt x="170" y="35"/>
                  </a:lnTo>
                  <a:lnTo>
                    <a:pt x="170" y="44"/>
                  </a:lnTo>
                  <a:lnTo>
                    <a:pt x="176" y="56"/>
                  </a:lnTo>
                  <a:lnTo>
                    <a:pt x="182" y="56"/>
                  </a:lnTo>
                  <a:lnTo>
                    <a:pt x="195" y="79"/>
                  </a:lnTo>
                  <a:lnTo>
                    <a:pt x="201" y="100"/>
                  </a:lnTo>
                  <a:lnTo>
                    <a:pt x="220" y="112"/>
                  </a:lnTo>
                  <a:lnTo>
                    <a:pt x="232" y="112"/>
                  </a:lnTo>
                  <a:lnTo>
                    <a:pt x="238" y="112"/>
                  </a:lnTo>
                  <a:lnTo>
                    <a:pt x="251" y="123"/>
                  </a:lnTo>
                  <a:lnTo>
                    <a:pt x="265" y="123"/>
                  </a:lnTo>
                  <a:lnTo>
                    <a:pt x="270" y="179"/>
                  </a:lnTo>
                  <a:lnTo>
                    <a:pt x="257" y="179"/>
                  </a:lnTo>
                  <a:lnTo>
                    <a:pt x="257" y="202"/>
                  </a:lnTo>
                  <a:lnTo>
                    <a:pt x="232" y="235"/>
                  </a:lnTo>
                  <a:lnTo>
                    <a:pt x="201" y="246"/>
                  </a:lnTo>
                  <a:lnTo>
                    <a:pt x="201" y="267"/>
                  </a:lnTo>
                  <a:lnTo>
                    <a:pt x="188" y="258"/>
                  </a:lnTo>
                  <a:lnTo>
                    <a:pt x="201" y="290"/>
                  </a:lnTo>
                  <a:lnTo>
                    <a:pt x="220" y="290"/>
                  </a:lnTo>
                  <a:lnTo>
                    <a:pt x="182" y="325"/>
                  </a:lnTo>
                  <a:lnTo>
                    <a:pt x="163" y="290"/>
                  </a:lnTo>
                  <a:lnTo>
                    <a:pt x="182" y="267"/>
                  </a:lnTo>
                  <a:lnTo>
                    <a:pt x="163" y="258"/>
                  </a:lnTo>
                  <a:lnTo>
                    <a:pt x="151" y="258"/>
                  </a:lnTo>
                  <a:lnTo>
                    <a:pt x="151" y="235"/>
                  </a:lnTo>
                  <a:lnTo>
                    <a:pt x="126" y="258"/>
                  </a:lnTo>
                  <a:lnTo>
                    <a:pt x="113" y="290"/>
                  </a:lnTo>
                  <a:lnTo>
                    <a:pt x="101" y="290"/>
                  </a:lnTo>
                  <a:lnTo>
                    <a:pt x="101" y="258"/>
                  </a:lnTo>
                  <a:lnTo>
                    <a:pt x="101" y="246"/>
                  </a:lnTo>
                  <a:lnTo>
                    <a:pt x="113" y="246"/>
                  </a:lnTo>
                  <a:lnTo>
                    <a:pt x="120" y="235"/>
                  </a:lnTo>
                  <a:lnTo>
                    <a:pt x="120" y="223"/>
                  </a:lnTo>
                  <a:lnTo>
                    <a:pt x="113" y="223"/>
                  </a:lnTo>
                  <a:lnTo>
                    <a:pt x="107" y="188"/>
                  </a:lnTo>
                  <a:lnTo>
                    <a:pt x="95" y="167"/>
                  </a:lnTo>
                  <a:lnTo>
                    <a:pt x="82" y="167"/>
                  </a:lnTo>
                  <a:lnTo>
                    <a:pt x="63" y="179"/>
                  </a:lnTo>
                  <a:lnTo>
                    <a:pt x="38" y="179"/>
                  </a:lnTo>
                  <a:lnTo>
                    <a:pt x="26" y="188"/>
                  </a:lnTo>
                  <a:lnTo>
                    <a:pt x="7" y="188"/>
                  </a:lnTo>
                  <a:lnTo>
                    <a:pt x="0" y="167"/>
                  </a:lnTo>
                  <a:lnTo>
                    <a:pt x="7" y="144"/>
                  </a:lnTo>
                  <a:lnTo>
                    <a:pt x="12" y="112"/>
                  </a:lnTo>
                  <a:lnTo>
                    <a:pt x="26" y="79"/>
                  </a:lnTo>
                  <a:lnTo>
                    <a:pt x="20" y="44"/>
                  </a:lnTo>
                  <a:lnTo>
                    <a:pt x="26" y="35"/>
                  </a:lnTo>
                  <a:lnTo>
                    <a:pt x="38" y="35"/>
                  </a:lnTo>
                  <a:lnTo>
                    <a:pt x="45" y="35"/>
                  </a:lnTo>
                  <a:lnTo>
                    <a:pt x="57" y="35"/>
                  </a:lnTo>
                  <a:lnTo>
                    <a:pt x="69" y="44"/>
                  </a:lnTo>
                  <a:lnTo>
                    <a:pt x="82" y="44"/>
                  </a:lnTo>
                  <a:lnTo>
                    <a:pt x="87" y="56"/>
                  </a:lnTo>
                  <a:lnTo>
                    <a:pt x="101" y="56"/>
                  </a:lnTo>
                  <a:lnTo>
                    <a:pt x="107" y="67"/>
                  </a:lnTo>
                  <a:lnTo>
                    <a:pt x="113" y="56"/>
                  </a:lnTo>
                  <a:lnTo>
                    <a:pt x="113" y="44"/>
                  </a:lnTo>
                  <a:lnTo>
                    <a:pt x="120" y="35"/>
                  </a:lnTo>
                  <a:lnTo>
                    <a:pt x="126" y="35"/>
                  </a:lnTo>
                  <a:lnTo>
                    <a:pt x="132" y="35"/>
                  </a:lnTo>
                  <a:lnTo>
                    <a:pt x="132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30" name="Freeform 1094"/>
            <p:cNvSpPr>
              <a:spLocks/>
            </p:cNvSpPr>
            <p:nvPr>
              <p:custDataLst>
                <p:tags r:id="rId924"/>
              </p:custDataLst>
            </p:nvPr>
          </p:nvSpPr>
          <p:spPr bwMode="auto">
            <a:xfrm>
              <a:off x="4913561" y="3033713"/>
              <a:ext cx="395287" cy="257175"/>
            </a:xfrm>
            <a:custGeom>
              <a:avLst/>
              <a:gdLst>
                <a:gd name="T0" fmla="*/ 2147483647 w 270"/>
                <a:gd name="T1" fmla="*/ 2147483647 h 325"/>
                <a:gd name="T2" fmla="*/ 2147483647 w 270"/>
                <a:gd name="T3" fmla="*/ 0 h 325"/>
                <a:gd name="T4" fmla="*/ 2147483647 w 270"/>
                <a:gd name="T5" fmla="*/ 2147483647 h 325"/>
                <a:gd name="T6" fmla="*/ 2147483647 w 270"/>
                <a:gd name="T7" fmla="*/ 2147483647 h 325"/>
                <a:gd name="T8" fmla="*/ 2147483647 w 270"/>
                <a:gd name="T9" fmla="*/ 2147483647 h 325"/>
                <a:gd name="T10" fmla="*/ 2147483647 w 270"/>
                <a:gd name="T11" fmla="*/ 2147483647 h 325"/>
                <a:gd name="T12" fmla="*/ 2147483647 w 270"/>
                <a:gd name="T13" fmla="*/ 2147483647 h 325"/>
                <a:gd name="T14" fmla="*/ 2147483647 w 270"/>
                <a:gd name="T15" fmla="*/ 2147483647 h 325"/>
                <a:gd name="T16" fmla="*/ 2147483647 w 270"/>
                <a:gd name="T17" fmla="*/ 2147483647 h 325"/>
                <a:gd name="T18" fmla="*/ 2147483647 w 270"/>
                <a:gd name="T19" fmla="*/ 2147483647 h 325"/>
                <a:gd name="T20" fmla="*/ 2147483647 w 270"/>
                <a:gd name="T21" fmla="*/ 2147483647 h 325"/>
                <a:gd name="T22" fmla="*/ 2147483647 w 270"/>
                <a:gd name="T23" fmla="*/ 2147483647 h 325"/>
                <a:gd name="T24" fmla="*/ 2147483647 w 270"/>
                <a:gd name="T25" fmla="*/ 2147483647 h 325"/>
                <a:gd name="T26" fmla="*/ 2147483647 w 270"/>
                <a:gd name="T27" fmla="*/ 2147483647 h 325"/>
                <a:gd name="T28" fmla="*/ 2147483647 w 270"/>
                <a:gd name="T29" fmla="*/ 2147483647 h 325"/>
                <a:gd name="T30" fmla="*/ 2147483647 w 270"/>
                <a:gd name="T31" fmla="*/ 2147483647 h 325"/>
                <a:gd name="T32" fmla="*/ 2147483647 w 270"/>
                <a:gd name="T33" fmla="*/ 2147483647 h 325"/>
                <a:gd name="T34" fmla="*/ 2147483647 w 270"/>
                <a:gd name="T35" fmla="*/ 2147483647 h 325"/>
                <a:gd name="T36" fmla="*/ 2147483647 w 270"/>
                <a:gd name="T37" fmla="*/ 2147483647 h 325"/>
                <a:gd name="T38" fmla="*/ 2147483647 w 270"/>
                <a:gd name="T39" fmla="*/ 2147483647 h 325"/>
                <a:gd name="T40" fmla="*/ 2147483647 w 270"/>
                <a:gd name="T41" fmla="*/ 2147483647 h 325"/>
                <a:gd name="T42" fmla="*/ 2147483647 w 270"/>
                <a:gd name="T43" fmla="*/ 2147483647 h 325"/>
                <a:gd name="T44" fmla="*/ 2147483647 w 270"/>
                <a:gd name="T45" fmla="*/ 2147483647 h 325"/>
                <a:gd name="T46" fmla="*/ 0 w 270"/>
                <a:gd name="T47" fmla="*/ 2147483647 h 325"/>
                <a:gd name="T48" fmla="*/ 2147483647 w 270"/>
                <a:gd name="T49" fmla="*/ 2147483647 h 325"/>
                <a:gd name="T50" fmla="*/ 2147483647 w 270"/>
                <a:gd name="T51" fmla="*/ 2147483647 h 325"/>
                <a:gd name="T52" fmla="*/ 2147483647 w 270"/>
                <a:gd name="T53" fmla="*/ 2147483647 h 325"/>
                <a:gd name="T54" fmla="*/ 2147483647 w 270"/>
                <a:gd name="T55" fmla="*/ 2147483647 h 325"/>
                <a:gd name="T56" fmla="*/ 2147483647 w 270"/>
                <a:gd name="T57" fmla="*/ 2147483647 h 325"/>
                <a:gd name="T58" fmla="*/ 2147483647 w 270"/>
                <a:gd name="T59" fmla="*/ 2147483647 h 325"/>
                <a:gd name="T60" fmla="*/ 2147483647 w 270"/>
                <a:gd name="T61" fmla="*/ 2147483647 h 325"/>
                <a:gd name="T62" fmla="*/ 2147483647 w 270"/>
                <a:gd name="T63" fmla="*/ 2147483647 h 325"/>
                <a:gd name="T64" fmla="*/ 2147483647 w 270"/>
                <a:gd name="T65" fmla="*/ 2147483647 h 32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0" h="325">
                  <a:moveTo>
                    <a:pt x="132" y="23"/>
                  </a:moveTo>
                  <a:lnTo>
                    <a:pt x="138" y="23"/>
                  </a:lnTo>
                  <a:lnTo>
                    <a:pt x="145" y="12"/>
                  </a:lnTo>
                  <a:lnTo>
                    <a:pt x="151" y="0"/>
                  </a:lnTo>
                  <a:lnTo>
                    <a:pt x="163" y="12"/>
                  </a:lnTo>
                  <a:lnTo>
                    <a:pt x="170" y="35"/>
                  </a:lnTo>
                  <a:lnTo>
                    <a:pt x="170" y="44"/>
                  </a:lnTo>
                  <a:lnTo>
                    <a:pt x="176" y="56"/>
                  </a:lnTo>
                  <a:lnTo>
                    <a:pt x="182" y="56"/>
                  </a:lnTo>
                  <a:lnTo>
                    <a:pt x="195" y="79"/>
                  </a:lnTo>
                  <a:lnTo>
                    <a:pt x="201" y="100"/>
                  </a:lnTo>
                  <a:lnTo>
                    <a:pt x="220" y="112"/>
                  </a:lnTo>
                  <a:lnTo>
                    <a:pt x="232" y="112"/>
                  </a:lnTo>
                  <a:lnTo>
                    <a:pt x="238" y="112"/>
                  </a:lnTo>
                  <a:lnTo>
                    <a:pt x="251" y="123"/>
                  </a:lnTo>
                  <a:lnTo>
                    <a:pt x="265" y="123"/>
                  </a:lnTo>
                  <a:lnTo>
                    <a:pt x="270" y="179"/>
                  </a:lnTo>
                  <a:lnTo>
                    <a:pt x="257" y="179"/>
                  </a:lnTo>
                  <a:lnTo>
                    <a:pt x="257" y="202"/>
                  </a:lnTo>
                  <a:lnTo>
                    <a:pt x="232" y="235"/>
                  </a:lnTo>
                  <a:lnTo>
                    <a:pt x="201" y="246"/>
                  </a:lnTo>
                  <a:lnTo>
                    <a:pt x="201" y="267"/>
                  </a:lnTo>
                  <a:lnTo>
                    <a:pt x="188" y="258"/>
                  </a:lnTo>
                  <a:lnTo>
                    <a:pt x="201" y="290"/>
                  </a:lnTo>
                  <a:lnTo>
                    <a:pt x="220" y="290"/>
                  </a:lnTo>
                  <a:lnTo>
                    <a:pt x="182" y="325"/>
                  </a:lnTo>
                  <a:lnTo>
                    <a:pt x="163" y="290"/>
                  </a:lnTo>
                  <a:lnTo>
                    <a:pt x="182" y="267"/>
                  </a:lnTo>
                  <a:lnTo>
                    <a:pt x="163" y="258"/>
                  </a:lnTo>
                  <a:lnTo>
                    <a:pt x="151" y="258"/>
                  </a:lnTo>
                  <a:lnTo>
                    <a:pt x="151" y="235"/>
                  </a:lnTo>
                  <a:lnTo>
                    <a:pt x="126" y="258"/>
                  </a:lnTo>
                  <a:lnTo>
                    <a:pt x="113" y="290"/>
                  </a:lnTo>
                  <a:lnTo>
                    <a:pt x="101" y="290"/>
                  </a:lnTo>
                  <a:lnTo>
                    <a:pt x="101" y="258"/>
                  </a:lnTo>
                  <a:lnTo>
                    <a:pt x="101" y="246"/>
                  </a:lnTo>
                  <a:lnTo>
                    <a:pt x="113" y="246"/>
                  </a:lnTo>
                  <a:lnTo>
                    <a:pt x="120" y="235"/>
                  </a:lnTo>
                  <a:lnTo>
                    <a:pt x="120" y="223"/>
                  </a:lnTo>
                  <a:lnTo>
                    <a:pt x="113" y="223"/>
                  </a:lnTo>
                  <a:lnTo>
                    <a:pt x="107" y="188"/>
                  </a:lnTo>
                  <a:lnTo>
                    <a:pt x="95" y="167"/>
                  </a:lnTo>
                  <a:lnTo>
                    <a:pt x="82" y="167"/>
                  </a:lnTo>
                  <a:lnTo>
                    <a:pt x="63" y="179"/>
                  </a:lnTo>
                  <a:lnTo>
                    <a:pt x="38" y="179"/>
                  </a:lnTo>
                  <a:lnTo>
                    <a:pt x="26" y="188"/>
                  </a:lnTo>
                  <a:lnTo>
                    <a:pt x="7" y="188"/>
                  </a:lnTo>
                  <a:lnTo>
                    <a:pt x="0" y="167"/>
                  </a:lnTo>
                  <a:lnTo>
                    <a:pt x="7" y="144"/>
                  </a:lnTo>
                  <a:lnTo>
                    <a:pt x="12" y="112"/>
                  </a:lnTo>
                  <a:lnTo>
                    <a:pt x="26" y="79"/>
                  </a:lnTo>
                  <a:lnTo>
                    <a:pt x="20" y="44"/>
                  </a:lnTo>
                  <a:lnTo>
                    <a:pt x="26" y="35"/>
                  </a:lnTo>
                  <a:lnTo>
                    <a:pt x="38" y="35"/>
                  </a:lnTo>
                  <a:lnTo>
                    <a:pt x="45" y="35"/>
                  </a:lnTo>
                  <a:lnTo>
                    <a:pt x="57" y="35"/>
                  </a:lnTo>
                  <a:lnTo>
                    <a:pt x="69" y="44"/>
                  </a:lnTo>
                  <a:lnTo>
                    <a:pt x="82" y="44"/>
                  </a:lnTo>
                  <a:lnTo>
                    <a:pt x="87" y="56"/>
                  </a:lnTo>
                  <a:lnTo>
                    <a:pt x="101" y="56"/>
                  </a:lnTo>
                  <a:lnTo>
                    <a:pt x="107" y="67"/>
                  </a:lnTo>
                  <a:lnTo>
                    <a:pt x="113" y="56"/>
                  </a:lnTo>
                  <a:lnTo>
                    <a:pt x="113" y="44"/>
                  </a:lnTo>
                  <a:lnTo>
                    <a:pt x="120" y="35"/>
                  </a:lnTo>
                  <a:lnTo>
                    <a:pt x="126" y="35"/>
                  </a:lnTo>
                  <a:lnTo>
                    <a:pt x="132" y="35"/>
                  </a:lnTo>
                  <a:lnTo>
                    <a:pt x="132" y="23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31" name="Freeform 1095"/>
            <p:cNvSpPr>
              <a:spLocks/>
            </p:cNvSpPr>
            <p:nvPr>
              <p:custDataLst>
                <p:tags r:id="rId925"/>
              </p:custDataLst>
            </p:nvPr>
          </p:nvSpPr>
          <p:spPr bwMode="auto">
            <a:xfrm>
              <a:off x="4913561" y="3033713"/>
              <a:ext cx="395287" cy="257175"/>
            </a:xfrm>
            <a:custGeom>
              <a:avLst/>
              <a:gdLst>
                <a:gd name="T0" fmla="*/ 2147483647 w 270"/>
                <a:gd name="T1" fmla="*/ 2147483647 h 325"/>
                <a:gd name="T2" fmla="*/ 2147483647 w 270"/>
                <a:gd name="T3" fmla="*/ 0 h 325"/>
                <a:gd name="T4" fmla="*/ 2147483647 w 270"/>
                <a:gd name="T5" fmla="*/ 2147483647 h 325"/>
                <a:gd name="T6" fmla="*/ 2147483647 w 270"/>
                <a:gd name="T7" fmla="*/ 2147483647 h 325"/>
                <a:gd name="T8" fmla="*/ 2147483647 w 270"/>
                <a:gd name="T9" fmla="*/ 2147483647 h 325"/>
                <a:gd name="T10" fmla="*/ 2147483647 w 270"/>
                <a:gd name="T11" fmla="*/ 2147483647 h 325"/>
                <a:gd name="T12" fmla="*/ 2147483647 w 270"/>
                <a:gd name="T13" fmla="*/ 2147483647 h 325"/>
                <a:gd name="T14" fmla="*/ 2147483647 w 270"/>
                <a:gd name="T15" fmla="*/ 2147483647 h 325"/>
                <a:gd name="T16" fmla="*/ 2147483647 w 270"/>
                <a:gd name="T17" fmla="*/ 2147483647 h 325"/>
                <a:gd name="T18" fmla="*/ 2147483647 w 270"/>
                <a:gd name="T19" fmla="*/ 2147483647 h 325"/>
                <a:gd name="T20" fmla="*/ 2147483647 w 270"/>
                <a:gd name="T21" fmla="*/ 2147483647 h 325"/>
                <a:gd name="T22" fmla="*/ 2147483647 w 270"/>
                <a:gd name="T23" fmla="*/ 2147483647 h 325"/>
                <a:gd name="T24" fmla="*/ 2147483647 w 270"/>
                <a:gd name="T25" fmla="*/ 2147483647 h 325"/>
                <a:gd name="T26" fmla="*/ 2147483647 w 270"/>
                <a:gd name="T27" fmla="*/ 2147483647 h 325"/>
                <a:gd name="T28" fmla="*/ 2147483647 w 270"/>
                <a:gd name="T29" fmla="*/ 2147483647 h 325"/>
                <a:gd name="T30" fmla="*/ 2147483647 w 270"/>
                <a:gd name="T31" fmla="*/ 2147483647 h 325"/>
                <a:gd name="T32" fmla="*/ 2147483647 w 270"/>
                <a:gd name="T33" fmla="*/ 2147483647 h 325"/>
                <a:gd name="T34" fmla="*/ 2147483647 w 270"/>
                <a:gd name="T35" fmla="*/ 2147483647 h 325"/>
                <a:gd name="T36" fmla="*/ 2147483647 w 270"/>
                <a:gd name="T37" fmla="*/ 2147483647 h 325"/>
                <a:gd name="T38" fmla="*/ 2147483647 w 270"/>
                <a:gd name="T39" fmla="*/ 2147483647 h 325"/>
                <a:gd name="T40" fmla="*/ 2147483647 w 270"/>
                <a:gd name="T41" fmla="*/ 2147483647 h 325"/>
                <a:gd name="T42" fmla="*/ 2147483647 w 270"/>
                <a:gd name="T43" fmla="*/ 2147483647 h 325"/>
                <a:gd name="T44" fmla="*/ 2147483647 w 270"/>
                <a:gd name="T45" fmla="*/ 2147483647 h 325"/>
                <a:gd name="T46" fmla="*/ 0 w 270"/>
                <a:gd name="T47" fmla="*/ 2147483647 h 325"/>
                <a:gd name="T48" fmla="*/ 2147483647 w 270"/>
                <a:gd name="T49" fmla="*/ 2147483647 h 325"/>
                <a:gd name="T50" fmla="*/ 2147483647 w 270"/>
                <a:gd name="T51" fmla="*/ 2147483647 h 325"/>
                <a:gd name="T52" fmla="*/ 2147483647 w 270"/>
                <a:gd name="T53" fmla="*/ 2147483647 h 325"/>
                <a:gd name="T54" fmla="*/ 2147483647 w 270"/>
                <a:gd name="T55" fmla="*/ 2147483647 h 325"/>
                <a:gd name="T56" fmla="*/ 2147483647 w 270"/>
                <a:gd name="T57" fmla="*/ 2147483647 h 325"/>
                <a:gd name="T58" fmla="*/ 2147483647 w 270"/>
                <a:gd name="T59" fmla="*/ 2147483647 h 325"/>
                <a:gd name="T60" fmla="*/ 2147483647 w 270"/>
                <a:gd name="T61" fmla="*/ 2147483647 h 325"/>
                <a:gd name="T62" fmla="*/ 2147483647 w 270"/>
                <a:gd name="T63" fmla="*/ 2147483647 h 325"/>
                <a:gd name="T64" fmla="*/ 2147483647 w 270"/>
                <a:gd name="T65" fmla="*/ 2147483647 h 32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0" h="325">
                  <a:moveTo>
                    <a:pt x="132" y="23"/>
                  </a:moveTo>
                  <a:lnTo>
                    <a:pt x="138" y="23"/>
                  </a:lnTo>
                  <a:lnTo>
                    <a:pt x="145" y="12"/>
                  </a:lnTo>
                  <a:lnTo>
                    <a:pt x="151" y="0"/>
                  </a:lnTo>
                  <a:lnTo>
                    <a:pt x="163" y="12"/>
                  </a:lnTo>
                  <a:lnTo>
                    <a:pt x="170" y="35"/>
                  </a:lnTo>
                  <a:lnTo>
                    <a:pt x="170" y="44"/>
                  </a:lnTo>
                  <a:lnTo>
                    <a:pt x="176" y="56"/>
                  </a:lnTo>
                  <a:lnTo>
                    <a:pt x="182" y="56"/>
                  </a:lnTo>
                  <a:lnTo>
                    <a:pt x="195" y="79"/>
                  </a:lnTo>
                  <a:lnTo>
                    <a:pt x="201" y="100"/>
                  </a:lnTo>
                  <a:lnTo>
                    <a:pt x="220" y="112"/>
                  </a:lnTo>
                  <a:lnTo>
                    <a:pt x="232" y="112"/>
                  </a:lnTo>
                  <a:lnTo>
                    <a:pt x="238" y="112"/>
                  </a:lnTo>
                  <a:lnTo>
                    <a:pt x="251" y="123"/>
                  </a:lnTo>
                  <a:lnTo>
                    <a:pt x="265" y="123"/>
                  </a:lnTo>
                  <a:lnTo>
                    <a:pt x="270" y="179"/>
                  </a:lnTo>
                  <a:lnTo>
                    <a:pt x="257" y="179"/>
                  </a:lnTo>
                  <a:lnTo>
                    <a:pt x="257" y="202"/>
                  </a:lnTo>
                  <a:lnTo>
                    <a:pt x="232" y="235"/>
                  </a:lnTo>
                  <a:lnTo>
                    <a:pt x="201" y="246"/>
                  </a:lnTo>
                  <a:lnTo>
                    <a:pt x="201" y="267"/>
                  </a:lnTo>
                  <a:lnTo>
                    <a:pt x="188" y="258"/>
                  </a:lnTo>
                  <a:lnTo>
                    <a:pt x="201" y="290"/>
                  </a:lnTo>
                  <a:lnTo>
                    <a:pt x="220" y="290"/>
                  </a:lnTo>
                  <a:lnTo>
                    <a:pt x="182" y="325"/>
                  </a:lnTo>
                  <a:lnTo>
                    <a:pt x="163" y="290"/>
                  </a:lnTo>
                  <a:lnTo>
                    <a:pt x="182" y="267"/>
                  </a:lnTo>
                  <a:lnTo>
                    <a:pt x="163" y="258"/>
                  </a:lnTo>
                  <a:lnTo>
                    <a:pt x="151" y="258"/>
                  </a:lnTo>
                  <a:lnTo>
                    <a:pt x="151" y="235"/>
                  </a:lnTo>
                  <a:lnTo>
                    <a:pt x="126" y="258"/>
                  </a:lnTo>
                  <a:lnTo>
                    <a:pt x="113" y="290"/>
                  </a:lnTo>
                  <a:lnTo>
                    <a:pt x="101" y="290"/>
                  </a:lnTo>
                  <a:lnTo>
                    <a:pt x="101" y="258"/>
                  </a:lnTo>
                  <a:lnTo>
                    <a:pt x="101" y="246"/>
                  </a:lnTo>
                  <a:lnTo>
                    <a:pt x="113" y="246"/>
                  </a:lnTo>
                  <a:lnTo>
                    <a:pt x="120" y="235"/>
                  </a:lnTo>
                  <a:lnTo>
                    <a:pt x="120" y="223"/>
                  </a:lnTo>
                  <a:lnTo>
                    <a:pt x="113" y="223"/>
                  </a:lnTo>
                  <a:lnTo>
                    <a:pt x="107" y="188"/>
                  </a:lnTo>
                  <a:lnTo>
                    <a:pt x="95" y="167"/>
                  </a:lnTo>
                  <a:lnTo>
                    <a:pt x="82" y="167"/>
                  </a:lnTo>
                  <a:lnTo>
                    <a:pt x="63" y="179"/>
                  </a:lnTo>
                  <a:lnTo>
                    <a:pt x="38" y="179"/>
                  </a:lnTo>
                  <a:lnTo>
                    <a:pt x="26" y="188"/>
                  </a:lnTo>
                  <a:lnTo>
                    <a:pt x="7" y="188"/>
                  </a:lnTo>
                  <a:lnTo>
                    <a:pt x="0" y="167"/>
                  </a:lnTo>
                  <a:lnTo>
                    <a:pt x="7" y="144"/>
                  </a:lnTo>
                  <a:lnTo>
                    <a:pt x="12" y="112"/>
                  </a:lnTo>
                  <a:lnTo>
                    <a:pt x="26" y="79"/>
                  </a:lnTo>
                  <a:lnTo>
                    <a:pt x="20" y="44"/>
                  </a:lnTo>
                  <a:lnTo>
                    <a:pt x="26" y="35"/>
                  </a:lnTo>
                  <a:lnTo>
                    <a:pt x="38" y="35"/>
                  </a:lnTo>
                  <a:lnTo>
                    <a:pt x="45" y="35"/>
                  </a:lnTo>
                  <a:lnTo>
                    <a:pt x="57" y="35"/>
                  </a:lnTo>
                  <a:lnTo>
                    <a:pt x="69" y="44"/>
                  </a:lnTo>
                  <a:lnTo>
                    <a:pt x="82" y="44"/>
                  </a:lnTo>
                  <a:lnTo>
                    <a:pt x="87" y="56"/>
                  </a:lnTo>
                  <a:lnTo>
                    <a:pt x="101" y="56"/>
                  </a:lnTo>
                  <a:lnTo>
                    <a:pt x="107" y="67"/>
                  </a:lnTo>
                  <a:lnTo>
                    <a:pt x="113" y="56"/>
                  </a:lnTo>
                  <a:lnTo>
                    <a:pt x="113" y="44"/>
                  </a:lnTo>
                  <a:lnTo>
                    <a:pt x="120" y="35"/>
                  </a:lnTo>
                  <a:lnTo>
                    <a:pt x="126" y="35"/>
                  </a:lnTo>
                  <a:lnTo>
                    <a:pt x="132" y="35"/>
                  </a:lnTo>
                  <a:lnTo>
                    <a:pt x="132" y="2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32" name="Freeform 1096"/>
            <p:cNvSpPr>
              <a:spLocks/>
            </p:cNvSpPr>
            <p:nvPr>
              <p:custDataLst>
                <p:tags r:id="rId926"/>
              </p:custDataLst>
            </p:nvPr>
          </p:nvSpPr>
          <p:spPr bwMode="auto">
            <a:xfrm>
              <a:off x="4913561" y="3033713"/>
              <a:ext cx="395287" cy="257175"/>
            </a:xfrm>
            <a:custGeom>
              <a:avLst/>
              <a:gdLst>
                <a:gd name="T0" fmla="*/ 2147483647 w 270"/>
                <a:gd name="T1" fmla="*/ 2147483647 h 325"/>
                <a:gd name="T2" fmla="*/ 2147483647 w 270"/>
                <a:gd name="T3" fmla="*/ 0 h 325"/>
                <a:gd name="T4" fmla="*/ 2147483647 w 270"/>
                <a:gd name="T5" fmla="*/ 2147483647 h 325"/>
                <a:gd name="T6" fmla="*/ 2147483647 w 270"/>
                <a:gd name="T7" fmla="*/ 2147483647 h 325"/>
                <a:gd name="T8" fmla="*/ 2147483647 w 270"/>
                <a:gd name="T9" fmla="*/ 2147483647 h 325"/>
                <a:gd name="T10" fmla="*/ 2147483647 w 270"/>
                <a:gd name="T11" fmla="*/ 2147483647 h 325"/>
                <a:gd name="T12" fmla="*/ 2147483647 w 270"/>
                <a:gd name="T13" fmla="*/ 2147483647 h 325"/>
                <a:gd name="T14" fmla="*/ 2147483647 w 270"/>
                <a:gd name="T15" fmla="*/ 2147483647 h 325"/>
                <a:gd name="T16" fmla="*/ 2147483647 w 270"/>
                <a:gd name="T17" fmla="*/ 2147483647 h 325"/>
                <a:gd name="T18" fmla="*/ 2147483647 w 270"/>
                <a:gd name="T19" fmla="*/ 2147483647 h 325"/>
                <a:gd name="T20" fmla="*/ 2147483647 w 270"/>
                <a:gd name="T21" fmla="*/ 2147483647 h 325"/>
                <a:gd name="T22" fmla="*/ 2147483647 w 270"/>
                <a:gd name="T23" fmla="*/ 2147483647 h 325"/>
                <a:gd name="T24" fmla="*/ 2147483647 w 270"/>
                <a:gd name="T25" fmla="*/ 2147483647 h 325"/>
                <a:gd name="T26" fmla="*/ 2147483647 w 270"/>
                <a:gd name="T27" fmla="*/ 2147483647 h 325"/>
                <a:gd name="T28" fmla="*/ 2147483647 w 270"/>
                <a:gd name="T29" fmla="*/ 2147483647 h 325"/>
                <a:gd name="T30" fmla="*/ 2147483647 w 270"/>
                <a:gd name="T31" fmla="*/ 2147483647 h 325"/>
                <a:gd name="T32" fmla="*/ 2147483647 w 270"/>
                <a:gd name="T33" fmla="*/ 2147483647 h 325"/>
                <a:gd name="T34" fmla="*/ 2147483647 w 270"/>
                <a:gd name="T35" fmla="*/ 2147483647 h 325"/>
                <a:gd name="T36" fmla="*/ 2147483647 w 270"/>
                <a:gd name="T37" fmla="*/ 2147483647 h 325"/>
                <a:gd name="T38" fmla="*/ 2147483647 w 270"/>
                <a:gd name="T39" fmla="*/ 2147483647 h 325"/>
                <a:gd name="T40" fmla="*/ 2147483647 w 270"/>
                <a:gd name="T41" fmla="*/ 2147483647 h 325"/>
                <a:gd name="T42" fmla="*/ 2147483647 w 270"/>
                <a:gd name="T43" fmla="*/ 2147483647 h 325"/>
                <a:gd name="T44" fmla="*/ 2147483647 w 270"/>
                <a:gd name="T45" fmla="*/ 2147483647 h 325"/>
                <a:gd name="T46" fmla="*/ 0 w 270"/>
                <a:gd name="T47" fmla="*/ 2147483647 h 325"/>
                <a:gd name="T48" fmla="*/ 2147483647 w 270"/>
                <a:gd name="T49" fmla="*/ 2147483647 h 325"/>
                <a:gd name="T50" fmla="*/ 2147483647 w 270"/>
                <a:gd name="T51" fmla="*/ 2147483647 h 325"/>
                <a:gd name="T52" fmla="*/ 2147483647 w 270"/>
                <a:gd name="T53" fmla="*/ 2147483647 h 325"/>
                <a:gd name="T54" fmla="*/ 2147483647 w 270"/>
                <a:gd name="T55" fmla="*/ 2147483647 h 325"/>
                <a:gd name="T56" fmla="*/ 2147483647 w 270"/>
                <a:gd name="T57" fmla="*/ 2147483647 h 325"/>
                <a:gd name="T58" fmla="*/ 2147483647 w 270"/>
                <a:gd name="T59" fmla="*/ 2147483647 h 325"/>
                <a:gd name="T60" fmla="*/ 2147483647 w 270"/>
                <a:gd name="T61" fmla="*/ 2147483647 h 325"/>
                <a:gd name="T62" fmla="*/ 2147483647 w 270"/>
                <a:gd name="T63" fmla="*/ 2147483647 h 325"/>
                <a:gd name="T64" fmla="*/ 2147483647 w 270"/>
                <a:gd name="T65" fmla="*/ 2147483647 h 32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0" h="325">
                  <a:moveTo>
                    <a:pt x="132" y="23"/>
                  </a:moveTo>
                  <a:lnTo>
                    <a:pt x="138" y="23"/>
                  </a:lnTo>
                  <a:lnTo>
                    <a:pt x="145" y="12"/>
                  </a:lnTo>
                  <a:lnTo>
                    <a:pt x="151" y="0"/>
                  </a:lnTo>
                  <a:lnTo>
                    <a:pt x="163" y="12"/>
                  </a:lnTo>
                  <a:lnTo>
                    <a:pt x="170" y="35"/>
                  </a:lnTo>
                  <a:lnTo>
                    <a:pt x="170" y="44"/>
                  </a:lnTo>
                  <a:lnTo>
                    <a:pt x="176" y="56"/>
                  </a:lnTo>
                  <a:lnTo>
                    <a:pt x="182" y="56"/>
                  </a:lnTo>
                  <a:lnTo>
                    <a:pt x="195" y="79"/>
                  </a:lnTo>
                  <a:lnTo>
                    <a:pt x="201" y="100"/>
                  </a:lnTo>
                  <a:lnTo>
                    <a:pt x="220" y="112"/>
                  </a:lnTo>
                  <a:lnTo>
                    <a:pt x="232" y="112"/>
                  </a:lnTo>
                  <a:lnTo>
                    <a:pt x="238" y="112"/>
                  </a:lnTo>
                  <a:lnTo>
                    <a:pt x="251" y="123"/>
                  </a:lnTo>
                  <a:lnTo>
                    <a:pt x="265" y="123"/>
                  </a:lnTo>
                  <a:lnTo>
                    <a:pt x="270" y="179"/>
                  </a:lnTo>
                  <a:lnTo>
                    <a:pt x="257" y="179"/>
                  </a:lnTo>
                  <a:lnTo>
                    <a:pt x="257" y="202"/>
                  </a:lnTo>
                  <a:lnTo>
                    <a:pt x="232" y="235"/>
                  </a:lnTo>
                  <a:lnTo>
                    <a:pt x="201" y="246"/>
                  </a:lnTo>
                  <a:lnTo>
                    <a:pt x="201" y="267"/>
                  </a:lnTo>
                  <a:lnTo>
                    <a:pt x="188" y="258"/>
                  </a:lnTo>
                  <a:lnTo>
                    <a:pt x="201" y="290"/>
                  </a:lnTo>
                  <a:lnTo>
                    <a:pt x="220" y="290"/>
                  </a:lnTo>
                  <a:lnTo>
                    <a:pt x="182" y="325"/>
                  </a:lnTo>
                  <a:lnTo>
                    <a:pt x="163" y="290"/>
                  </a:lnTo>
                  <a:lnTo>
                    <a:pt x="182" y="267"/>
                  </a:lnTo>
                  <a:lnTo>
                    <a:pt x="163" y="258"/>
                  </a:lnTo>
                  <a:lnTo>
                    <a:pt x="151" y="258"/>
                  </a:lnTo>
                  <a:lnTo>
                    <a:pt x="151" y="235"/>
                  </a:lnTo>
                  <a:lnTo>
                    <a:pt x="126" y="258"/>
                  </a:lnTo>
                  <a:lnTo>
                    <a:pt x="113" y="290"/>
                  </a:lnTo>
                  <a:lnTo>
                    <a:pt x="101" y="290"/>
                  </a:lnTo>
                  <a:lnTo>
                    <a:pt x="101" y="258"/>
                  </a:lnTo>
                  <a:lnTo>
                    <a:pt x="101" y="246"/>
                  </a:lnTo>
                  <a:lnTo>
                    <a:pt x="113" y="246"/>
                  </a:lnTo>
                  <a:lnTo>
                    <a:pt x="120" y="235"/>
                  </a:lnTo>
                  <a:lnTo>
                    <a:pt x="120" y="223"/>
                  </a:lnTo>
                  <a:lnTo>
                    <a:pt x="113" y="223"/>
                  </a:lnTo>
                  <a:lnTo>
                    <a:pt x="107" y="188"/>
                  </a:lnTo>
                  <a:lnTo>
                    <a:pt x="95" y="167"/>
                  </a:lnTo>
                  <a:lnTo>
                    <a:pt x="82" y="167"/>
                  </a:lnTo>
                  <a:lnTo>
                    <a:pt x="63" y="179"/>
                  </a:lnTo>
                  <a:lnTo>
                    <a:pt x="38" y="179"/>
                  </a:lnTo>
                  <a:lnTo>
                    <a:pt x="26" y="188"/>
                  </a:lnTo>
                  <a:lnTo>
                    <a:pt x="7" y="188"/>
                  </a:lnTo>
                  <a:lnTo>
                    <a:pt x="0" y="167"/>
                  </a:lnTo>
                  <a:lnTo>
                    <a:pt x="7" y="144"/>
                  </a:lnTo>
                  <a:lnTo>
                    <a:pt x="12" y="112"/>
                  </a:lnTo>
                  <a:lnTo>
                    <a:pt x="26" y="79"/>
                  </a:lnTo>
                  <a:lnTo>
                    <a:pt x="20" y="44"/>
                  </a:lnTo>
                  <a:lnTo>
                    <a:pt x="26" y="35"/>
                  </a:lnTo>
                  <a:lnTo>
                    <a:pt x="38" y="35"/>
                  </a:lnTo>
                  <a:lnTo>
                    <a:pt x="45" y="35"/>
                  </a:lnTo>
                  <a:lnTo>
                    <a:pt x="57" y="35"/>
                  </a:lnTo>
                  <a:lnTo>
                    <a:pt x="69" y="44"/>
                  </a:lnTo>
                  <a:lnTo>
                    <a:pt x="82" y="44"/>
                  </a:lnTo>
                  <a:lnTo>
                    <a:pt x="87" y="56"/>
                  </a:lnTo>
                  <a:lnTo>
                    <a:pt x="101" y="56"/>
                  </a:lnTo>
                  <a:lnTo>
                    <a:pt x="107" y="67"/>
                  </a:lnTo>
                  <a:lnTo>
                    <a:pt x="113" y="56"/>
                  </a:lnTo>
                  <a:lnTo>
                    <a:pt x="113" y="44"/>
                  </a:lnTo>
                  <a:lnTo>
                    <a:pt x="120" y="35"/>
                  </a:lnTo>
                  <a:lnTo>
                    <a:pt x="126" y="35"/>
                  </a:lnTo>
                  <a:lnTo>
                    <a:pt x="132" y="35"/>
                  </a:lnTo>
                  <a:lnTo>
                    <a:pt x="132" y="23"/>
                  </a:lnTo>
                </a:path>
              </a:pathLst>
            </a:custGeom>
            <a:solidFill>
              <a:schemeClr val="accent6">
                <a:lumMod val="75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33" name="Freeform 1097"/>
            <p:cNvSpPr>
              <a:spLocks/>
            </p:cNvSpPr>
            <p:nvPr>
              <p:custDataLst>
                <p:tags r:id="rId927"/>
              </p:custDataLst>
            </p:nvPr>
          </p:nvSpPr>
          <p:spPr bwMode="auto">
            <a:xfrm>
              <a:off x="5016748" y="3168650"/>
              <a:ext cx="73025" cy="95250"/>
            </a:xfrm>
            <a:custGeom>
              <a:avLst/>
              <a:gdLst>
                <a:gd name="T0" fmla="*/ 2147483647 w 50"/>
                <a:gd name="T1" fmla="*/ 2147483647 h 121"/>
                <a:gd name="T2" fmla="*/ 2147483647 w 50"/>
                <a:gd name="T3" fmla="*/ 2147483647 h 121"/>
                <a:gd name="T4" fmla="*/ 2147483647 w 50"/>
                <a:gd name="T5" fmla="*/ 2147483647 h 121"/>
                <a:gd name="T6" fmla="*/ 2147483647 w 50"/>
                <a:gd name="T7" fmla="*/ 2147483647 h 121"/>
                <a:gd name="T8" fmla="*/ 2147483647 w 50"/>
                <a:gd name="T9" fmla="*/ 2147483647 h 121"/>
                <a:gd name="T10" fmla="*/ 2147483647 w 50"/>
                <a:gd name="T11" fmla="*/ 2147483647 h 121"/>
                <a:gd name="T12" fmla="*/ 2147483647 w 50"/>
                <a:gd name="T13" fmla="*/ 2147483647 h 121"/>
                <a:gd name="T14" fmla="*/ 2147483647 w 50"/>
                <a:gd name="T15" fmla="*/ 2147483647 h 121"/>
                <a:gd name="T16" fmla="*/ 2147483647 w 50"/>
                <a:gd name="T17" fmla="*/ 2147483647 h 121"/>
                <a:gd name="T18" fmla="*/ 2147483647 w 50"/>
                <a:gd name="T19" fmla="*/ 2147483647 h 121"/>
                <a:gd name="T20" fmla="*/ 2147483647 w 50"/>
                <a:gd name="T21" fmla="*/ 2147483647 h 121"/>
                <a:gd name="T22" fmla="*/ 2147483647 w 50"/>
                <a:gd name="T23" fmla="*/ 0 h 121"/>
                <a:gd name="T24" fmla="*/ 0 w 50"/>
                <a:gd name="T25" fmla="*/ 2147483647 h 121"/>
                <a:gd name="T26" fmla="*/ 2147483647 w 50"/>
                <a:gd name="T27" fmla="*/ 2147483647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121">
                  <a:moveTo>
                    <a:pt x="12" y="44"/>
                  </a:moveTo>
                  <a:lnTo>
                    <a:pt x="18" y="54"/>
                  </a:lnTo>
                  <a:lnTo>
                    <a:pt x="18" y="66"/>
                  </a:lnTo>
                  <a:lnTo>
                    <a:pt x="25" y="121"/>
                  </a:lnTo>
                  <a:lnTo>
                    <a:pt x="31" y="121"/>
                  </a:lnTo>
                  <a:lnTo>
                    <a:pt x="31" y="98"/>
                  </a:lnTo>
                  <a:lnTo>
                    <a:pt x="31" y="77"/>
                  </a:lnTo>
                  <a:lnTo>
                    <a:pt x="50" y="66"/>
                  </a:lnTo>
                  <a:lnTo>
                    <a:pt x="43" y="54"/>
                  </a:lnTo>
                  <a:lnTo>
                    <a:pt x="37" y="21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12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34" name="Freeform 1098"/>
            <p:cNvSpPr>
              <a:spLocks/>
            </p:cNvSpPr>
            <p:nvPr>
              <p:custDataLst>
                <p:tags r:id="rId928"/>
              </p:custDataLst>
            </p:nvPr>
          </p:nvSpPr>
          <p:spPr bwMode="auto">
            <a:xfrm>
              <a:off x="5016748" y="3168650"/>
              <a:ext cx="73025" cy="95250"/>
            </a:xfrm>
            <a:custGeom>
              <a:avLst/>
              <a:gdLst>
                <a:gd name="T0" fmla="*/ 2147483647 w 50"/>
                <a:gd name="T1" fmla="*/ 2147483647 h 121"/>
                <a:gd name="T2" fmla="*/ 2147483647 w 50"/>
                <a:gd name="T3" fmla="*/ 2147483647 h 121"/>
                <a:gd name="T4" fmla="*/ 2147483647 w 50"/>
                <a:gd name="T5" fmla="*/ 2147483647 h 121"/>
                <a:gd name="T6" fmla="*/ 2147483647 w 50"/>
                <a:gd name="T7" fmla="*/ 2147483647 h 121"/>
                <a:gd name="T8" fmla="*/ 2147483647 w 50"/>
                <a:gd name="T9" fmla="*/ 2147483647 h 121"/>
                <a:gd name="T10" fmla="*/ 2147483647 w 50"/>
                <a:gd name="T11" fmla="*/ 2147483647 h 121"/>
                <a:gd name="T12" fmla="*/ 2147483647 w 50"/>
                <a:gd name="T13" fmla="*/ 2147483647 h 121"/>
                <a:gd name="T14" fmla="*/ 2147483647 w 50"/>
                <a:gd name="T15" fmla="*/ 2147483647 h 121"/>
                <a:gd name="T16" fmla="*/ 2147483647 w 50"/>
                <a:gd name="T17" fmla="*/ 2147483647 h 121"/>
                <a:gd name="T18" fmla="*/ 2147483647 w 50"/>
                <a:gd name="T19" fmla="*/ 2147483647 h 121"/>
                <a:gd name="T20" fmla="*/ 2147483647 w 50"/>
                <a:gd name="T21" fmla="*/ 2147483647 h 121"/>
                <a:gd name="T22" fmla="*/ 2147483647 w 50"/>
                <a:gd name="T23" fmla="*/ 0 h 121"/>
                <a:gd name="T24" fmla="*/ 0 w 50"/>
                <a:gd name="T25" fmla="*/ 2147483647 h 121"/>
                <a:gd name="T26" fmla="*/ 2147483647 w 50"/>
                <a:gd name="T27" fmla="*/ 2147483647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121">
                  <a:moveTo>
                    <a:pt x="12" y="44"/>
                  </a:moveTo>
                  <a:lnTo>
                    <a:pt x="18" y="54"/>
                  </a:lnTo>
                  <a:lnTo>
                    <a:pt x="18" y="66"/>
                  </a:lnTo>
                  <a:lnTo>
                    <a:pt x="25" y="121"/>
                  </a:lnTo>
                  <a:lnTo>
                    <a:pt x="31" y="121"/>
                  </a:lnTo>
                  <a:lnTo>
                    <a:pt x="31" y="98"/>
                  </a:lnTo>
                  <a:lnTo>
                    <a:pt x="31" y="77"/>
                  </a:lnTo>
                  <a:lnTo>
                    <a:pt x="50" y="66"/>
                  </a:lnTo>
                  <a:lnTo>
                    <a:pt x="43" y="54"/>
                  </a:lnTo>
                  <a:lnTo>
                    <a:pt x="37" y="21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12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35" name="Freeform 1099"/>
            <p:cNvSpPr>
              <a:spLocks/>
            </p:cNvSpPr>
            <p:nvPr>
              <p:custDataLst>
                <p:tags r:id="rId929"/>
              </p:custDataLst>
            </p:nvPr>
          </p:nvSpPr>
          <p:spPr bwMode="auto">
            <a:xfrm>
              <a:off x="5016748" y="3168650"/>
              <a:ext cx="73025" cy="95250"/>
            </a:xfrm>
            <a:custGeom>
              <a:avLst/>
              <a:gdLst>
                <a:gd name="T0" fmla="*/ 2147483647 w 50"/>
                <a:gd name="T1" fmla="*/ 2147483647 h 121"/>
                <a:gd name="T2" fmla="*/ 2147483647 w 50"/>
                <a:gd name="T3" fmla="*/ 2147483647 h 121"/>
                <a:gd name="T4" fmla="*/ 2147483647 w 50"/>
                <a:gd name="T5" fmla="*/ 2147483647 h 121"/>
                <a:gd name="T6" fmla="*/ 2147483647 w 50"/>
                <a:gd name="T7" fmla="*/ 2147483647 h 121"/>
                <a:gd name="T8" fmla="*/ 2147483647 w 50"/>
                <a:gd name="T9" fmla="*/ 2147483647 h 121"/>
                <a:gd name="T10" fmla="*/ 2147483647 w 50"/>
                <a:gd name="T11" fmla="*/ 2147483647 h 121"/>
                <a:gd name="T12" fmla="*/ 2147483647 w 50"/>
                <a:gd name="T13" fmla="*/ 2147483647 h 121"/>
                <a:gd name="T14" fmla="*/ 2147483647 w 50"/>
                <a:gd name="T15" fmla="*/ 2147483647 h 121"/>
                <a:gd name="T16" fmla="*/ 2147483647 w 50"/>
                <a:gd name="T17" fmla="*/ 2147483647 h 121"/>
                <a:gd name="T18" fmla="*/ 2147483647 w 50"/>
                <a:gd name="T19" fmla="*/ 2147483647 h 121"/>
                <a:gd name="T20" fmla="*/ 2147483647 w 50"/>
                <a:gd name="T21" fmla="*/ 2147483647 h 121"/>
                <a:gd name="T22" fmla="*/ 2147483647 w 50"/>
                <a:gd name="T23" fmla="*/ 0 h 121"/>
                <a:gd name="T24" fmla="*/ 0 w 50"/>
                <a:gd name="T25" fmla="*/ 2147483647 h 121"/>
                <a:gd name="T26" fmla="*/ 2147483647 w 50"/>
                <a:gd name="T27" fmla="*/ 2147483647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121">
                  <a:moveTo>
                    <a:pt x="12" y="44"/>
                  </a:moveTo>
                  <a:lnTo>
                    <a:pt x="18" y="54"/>
                  </a:lnTo>
                  <a:lnTo>
                    <a:pt x="18" y="66"/>
                  </a:lnTo>
                  <a:lnTo>
                    <a:pt x="25" y="121"/>
                  </a:lnTo>
                  <a:lnTo>
                    <a:pt x="31" y="121"/>
                  </a:lnTo>
                  <a:lnTo>
                    <a:pt x="31" y="98"/>
                  </a:lnTo>
                  <a:lnTo>
                    <a:pt x="31" y="77"/>
                  </a:lnTo>
                  <a:lnTo>
                    <a:pt x="50" y="66"/>
                  </a:lnTo>
                  <a:lnTo>
                    <a:pt x="43" y="54"/>
                  </a:lnTo>
                  <a:lnTo>
                    <a:pt x="37" y="21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12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36" name="Freeform 1100"/>
            <p:cNvSpPr>
              <a:spLocks/>
            </p:cNvSpPr>
            <p:nvPr>
              <p:custDataLst>
                <p:tags r:id="rId930"/>
              </p:custDataLst>
            </p:nvPr>
          </p:nvSpPr>
          <p:spPr bwMode="auto">
            <a:xfrm>
              <a:off x="5016748" y="3168650"/>
              <a:ext cx="73025" cy="95250"/>
            </a:xfrm>
            <a:custGeom>
              <a:avLst/>
              <a:gdLst>
                <a:gd name="T0" fmla="*/ 2147483647 w 50"/>
                <a:gd name="T1" fmla="*/ 2147483647 h 121"/>
                <a:gd name="T2" fmla="*/ 2147483647 w 50"/>
                <a:gd name="T3" fmla="*/ 2147483647 h 121"/>
                <a:gd name="T4" fmla="*/ 2147483647 w 50"/>
                <a:gd name="T5" fmla="*/ 2147483647 h 121"/>
                <a:gd name="T6" fmla="*/ 2147483647 w 50"/>
                <a:gd name="T7" fmla="*/ 2147483647 h 121"/>
                <a:gd name="T8" fmla="*/ 2147483647 w 50"/>
                <a:gd name="T9" fmla="*/ 2147483647 h 121"/>
                <a:gd name="T10" fmla="*/ 2147483647 w 50"/>
                <a:gd name="T11" fmla="*/ 2147483647 h 121"/>
                <a:gd name="T12" fmla="*/ 2147483647 w 50"/>
                <a:gd name="T13" fmla="*/ 2147483647 h 121"/>
                <a:gd name="T14" fmla="*/ 2147483647 w 50"/>
                <a:gd name="T15" fmla="*/ 2147483647 h 121"/>
                <a:gd name="T16" fmla="*/ 2147483647 w 50"/>
                <a:gd name="T17" fmla="*/ 2147483647 h 121"/>
                <a:gd name="T18" fmla="*/ 2147483647 w 50"/>
                <a:gd name="T19" fmla="*/ 2147483647 h 121"/>
                <a:gd name="T20" fmla="*/ 2147483647 w 50"/>
                <a:gd name="T21" fmla="*/ 2147483647 h 121"/>
                <a:gd name="T22" fmla="*/ 2147483647 w 50"/>
                <a:gd name="T23" fmla="*/ 0 h 121"/>
                <a:gd name="T24" fmla="*/ 0 w 50"/>
                <a:gd name="T25" fmla="*/ 2147483647 h 121"/>
                <a:gd name="T26" fmla="*/ 2147483647 w 50"/>
                <a:gd name="T27" fmla="*/ 2147483647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121">
                  <a:moveTo>
                    <a:pt x="12" y="44"/>
                  </a:moveTo>
                  <a:lnTo>
                    <a:pt x="18" y="54"/>
                  </a:lnTo>
                  <a:lnTo>
                    <a:pt x="18" y="66"/>
                  </a:lnTo>
                  <a:lnTo>
                    <a:pt x="25" y="121"/>
                  </a:lnTo>
                  <a:lnTo>
                    <a:pt x="31" y="121"/>
                  </a:lnTo>
                  <a:lnTo>
                    <a:pt x="31" y="98"/>
                  </a:lnTo>
                  <a:lnTo>
                    <a:pt x="31" y="77"/>
                  </a:lnTo>
                  <a:lnTo>
                    <a:pt x="50" y="66"/>
                  </a:lnTo>
                  <a:lnTo>
                    <a:pt x="43" y="54"/>
                  </a:lnTo>
                  <a:lnTo>
                    <a:pt x="37" y="21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12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37" name="Freeform 1101"/>
            <p:cNvSpPr>
              <a:spLocks/>
            </p:cNvSpPr>
            <p:nvPr>
              <p:custDataLst>
                <p:tags r:id="rId931"/>
              </p:custDataLst>
            </p:nvPr>
          </p:nvSpPr>
          <p:spPr bwMode="auto">
            <a:xfrm>
              <a:off x="5289798" y="3298825"/>
              <a:ext cx="166688" cy="79375"/>
            </a:xfrm>
            <a:custGeom>
              <a:avLst/>
              <a:gdLst>
                <a:gd name="T0" fmla="*/ 0 w 113"/>
                <a:gd name="T1" fmla="*/ 0 h 100"/>
                <a:gd name="T2" fmla="*/ 2147483647 w 113"/>
                <a:gd name="T3" fmla="*/ 0 h 100"/>
                <a:gd name="T4" fmla="*/ 2147483647 w 113"/>
                <a:gd name="T5" fmla="*/ 2147483647 h 100"/>
                <a:gd name="T6" fmla="*/ 2147483647 w 113"/>
                <a:gd name="T7" fmla="*/ 2147483647 h 100"/>
                <a:gd name="T8" fmla="*/ 2147483647 w 113"/>
                <a:gd name="T9" fmla="*/ 2147483647 h 100"/>
                <a:gd name="T10" fmla="*/ 2147483647 w 113"/>
                <a:gd name="T11" fmla="*/ 2147483647 h 100"/>
                <a:gd name="T12" fmla="*/ 2147483647 w 113"/>
                <a:gd name="T13" fmla="*/ 2147483647 h 100"/>
                <a:gd name="T14" fmla="*/ 2147483647 w 113"/>
                <a:gd name="T15" fmla="*/ 2147483647 h 100"/>
                <a:gd name="T16" fmla="*/ 2147483647 w 113"/>
                <a:gd name="T17" fmla="*/ 2147483647 h 100"/>
                <a:gd name="T18" fmla="*/ 2147483647 w 113"/>
                <a:gd name="T19" fmla="*/ 2147483647 h 100"/>
                <a:gd name="T20" fmla="*/ 2147483647 w 113"/>
                <a:gd name="T21" fmla="*/ 2147483647 h 100"/>
                <a:gd name="T22" fmla="*/ 2147483647 w 113"/>
                <a:gd name="T23" fmla="*/ 2147483647 h 100"/>
                <a:gd name="T24" fmla="*/ 2147483647 w 113"/>
                <a:gd name="T25" fmla="*/ 2147483647 h 100"/>
                <a:gd name="T26" fmla="*/ 2147483647 w 113"/>
                <a:gd name="T27" fmla="*/ 2147483647 h 100"/>
                <a:gd name="T28" fmla="*/ 2147483647 w 113"/>
                <a:gd name="T29" fmla="*/ 2147483647 h 100"/>
                <a:gd name="T30" fmla="*/ 2147483647 w 113"/>
                <a:gd name="T31" fmla="*/ 2147483647 h 100"/>
                <a:gd name="T32" fmla="*/ 2147483647 w 113"/>
                <a:gd name="T33" fmla="*/ 2147483647 h 100"/>
                <a:gd name="T34" fmla="*/ 2147483647 w 113"/>
                <a:gd name="T35" fmla="*/ 2147483647 h 100"/>
                <a:gd name="T36" fmla="*/ 2147483647 w 113"/>
                <a:gd name="T37" fmla="*/ 2147483647 h 100"/>
                <a:gd name="T38" fmla="*/ 2147483647 w 113"/>
                <a:gd name="T39" fmla="*/ 2147483647 h 100"/>
                <a:gd name="T40" fmla="*/ 2147483647 w 113"/>
                <a:gd name="T41" fmla="*/ 2147483647 h 100"/>
                <a:gd name="T42" fmla="*/ 0 w 113"/>
                <a:gd name="T43" fmla="*/ 0 h 1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13" h="100">
                  <a:moveTo>
                    <a:pt x="0" y="0"/>
                  </a:moveTo>
                  <a:lnTo>
                    <a:pt x="25" y="0"/>
                  </a:lnTo>
                  <a:lnTo>
                    <a:pt x="56" y="22"/>
                  </a:lnTo>
                  <a:lnTo>
                    <a:pt x="69" y="45"/>
                  </a:lnTo>
                  <a:lnTo>
                    <a:pt x="82" y="45"/>
                  </a:lnTo>
                  <a:lnTo>
                    <a:pt x="88" y="35"/>
                  </a:lnTo>
                  <a:lnTo>
                    <a:pt x="94" y="35"/>
                  </a:lnTo>
                  <a:lnTo>
                    <a:pt x="100" y="56"/>
                  </a:lnTo>
                  <a:lnTo>
                    <a:pt x="113" y="56"/>
                  </a:lnTo>
                  <a:lnTo>
                    <a:pt x="113" y="66"/>
                  </a:lnTo>
                  <a:lnTo>
                    <a:pt x="113" y="91"/>
                  </a:lnTo>
                  <a:lnTo>
                    <a:pt x="113" y="100"/>
                  </a:lnTo>
                  <a:lnTo>
                    <a:pt x="100" y="79"/>
                  </a:lnTo>
                  <a:lnTo>
                    <a:pt x="94" y="79"/>
                  </a:lnTo>
                  <a:lnTo>
                    <a:pt x="88" y="79"/>
                  </a:lnTo>
                  <a:lnTo>
                    <a:pt x="88" y="100"/>
                  </a:lnTo>
                  <a:lnTo>
                    <a:pt x="75" y="91"/>
                  </a:lnTo>
                  <a:lnTo>
                    <a:pt x="63" y="100"/>
                  </a:lnTo>
                  <a:lnTo>
                    <a:pt x="44" y="100"/>
                  </a:lnTo>
                  <a:lnTo>
                    <a:pt x="44" y="56"/>
                  </a:lnTo>
                  <a:lnTo>
                    <a:pt x="19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38" name="Freeform 1102"/>
            <p:cNvSpPr>
              <a:spLocks/>
            </p:cNvSpPr>
            <p:nvPr>
              <p:custDataLst>
                <p:tags r:id="rId932"/>
              </p:custDataLst>
            </p:nvPr>
          </p:nvSpPr>
          <p:spPr bwMode="auto">
            <a:xfrm>
              <a:off x="5289798" y="3298825"/>
              <a:ext cx="166688" cy="79375"/>
            </a:xfrm>
            <a:custGeom>
              <a:avLst/>
              <a:gdLst>
                <a:gd name="T0" fmla="*/ 0 w 113"/>
                <a:gd name="T1" fmla="*/ 0 h 100"/>
                <a:gd name="T2" fmla="*/ 2147483647 w 113"/>
                <a:gd name="T3" fmla="*/ 0 h 100"/>
                <a:gd name="T4" fmla="*/ 2147483647 w 113"/>
                <a:gd name="T5" fmla="*/ 2147483647 h 100"/>
                <a:gd name="T6" fmla="*/ 2147483647 w 113"/>
                <a:gd name="T7" fmla="*/ 2147483647 h 100"/>
                <a:gd name="T8" fmla="*/ 2147483647 w 113"/>
                <a:gd name="T9" fmla="*/ 2147483647 h 100"/>
                <a:gd name="T10" fmla="*/ 2147483647 w 113"/>
                <a:gd name="T11" fmla="*/ 2147483647 h 100"/>
                <a:gd name="T12" fmla="*/ 2147483647 w 113"/>
                <a:gd name="T13" fmla="*/ 2147483647 h 100"/>
                <a:gd name="T14" fmla="*/ 2147483647 w 113"/>
                <a:gd name="T15" fmla="*/ 2147483647 h 100"/>
                <a:gd name="T16" fmla="*/ 2147483647 w 113"/>
                <a:gd name="T17" fmla="*/ 2147483647 h 100"/>
                <a:gd name="T18" fmla="*/ 2147483647 w 113"/>
                <a:gd name="T19" fmla="*/ 2147483647 h 100"/>
                <a:gd name="T20" fmla="*/ 2147483647 w 113"/>
                <a:gd name="T21" fmla="*/ 2147483647 h 100"/>
                <a:gd name="T22" fmla="*/ 2147483647 w 113"/>
                <a:gd name="T23" fmla="*/ 2147483647 h 100"/>
                <a:gd name="T24" fmla="*/ 2147483647 w 113"/>
                <a:gd name="T25" fmla="*/ 2147483647 h 100"/>
                <a:gd name="T26" fmla="*/ 2147483647 w 113"/>
                <a:gd name="T27" fmla="*/ 2147483647 h 100"/>
                <a:gd name="T28" fmla="*/ 2147483647 w 113"/>
                <a:gd name="T29" fmla="*/ 2147483647 h 100"/>
                <a:gd name="T30" fmla="*/ 2147483647 w 113"/>
                <a:gd name="T31" fmla="*/ 2147483647 h 100"/>
                <a:gd name="T32" fmla="*/ 2147483647 w 113"/>
                <a:gd name="T33" fmla="*/ 2147483647 h 100"/>
                <a:gd name="T34" fmla="*/ 2147483647 w 113"/>
                <a:gd name="T35" fmla="*/ 2147483647 h 100"/>
                <a:gd name="T36" fmla="*/ 2147483647 w 113"/>
                <a:gd name="T37" fmla="*/ 2147483647 h 100"/>
                <a:gd name="T38" fmla="*/ 2147483647 w 113"/>
                <a:gd name="T39" fmla="*/ 2147483647 h 100"/>
                <a:gd name="T40" fmla="*/ 2147483647 w 113"/>
                <a:gd name="T41" fmla="*/ 2147483647 h 100"/>
                <a:gd name="T42" fmla="*/ 0 w 113"/>
                <a:gd name="T43" fmla="*/ 0 h 1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13" h="100">
                  <a:moveTo>
                    <a:pt x="0" y="0"/>
                  </a:moveTo>
                  <a:lnTo>
                    <a:pt x="25" y="0"/>
                  </a:lnTo>
                  <a:lnTo>
                    <a:pt x="56" y="22"/>
                  </a:lnTo>
                  <a:lnTo>
                    <a:pt x="69" y="45"/>
                  </a:lnTo>
                  <a:lnTo>
                    <a:pt x="82" y="45"/>
                  </a:lnTo>
                  <a:lnTo>
                    <a:pt x="88" y="35"/>
                  </a:lnTo>
                  <a:lnTo>
                    <a:pt x="94" y="35"/>
                  </a:lnTo>
                  <a:lnTo>
                    <a:pt x="100" y="56"/>
                  </a:lnTo>
                  <a:lnTo>
                    <a:pt x="113" y="56"/>
                  </a:lnTo>
                  <a:lnTo>
                    <a:pt x="113" y="66"/>
                  </a:lnTo>
                  <a:lnTo>
                    <a:pt x="113" y="91"/>
                  </a:lnTo>
                  <a:lnTo>
                    <a:pt x="113" y="100"/>
                  </a:lnTo>
                  <a:lnTo>
                    <a:pt x="100" y="79"/>
                  </a:lnTo>
                  <a:lnTo>
                    <a:pt x="94" y="79"/>
                  </a:lnTo>
                  <a:lnTo>
                    <a:pt x="88" y="79"/>
                  </a:lnTo>
                  <a:lnTo>
                    <a:pt x="88" y="100"/>
                  </a:lnTo>
                  <a:lnTo>
                    <a:pt x="75" y="91"/>
                  </a:lnTo>
                  <a:lnTo>
                    <a:pt x="63" y="100"/>
                  </a:lnTo>
                  <a:lnTo>
                    <a:pt x="44" y="100"/>
                  </a:lnTo>
                  <a:lnTo>
                    <a:pt x="44" y="56"/>
                  </a:lnTo>
                  <a:lnTo>
                    <a:pt x="19" y="22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39" name="Freeform 1103"/>
            <p:cNvSpPr>
              <a:spLocks/>
            </p:cNvSpPr>
            <p:nvPr>
              <p:custDataLst>
                <p:tags r:id="rId933"/>
              </p:custDataLst>
            </p:nvPr>
          </p:nvSpPr>
          <p:spPr bwMode="auto">
            <a:xfrm>
              <a:off x="5289798" y="3298825"/>
              <a:ext cx="166688" cy="79375"/>
            </a:xfrm>
            <a:custGeom>
              <a:avLst/>
              <a:gdLst>
                <a:gd name="T0" fmla="*/ 0 w 113"/>
                <a:gd name="T1" fmla="*/ 0 h 100"/>
                <a:gd name="T2" fmla="*/ 2147483647 w 113"/>
                <a:gd name="T3" fmla="*/ 0 h 100"/>
                <a:gd name="T4" fmla="*/ 2147483647 w 113"/>
                <a:gd name="T5" fmla="*/ 2147483647 h 100"/>
                <a:gd name="T6" fmla="*/ 2147483647 w 113"/>
                <a:gd name="T7" fmla="*/ 2147483647 h 100"/>
                <a:gd name="T8" fmla="*/ 2147483647 w 113"/>
                <a:gd name="T9" fmla="*/ 2147483647 h 100"/>
                <a:gd name="T10" fmla="*/ 2147483647 w 113"/>
                <a:gd name="T11" fmla="*/ 2147483647 h 100"/>
                <a:gd name="T12" fmla="*/ 2147483647 w 113"/>
                <a:gd name="T13" fmla="*/ 2147483647 h 100"/>
                <a:gd name="T14" fmla="*/ 2147483647 w 113"/>
                <a:gd name="T15" fmla="*/ 2147483647 h 100"/>
                <a:gd name="T16" fmla="*/ 2147483647 w 113"/>
                <a:gd name="T17" fmla="*/ 2147483647 h 100"/>
                <a:gd name="T18" fmla="*/ 2147483647 w 113"/>
                <a:gd name="T19" fmla="*/ 2147483647 h 100"/>
                <a:gd name="T20" fmla="*/ 2147483647 w 113"/>
                <a:gd name="T21" fmla="*/ 2147483647 h 100"/>
                <a:gd name="T22" fmla="*/ 2147483647 w 113"/>
                <a:gd name="T23" fmla="*/ 2147483647 h 100"/>
                <a:gd name="T24" fmla="*/ 2147483647 w 113"/>
                <a:gd name="T25" fmla="*/ 2147483647 h 100"/>
                <a:gd name="T26" fmla="*/ 2147483647 w 113"/>
                <a:gd name="T27" fmla="*/ 2147483647 h 100"/>
                <a:gd name="T28" fmla="*/ 2147483647 w 113"/>
                <a:gd name="T29" fmla="*/ 2147483647 h 100"/>
                <a:gd name="T30" fmla="*/ 2147483647 w 113"/>
                <a:gd name="T31" fmla="*/ 2147483647 h 100"/>
                <a:gd name="T32" fmla="*/ 2147483647 w 113"/>
                <a:gd name="T33" fmla="*/ 2147483647 h 100"/>
                <a:gd name="T34" fmla="*/ 2147483647 w 113"/>
                <a:gd name="T35" fmla="*/ 2147483647 h 100"/>
                <a:gd name="T36" fmla="*/ 2147483647 w 113"/>
                <a:gd name="T37" fmla="*/ 2147483647 h 100"/>
                <a:gd name="T38" fmla="*/ 2147483647 w 113"/>
                <a:gd name="T39" fmla="*/ 2147483647 h 100"/>
                <a:gd name="T40" fmla="*/ 2147483647 w 113"/>
                <a:gd name="T41" fmla="*/ 2147483647 h 100"/>
                <a:gd name="T42" fmla="*/ 0 w 113"/>
                <a:gd name="T43" fmla="*/ 0 h 1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13" h="100">
                  <a:moveTo>
                    <a:pt x="0" y="0"/>
                  </a:moveTo>
                  <a:lnTo>
                    <a:pt x="25" y="0"/>
                  </a:lnTo>
                  <a:lnTo>
                    <a:pt x="56" y="22"/>
                  </a:lnTo>
                  <a:lnTo>
                    <a:pt x="69" y="45"/>
                  </a:lnTo>
                  <a:lnTo>
                    <a:pt x="82" y="45"/>
                  </a:lnTo>
                  <a:lnTo>
                    <a:pt x="88" y="35"/>
                  </a:lnTo>
                  <a:lnTo>
                    <a:pt x="94" y="35"/>
                  </a:lnTo>
                  <a:lnTo>
                    <a:pt x="100" y="56"/>
                  </a:lnTo>
                  <a:lnTo>
                    <a:pt x="113" y="56"/>
                  </a:lnTo>
                  <a:lnTo>
                    <a:pt x="113" y="66"/>
                  </a:lnTo>
                  <a:lnTo>
                    <a:pt x="113" y="91"/>
                  </a:lnTo>
                  <a:lnTo>
                    <a:pt x="113" y="100"/>
                  </a:lnTo>
                  <a:lnTo>
                    <a:pt x="100" y="79"/>
                  </a:lnTo>
                  <a:lnTo>
                    <a:pt x="94" y="79"/>
                  </a:lnTo>
                  <a:lnTo>
                    <a:pt x="88" y="79"/>
                  </a:lnTo>
                  <a:lnTo>
                    <a:pt x="88" y="100"/>
                  </a:lnTo>
                  <a:lnTo>
                    <a:pt x="75" y="91"/>
                  </a:lnTo>
                  <a:lnTo>
                    <a:pt x="63" y="100"/>
                  </a:lnTo>
                  <a:lnTo>
                    <a:pt x="44" y="100"/>
                  </a:lnTo>
                  <a:lnTo>
                    <a:pt x="44" y="56"/>
                  </a:lnTo>
                  <a:lnTo>
                    <a:pt x="19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40" name="Freeform 1104"/>
            <p:cNvSpPr>
              <a:spLocks/>
            </p:cNvSpPr>
            <p:nvPr>
              <p:custDataLst>
                <p:tags r:id="rId934"/>
              </p:custDataLst>
            </p:nvPr>
          </p:nvSpPr>
          <p:spPr bwMode="auto">
            <a:xfrm>
              <a:off x="5289798" y="3298825"/>
              <a:ext cx="166688" cy="79375"/>
            </a:xfrm>
            <a:custGeom>
              <a:avLst/>
              <a:gdLst>
                <a:gd name="T0" fmla="*/ 0 w 113"/>
                <a:gd name="T1" fmla="*/ 0 h 100"/>
                <a:gd name="T2" fmla="*/ 2147483647 w 113"/>
                <a:gd name="T3" fmla="*/ 0 h 100"/>
                <a:gd name="T4" fmla="*/ 2147483647 w 113"/>
                <a:gd name="T5" fmla="*/ 2147483647 h 100"/>
                <a:gd name="T6" fmla="*/ 2147483647 w 113"/>
                <a:gd name="T7" fmla="*/ 2147483647 h 100"/>
                <a:gd name="T8" fmla="*/ 2147483647 w 113"/>
                <a:gd name="T9" fmla="*/ 2147483647 h 100"/>
                <a:gd name="T10" fmla="*/ 2147483647 w 113"/>
                <a:gd name="T11" fmla="*/ 2147483647 h 100"/>
                <a:gd name="T12" fmla="*/ 2147483647 w 113"/>
                <a:gd name="T13" fmla="*/ 2147483647 h 100"/>
                <a:gd name="T14" fmla="*/ 2147483647 w 113"/>
                <a:gd name="T15" fmla="*/ 2147483647 h 100"/>
                <a:gd name="T16" fmla="*/ 2147483647 w 113"/>
                <a:gd name="T17" fmla="*/ 2147483647 h 100"/>
                <a:gd name="T18" fmla="*/ 2147483647 w 113"/>
                <a:gd name="T19" fmla="*/ 2147483647 h 100"/>
                <a:gd name="T20" fmla="*/ 2147483647 w 113"/>
                <a:gd name="T21" fmla="*/ 2147483647 h 100"/>
                <a:gd name="T22" fmla="*/ 2147483647 w 113"/>
                <a:gd name="T23" fmla="*/ 2147483647 h 100"/>
                <a:gd name="T24" fmla="*/ 2147483647 w 113"/>
                <a:gd name="T25" fmla="*/ 2147483647 h 100"/>
                <a:gd name="T26" fmla="*/ 2147483647 w 113"/>
                <a:gd name="T27" fmla="*/ 2147483647 h 100"/>
                <a:gd name="T28" fmla="*/ 2147483647 w 113"/>
                <a:gd name="T29" fmla="*/ 2147483647 h 100"/>
                <a:gd name="T30" fmla="*/ 2147483647 w 113"/>
                <a:gd name="T31" fmla="*/ 2147483647 h 100"/>
                <a:gd name="T32" fmla="*/ 2147483647 w 113"/>
                <a:gd name="T33" fmla="*/ 2147483647 h 100"/>
                <a:gd name="T34" fmla="*/ 2147483647 w 113"/>
                <a:gd name="T35" fmla="*/ 2147483647 h 100"/>
                <a:gd name="T36" fmla="*/ 2147483647 w 113"/>
                <a:gd name="T37" fmla="*/ 2147483647 h 100"/>
                <a:gd name="T38" fmla="*/ 2147483647 w 113"/>
                <a:gd name="T39" fmla="*/ 2147483647 h 100"/>
                <a:gd name="T40" fmla="*/ 2147483647 w 113"/>
                <a:gd name="T41" fmla="*/ 2147483647 h 100"/>
                <a:gd name="T42" fmla="*/ 0 w 113"/>
                <a:gd name="T43" fmla="*/ 0 h 1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13" h="100">
                  <a:moveTo>
                    <a:pt x="0" y="0"/>
                  </a:moveTo>
                  <a:lnTo>
                    <a:pt x="25" y="0"/>
                  </a:lnTo>
                  <a:lnTo>
                    <a:pt x="56" y="22"/>
                  </a:lnTo>
                  <a:lnTo>
                    <a:pt x="69" y="45"/>
                  </a:lnTo>
                  <a:lnTo>
                    <a:pt x="82" y="45"/>
                  </a:lnTo>
                  <a:lnTo>
                    <a:pt x="88" y="35"/>
                  </a:lnTo>
                  <a:lnTo>
                    <a:pt x="94" y="35"/>
                  </a:lnTo>
                  <a:lnTo>
                    <a:pt x="100" y="56"/>
                  </a:lnTo>
                  <a:lnTo>
                    <a:pt x="113" y="56"/>
                  </a:lnTo>
                  <a:lnTo>
                    <a:pt x="113" y="66"/>
                  </a:lnTo>
                  <a:lnTo>
                    <a:pt x="113" y="91"/>
                  </a:lnTo>
                  <a:lnTo>
                    <a:pt x="113" y="100"/>
                  </a:lnTo>
                  <a:lnTo>
                    <a:pt x="100" y="79"/>
                  </a:lnTo>
                  <a:lnTo>
                    <a:pt x="94" y="79"/>
                  </a:lnTo>
                  <a:lnTo>
                    <a:pt x="88" y="79"/>
                  </a:lnTo>
                  <a:lnTo>
                    <a:pt x="88" y="100"/>
                  </a:lnTo>
                  <a:lnTo>
                    <a:pt x="75" y="91"/>
                  </a:lnTo>
                  <a:lnTo>
                    <a:pt x="63" y="100"/>
                  </a:lnTo>
                  <a:lnTo>
                    <a:pt x="44" y="100"/>
                  </a:lnTo>
                  <a:lnTo>
                    <a:pt x="44" y="56"/>
                  </a:lnTo>
                  <a:lnTo>
                    <a:pt x="19" y="22"/>
                  </a:lnTo>
                  <a:lnTo>
                    <a:pt x="0" y="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41" name="Freeform 1105"/>
            <p:cNvSpPr>
              <a:spLocks/>
            </p:cNvSpPr>
            <p:nvPr>
              <p:custDataLst>
                <p:tags r:id="rId935"/>
              </p:custDataLst>
            </p:nvPr>
          </p:nvSpPr>
          <p:spPr bwMode="auto">
            <a:xfrm>
              <a:off x="5419973" y="3343275"/>
              <a:ext cx="138113" cy="133350"/>
            </a:xfrm>
            <a:custGeom>
              <a:avLst/>
              <a:gdLst>
                <a:gd name="T0" fmla="*/ 2147483647 w 95"/>
                <a:gd name="T1" fmla="*/ 2147483647 h 167"/>
                <a:gd name="T2" fmla="*/ 2147483647 w 95"/>
                <a:gd name="T3" fmla="*/ 2147483647 h 167"/>
                <a:gd name="T4" fmla="*/ 2147483647 w 95"/>
                <a:gd name="T5" fmla="*/ 2147483647 h 167"/>
                <a:gd name="T6" fmla="*/ 2147483647 w 95"/>
                <a:gd name="T7" fmla="*/ 2147483647 h 167"/>
                <a:gd name="T8" fmla="*/ 2147483647 w 95"/>
                <a:gd name="T9" fmla="*/ 2147483647 h 167"/>
                <a:gd name="T10" fmla="*/ 2147483647 w 95"/>
                <a:gd name="T11" fmla="*/ 2147483647 h 167"/>
                <a:gd name="T12" fmla="*/ 2147483647 w 95"/>
                <a:gd name="T13" fmla="*/ 2147483647 h 167"/>
                <a:gd name="T14" fmla="*/ 2147483647 w 95"/>
                <a:gd name="T15" fmla="*/ 2147483647 h 167"/>
                <a:gd name="T16" fmla="*/ 2147483647 w 95"/>
                <a:gd name="T17" fmla="*/ 2147483647 h 167"/>
                <a:gd name="T18" fmla="*/ 2147483647 w 95"/>
                <a:gd name="T19" fmla="*/ 2147483647 h 167"/>
                <a:gd name="T20" fmla="*/ 2147483647 w 95"/>
                <a:gd name="T21" fmla="*/ 2147483647 h 167"/>
                <a:gd name="T22" fmla="*/ 2147483647 w 95"/>
                <a:gd name="T23" fmla="*/ 2147483647 h 167"/>
                <a:gd name="T24" fmla="*/ 2147483647 w 95"/>
                <a:gd name="T25" fmla="*/ 2147483647 h 167"/>
                <a:gd name="T26" fmla="*/ 2147483647 w 95"/>
                <a:gd name="T27" fmla="*/ 2147483647 h 167"/>
                <a:gd name="T28" fmla="*/ 2147483647 w 95"/>
                <a:gd name="T29" fmla="*/ 2147483647 h 167"/>
                <a:gd name="T30" fmla="*/ 2147483647 w 95"/>
                <a:gd name="T31" fmla="*/ 2147483647 h 167"/>
                <a:gd name="T32" fmla="*/ 2147483647 w 95"/>
                <a:gd name="T33" fmla="*/ 2147483647 h 167"/>
                <a:gd name="T34" fmla="*/ 2147483647 w 95"/>
                <a:gd name="T35" fmla="*/ 2147483647 h 167"/>
                <a:gd name="T36" fmla="*/ 2147483647 w 95"/>
                <a:gd name="T37" fmla="*/ 2147483647 h 167"/>
                <a:gd name="T38" fmla="*/ 2147483647 w 95"/>
                <a:gd name="T39" fmla="*/ 2147483647 h 167"/>
                <a:gd name="T40" fmla="*/ 2147483647 w 95"/>
                <a:gd name="T41" fmla="*/ 2147483647 h 167"/>
                <a:gd name="T42" fmla="*/ 2147483647 w 95"/>
                <a:gd name="T43" fmla="*/ 2147483647 h 167"/>
                <a:gd name="T44" fmla="*/ 2147483647 w 95"/>
                <a:gd name="T45" fmla="*/ 2147483647 h 167"/>
                <a:gd name="T46" fmla="*/ 2147483647 w 95"/>
                <a:gd name="T47" fmla="*/ 2147483647 h 167"/>
                <a:gd name="T48" fmla="*/ 2147483647 w 95"/>
                <a:gd name="T49" fmla="*/ 2147483647 h 167"/>
                <a:gd name="T50" fmla="*/ 2147483647 w 95"/>
                <a:gd name="T51" fmla="*/ 2147483647 h 167"/>
                <a:gd name="T52" fmla="*/ 0 w 95"/>
                <a:gd name="T53" fmla="*/ 2147483647 h 167"/>
                <a:gd name="T54" fmla="*/ 0 w 95"/>
                <a:gd name="T55" fmla="*/ 2147483647 h 167"/>
                <a:gd name="T56" fmla="*/ 0 w 95"/>
                <a:gd name="T57" fmla="*/ 2147483647 h 167"/>
                <a:gd name="T58" fmla="*/ 2147483647 w 95"/>
                <a:gd name="T59" fmla="*/ 2147483647 h 167"/>
                <a:gd name="T60" fmla="*/ 2147483647 w 95"/>
                <a:gd name="T61" fmla="*/ 2147483647 h 167"/>
                <a:gd name="T62" fmla="*/ 2147483647 w 95"/>
                <a:gd name="T63" fmla="*/ 2147483647 h 167"/>
                <a:gd name="T64" fmla="*/ 2147483647 w 95"/>
                <a:gd name="T65" fmla="*/ 2147483647 h 167"/>
                <a:gd name="T66" fmla="*/ 2147483647 w 95"/>
                <a:gd name="T67" fmla="*/ 2147483647 h 167"/>
                <a:gd name="T68" fmla="*/ 2147483647 w 95"/>
                <a:gd name="T69" fmla="*/ 0 h 167"/>
                <a:gd name="T70" fmla="*/ 2147483647 w 95"/>
                <a:gd name="T71" fmla="*/ 2147483647 h 16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" h="167">
                  <a:moveTo>
                    <a:pt x="31" y="12"/>
                  </a:moveTo>
                  <a:lnTo>
                    <a:pt x="37" y="12"/>
                  </a:lnTo>
                  <a:lnTo>
                    <a:pt x="57" y="12"/>
                  </a:lnTo>
                  <a:lnTo>
                    <a:pt x="69" y="35"/>
                  </a:lnTo>
                  <a:lnTo>
                    <a:pt x="76" y="67"/>
                  </a:lnTo>
                  <a:lnTo>
                    <a:pt x="95" y="88"/>
                  </a:lnTo>
                  <a:lnTo>
                    <a:pt x="87" y="100"/>
                  </a:lnTo>
                  <a:lnTo>
                    <a:pt x="76" y="123"/>
                  </a:lnTo>
                  <a:lnTo>
                    <a:pt x="76" y="133"/>
                  </a:lnTo>
                  <a:lnTo>
                    <a:pt x="76" y="167"/>
                  </a:lnTo>
                  <a:lnTo>
                    <a:pt x="57" y="156"/>
                  </a:lnTo>
                  <a:lnTo>
                    <a:pt x="57" y="123"/>
                  </a:lnTo>
                  <a:lnTo>
                    <a:pt x="45" y="133"/>
                  </a:lnTo>
                  <a:lnTo>
                    <a:pt x="31" y="156"/>
                  </a:lnTo>
                  <a:lnTo>
                    <a:pt x="26" y="144"/>
                  </a:lnTo>
                  <a:lnTo>
                    <a:pt x="12" y="133"/>
                  </a:lnTo>
                  <a:lnTo>
                    <a:pt x="12" y="123"/>
                  </a:lnTo>
                  <a:lnTo>
                    <a:pt x="19" y="100"/>
                  </a:lnTo>
                  <a:lnTo>
                    <a:pt x="19" y="112"/>
                  </a:lnTo>
                  <a:lnTo>
                    <a:pt x="37" y="133"/>
                  </a:lnTo>
                  <a:lnTo>
                    <a:pt x="37" y="123"/>
                  </a:lnTo>
                  <a:lnTo>
                    <a:pt x="26" y="88"/>
                  </a:lnTo>
                  <a:lnTo>
                    <a:pt x="19" y="79"/>
                  </a:lnTo>
                  <a:lnTo>
                    <a:pt x="12" y="67"/>
                  </a:lnTo>
                  <a:lnTo>
                    <a:pt x="12" y="56"/>
                  </a:lnTo>
                  <a:lnTo>
                    <a:pt x="7" y="44"/>
                  </a:lnTo>
                  <a:lnTo>
                    <a:pt x="0" y="44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2" y="23"/>
                  </a:lnTo>
                  <a:lnTo>
                    <a:pt x="26" y="44"/>
                  </a:lnTo>
                  <a:lnTo>
                    <a:pt x="31" y="35"/>
                  </a:lnTo>
                  <a:lnTo>
                    <a:pt x="26" y="12"/>
                  </a:lnTo>
                  <a:lnTo>
                    <a:pt x="26" y="0"/>
                  </a:lnTo>
                  <a:lnTo>
                    <a:pt x="31" y="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42" name="Freeform 1106"/>
            <p:cNvSpPr>
              <a:spLocks/>
            </p:cNvSpPr>
            <p:nvPr>
              <p:custDataLst>
                <p:tags r:id="rId936"/>
              </p:custDataLst>
            </p:nvPr>
          </p:nvSpPr>
          <p:spPr bwMode="auto">
            <a:xfrm>
              <a:off x="5419973" y="3343275"/>
              <a:ext cx="138113" cy="133350"/>
            </a:xfrm>
            <a:custGeom>
              <a:avLst/>
              <a:gdLst>
                <a:gd name="T0" fmla="*/ 2147483647 w 95"/>
                <a:gd name="T1" fmla="*/ 2147483647 h 167"/>
                <a:gd name="T2" fmla="*/ 2147483647 w 95"/>
                <a:gd name="T3" fmla="*/ 2147483647 h 167"/>
                <a:gd name="T4" fmla="*/ 2147483647 w 95"/>
                <a:gd name="T5" fmla="*/ 2147483647 h 167"/>
                <a:gd name="T6" fmla="*/ 2147483647 w 95"/>
                <a:gd name="T7" fmla="*/ 2147483647 h 167"/>
                <a:gd name="T8" fmla="*/ 2147483647 w 95"/>
                <a:gd name="T9" fmla="*/ 2147483647 h 167"/>
                <a:gd name="T10" fmla="*/ 2147483647 w 95"/>
                <a:gd name="T11" fmla="*/ 2147483647 h 167"/>
                <a:gd name="T12" fmla="*/ 2147483647 w 95"/>
                <a:gd name="T13" fmla="*/ 2147483647 h 167"/>
                <a:gd name="T14" fmla="*/ 2147483647 w 95"/>
                <a:gd name="T15" fmla="*/ 2147483647 h 167"/>
                <a:gd name="T16" fmla="*/ 2147483647 w 95"/>
                <a:gd name="T17" fmla="*/ 2147483647 h 167"/>
                <a:gd name="T18" fmla="*/ 2147483647 w 95"/>
                <a:gd name="T19" fmla="*/ 2147483647 h 167"/>
                <a:gd name="T20" fmla="*/ 2147483647 w 95"/>
                <a:gd name="T21" fmla="*/ 2147483647 h 167"/>
                <a:gd name="T22" fmla="*/ 2147483647 w 95"/>
                <a:gd name="T23" fmla="*/ 2147483647 h 167"/>
                <a:gd name="T24" fmla="*/ 2147483647 w 95"/>
                <a:gd name="T25" fmla="*/ 2147483647 h 167"/>
                <a:gd name="T26" fmla="*/ 2147483647 w 95"/>
                <a:gd name="T27" fmla="*/ 2147483647 h 167"/>
                <a:gd name="T28" fmla="*/ 2147483647 w 95"/>
                <a:gd name="T29" fmla="*/ 2147483647 h 167"/>
                <a:gd name="T30" fmla="*/ 2147483647 w 95"/>
                <a:gd name="T31" fmla="*/ 2147483647 h 167"/>
                <a:gd name="T32" fmla="*/ 2147483647 w 95"/>
                <a:gd name="T33" fmla="*/ 2147483647 h 167"/>
                <a:gd name="T34" fmla="*/ 2147483647 w 95"/>
                <a:gd name="T35" fmla="*/ 2147483647 h 167"/>
                <a:gd name="T36" fmla="*/ 2147483647 w 95"/>
                <a:gd name="T37" fmla="*/ 2147483647 h 167"/>
                <a:gd name="T38" fmla="*/ 2147483647 w 95"/>
                <a:gd name="T39" fmla="*/ 2147483647 h 167"/>
                <a:gd name="T40" fmla="*/ 2147483647 w 95"/>
                <a:gd name="T41" fmla="*/ 2147483647 h 167"/>
                <a:gd name="T42" fmla="*/ 2147483647 w 95"/>
                <a:gd name="T43" fmla="*/ 2147483647 h 167"/>
                <a:gd name="T44" fmla="*/ 2147483647 w 95"/>
                <a:gd name="T45" fmla="*/ 2147483647 h 167"/>
                <a:gd name="T46" fmla="*/ 2147483647 w 95"/>
                <a:gd name="T47" fmla="*/ 2147483647 h 167"/>
                <a:gd name="T48" fmla="*/ 2147483647 w 95"/>
                <a:gd name="T49" fmla="*/ 2147483647 h 167"/>
                <a:gd name="T50" fmla="*/ 2147483647 w 95"/>
                <a:gd name="T51" fmla="*/ 2147483647 h 167"/>
                <a:gd name="T52" fmla="*/ 0 w 95"/>
                <a:gd name="T53" fmla="*/ 2147483647 h 167"/>
                <a:gd name="T54" fmla="*/ 0 w 95"/>
                <a:gd name="T55" fmla="*/ 2147483647 h 167"/>
                <a:gd name="T56" fmla="*/ 0 w 95"/>
                <a:gd name="T57" fmla="*/ 2147483647 h 167"/>
                <a:gd name="T58" fmla="*/ 2147483647 w 95"/>
                <a:gd name="T59" fmla="*/ 2147483647 h 167"/>
                <a:gd name="T60" fmla="*/ 2147483647 w 95"/>
                <a:gd name="T61" fmla="*/ 2147483647 h 167"/>
                <a:gd name="T62" fmla="*/ 2147483647 w 95"/>
                <a:gd name="T63" fmla="*/ 2147483647 h 167"/>
                <a:gd name="T64" fmla="*/ 2147483647 w 95"/>
                <a:gd name="T65" fmla="*/ 2147483647 h 167"/>
                <a:gd name="T66" fmla="*/ 2147483647 w 95"/>
                <a:gd name="T67" fmla="*/ 2147483647 h 167"/>
                <a:gd name="T68" fmla="*/ 2147483647 w 95"/>
                <a:gd name="T69" fmla="*/ 0 h 167"/>
                <a:gd name="T70" fmla="*/ 2147483647 w 95"/>
                <a:gd name="T71" fmla="*/ 2147483647 h 16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" h="167">
                  <a:moveTo>
                    <a:pt x="31" y="12"/>
                  </a:moveTo>
                  <a:lnTo>
                    <a:pt x="37" y="12"/>
                  </a:lnTo>
                  <a:lnTo>
                    <a:pt x="57" y="12"/>
                  </a:lnTo>
                  <a:lnTo>
                    <a:pt x="69" y="35"/>
                  </a:lnTo>
                  <a:lnTo>
                    <a:pt x="76" y="67"/>
                  </a:lnTo>
                  <a:lnTo>
                    <a:pt x="95" y="88"/>
                  </a:lnTo>
                  <a:lnTo>
                    <a:pt x="87" y="100"/>
                  </a:lnTo>
                  <a:lnTo>
                    <a:pt x="76" y="123"/>
                  </a:lnTo>
                  <a:lnTo>
                    <a:pt x="76" y="133"/>
                  </a:lnTo>
                  <a:lnTo>
                    <a:pt x="76" y="167"/>
                  </a:lnTo>
                  <a:lnTo>
                    <a:pt x="57" y="156"/>
                  </a:lnTo>
                  <a:lnTo>
                    <a:pt x="57" y="123"/>
                  </a:lnTo>
                  <a:lnTo>
                    <a:pt x="45" y="133"/>
                  </a:lnTo>
                  <a:lnTo>
                    <a:pt x="31" y="156"/>
                  </a:lnTo>
                  <a:lnTo>
                    <a:pt x="26" y="144"/>
                  </a:lnTo>
                  <a:lnTo>
                    <a:pt x="12" y="133"/>
                  </a:lnTo>
                  <a:lnTo>
                    <a:pt x="12" y="123"/>
                  </a:lnTo>
                  <a:lnTo>
                    <a:pt x="19" y="100"/>
                  </a:lnTo>
                  <a:lnTo>
                    <a:pt x="19" y="112"/>
                  </a:lnTo>
                  <a:lnTo>
                    <a:pt x="37" y="133"/>
                  </a:lnTo>
                  <a:lnTo>
                    <a:pt x="37" y="123"/>
                  </a:lnTo>
                  <a:lnTo>
                    <a:pt x="26" y="88"/>
                  </a:lnTo>
                  <a:lnTo>
                    <a:pt x="19" y="79"/>
                  </a:lnTo>
                  <a:lnTo>
                    <a:pt x="12" y="67"/>
                  </a:lnTo>
                  <a:lnTo>
                    <a:pt x="12" y="56"/>
                  </a:lnTo>
                  <a:lnTo>
                    <a:pt x="7" y="44"/>
                  </a:lnTo>
                  <a:lnTo>
                    <a:pt x="0" y="44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2" y="23"/>
                  </a:lnTo>
                  <a:lnTo>
                    <a:pt x="26" y="44"/>
                  </a:lnTo>
                  <a:lnTo>
                    <a:pt x="31" y="35"/>
                  </a:lnTo>
                  <a:lnTo>
                    <a:pt x="26" y="12"/>
                  </a:lnTo>
                  <a:lnTo>
                    <a:pt x="26" y="0"/>
                  </a:lnTo>
                  <a:lnTo>
                    <a:pt x="31" y="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43" name="Freeform 1107"/>
            <p:cNvSpPr>
              <a:spLocks/>
            </p:cNvSpPr>
            <p:nvPr>
              <p:custDataLst>
                <p:tags r:id="rId937"/>
              </p:custDataLst>
            </p:nvPr>
          </p:nvSpPr>
          <p:spPr bwMode="auto">
            <a:xfrm>
              <a:off x="5419973" y="3343275"/>
              <a:ext cx="138113" cy="133350"/>
            </a:xfrm>
            <a:custGeom>
              <a:avLst/>
              <a:gdLst>
                <a:gd name="T0" fmla="*/ 2147483647 w 95"/>
                <a:gd name="T1" fmla="*/ 2147483647 h 167"/>
                <a:gd name="T2" fmla="*/ 2147483647 w 95"/>
                <a:gd name="T3" fmla="*/ 2147483647 h 167"/>
                <a:gd name="T4" fmla="*/ 2147483647 w 95"/>
                <a:gd name="T5" fmla="*/ 2147483647 h 167"/>
                <a:gd name="T6" fmla="*/ 2147483647 w 95"/>
                <a:gd name="T7" fmla="*/ 2147483647 h 167"/>
                <a:gd name="T8" fmla="*/ 2147483647 w 95"/>
                <a:gd name="T9" fmla="*/ 2147483647 h 167"/>
                <a:gd name="T10" fmla="*/ 2147483647 w 95"/>
                <a:gd name="T11" fmla="*/ 2147483647 h 167"/>
                <a:gd name="T12" fmla="*/ 2147483647 w 95"/>
                <a:gd name="T13" fmla="*/ 2147483647 h 167"/>
                <a:gd name="T14" fmla="*/ 2147483647 w 95"/>
                <a:gd name="T15" fmla="*/ 2147483647 h 167"/>
                <a:gd name="T16" fmla="*/ 2147483647 w 95"/>
                <a:gd name="T17" fmla="*/ 2147483647 h 167"/>
                <a:gd name="T18" fmla="*/ 2147483647 w 95"/>
                <a:gd name="T19" fmla="*/ 2147483647 h 167"/>
                <a:gd name="T20" fmla="*/ 2147483647 w 95"/>
                <a:gd name="T21" fmla="*/ 2147483647 h 167"/>
                <a:gd name="T22" fmla="*/ 2147483647 w 95"/>
                <a:gd name="T23" fmla="*/ 2147483647 h 167"/>
                <a:gd name="T24" fmla="*/ 2147483647 w 95"/>
                <a:gd name="T25" fmla="*/ 2147483647 h 167"/>
                <a:gd name="T26" fmla="*/ 2147483647 w 95"/>
                <a:gd name="T27" fmla="*/ 2147483647 h 167"/>
                <a:gd name="T28" fmla="*/ 2147483647 w 95"/>
                <a:gd name="T29" fmla="*/ 2147483647 h 167"/>
                <a:gd name="T30" fmla="*/ 2147483647 w 95"/>
                <a:gd name="T31" fmla="*/ 2147483647 h 167"/>
                <a:gd name="T32" fmla="*/ 2147483647 w 95"/>
                <a:gd name="T33" fmla="*/ 2147483647 h 167"/>
                <a:gd name="T34" fmla="*/ 2147483647 w 95"/>
                <a:gd name="T35" fmla="*/ 2147483647 h 167"/>
                <a:gd name="T36" fmla="*/ 2147483647 w 95"/>
                <a:gd name="T37" fmla="*/ 2147483647 h 167"/>
                <a:gd name="T38" fmla="*/ 2147483647 w 95"/>
                <a:gd name="T39" fmla="*/ 2147483647 h 167"/>
                <a:gd name="T40" fmla="*/ 2147483647 w 95"/>
                <a:gd name="T41" fmla="*/ 2147483647 h 167"/>
                <a:gd name="T42" fmla="*/ 2147483647 w 95"/>
                <a:gd name="T43" fmla="*/ 2147483647 h 167"/>
                <a:gd name="T44" fmla="*/ 2147483647 w 95"/>
                <a:gd name="T45" fmla="*/ 2147483647 h 167"/>
                <a:gd name="T46" fmla="*/ 2147483647 w 95"/>
                <a:gd name="T47" fmla="*/ 2147483647 h 167"/>
                <a:gd name="T48" fmla="*/ 2147483647 w 95"/>
                <a:gd name="T49" fmla="*/ 2147483647 h 167"/>
                <a:gd name="T50" fmla="*/ 2147483647 w 95"/>
                <a:gd name="T51" fmla="*/ 2147483647 h 167"/>
                <a:gd name="T52" fmla="*/ 0 w 95"/>
                <a:gd name="T53" fmla="*/ 2147483647 h 167"/>
                <a:gd name="T54" fmla="*/ 0 w 95"/>
                <a:gd name="T55" fmla="*/ 2147483647 h 167"/>
                <a:gd name="T56" fmla="*/ 0 w 95"/>
                <a:gd name="T57" fmla="*/ 2147483647 h 167"/>
                <a:gd name="T58" fmla="*/ 2147483647 w 95"/>
                <a:gd name="T59" fmla="*/ 2147483647 h 167"/>
                <a:gd name="T60" fmla="*/ 2147483647 w 95"/>
                <a:gd name="T61" fmla="*/ 2147483647 h 167"/>
                <a:gd name="T62" fmla="*/ 2147483647 w 95"/>
                <a:gd name="T63" fmla="*/ 2147483647 h 167"/>
                <a:gd name="T64" fmla="*/ 2147483647 w 95"/>
                <a:gd name="T65" fmla="*/ 2147483647 h 167"/>
                <a:gd name="T66" fmla="*/ 2147483647 w 95"/>
                <a:gd name="T67" fmla="*/ 2147483647 h 167"/>
                <a:gd name="T68" fmla="*/ 2147483647 w 95"/>
                <a:gd name="T69" fmla="*/ 0 h 167"/>
                <a:gd name="T70" fmla="*/ 2147483647 w 95"/>
                <a:gd name="T71" fmla="*/ 2147483647 h 16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" h="167">
                  <a:moveTo>
                    <a:pt x="31" y="12"/>
                  </a:moveTo>
                  <a:lnTo>
                    <a:pt x="37" y="12"/>
                  </a:lnTo>
                  <a:lnTo>
                    <a:pt x="57" y="12"/>
                  </a:lnTo>
                  <a:lnTo>
                    <a:pt x="69" y="35"/>
                  </a:lnTo>
                  <a:lnTo>
                    <a:pt x="76" y="67"/>
                  </a:lnTo>
                  <a:lnTo>
                    <a:pt x="95" y="88"/>
                  </a:lnTo>
                  <a:lnTo>
                    <a:pt x="87" y="100"/>
                  </a:lnTo>
                  <a:lnTo>
                    <a:pt x="76" y="123"/>
                  </a:lnTo>
                  <a:lnTo>
                    <a:pt x="76" y="133"/>
                  </a:lnTo>
                  <a:lnTo>
                    <a:pt x="76" y="167"/>
                  </a:lnTo>
                  <a:lnTo>
                    <a:pt x="57" y="156"/>
                  </a:lnTo>
                  <a:lnTo>
                    <a:pt x="57" y="123"/>
                  </a:lnTo>
                  <a:lnTo>
                    <a:pt x="45" y="133"/>
                  </a:lnTo>
                  <a:lnTo>
                    <a:pt x="31" y="156"/>
                  </a:lnTo>
                  <a:lnTo>
                    <a:pt x="26" y="144"/>
                  </a:lnTo>
                  <a:lnTo>
                    <a:pt x="12" y="133"/>
                  </a:lnTo>
                  <a:lnTo>
                    <a:pt x="12" y="123"/>
                  </a:lnTo>
                  <a:lnTo>
                    <a:pt x="19" y="100"/>
                  </a:lnTo>
                  <a:lnTo>
                    <a:pt x="19" y="112"/>
                  </a:lnTo>
                  <a:lnTo>
                    <a:pt x="37" y="133"/>
                  </a:lnTo>
                  <a:lnTo>
                    <a:pt x="37" y="123"/>
                  </a:lnTo>
                  <a:lnTo>
                    <a:pt x="26" y="88"/>
                  </a:lnTo>
                  <a:lnTo>
                    <a:pt x="19" y="79"/>
                  </a:lnTo>
                  <a:lnTo>
                    <a:pt x="12" y="67"/>
                  </a:lnTo>
                  <a:lnTo>
                    <a:pt x="12" y="56"/>
                  </a:lnTo>
                  <a:lnTo>
                    <a:pt x="7" y="44"/>
                  </a:lnTo>
                  <a:lnTo>
                    <a:pt x="0" y="44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2" y="23"/>
                  </a:lnTo>
                  <a:lnTo>
                    <a:pt x="26" y="44"/>
                  </a:lnTo>
                  <a:lnTo>
                    <a:pt x="31" y="35"/>
                  </a:lnTo>
                  <a:lnTo>
                    <a:pt x="26" y="12"/>
                  </a:lnTo>
                  <a:lnTo>
                    <a:pt x="26" y="0"/>
                  </a:lnTo>
                  <a:lnTo>
                    <a:pt x="31" y="1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44" name="Freeform 1108"/>
            <p:cNvSpPr>
              <a:spLocks/>
            </p:cNvSpPr>
            <p:nvPr>
              <p:custDataLst>
                <p:tags r:id="rId938"/>
              </p:custDataLst>
            </p:nvPr>
          </p:nvSpPr>
          <p:spPr bwMode="auto">
            <a:xfrm>
              <a:off x="5419973" y="3343275"/>
              <a:ext cx="138113" cy="133350"/>
            </a:xfrm>
            <a:custGeom>
              <a:avLst/>
              <a:gdLst>
                <a:gd name="T0" fmla="*/ 2147483647 w 95"/>
                <a:gd name="T1" fmla="*/ 2147483647 h 167"/>
                <a:gd name="T2" fmla="*/ 2147483647 w 95"/>
                <a:gd name="T3" fmla="*/ 2147483647 h 167"/>
                <a:gd name="T4" fmla="*/ 2147483647 w 95"/>
                <a:gd name="T5" fmla="*/ 2147483647 h 167"/>
                <a:gd name="T6" fmla="*/ 2147483647 w 95"/>
                <a:gd name="T7" fmla="*/ 2147483647 h 167"/>
                <a:gd name="T8" fmla="*/ 2147483647 w 95"/>
                <a:gd name="T9" fmla="*/ 2147483647 h 167"/>
                <a:gd name="T10" fmla="*/ 2147483647 w 95"/>
                <a:gd name="T11" fmla="*/ 2147483647 h 167"/>
                <a:gd name="T12" fmla="*/ 2147483647 w 95"/>
                <a:gd name="T13" fmla="*/ 2147483647 h 167"/>
                <a:gd name="T14" fmla="*/ 2147483647 w 95"/>
                <a:gd name="T15" fmla="*/ 2147483647 h 167"/>
                <a:gd name="T16" fmla="*/ 2147483647 w 95"/>
                <a:gd name="T17" fmla="*/ 2147483647 h 167"/>
                <a:gd name="T18" fmla="*/ 2147483647 w 95"/>
                <a:gd name="T19" fmla="*/ 2147483647 h 167"/>
                <a:gd name="T20" fmla="*/ 2147483647 w 95"/>
                <a:gd name="T21" fmla="*/ 2147483647 h 167"/>
                <a:gd name="T22" fmla="*/ 2147483647 w 95"/>
                <a:gd name="T23" fmla="*/ 2147483647 h 167"/>
                <a:gd name="T24" fmla="*/ 2147483647 w 95"/>
                <a:gd name="T25" fmla="*/ 2147483647 h 167"/>
                <a:gd name="T26" fmla="*/ 2147483647 w 95"/>
                <a:gd name="T27" fmla="*/ 2147483647 h 167"/>
                <a:gd name="T28" fmla="*/ 2147483647 w 95"/>
                <a:gd name="T29" fmla="*/ 2147483647 h 167"/>
                <a:gd name="T30" fmla="*/ 2147483647 w 95"/>
                <a:gd name="T31" fmla="*/ 2147483647 h 167"/>
                <a:gd name="T32" fmla="*/ 2147483647 w 95"/>
                <a:gd name="T33" fmla="*/ 2147483647 h 167"/>
                <a:gd name="T34" fmla="*/ 2147483647 w 95"/>
                <a:gd name="T35" fmla="*/ 2147483647 h 167"/>
                <a:gd name="T36" fmla="*/ 2147483647 w 95"/>
                <a:gd name="T37" fmla="*/ 2147483647 h 167"/>
                <a:gd name="T38" fmla="*/ 2147483647 w 95"/>
                <a:gd name="T39" fmla="*/ 2147483647 h 167"/>
                <a:gd name="T40" fmla="*/ 2147483647 w 95"/>
                <a:gd name="T41" fmla="*/ 2147483647 h 167"/>
                <a:gd name="T42" fmla="*/ 2147483647 w 95"/>
                <a:gd name="T43" fmla="*/ 2147483647 h 167"/>
                <a:gd name="T44" fmla="*/ 2147483647 w 95"/>
                <a:gd name="T45" fmla="*/ 2147483647 h 167"/>
                <a:gd name="T46" fmla="*/ 2147483647 w 95"/>
                <a:gd name="T47" fmla="*/ 2147483647 h 167"/>
                <a:gd name="T48" fmla="*/ 2147483647 w 95"/>
                <a:gd name="T49" fmla="*/ 2147483647 h 167"/>
                <a:gd name="T50" fmla="*/ 2147483647 w 95"/>
                <a:gd name="T51" fmla="*/ 2147483647 h 167"/>
                <a:gd name="T52" fmla="*/ 0 w 95"/>
                <a:gd name="T53" fmla="*/ 2147483647 h 167"/>
                <a:gd name="T54" fmla="*/ 0 w 95"/>
                <a:gd name="T55" fmla="*/ 2147483647 h 167"/>
                <a:gd name="T56" fmla="*/ 0 w 95"/>
                <a:gd name="T57" fmla="*/ 2147483647 h 167"/>
                <a:gd name="T58" fmla="*/ 2147483647 w 95"/>
                <a:gd name="T59" fmla="*/ 2147483647 h 167"/>
                <a:gd name="T60" fmla="*/ 2147483647 w 95"/>
                <a:gd name="T61" fmla="*/ 2147483647 h 167"/>
                <a:gd name="T62" fmla="*/ 2147483647 w 95"/>
                <a:gd name="T63" fmla="*/ 2147483647 h 167"/>
                <a:gd name="T64" fmla="*/ 2147483647 w 95"/>
                <a:gd name="T65" fmla="*/ 2147483647 h 167"/>
                <a:gd name="T66" fmla="*/ 2147483647 w 95"/>
                <a:gd name="T67" fmla="*/ 2147483647 h 167"/>
                <a:gd name="T68" fmla="*/ 2147483647 w 95"/>
                <a:gd name="T69" fmla="*/ 0 h 167"/>
                <a:gd name="T70" fmla="*/ 2147483647 w 95"/>
                <a:gd name="T71" fmla="*/ 2147483647 h 16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" h="167">
                  <a:moveTo>
                    <a:pt x="31" y="12"/>
                  </a:moveTo>
                  <a:lnTo>
                    <a:pt x="37" y="12"/>
                  </a:lnTo>
                  <a:lnTo>
                    <a:pt x="57" y="12"/>
                  </a:lnTo>
                  <a:lnTo>
                    <a:pt x="69" y="35"/>
                  </a:lnTo>
                  <a:lnTo>
                    <a:pt x="76" y="67"/>
                  </a:lnTo>
                  <a:lnTo>
                    <a:pt x="95" y="88"/>
                  </a:lnTo>
                  <a:lnTo>
                    <a:pt x="87" y="100"/>
                  </a:lnTo>
                  <a:lnTo>
                    <a:pt x="76" y="123"/>
                  </a:lnTo>
                  <a:lnTo>
                    <a:pt x="76" y="133"/>
                  </a:lnTo>
                  <a:lnTo>
                    <a:pt x="76" y="167"/>
                  </a:lnTo>
                  <a:lnTo>
                    <a:pt x="57" y="156"/>
                  </a:lnTo>
                  <a:lnTo>
                    <a:pt x="57" y="123"/>
                  </a:lnTo>
                  <a:lnTo>
                    <a:pt x="45" y="133"/>
                  </a:lnTo>
                  <a:lnTo>
                    <a:pt x="31" y="156"/>
                  </a:lnTo>
                  <a:lnTo>
                    <a:pt x="26" y="144"/>
                  </a:lnTo>
                  <a:lnTo>
                    <a:pt x="12" y="133"/>
                  </a:lnTo>
                  <a:lnTo>
                    <a:pt x="12" y="123"/>
                  </a:lnTo>
                  <a:lnTo>
                    <a:pt x="19" y="100"/>
                  </a:lnTo>
                  <a:lnTo>
                    <a:pt x="19" y="112"/>
                  </a:lnTo>
                  <a:lnTo>
                    <a:pt x="37" y="133"/>
                  </a:lnTo>
                  <a:lnTo>
                    <a:pt x="37" y="123"/>
                  </a:lnTo>
                  <a:lnTo>
                    <a:pt x="26" y="88"/>
                  </a:lnTo>
                  <a:lnTo>
                    <a:pt x="19" y="79"/>
                  </a:lnTo>
                  <a:lnTo>
                    <a:pt x="12" y="67"/>
                  </a:lnTo>
                  <a:lnTo>
                    <a:pt x="12" y="56"/>
                  </a:lnTo>
                  <a:lnTo>
                    <a:pt x="7" y="44"/>
                  </a:lnTo>
                  <a:lnTo>
                    <a:pt x="0" y="44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2" y="23"/>
                  </a:lnTo>
                  <a:lnTo>
                    <a:pt x="26" y="44"/>
                  </a:lnTo>
                  <a:lnTo>
                    <a:pt x="31" y="35"/>
                  </a:lnTo>
                  <a:lnTo>
                    <a:pt x="26" y="12"/>
                  </a:lnTo>
                  <a:lnTo>
                    <a:pt x="26" y="0"/>
                  </a:lnTo>
                  <a:lnTo>
                    <a:pt x="31" y="1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45" name="Freeform 1109"/>
            <p:cNvSpPr>
              <a:spLocks/>
            </p:cNvSpPr>
            <p:nvPr>
              <p:custDataLst>
                <p:tags r:id="rId939"/>
              </p:custDataLst>
            </p:nvPr>
          </p:nvSpPr>
          <p:spPr bwMode="auto">
            <a:xfrm>
              <a:off x="5381873" y="3370263"/>
              <a:ext cx="92075" cy="77787"/>
            </a:xfrm>
            <a:custGeom>
              <a:avLst/>
              <a:gdLst>
                <a:gd name="T0" fmla="*/ 0 w 62"/>
                <a:gd name="T1" fmla="*/ 2147483647 h 98"/>
                <a:gd name="T2" fmla="*/ 2147483647 w 62"/>
                <a:gd name="T3" fmla="*/ 2147483647 h 98"/>
                <a:gd name="T4" fmla="*/ 2147483647 w 62"/>
                <a:gd name="T5" fmla="*/ 2147483647 h 98"/>
                <a:gd name="T6" fmla="*/ 2147483647 w 62"/>
                <a:gd name="T7" fmla="*/ 2147483647 h 98"/>
                <a:gd name="T8" fmla="*/ 2147483647 w 62"/>
                <a:gd name="T9" fmla="*/ 2147483647 h 98"/>
                <a:gd name="T10" fmla="*/ 2147483647 w 62"/>
                <a:gd name="T11" fmla="*/ 2147483647 h 98"/>
                <a:gd name="T12" fmla="*/ 2147483647 w 62"/>
                <a:gd name="T13" fmla="*/ 2147483647 h 98"/>
                <a:gd name="T14" fmla="*/ 2147483647 w 62"/>
                <a:gd name="T15" fmla="*/ 2147483647 h 98"/>
                <a:gd name="T16" fmla="*/ 2147483647 w 62"/>
                <a:gd name="T17" fmla="*/ 2147483647 h 98"/>
                <a:gd name="T18" fmla="*/ 2147483647 w 62"/>
                <a:gd name="T19" fmla="*/ 2147483647 h 98"/>
                <a:gd name="T20" fmla="*/ 2147483647 w 62"/>
                <a:gd name="T21" fmla="*/ 2147483647 h 98"/>
                <a:gd name="T22" fmla="*/ 2147483647 w 62"/>
                <a:gd name="T23" fmla="*/ 2147483647 h 98"/>
                <a:gd name="T24" fmla="*/ 2147483647 w 62"/>
                <a:gd name="T25" fmla="*/ 2147483647 h 98"/>
                <a:gd name="T26" fmla="*/ 2147483647 w 62"/>
                <a:gd name="T27" fmla="*/ 2147483647 h 98"/>
                <a:gd name="T28" fmla="*/ 2147483647 w 62"/>
                <a:gd name="T29" fmla="*/ 2147483647 h 98"/>
                <a:gd name="T30" fmla="*/ 2147483647 w 62"/>
                <a:gd name="T31" fmla="*/ 0 h 98"/>
                <a:gd name="T32" fmla="*/ 2147483647 w 62"/>
                <a:gd name="T33" fmla="*/ 0 h 98"/>
                <a:gd name="T34" fmla="*/ 0 w 62"/>
                <a:gd name="T35" fmla="*/ 2147483647 h 9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" h="98">
                  <a:moveTo>
                    <a:pt x="0" y="9"/>
                  </a:moveTo>
                  <a:lnTo>
                    <a:pt x="12" y="32"/>
                  </a:lnTo>
                  <a:lnTo>
                    <a:pt x="19" y="53"/>
                  </a:lnTo>
                  <a:lnTo>
                    <a:pt x="31" y="88"/>
                  </a:lnTo>
                  <a:lnTo>
                    <a:pt x="44" y="65"/>
                  </a:lnTo>
                  <a:lnTo>
                    <a:pt x="44" y="88"/>
                  </a:lnTo>
                  <a:lnTo>
                    <a:pt x="50" y="88"/>
                  </a:lnTo>
                  <a:lnTo>
                    <a:pt x="62" y="98"/>
                  </a:lnTo>
                  <a:lnTo>
                    <a:pt x="62" y="88"/>
                  </a:lnTo>
                  <a:lnTo>
                    <a:pt x="50" y="53"/>
                  </a:lnTo>
                  <a:lnTo>
                    <a:pt x="44" y="32"/>
                  </a:lnTo>
                  <a:lnTo>
                    <a:pt x="37" y="32"/>
                  </a:lnTo>
                  <a:lnTo>
                    <a:pt x="37" y="9"/>
                  </a:lnTo>
                  <a:lnTo>
                    <a:pt x="31" y="9"/>
                  </a:lnTo>
                  <a:lnTo>
                    <a:pt x="25" y="9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46" name="Freeform 1110"/>
            <p:cNvSpPr>
              <a:spLocks/>
            </p:cNvSpPr>
            <p:nvPr>
              <p:custDataLst>
                <p:tags r:id="rId940"/>
              </p:custDataLst>
            </p:nvPr>
          </p:nvSpPr>
          <p:spPr bwMode="auto">
            <a:xfrm>
              <a:off x="5381873" y="3370263"/>
              <a:ext cx="92075" cy="77787"/>
            </a:xfrm>
            <a:custGeom>
              <a:avLst/>
              <a:gdLst>
                <a:gd name="T0" fmla="*/ 0 w 62"/>
                <a:gd name="T1" fmla="*/ 2147483647 h 98"/>
                <a:gd name="T2" fmla="*/ 2147483647 w 62"/>
                <a:gd name="T3" fmla="*/ 2147483647 h 98"/>
                <a:gd name="T4" fmla="*/ 2147483647 w 62"/>
                <a:gd name="T5" fmla="*/ 2147483647 h 98"/>
                <a:gd name="T6" fmla="*/ 2147483647 w 62"/>
                <a:gd name="T7" fmla="*/ 2147483647 h 98"/>
                <a:gd name="T8" fmla="*/ 2147483647 w 62"/>
                <a:gd name="T9" fmla="*/ 2147483647 h 98"/>
                <a:gd name="T10" fmla="*/ 2147483647 w 62"/>
                <a:gd name="T11" fmla="*/ 2147483647 h 98"/>
                <a:gd name="T12" fmla="*/ 2147483647 w 62"/>
                <a:gd name="T13" fmla="*/ 2147483647 h 98"/>
                <a:gd name="T14" fmla="*/ 2147483647 w 62"/>
                <a:gd name="T15" fmla="*/ 2147483647 h 98"/>
                <a:gd name="T16" fmla="*/ 2147483647 w 62"/>
                <a:gd name="T17" fmla="*/ 2147483647 h 98"/>
                <a:gd name="T18" fmla="*/ 2147483647 w 62"/>
                <a:gd name="T19" fmla="*/ 2147483647 h 98"/>
                <a:gd name="T20" fmla="*/ 2147483647 w 62"/>
                <a:gd name="T21" fmla="*/ 2147483647 h 98"/>
                <a:gd name="T22" fmla="*/ 2147483647 w 62"/>
                <a:gd name="T23" fmla="*/ 2147483647 h 98"/>
                <a:gd name="T24" fmla="*/ 2147483647 w 62"/>
                <a:gd name="T25" fmla="*/ 2147483647 h 98"/>
                <a:gd name="T26" fmla="*/ 2147483647 w 62"/>
                <a:gd name="T27" fmla="*/ 2147483647 h 98"/>
                <a:gd name="T28" fmla="*/ 2147483647 w 62"/>
                <a:gd name="T29" fmla="*/ 2147483647 h 98"/>
                <a:gd name="T30" fmla="*/ 2147483647 w 62"/>
                <a:gd name="T31" fmla="*/ 0 h 98"/>
                <a:gd name="T32" fmla="*/ 2147483647 w 62"/>
                <a:gd name="T33" fmla="*/ 0 h 98"/>
                <a:gd name="T34" fmla="*/ 0 w 62"/>
                <a:gd name="T35" fmla="*/ 2147483647 h 9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" h="98">
                  <a:moveTo>
                    <a:pt x="0" y="9"/>
                  </a:moveTo>
                  <a:lnTo>
                    <a:pt x="12" y="32"/>
                  </a:lnTo>
                  <a:lnTo>
                    <a:pt x="19" y="53"/>
                  </a:lnTo>
                  <a:lnTo>
                    <a:pt x="31" y="88"/>
                  </a:lnTo>
                  <a:lnTo>
                    <a:pt x="44" y="65"/>
                  </a:lnTo>
                  <a:lnTo>
                    <a:pt x="44" y="88"/>
                  </a:lnTo>
                  <a:lnTo>
                    <a:pt x="50" y="88"/>
                  </a:lnTo>
                  <a:lnTo>
                    <a:pt x="62" y="98"/>
                  </a:lnTo>
                  <a:lnTo>
                    <a:pt x="62" y="88"/>
                  </a:lnTo>
                  <a:lnTo>
                    <a:pt x="50" y="53"/>
                  </a:lnTo>
                  <a:lnTo>
                    <a:pt x="44" y="32"/>
                  </a:lnTo>
                  <a:lnTo>
                    <a:pt x="37" y="32"/>
                  </a:lnTo>
                  <a:lnTo>
                    <a:pt x="37" y="9"/>
                  </a:lnTo>
                  <a:lnTo>
                    <a:pt x="31" y="9"/>
                  </a:lnTo>
                  <a:lnTo>
                    <a:pt x="25" y="9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47" name="Freeform 1111"/>
            <p:cNvSpPr>
              <a:spLocks/>
            </p:cNvSpPr>
            <p:nvPr>
              <p:custDataLst>
                <p:tags r:id="rId941"/>
              </p:custDataLst>
            </p:nvPr>
          </p:nvSpPr>
          <p:spPr bwMode="auto">
            <a:xfrm>
              <a:off x="5381873" y="3370263"/>
              <a:ext cx="92075" cy="77787"/>
            </a:xfrm>
            <a:custGeom>
              <a:avLst/>
              <a:gdLst>
                <a:gd name="T0" fmla="*/ 0 w 62"/>
                <a:gd name="T1" fmla="*/ 2147483647 h 98"/>
                <a:gd name="T2" fmla="*/ 2147483647 w 62"/>
                <a:gd name="T3" fmla="*/ 2147483647 h 98"/>
                <a:gd name="T4" fmla="*/ 2147483647 w 62"/>
                <a:gd name="T5" fmla="*/ 2147483647 h 98"/>
                <a:gd name="T6" fmla="*/ 2147483647 w 62"/>
                <a:gd name="T7" fmla="*/ 2147483647 h 98"/>
                <a:gd name="T8" fmla="*/ 2147483647 w 62"/>
                <a:gd name="T9" fmla="*/ 2147483647 h 98"/>
                <a:gd name="T10" fmla="*/ 2147483647 w 62"/>
                <a:gd name="T11" fmla="*/ 2147483647 h 98"/>
                <a:gd name="T12" fmla="*/ 2147483647 w 62"/>
                <a:gd name="T13" fmla="*/ 2147483647 h 98"/>
                <a:gd name="T14" fmla="*/ 2147483647 w 62"/>
                <a:gd name="T15" fmla="*/ 2147483647 h 98"/>
                <a:gd name="T16" fmla="*/ 2147483647 w 62"/>
                <a:gd name="T17" fmla="*/ 2147483647 h 98"/>
                <a:gd name="T18" fmla="*/ 2147483647 w 62"/>
                <a:gd name="T19" fmla="*/ 2147483647 h 98"/>
                <a:gd name="T20" fmla="*/ 2147483647 w 62"/>
                <a:gd name="T21" fmla="*/ 2147483647 h 98"/>
                <a:gd name="T22" fmla="*/ 2147483647 w 62"/>
                <a:gd name="T23" fmla="*/ 2147483647 h 98"/>
                <a:gd name="T24" fmla="*/ 2147483647 w 62"/>
                <a:gd name="T25" fmla="*/ 2147483647 h 98"/>
                <a:gd name="T26" fmla="*/ 2147483647 w 62"/>
                <a:gd name="T27" fmla="*/ 2147483647 h 98"/>
                <a:gd name="T28" fmla="*/ 2147483647 w 62"/>
                <a:gd name="T29" fmla="*/ 2147483647 h 98"/>
                <a:gd name="T30" fmla="*/ 2147483647 w 62"/>
                <a:gd name="T31" fmla="*/ 0 h 98"/>
                <a:gd name="T32" fmla="*/ 2147483647 w 62"/>
                <a:gd name="T33" fmla="*/ 0 h 98"/>
                <a:gd name="T34" fmla="*/ 0 w 62"/>
                <a:gd name="T35" fmla="*/ 2147483647 h 9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" h="98">
                  <a:moveTo>
                    <a:pt x="0" y="9"/>
                  </a:moveTo>
                  <a:lnTo>
                    <a:pt x="12" y="32"/>
                  </a:lnTo>
                  <a:lnTo>
                    <a:pt x="19" y="53"/>
                  </a:lnTo>
                  <a:lnTo>
                    <a:pt x="31" y="88"/>
                  </a:lnTo>
                  <a:lnTo>
                    <a:pt x="44" y="65"/>
                  </a:lnTo>
                  <a:lnTo>
                    <a:pt x="44" y="88"/>
                  </a:lnTo>
                  <a:lnTo>
                    <a:pt x="50" y="88"/>
                  </a:lnTo>
                  <a:lnTo>
                    <a:pt x="62" y="98"/>
                  </a:lnTo>
                  <a:lnTo>
                    <a:pt x="62" y="88"/>
                  </a:lnTo>
                  <a:lnTo>
                    <a:pt x="50" y="53"/>
                  </a:lnTo>
                  <a:lnTo>
                    <a:pt x="44" y="32"/>
                  </a:lnTo>
                  <a:lnTo>
                    <a:pt x="37" y="32"/>
                  </a:lnTo>
                  <a:lnTo>
                    <a:pt x="37" y="9"/>
                  </a:lnTo>
                  <a:lnTo>
                    <a:pt x="31" y="9"/>
                  </a:lnTo>
                  <a:lnTo>
                    <a:pt x="25" y="9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48" name="Freeform 1112"/>
            <p:cNvSpPr>
              <a:spLocks/>
            </p:cNvSpPr>
            <p:nvPr>
              <p:custDataLst>
                <p:tags r:id="rId942"/>
              </p:custDataLst>
            </p:nvPr>
          </p:nvSpPr>
          <p:spPr bwMode="auto">
            <a:xfrm>
              <a:off x="5381873" y="3370263"/>
              <a:ext cx="92075" cy="77787"/>
            </a:xfrm>
            <a:custGeom>
              <a:avLst/>
              <a:gdLst>
                <a:gd name="T0" fmla="*/ 0 w 62"/>
                <a:gd name="T1" fmla="*/ 2147483647 h 98"/>
                <a:gd name="T2" fmla="*/ 2147483647 w 62"/>
                <a:gd name="T3" fmla="*/ 2147483647 h 98"/>
                <a:gd name="T4" fmla="*/ 2147483647 w 62"/>
                <a:gd name="T5" fmla="*/ 2147483647 h 98"/>
                <a:gd name="T6" fmla="*/ 2147483647 w 62"/>
                <a:gd name="T7" fmla="*/ 2147483647 h 98"/>
                <a:gd name="T8" fmla="*/ 2147483647 w 62"/>
                <a:gd name="T9" fmla="*/ 2147483647 h 98"/>
                <a:gd name="T10" fmla="*/ 2147483647 w 62"/>
                <a:gd name="T11" fmla="*/ 2147483647 h 98"/>
                <a:gd name="T12" fmla="*/ 2147483647 w 62"/>
                <a:gd name="T13" fmla="*/ 2147483647 h 98"/>
                <a:gd name="T14" fmla="*/ 2147483647 w 62"/>
                <a:gd name="T15" fmla="*/ 2147483647 h 98"/>
                <a:gd name="T16" fmla="*/ 2147483647 w 62"/>
                <a:gd name="T17" fmla="*/ 2147483647 h 98"/>
                <a:gd name="T18" fmla="*/ 2147483647 w 62"/>
                <a:gd name="T19" fmla="*/ 2147483647 h 98"/>
                <a:gd name="T20" fmla="*/ 2147483647 w 62"/>
                <a:gd name="T21" fmla="*/ 2147483647 h 98"/>
                <a:gd name="T22" fmla="*/ 2147483647 w 62"/>
                <a:gd name="T23" fmla="*/ 2147483647 h 98"/>
                <a:gd name="T24" fmla="*/ 2147483647 w 62"/>
                <a:gd name="T25" fmla="*/ 2147483647 h 98"/>
                <a:gd name="T26" fmla="*/ 2147483647 w 62"/>
                <a:gd name="T27" fmla="*/ 2147483647 h 98"/>
                <a:gd name="T28" fmla="*/ 2147483647 w 62"/>
                <a:gd name="T29" fmla="*/ 2147483647 h 98"/>
                <a:gd name="T30" fmla="*/ 2147483647 w 62"/>
                <a:gd name="T31" fmla="*/ 0 h 98"/>
                <a:gd name="T32" fmla="*/ 2147483647 w 62"/>
                <a:gd name="T33" fmla="*/ 0 h 98"/>
                <a:gd name="T34" fmla="*/ 0 w 62"/>
                <a:gd name="T35" fmla="*/ 2147483647 h 9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" h="98">
                  <a:moveTo>
                    <a:pt x="0" y="9"/>
                  </a:moveTo>
                  <a:lnTo>
                    <a:pt x="12" y="32"/>
                  </a:lnTo>
                  <a:lnTo>
                    <a:pt x="19" y="53"/>
                  </a:lnTo>
                  <a:lnTo>
                    <a:pt x="31" y="88"/>
                  </a:lnTo>
                  <a:lnTo>
                    <a:pt x="44" y="65"/>
                  </a:lnTo>
                  <a:lnTo>
                    <a:pt x="44" y="88"/>
                  </a:lnTo>
                  <a:lnTo>
                    <a:pt x="50" y="88"/>
                  </a:lnTo>
                  <a:lnTo>
                    <a:pt x="62" y="98"/>
                  </a:lnTo>
                  <a:lnTo>
                    <a:pt x="62" y="88"/>
                  </a:lnTo>
                  <a:lnTo>
                    <a:pt x="50" y="53"/>
                  </a:lnTo>
                  <a:lnTo>
                    <a:pt x="44" y="32"/>
                  </a:lnTo>
                  <a:lnTo>
                    <a:pt x="37" y="32"/>
                  </a:lnTo>
                  <a:lnTo>
                    <a:pt x="37" y="9"/>
                  </a:lnTo>
                  <a:lnTo>
                    <a:pt x="31" y="9"/>
                  </a:lnTo>
                  <a:lnTo>
                    <a:pt x="25" y="9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49" name="Freeform 1113"/>
            <p:cNvSpPr>
              <a:spLocks/>
            </p:cNvSpPr>
            <p:nvPr>
              <p:custDataLst>
                <p:tags r:id="rId943"/>
              </p:custDataLst>
            </p:nvPr>
          </p:nvSpPr>
          <p:spPr bwMode="auto">
            <a:xfrm>
              <a:off x="5439023" y="2936875"/>
              <a:ext cx="952500" cy="460375"/>
            </a:xfrm>
            <a:custGeom>
              <a:avLst/>
              <a:gdLst>
                <a:gd name="T0" fmla="*/ 2147483647 w 651"/>
                <a:gd name="T1" fmla="*/ 2147483647 h 580"/>
                <a:gd name="T2" fmla="*/ 2147483647 w 651"/>
                <a:gd name="T3" fmla="*/ 2147483647 h 580"/>
                <a:gd name="T4" fmla="*/ 2147483647 w 651"/>
                <a:gd name="T5" fmla="*/ 2147483647 h 580"/>
                <a:gd name="T6" fmla="*/ 2147483647 w 651"/>
                <a:gd name="T7" fmla="*/ 2147483647 h 580"/>
                <a:gd name="T8" fmla="*/ 2147483647 w 651"/>
                <a:gd name="T9" fmla="*/ 2147483647 h 580"/>
                <a:gd name="T10" fmla="*/ 2147483647 w 651"/>
                <a:gd name="T11" fmla="*/ 2147483647 h 580"/>
                <a:gd name="T12" fmla="*/ 2147483647 w 651"/>
                <a:gd name="T13" fmla="*/ 2147483647 h 580"/>
                <a:gd name="T14" fmla="*/ 2147483647 w 651"/>
                <a:gd name="T15" fmla="*/ 2147483647 h 580"/>
                <a:gd name="T16" fmla="*/ 2147483647 w 651"/>
                <a:gd name="T17" fmla="*/ 2147483647 h 580"/>
                <a:gd name="T18" fmla="*/ 2147483647 w 651"/>
                <a:gd name="T19" fmla="*/ 2147483647 h 580"/>
                <a:gd name="T20" fmla="*/ 2147483647 w 651"/>
                <a:gd name="T21" fmla="*/ 2147483647 h 580"/>
                <a:gd name="T22" fmla="*/ 2147483647 w 651"/>
                <a:gd name="T23" fmla="*/ 2147483647 h 580"/>
                <a:gd name="T24" fmla="*/ 2147483647 w 651"/>
                <a:gd name="T25" fmla="*/ 2147483647 h 580"/>
                <a:gd name="T26" fmla="*/ 2147483647 w 651"/>
                <a:gd name="T27" fmla="*/ 2147483647 h 580"/>
                <a:gd name="T28" fmla="*/ 2147483647 w 651"/>
                <a:gd name="T29" fmla="*/ 2147483647 h 580"/>
                <a:gd name="T30" fmla="*/ 2147483647 w 651"/>
                <a:gd name="T31" fmla="*/ 2147483647 h 580"/>
                <a:gd name="T32" fmla="*/ 2147483647 w 651"/>
                <a:gd name="T33" fmla="*/ 2147483647 h 580"/>
                <a:gd name="T34" fmla="*/ 2147483647 w 651"/>
                <a:gd name="T35" fmla="*/ 2147483647 h 580"/>
                <a:gd name="T36" fmla="*/ 2147483647 w 651"/>
                <a:gd name="T37" fmla="*/ 2147483647 h 580"/>
                <a:gd name="T38" fmla="*/ 2147483647 w 651"/>
                <a:gd name="T39" fmla="*/ 2147483647 h 580"/>
                <a:gd name="T40" fmla="*/ 2147483647 w 651"/>
                <a:gd name="T41" fmla="*/ 2147483647 h 580"/>
                <a:gd name="T42" fmla="*/ 0 w 651"/>
                <a:gd name="T43" fmla="*/ 2147483647 h 580"/>
                <a:gd name="T44" fmla="*/ 2147483647 w 651"/>
                <a:gd name="T45" fmla="*/ 2147483647 h 580"/>
                <a:gd name="T46" fmla="*/ 2147483647 w 651"/>
                <a:gd name="T47" fmla="*/ 2147483647 h 580"/>
                <a:gd name="T48" fmla="*/ 2147483647 w 651"/>
                <a:gd name="T49" fmla="*/ 2147483647 h 580"/>
                <a:gd name="T50" fmla="*/ 2147483647 w 651"/>
                <a:gd name="T51" fmla="*/ 2147483647 h 580"/>
                <a:gd name="T52" fmla="*/ 2147483647 w 651"/>
                <a:gd name="T53" fmla="*/ 2147483647 h 580"/>
                <a:gd name="T54" fmla="*/ 2147483647 w 651"/>
                <a:gd name="T55" fmla="*/ 2147483647 h 580"/>
                <a:gd name="T56" fmla="*/ 2147483647 w 651"/>
                <a:gd name="T57" fmla="*/ 2147483647 h 580"/>
                <a:gd name="T58" fmla="*/ 2147483647 w 651"/>
                <a:gd name="T59" fmla="*/ 2147483647 h 580"/>
                <a:gd name="T60" fmla="*/ 2147483647 w 651"/>
                <a:gd name="T61" fmla="*/ 2147483647 h 580"/>
                <a:gd name="T62" fmla="*/ 2147483647 w 651"/>
                <a:gd name="T63" fmla="*/ 2147483647 h 580"/>
                <a:gd name="T64" fmla="*/ 2147483647 w 651"/>
                <a:gd name="T65" fmla="*/ 2147483647 h 580"/>
                <a:gd name="T66" fmla="*/ 2147483647 w 651"/>
                <a:gd name="T67" fmla="*/ 2147483647 h 580"/>
                <a:gd name="T68" fmla="*/ 2147483647 w 651"/>
                <a:gd name="T69" fmla="*/ 2147483647 h 580"/>
                <a:gd name="T70" fmla="*/ 2147483647 w 651"/>
                <a:gd name="T71" fmla="*/ 2147483647 h 580"/>
                <a:gd name="T72" fmla="*/ 2147483647 w 651"/>
                <a:gd name="T73" fmla="*/ 2147483647 h 580"/>
                <a:gd name="T74" fmla="*/ 2147483647 w 651"/>
                <a:gd name="T75" fmla="*/ 2147483647 h 580"/>
                <a:gd name="T76" fmla="*/ 2147483647 w 651"/>
                <a:gd name="T77" fmla="*/ 2147483647 h 580"/>
                <a:gd name="T78" fmla="*/ 2147483647 w 651"/>
                <a:gd name="T79" fmla="*/ 2147483647 h 580"/>
                <a:gd name="T80" fmla="*/ 2147483647 w 651"/>
                <a:gd name="T81" fmla="*/ 2147483647 h 580"/>
                <a:gd name="T82" fmla="*/ 2147483647 w 651"/>
                <a:gd name="T83" fmla="*/ 2147483647 h 580"/>
                <a:gd name="T84" fmla="*/ 2147483647 w 651"/>
                <a:gd name="T85" fmla="*/ 2147483647 h 580"/>
                <a:gd name="T86" fmla="*/ 2147483647 w 651"/>
                <a:gd name="T87" fmla="*/ 2147483647 h 580"/>
                <a:gd name="T88" fmla="*/ 2147483647 w 651"/>
                <a:gd name="T89" fmla="*/ 2147483647 h 580"/>
                <a:gd name="T90" fmla="*/ 2147483647 w 651"/>
                <a:gd name="T91" fmla="*/ 2147483647 h 580"/>
                <a:gd name="T92" fmla="*/ 2147483647 w 651"/>
                <a:gd name="T93" fmla="*/ 2147483647 h 580"/>
                <a:gd name="T94" fmla="*/ 2147483647 w 651"/>
                <a:gd name="T95" fmla="*/ 2147483647 h 580"/>
                <a:gd name="T96" fmla="*/ 2147483647 w 651"/>
                <a:gd name="T97" fmla="*/ 2147483647 h 580"/>
                <a:gd name="T98" fmla="*/ 2147483647 w 651"/>
                <a:gd name="T99" fmla="*/ 2147483647 h 580"/>
                <a:gd name="T100" fmla="*/ 2147483647 w 651"/>
                <a:gd name="T101" fmla="*/ 2147483647 h 5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51" h="580">
                  <a:moveTo>
                    <a:pt x="638" y="290"/>
                  </a:moveTo>
                  <a:lnTo>
                    <a:pt x="651" y="281"/>
                  </a:lnTo>
                  <a:lnTo>
                    <a:pt x="619" y="235"/>
                  </a:lnTo>
                  <a:lnTo>
                    <a:pt x="593" y="256"/>
                  </a:lnTo>
                  <a:lnTo>
                    <a:pt x="569" y="235"/>
                  </a:lnTo>
                  <a:lnTo>
                    <a:pt x="557" y="223"/>
                  </a:lnTo>
                  <a:lnTo>
                    <a:pt x="543" y="223"/>
                  </a:lnTo>
                  <a:lnTo>
                    <a:pt x="532" y="202"/>
                  </a:lnTo>
                  <a:lnTo>
                    <a:pt x="532" y="179"/>
                  </a:lnTo>
                  <a:lnTo>
                    <a:pt x="519" y="179"/>
                  </a:lnTo>
                  <a:lnTo>
                    <a:pt x="506" y="179"/>
                  </a:lnTo>
                  <a:lnTo>
                    <a:pt x="501" y="190"/>
                  </a:lnTo>
                  <a:lnTo>
                    <a:pt x="482" y="158"/>
                  </a:lnTo>
                  <a:lnTo>
                    <a:pt x="475" y="158"/>
                  </a:lnTo>
                  <a:lnTo>
                    <a:pt x="469" y="167"/>
                  </a:lnTo>
                  <a:lnTo>
                    <a:pt x="456" y="167"/>
                  </a:lnTo>
                  <a:lnTo>
                    <a:pt x="444" y="146"/>
                  </a:lnTo>
                  <a:lnTo>
                    <a:pt x="413" y="100"/>
                  </a:lnTo>
                  <a:lnTo>
                    <a:pt x="387" y="69"/>
                  </a:lnTo>
                  <a:lnTo>
                    <a:pt x="376" y="35"/>
                  </a:lnTo>
                  <a:lnTo>
                    <a:pt x="350" y="69"/>
                  </a:lnTo>
                  <a:lnTo>
                    <a:pt x="344" y="46"/>
                  </a:lnTo>
                  <a:lnTo>
                    <a:pt x="307" y="46"/>
                  </a:lnTo>
                  <a:lnTo>
                    <a:pt x="300" y="46"/>
                  </a:lnTo>
                  <a:lnTo>
                    <a:pt x="281" y="0"/>
                  </a:lnTo>
                  <a:lnTo>
                    <a:pt x="262" y="0"/>
                  </a:lnTo>
                  <a:lnTo>
                    <a:pt x="257" y="23"/>
                  </a:lnTo>
                  <a:lnTo>
                    <a:pt x="231" y="35"/>
                  </a:lnTo>
                  <a:lnTo>
                    <a:pt x="225" y="23"/>
                  </a:lnTo>
                  <a:lnTo>
                    <a:pt x="207" y="46"/>
                  </a:lnTo>
                  <a:lnTo>
                    <a:pt x="200" y="46"/>
                  </a:lnTo>
                  <a:lnTo>
                    <a:pt x="169" y="56"/>
                  </a:lnTo>
                  <a:lnTo>
                    <a:pt x="157" y="46"/>
                  </a:lnTo>
                  <a:lnTo>
                    <a:pt x="157" y="56"/>
                  </a:lnTo>
                  <a:lnTo>
                    <a:pt x="169" y="91"/>
                  </a:lnTo>
                  <a:lnTo>
                    <a:pt x="157" y="114"/>
                  </a:lnTo>
                  <a:lnTo>
                    <a:pt x="162" y="135"/>
                  </a:lnTo>
                  <a:lnTo>
                    <a:pt x="162" y="146"/>
                  </a:lnTo>
                  <a:lnTo>
                    <a:pt x="174" y="146"/>
                  </a:lnTo>
                  <a:lnTo>
                    <a:pt x="182" y="167"/>
                  </a:lnTo>
                  <a:lnTo>
                    <a:pt x="182" y="190"/>
                  </a:lnTo>
                  <a:lnTo>
                    <a:pt x="174" y="190"/>
                  </a:lnTo>
                  <a:lnTo>
                    <a:pt x="169" y="179"/>
                  </a:lnTo>
                  <a:lnTo>
                    <a:pt x="162" y="190"/>
                  </a:lnTo>
                  <a:lnTo>
                    <a:pt x="157" y="190"/>
                  </a:lnTo>
                  <a:lnTo>
                    <a:pt x="143" y="179"/>
                  </a:lnTo>
                  <a:lnTo>
                    <a:pt x="143" y="167"/>
                  </a:lnTo>
                  <a:lnTo>
                    <a:pt x="132" y="167"/>
                  </a:lnTo>
                  <a:lnTo>
                    <a:pt x="132" y="179"/>
                  </a:lnTo>
                  <a:lnTo>
                    <a:pt x="124" y="167"/>
                  </a:lnTo>
                  <a:lnTo>
                    <a:pt x="113" y="179"/>
                  </a:lnTo>
                  <a:lnTo>
                    <a:pt x="93" y="190"/>
                  </a:lnTo>
                  <a:lnTo>
                    <a:pt x="93" y="179"/>
                  </a:lnTo>
                  <a:lnTo>
                    <a:pt x="87" y="167"/>
                  </a:lnTo>
                  <a:lnTo>
                    <a:pt x="69" y="158"/>
                  </a:lnTo>
                  <a:lnTo>
                    <a:pt x="44" y="158"/>
                  </a:lnTo>
                  <a:lnTo>
                    <a:pt x="32" y="158"/>
                  </a:lnTo>
                  <a:lnTo>
                    <a:pt x="32" y="167"/>
                  </a:lnTo>
                  <a:lnTo>
                    <a:pt x="24" y="167"/>
                  </a:lnTo>
                  <a:lnTo>
                    <a:pt x="24" y="179"/>
                  </a:lnTo>
                  <a:lnTo>
                    <a:pt x="18" y="202"/>
                  </a:lnTo>
                  <a:lnTo>
                    <a:pt x="18" y="212"/>
                  </a:lnTo>
                  <a:lnTo>
                    <a:pt x="13" y="223"/>
                  </a:lnTo>
                  <a:lnTo>
                    <a:pt x="13" y="202"/>
                  </a:lnTo>
                  <a:lnTo>
                    <a:pt x="6" y="202"/>
                  </a:lnTo>
                  <a:lnTo>
                    <a:pt x="0" y="235"/>
                  </a:lnTo>
                  <a:lnTo>
                    <a:pt x="0" y="246"/>
                  </a:lnTo>
                  <a:lnTo>
                    <a:pt x="0" y="267"/>
                  </a:lnTo>
                  <a:lnTo>
                    <a:pt x="6" y="281"/>
                  </a:lnTo>
                  <a:lnTo>
                    <a:pt x="6" y="290"/>
                  </a:lnTo>
                  <a:lnTo>
                    <a:pt x="6" y="311"/>
                  </a:lnTo>
                  <a:lnTo>
                    <a:pt x="13" y="302"/>
                  </a:lnTo>
                  <a:lnTo>
                    <a:pt x="24" y="290"/>
                  </a:lnTo>
                  <a:lnTo>
                    <a:pt x="32" y="302"/>
                  </a:lnTo>
                  <a:lnTo>
                    <a:pt x="37" y="325"/>
                  </a:lnTo>
                  <a:lnTo>
                    <a:pt x="44" y="335"/>
                  </a:lnTo>
                  <a:lnTo>
                    <a:pt x="50" y="369"/>
                  </a:lnTo>
                  <a:lnTo>
                    <a:pt x="63" y="356"/>
                  </a:lnTo>
                  <a:lnTo>
                    <a:pt x="82" y="356"/>
                  </a:lnTo>
                  <a:lnTo>
                    <a:pt x="119" y="346"/>
                  </a:lnTo>
                  <a:lnTo>
                    <a:pt x="124" y="369"/>
                  </a:lnTo>
                  <a:lnTo>
                    <a:pt x="124" y="400"/>
                  </a:lnTo>
                  <a:lnTo>
                    <a:pt x="113" y="413"/>
                  </a:lnTo>
                  <a:lnTo>
                    <a:pt x="93" y="423"/>
                  </a:lnTo>
                  <a:lnTo>
                    <a:pt x="100" y="446"/>
                  </a:lnTo>
                  <a:lnTo>
                    <a:pt x="74" y="446"/>
                  </a:lnTo>
                  <a:lnTo>
                    <a:pt x="93" y="502"/>
                  </a:lnTo>
                  <a:lnTo>
                    <a:pt x="106" y="513"/>
                  </a:lnTo>
                  <a:lnTo>
                    <a:pt x="119" y="513"/>
                  </a:lnTo>
                  <a:lnTo>
                    <a:pt x="119" y="536"/>
                  </a:lnTo>
                  <a:lnTo>
                    <a:pt x="124" y="523"/>
                  </a:lnTo>
                  <a:lnTo>
                    <a:pt x="143" y="523"/>
                  </a:lnTo>
                  <a:lnTo>
                    <a:pt x="150" y="536"/>
                  </a:lnTo>
                  <a:lnTo>
                    <a:pt x="157" y="546"/>
                  </a:lnTo>
                  <a:lnTo>
                    <a:pt x="162" y="536"/>
                  </a:lnTo>
                  <a:lnTo>
                    <a:pt x="174" y="536"/>
                  </a:lnTo>
                  <a:lnTo>
                    <a:pt x="157" y="413"/>
                  </a:lnTo>
                  <a:lnTo>
                    <a:pt x="162" y="400"/>
                  </a:lnTo>
                  <a:lnTo>
                    <a:pt x="188" y="379"/>
                  </a:lnTo>
                  <a:lnTo>
                    <a:pt x="193" y="379"/>
                  </a:lnTo>
                  <a:lnTo>
                    <a:pt x="188" y="356"/>
                  </a:lnTo>
                  <a:lnTo>
                    <a:pt x="193" y="369"/>
                  </a:lnTo>
                  <a:lnTo>
                    <a:pt x="193" y="356"/>
                  </a:lnTo>
                  <a:lnTo>
                    <a:pt x="200" y="346"/>
                  </a:lnTo>
                  <a:lnTo>
                    <a:pt x="207" y="346"/>
                  </a:lnTo>
                  <a:lnTo>
                    <a:pt x="212" y="356"/>
                  </a:lnTo>
                  <a:lnTo>
                    <a:pt x="219" y="346"/>
                  </a:lnTo>
                  <a:lnTo>
                    <a:pt x="225" y="346"/>
                  </a:lnTo>
                  <a:lnTo>
                    <a:pt x="219" y="369"/>
                  </a:lnTo>
                  <a:lnTo>
                    <a:pt x="225" y="400"/>
                  </a:lnTo>
                  <a:lnTo>
                    <a:pt x="238" y="413"/>
                  </a:lnTo>
                  <a:lnTo>
                    <a:pt x="238" y="423"/>
                  </a:lnTo>
                  <a:lnTo>
                    <a:pt x="231" y="434"/>
                  </a:lnTo>
                  <a:lnTo>
                    <a:pt x="238" y="446"/>
                  </a:lnTo>
                  <a:lnTo>
                    <a:pt x="249" y="457"/>
                  </a:lnTo>
                  <a:lnTo>
                    <a:pt x="257" y="467"/>
                  </a:lnTo>
                  <a:lnTo>
                    <a:pt x="275" y="467"/>
                  </a:lnTo>
                  <a:lnTo>
                    <a:pt x="288" y="457"/>
                  </a:lnTo>
                  <a:lnTo>
                    <a:pt x="307" y="513"/>
                  </a:lnTo>
                  <a:lnTo>
                    <a:pt x="313" y="536"/>
                  </a:lnTo>
                  <a:lnTo>
                    <a:pt x="307" y="546"/>
                  </a:lnTo>
                  <a:lnTo>
                    <a:pt x="300" y="557"/>
                  </a:lnTo>
                  <a:lnTo>
                    <a:pt x="318" y="567"/>
                  </a:lnTo>
                  <a:lnTo>
                    <a:pt x="318" y="580"/>
                  </a:lnTo>
                  <a:lnTo>
                    <a:pt x="338" y="567"/>
                  </a:lnTo>
                  <a:lnTo>
                    <a:pt x="344" y="580"/>
                  </a:lnTo>
                  <a:lnTo>
                    <a:pt x="363" y="557"/>
                  </a:lnTo>
                  <a:lnTo>
                    <a:pt x="368" y="557"/>
                  </a:lnTo>
                  <a:lnTo>
                    <a:pt x="382" y="567"/>
                  </a:lnTo>
                  <a:lnTo>
                    <a:pt x="400" y="567"/>
                  </a:lnTo>
                  <a:lnTo>
                    <a:pt x="400" y="546"/>
                  </a:lnTo>
                  <a:lnTo>
                    <a:pt x="400" y="536"/>
                  </a:lnTo>
                  <a:lnTo>
                    <a:pt x="400" y="523"/>
                  </a:lnTo>
                  <a:lnTo>
                    <a:pt x="400" y="513"/>
                  </a:lnTo>
                  <a:lnTo>
                    <a:pt x="394" y="513"/>
                  </a:lnTo>
                  <a:lnTo>
                    <a:pt x="413" y="502"/>
                  </a:lnTo>
                  <a:lnTo>
                    <a:pt x="418" y="513"/>
                  </a:lnTo>
                  <a:lnTo>
                    <a:pt x="426" y="513"/>
                  </a:lnTo>
                  <a:lnTo>
                    <a:pt x="437" y="513"/>
                  </a:lnTo>
                  <a:lnTo>
                    <a:pt x="426" y="490"/>
                  </a:lnTo>
                  <a:lnTo>
                    <a:pt x="437" y="479"/>
                  </a:lnTo>
                  <a:lnTo>
                    <a:pt x="475" y="490"/>
                  </a:lnTo>
                  <a:lnTo>
                    <a:pt x="506" y="502"/>
                  </a:lnTo>
                  <a:lnTo>
                    <a:pt x="532" y="523"/>
                  </a:lnTo>
                  <a:lnTo>
                    <a:pt x="543" y="523"/>
                  </a:lnTo>
                  <a:lnTo>
                    <a:pt x="543" y="546"/>
                  </a:lnTo>
                  <a:lnTo>
                    <a:pt x="557" y="490"/>
                  </a:lnTo>
                  <a:lnTo>
                    <a:pt x="543" y="434"/>
                  </a:lnTo>
                  <a:lnTo>
                    <a:pt x="582" y="423"/>
                  </a:lnTo>
                  <a:lnTo>
                    <a:pt x="582" y="390"/>
                  </a:lnTo>
                  <a:lnTo>
                    <a:pt x="588" y="346"/>
                  </a:lnTo>
                  <a:lnTo>
                    <a:pt x="631" y="346"/>
                  </a:lnTo>
                  <a:lnTo>
                    <a:pt x="638" y="29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50" name="Freeform 1114"/>
            <p:cNvSpPr>
              <a:spLocks/>
            </p:cNvSpPr>
            <p:nvPr>
              <p:custDataLst>
                <p:tags r:id="rId944"/>
              </p:custDataLst>
            </p:nvPr>
          </p:nvSpPr>
          <p:spPr bwMode="auto">
            <a:xfrm>
              <a:off x="5439023" y="2936875"/>
              <a:ext cx="952500" cy="460375"/>
            </a:xfrm>
            <a:custGeom>
              <a:avLst/>
              <a:gdLst>
                <a:gd name="T0" fmla="*/ 2147483647 w 651"/>
                <a:gd name="T1" fmla="*/ 2147483647 h 580"/>
                <a:gd name="T2" fmla="*/ 2147483647 w 651"/>
                <a:gd name="T3" fmla="*/ 2147483647 h 580"/>
                <a:gd name="T4" fmla="*/ 2147483647 w 651"/>
                <a:gd name="T5" fmla="*/ 2147483647 h 580"/>
                <a:gd name="T6" fmla="*/ 2147483647 w 651"/>
                <a:gd name="T7" fmla="*/ 2147483647 h 580"/>
                <a:gd name="T8" fmla="*/ 2147483647 w 651"/>
                <a:gd name="T9" fmla="*/ 2147483647 h 580"/>
                <a:gd name="T10" fmla="*/ 2147483647 w 651"/>
                <a:gd name="T11" fmla="*/ 2147483647 h 580"/>
                <a:gd name="T12" fmla="*/ 2147483647 w 651"/>
                <a:gd name="T13" fmla="*/ 2147483647 h 580"/>
                <a:gd name="T14" fmla="*/ 2147483647 w 651"/>
                <a:gd name="T15" fmla="*/ 2147483647 h 580"/>
                <a:gd name="T16" fmla="*/ 2147483647 w 651"/>
                <a:gd name="T17" fmla="*/ 2147483647 h 580"/>
                <a:gd name="T18" fmla="*/ 2147483647 w 651"/>
                <a:gd name="T19" fmla="*/ 2147483647 h 580"/>
                <a:gd name="T20" fmla="*/ 2147483647 w 651"/>
                <a:gd name="T21" fmla="*/ 2147483647 h 580"/>
                <a:gd name="T22" fmla="*/ 2147483647 w 651"/>
                <a:gd name="T23" fmla="*/ 2147483647 h 580"/>
                <a:gd name="T24" fmla="*/ 2147483647 w 651"/>
                <a:gd name="T25" fmla="*/ 2147483647 h 580"/>
                <a:gd name="T26" fmla="*/ 2147483647 w 651"/>
                <a:gd name="T27" fmla="*/ 2147483647 h 580"/>
                <a:gd name="T28" fmla="*/ 2147483647 w 651"/>
                <a:gd name="T29" fmla="*/ 2147483647 h 580"/>
                <a:gd name="T30" fmla="*/ 2147483647 w 651"/>
                <a:gd name="T31" fmla="*/ 2147483647 h 580"/>
                <a:gd name="T32" fmla="*/ 2147483647 w 651"/>
                <a:gd name="T33" fmla="*/ 2147483647 h 580"/>
                <a:gd name="T34" fmla="*/ 2147483647 w 651"/>
                <a:gd name="T35" fmla="*/ 2147483647 h 580"/>
                <a:gd name="T36" fmla="*/ 2147483647 w 651"/>
                <a:gd name="T37" fmla="*/ 2147483647 h 580"/>
                <a:gd name="T38" fmla="*/ 2147483647 w 651"/>
                <a:gd name="T39" fmla="*/ 2147483647 h 580"/>
                <a:gd name="T40" fmla="*/ 2147483647 w 651"/>
                <a:gd name="T41" fmla="*/ 2147483647 h 580"/>
                <a:gd name="T42" fmla="*/ 0 w 651"/>
                <a:gd name="T43" fmla="*/ 2147483647 h 580"/>
                <a:gd name="T44" fmla="*/ 2147483647 w 651"/>
                <a:gd name="T45" fmla="*/ 2147483647 h 580"/>
                <a:gd name="T46" fmla="*/ 2147483647 w 651"/>
                <a:gd name="T47" fmla="*/ 2147483647 h 580"/>
                <a:gd name="T48" fmla="*/ 2147483647 w 651"/>
                <a:gd name="T49" fmla="*/ 2147483647 h 580"/>
                <a:gd name="T50" fmla="*/ 2147483647 w 651"/>
                <a:gd name="T51" fmla="*/ 2147483647 h 580"/>
                <a:gd name="T52" fmla="*/ 2147483647 w 651"/>
                <a:gd name="T53" fmla="*/ 2147483647 h 580"/>
                <a:gd name="T54" fmla="*/ 2147483647 w 651"/>
                <a:gd name="T55" fmla="*/ 2147483647 h 580"/>
                <a:gd name="T56" fmla="*/ 2147483647 w 651"/>
                <a:gd name="T57" fmla="*/ 2147483647 h 580"/>
                <a:gd name="T58" fmla="*/ 2147483647 w 651"/>
                <a:gd name="T59" fmla="*/ 2147483647 h 580"/>
                <a:gd name="T60" fmla="*/ 2147483647 w 651"/>
                <a:gd name="T61" fmla="*/ 2147483647 h 580"/>
                <a:gd name="T62" fmla="*/ 2147483647 w 651"/>
                <a:gd name="T63" fmla="*/ 2147483647 h 580"/>
                <a:gd name="T64" fmla="*/ 2147483647 w 651"/>
                <a:gd name="T65" fmla="*/ 2147483647 h 580"/>
                <a:gd name="T66" fmla="*/ 2147483647 w 651"/>
                <a:gd name="T67" fmla="*/ 2147483647 h 580"/>
                <a:gd name="T68" fmla="*/ 2147483647 w 651"/>
                <a:gd name="T69" fmla="*/ 2147483647 h 580"/>
                <a:gd name="T70" fmla="*/ 2147483647 w 651"/>
                <a:gd name="T71" fmla="*/ 2147483647 h 580"/>
                <a:gd name="T72" fmla="*/ 2147483647 w 651"/>
                <a:gd name="T73" fmla="*/ 2147483647 h 580"/>
                <a:gd name="T74" fmla="*/ 2147483647 w 651"/>
                <a:gd name="T75" fmla="*/ 2147483647 h 580"/>
                <a:gd name="T76" fmla="*/ 2147483647 w 651"/>
                <a:gd name="T77" fmla="*/ 2147483647 h 580"/>
                <a:gd name="T78" fmla="*/ 2147483647 w 651"/>
                <a:gd name="T79" fmla="*/ 2147483647 h 580"/>
                <a:gd name="T80" fmla="*/ 2147483647 w 651"/>
                <a:gd name="T81" fmla="*/ 2147483647 h 580"/>
                <a:gd name="T82" fmla="*/ 2147483647 w 651"/>
                <a:gd name="T83" fmla="*/ 2147483647 h 580"/>
                <a:gd name="T84" fmla="*/ 2147483647 w 651"/>
                <a:gd name="T85" fmla="*/ 2147483647 h 580"/>
                <a:gd name="T86" fmla="*/ 2147483647 w 651"/>
                <a:gd name="T87" fmla="*/ 2147483647 h 580"/>
                <a:gd name="T88" fmla="*/ 2147483647 w 651"/>
                <a:gd name="T89" fmla="*/ 2147483647 h 580"/>
                <a:gd name="T90" fmla="*/ 2147483647 w 651"/>
                <a:gd name="T91" fmla="*/ 2147483647 h 580"/>
                <a:gd name="T92" fmla="*/ 2147483647 w 651"/>
                <a:gd name="T93" fmla="*/ 2147483647 h 580"/>
                <a:gd name="T94" fmla="*/ 2147483647 w 651"/>
                <a:gd name="T95" fmla="*/ 2147483647 h 580"/>
                <a:gd name="T96" fmla="*/ 2147483647 w 651"/>
                <a:gd name="T97" fmla="*/ 2147483647 h 580"/>
                <a:gd name="T98" fmla="*/ 2147483647 w 651"/>
                <a:gd name="T99" fmla="*/ 2147483647 h 580"/>
                <a:gd name="T100" fmla="*/ 2147483647 w 651"/>
                <a:gd name="T101" fmla="*/ 2147483647 h 5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51" h="580">
                  <a:moveTo>
                    <a:pt x="638" y="290"/>
                  </a:moveTo>
                  <a:lnTo>
                    <a:pt x="651" y="281"/>
                  </a:lnTo>
                  <a:lnTo>
                    <a:pt x="619" y="235"/>
                  </a:lnTo>
                  <a:lnTo>
                    <a:pt x="593" y="256"/>
                  </a:lnTo>
                  <a:lnTo>
                    <a:pt x="569" y="235"/>
                  </a:lnTo>
                  <a:lnTo>
                    <a:pt x="557" y="223"/>
                  </a:lnTo>
                  <a:lnTo>
                    <a:pt x="543" y="223"/>
                  </a:lnTo>
                  <a:lnTo>
                    <a:pt x="532" y="202"/>
                  </a:lnTo>
                  <a:lnTo>
                    <a:pt x="532" y="179"/>
                  </a:lnTo>
                  <a:lnTo>
                    <a:pt x="519" y="179"/>
                  </a:lnTo>
                  <a:lnTo>
                    <a:pt x="506" y="179"/>
                  </a:lnTo>
                  <a:lnTo>
                    <a:pt x="501" y="190"/>
                  </a:lnTo>
                  <a:lnTo>
                    <a:pt x="482" y="158"/>
                  </a:lnTo>
                  <a:lnTo>
                    <a:pt x="475" y="158"/>
                  </a:lnTo>
                  <a:lnTo>
                    <a:pt x="469" y="167"/>
                  </a:lnTo>
                  <a:lnTo>
                    <a:pt x="456" y="167"/>
                  </a:lnTo>
                  <a:lnTo>
                    <a:pt x="444" y="146"/>
                  </a:lnTo>
                  <a:lnTo>
                    <a:pt x="413" y="100"/>
                  </a:lnTo>
                  <a:lnTo>
                    <a:pt x="387" y="69"/>
                  </a:lnTo>
                  <a:lnTo>
                    <a:pt x="376" y="35"/>
                  </a:lnTo>
                  <a:lnTo>
                    <a:pt x="350" y="69"/>
                  </a:lnTo>
                  <a:lnTo>
                    <a:pt x="344" y="46"/>
                  </a:lnTo>
                  <a:lnTo>
                    <a:pt x="307" y="46"/>
                  </a:lnTo>
                  <a:lnTo>
                    <a:pt x="300" y="46"/>
                  </a:lnTo>
                  <a:lnTo>
                    <a:pt x="281" y="0"/>
                  </a:lnTo>
                  <a:lnTo>
                    <a:pt x="262" y="0"/>
                  </a:lnTo>
                  <a:lnTo>
                    <a:pt x="257" y="23"/>
                  </a:lnTo>
                  <a:lnTo>
                    <a:pt x="231" y="35"/>
                  </a:lnTo>
                  <a:lnTo>
                    <a:pt x="225" y="23"/>
                  </a:lnTo>
                  <a:lnTo>
                    <a:pt x="207" y="46"/>
                  </a:lnTo>
                  <a:lnTo>
                    <a:pt x="200" y="46"/>
                  </a:lnTo>
                  <a:lnTo>
                    <a:pt x="169" y="56"/>
                  </a:lnTo>
                  <a:lnTo>
                    <a:pt x="157" y="46"/>
                  </a:lnTo>
                  <a:lnTo>
                    <a:pt x="157" y="56"/>
                  </a:lnTo>
                  <a:lnTo>
                    <a:pt x="169" y="91"/>
                  </a:lnTo>
                  <a:lnTo>
                    <a:pt x="157" y="114"/>
                  </a:lnTo>
                  <a:lnTo>
                    <a:pt x="162" y="135"/>
                  </a:lnTo>
                  <a:lnTo>
                    <a:pt x="162" y="146"/>
                  </a:lnTo>
                  <a:lnTo>
                    <a:pt x="174" y="146"/>
                  </a:lnTo>
                  <a:lnTo>
                    <a:pt x="182" y="167"/>
                  </a:lnTo>
                  <a:lnTo>
                    <a:pt x="182" y="190"/>
                  </a:lnTo>
                  <a:lnTo>
                    <a:pt x="174" y="190"/>
                  </a:lnTo>
                  <a:lnTo>
                    <a:pt x="169" y="179"/>
                  </a:lnTo>
                  <a:lnTo>
                    <a:pt x="162" y="190"/>
                  </a:lnTo>
                  <a:lnTo>
                    <a:pt x="157" y="190"/>
                  </a:lnTo>
                  <a:lnTo>
                    <a:pt x="143" y="179"/>
                  </a:lnTo>
                  <a:lnTo>
                    <a:pt x="143" y="167"/>
                  </a:lnTo>
                  <a:lnTo>
                    <a:pt x="132" y="167"/>
                  </a:lnTo>
                  <a:lnTo>
                    <a:pt x="132" y="179"/>
                  </a:lnTo>
                  <a:lnTo>
                    <a:pt x="124" y="167"/>
                  </a:lnTo>
                  <a:lnTo>
                    <a:pt x="113" y="179"/>
                  </a:lnTo>
                  <a:lnTo>
                    <a:pt x="93" y="190"/>
                  </a:lnTo>
                  <a:lnTo>
                    <a:pt x="93" y="179"/>
                  </a:lnTo>
                  <a:lnTo>
                    <a:pt x="87" y="167"/>
                  </a:lnTo>
                  <a:lnTo>
                    <a:pt x="69" y="158"/>
                  </a:lnTo>
                  <a:lnTo>
                    <a:pt x="44" y="158"/>
                  </a:lnTo>
                  <a:lnTo>
                    <a:pt x="32" y="158"/>
                  </a:lnTo>
                  <a:lnTo>
                    <a:pt x="32" y="167"/>
                  </a:lnTo>
                  <a:lnTo>
                    <a:pt x="24" y="167"/>
                  </a:lnTo>
                  <a:lnTo>
                    <a:pt x="24" y="179"/>
                  </a:lnTo>
                  <a:lnTo>
                    <a:pt x="18" y="202"/>
                  </a:lnTo>
                  <a:lnTo>
                    <a:pt x="18" y="212"/>
                  </a:lnTo>
                  <a:lnTo>
                    <a:pt x="13" y="223"/>
                  </a:lnTo>
                  <a:lnTo>
                    <a:pt x="13" y="202"/>
                  </a:lnTo>
                  <a:lnTo>
                    <a:pt x="6" y="202"/>
                  </a:lnTo>
                  <a:lnTo>
                    <a:pt x="0" y="235"/>
                  </a:lnTo>
                  <a:lnTo>
                    <a:pt x="0" y="246"/>
                  </a:lnTo>
                  <a:lnTo>
                    <a:pt x="0" y="267"/>
                  </a:lnTo>
                  <a:lnTo>
                    <a:pt x="6" y="281"/>
                  </a:lnTo>
                  <a:lnTo>
                    <a:pt x="6" y="290"/>
                  </a:lnTo>
                  <a:lnTo>
                    <a:pt x="6" y="311"/>
                  </a:lnTo>
                  <a:lnTo>
                    <a:pt x="13" y="302"/>
                  </a:lnTo>
                  <a:lnTo>
                    <a:pt x="24" y="290"/>
                  </a:lnTo>
                  <a:lnTo>
                    <a:pt x="32" y="302"/>
                  </a:lnTo>
                  <a:lnTo>
                    <a:pt x="37" y="325"/>
                  </a:lnTo>
                  <a:lnTo>
                    <a:pt x="44" y="335"/>
                  </a:lnTo>
                  <a:lnTo>
                    <a:pt x="50" y="369"/>
                  </a:lnTo>
                  <a:lnTo>
                    <a:pt x="63" y="356"/>
                  </a:lnTo>
                  <a:lnTo>
                    <a:pt x="82" y="356"/>
                  </a:lnTo>
                  <a:lnTo>
                    <a:pt x="119" y="346"/>
                  </a:lnTo>
                  <a:lnTo>
                    <a:pt x="124" y="369"/>
                  </a:lnTo>
                  <a:lnTo>
                    <a:pt x="124" y="400"/>
                  </a:lnTo>
                  <a:lnTo>
                    <a:pt x="113" y="413"/>
                  </a:lnTo>
                  <a:lnTo>
                    <a:pt x="93" y="423"/>
                  </a:lnTo>
                  <a:lnTo>
                    <a:pt x="100" y="446"/>
                  </a:lnTo>
                  <a:lnTo>
                    <a:pt x="74" y="446"/>
                  </a:lnTo>
                  <a:lnTo>
                    <a:pt x="93" y="502"/>
                  </a:lnTo>
                  <a:lnTo>
                    <a:pt x="106" y="513"/>
                  </a:lnTo>
                  <a:lnTo>
                    <a:pt x="119" y="513"/>
                  </a:lnTo>
                  <a:lnTo>
                    <a:pt x="119" y="536"/>
                  </a:lnTo>
                  <a:lnTo>
                    <a:pt x="124" y="523"/>
                  </a:lnTo>
                  <a:lnTo>
                    <a:pt x="143" y="523"/>
                  </a:lnTo>
                  <a:lnTo>
                    <a:pt x="150" y="536"/>
                  </a:lnTo>
                  <a:lnTo>
                    <a:pt x="157" y="546"/>
                  </a:lnTo>
                  <a:lnTo>
                    <a:pt x="162" y="536"/>
                  </a:lnTo>
                  <a:lnTo>
                    <a:pt x="174" y="536"/>
                  </a:lnTo>
                  <a:lnTo>
                    <a:pt x="157" y="413"/>
                  </a:lnTo>
                  <a:lnTo>
                    <a:pt x="162" y="400"/>
                  </a:lnTo>
                  <a:lnTo>
                    <a:pt x="188" y="379"/>
                  </a:lnTo>
                  <a:lnTo>
                    <a:pt x="193" y="379"/>
                  </a:lnTo>
                  <a:lnTo>
                    <a:pt x="188" y="356"/>
                  </a:lnTo>
                  <a:lnTo>
                    <a:pt x="193" y="369"/>
                  </a:lnTo>
                  <a:lnTo>
                    <a:pt x="193" y="356"/>
                  </a:lnTo>
                  <a:lnTo>
                    <a:pt x="200" y="346"/>
                  </a:lnTo>
                  <a:lnTo>
                    <a:pt x="207" y="346"/>
                  </a:lnTo>
                  <a:lnTo>
                    <a:pt x="212" y="356"/>
                  </a:lnTo>
                  <a:lnTo>
                    <a:pt x="219" y="346"/>
                  </a:lnTo>
                  <a:lnTo>
                    <a:pt x="225" y="346"/>
                  </a:lnTo>
                  <a:lnTo>
                    <a:pt x="219" y="369"/>
                  </a:lnTo>
                  <a:lnTo>
                    <a:pt x="225" y="400"/>
                  </a:lnTo>
                  <a:lnTo>
                    <a:pt x="238" y="413"/>
                  </a:lnTo>
                  <a:lnTo>
                    <a:pt x="238" y="423"/>
                  </a:lnTo>
                  <a:lnTo>
                    <a:pt x="231" y="434"/>
                  </a:lnTo>
                  <a:lnTo>
                    <a:pt x="238" y="446"/>
                  </a:lnTo>
                  <a:lnTo>
                    <a:pt x="249" y="457"/>
                  </a:lnTo>
                  <a:lnTo>
                    <a:pt x="257" y="467"/>
                  </a:lnTo>
                  <a:lnTo>
                    <a:pt x="275" y="467"/>
                  </a:lnTo>
                  <a:lnTo>
                    <a:pt x="288" y="457"/>
                  </a:lnTo>
                  <a:lnTo>
                    <a:pt x="307" y="513"/>
                  </a:lnTo>
                  <a:lnTo>
                    <a:pt x="313" y="536"/>
                  </a:lnTo>
                  <a:lnTo>
                    <a:pt x="307" y="546"/>
                  </a:lnTo>
                  <a:lnTo>
                    <a:pt x="300" y="557"/>
                  </a:lnTo>
                  <a:lnTo>
                    <a:pt x="318" y="567"/>
                  </a:lnTo>
                  <a:lnTo>
                    <a:pt x="318" y="580"/>
                  </a:lnTo>
                  <a:lnTo>
                    <a:pt x="338" y="567"/>
                  </a:lnTo>
                  <a:lnTo>
                    <a:pt x="344" y="580"/>
                  </a:lnTo>
                  <a:lnTo>
                    <a:pt x="363" y="557"/>
                  </a:lnTo>
                  <a:lnTo>
                    <a:pt x="368" y="557"/>
                  </a:lnTo>
                  <a:lnTo>
                    <a:pt x="382" y="567"/>
                  </a:lnTo>
                  <a:lnTo>
                    <a:pt x="400" y="567"/>
                  </a:lnTo>
                  <a:lnTo>
                    <a:pt x="400" y="546"/>
                  </a:lnTo>
                  <a:lnTo>
                    <a:pt x="400" y="536"/>
                  </a:lnTo>
                  <a:lnTo>
                    <a:pt x="400" y="523"/>
                  </a:lnTo>
                  <a:lnTo>
                    <a:pt x="400" y="513"/>
                  </a:lnTo>
                  <a:lnTo>
                    <a:pt x="394" y="513"/>
                  </a:lnTo>
                  <a:lnTo>
                    <a:pt x="413" y="502"/>
                  </a:lnTo>
                  <a:lnTo>
                    <a:pt x="418" y="513"/>
                  </a:lnTo>
                  <a:lnTo>
                    <a:pt x="426" y="513"/>
                  </a:lnTo>
                  <a:lnTo>
                    <a:pt x="437" y="513"/>
                  </a:lnTo>
                  <a:lnTo>
                    <a:pt x="426" y="490"/>
                  </a:lnTo>
                  <a:lnTo>
                    <a:pt x="437" y="479"/>
                  </a:lnTo>
                  <a:lnTo>
                    <a:pt x="475" y="490"/>
                  </a:lnTo>
                  <a:lnTo>
                    <a:pt x="506" y="502"/>
                  </a:lnTo>
                  <a:lnTo>
                    <a:pt x="532" y="523"/>
                  </a:lnTo>
                  <a:lnTo>
                    <a:pt x="543" y="523"/>
                  </a:lnTo>
                  <a:lnTo>
                    <a:pt x="543" y="546"/>
                  </a:lnTo>
                  <a:lnTo>
                    <a:pt x="557" y="490"/>
                  </a:lnTo>
                  <a:lnTo>
                    <a:pt x="543" y="434"/>
                  </a:lnTo>
                  <a:lnTo>
                    <a:pt x="582" y="423"/>
                  </a:lnTo>
                  <a:lnTo>
                    <a:pt x="582" y="390"/>
                  </a:lnTo>
                  <a:lnTo>
                    <a:pt x="588" y="346"/>
                  </a:lnTo>
                  <a:lnTo>
                    <a:pt x="631" y="346"/>
                  </a:lnTo>
                  <a:lnTo>
                    <a:pt x="638" y="29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51" name="Freeform 1115"/>
            <p:cNvSpPr>
              <a:spLocks/>
            </p:cNvSpPr>
            <p:nvPr>
              <p:custDataLst>
                <p:tags r:id="rId945"/>
              </p:custDataLst>
            </p:nvPr>
          </p:nvSpPr>
          <p:spPr bwMode="auto">
            <a:xfrm>
              <a:off x="5439023" y="2936875"/>
              <a:ext cx="952500" cy="460375"/>
            </a:xfrm>
            <a:custGeom>
              <a:avLst/>
              <a:gdLst>
                <a:gd name="T0" fmla="*/ 2147483647 w 651"/>
                <a:gd name="T1" fmla="*/ 2147483647 h 580"/>
                <a:gd name="T2" fmla="*/ 2147483647 w 651"/>
                <a:gd name="T3" fmla="*/ 2147483647 h 580"/>
                <a:gd name="T4" fmla="*/ 2147483647 w 651"/>
                <a:gd name="T5" fmla="*/ 2147483647 h 580"/>
                <a:gd name="T6" fmla="*/ 2147483647 w 651"/>
                <a:gd name="T7" fmla="*/ 2147483647 h 580"/>
                <a:gd name="T8" fmla="*/ 2147483647 w 651"/>
                <a:gd name="T9" fmla="*/ 2147483647 h 580"/>
                <a:gd name="T10" fmla="*/ 2147483647 w 651"/>
                <a:gd name="T11" fmla="*/ 2147483647 h 580"/>
                <a:gd name="T12" fmla="*/ 2147483647 w 651"/>
                <a:gd name="T13" fmla="*/ 2147483647 h 580"/>
                <a:gd name="T14" fmla="*/ 2147483647 w 651"/>
                <a:gd name="T15" fmla="*/ 2147483647 h 580"/>
                <a:gd name="T16" fmla="*/ 2147483647 w 651"/>
                <a:gd name="T17" fmla="*/ 2147483647 h 580"/>
                <a:gd name="T18" fmla="*/ 2147483647 w 651"/>
                <a:gd name="T19" fmla="*/ 2147483647 h 580"/>
                <a:gd name="T20" fmla="*/ 2147483647 w 651"/>
                <a:gd name="T21" fmla="*/ 2147483647 h 580"/>
                <a:gd name="T22" fmla="*/ 2147483647 w 651"/>
                <a:gd name="T23" fmla="*/ 2147483647 h 580"/>
                <a:gd name="T24" fmla="*/ 2147483647 w 651"/>
                <a:gd name="T25" fmla="*/ 2147483647 h 580"/>
                <a:gd name="T26" fmla="*/ 2147483647 w 651"/>
                <a:gd name="T27" fmla="*/ 2147483647 h 580"/>
                <a:gd name="T28" fmla="*/ 2147483647 w 651"/>
                <a:gd name="T29" fmla="*/ 2147483647 h 580"/>
                <a:gd name="T30" fmla="*/ 2147483647 w 651"/>
                <a:gd name="T31" fmla="*/ 2147483647 h 580"/>
                <a:gd name="T32" fmla="*/ 2147483647 w 651"/>
                <a:gd name="T33" fmla="*/ 2147483647 h 580"/>
                <a:gd name="T34" fmla="*/ 2147483647 w 651"/>
                <a:gd name="T35" fmla="*/ 2147483647 h 580"/>
                <a:gd name="T36" fmla="*/ 2147483647 w 651"/>
                <a:gd name="T37" fmla="*/ 2147483647 h 580"/>
                <a:gd name="T38" fmla="*/ 2147483647 w 651"/>
                <a:gd name="T39" fmla="*/ 2147483647 h 580"/>
                <a:gd name="T40" fmla="*/ 2147483647 w 651"/>
                <a:gd name="T41" fmla="*/ 2147483647 h 580"/>
                <a:gd name="T42" fmla="*/ 0 w 651"/>
                <a:gd name="T43" fmla="*/ 2147483647 h 580"/>
                <a:gd name="T44" fmla="*/ 2147483647 w 651"/>
                <a:gd name="T45" fmla="*/ 2147483647 h 580"/>
                <a:gd name="T46" fmla="*/ 2147483647 w 651"/>
                <a:gd name="T47" fmla="*/ 2147483647 h 580"/>
                <a:gd name="T48" fmla="*/ 2147483647 w 651"/>
                <a:gd name="T49" fmla="*/ 2147483647 h 580"/>
                <a:gd name="T50" fmla="*/ 2147483647 w 651"/>
                <a:gd name="T51" fmla="*/ 2147483647 h 580"/>
                <a:gd name="T52" fmla="*/ 2147483647 w 651"/>
                <a:gd name="T53" fmla="*/ 2147483647 h 580"/>
                <a:gd name="T54" fmla="*/ 2147483647 w 651"/>
                <a:gd name="T55" fmla="*/ 2147483647 h 580"/>
                <a:gd name="T56" fmla="*/ 2147483647 w 651"/>
                <a:gd name="T57" fmla="*/ 2147483647 h 580"/>
                <a:gd name="T58" fmla="*/ 2147483647 w 651"/>
                <a:gd name="T59" fmla="*/ 2147483647 h 580"/>
                <a:gd name="T60" fmla="*/ 2147483647 w 651"/>
                <a:gd name="T61" fmla="*/ 2147483647 h 580"/>
                <a:gd name="T62" fmla="*/ 2147483647 w 651"/>
                <a:gd name="T63" fmla="*/ 2147483647 h 580"/>
                <a:gd name="T64" fmla="*/ 2147483647 w 651"/>
                <a:gd name="T65" fmla="*/ 2147483647 h 580"/>
                <a:gd name="T66" fmla="*/ 2147483647 w 651"/>
                <a:gd name="T67" fmla="*/ 2147483647 h 580"/>
                <a:gd name="T68" fmla="*/ 2147483647 w 651"/>
                <a:gd name="T69" fmla="*/ 2147483647 h 580"/>
                <a:gd name="T70" fmla="*/ 2147483647 w 651"/>
                <a:gd name="T71" fmla="*/ 2147483647 h 580"/>
                <a:gd name="T72" fmla="*/ 2147483647 w 651"/>
                <a:gd name="T73" fmla="*/ 2147483647 h 580"/>
                <a:gd name="T74" fmla="*/ 2147483647 w 651"/>
                <a:gd name="T75" fmla="*/ 2147483647 h 580"/>
                <a:gd name="T76" fmla="*/ 2147483647 w 651"/>
                <a:gd name="T77" fmla="*/ 2147483647 h 580"/>
                <a:gd name="T78" fmla="*/ 2147483647 w 651"/>
                <a:gd name="T79" fmla="*/ 2147483647 h 580"/>
                <a:gd name="T80" fmla="*/ 2147483647 w 651"/>
                <a:gd name="T81" fmla="*/ 2147483647 h 580"/>
                <a:gd name="T82" fmla="*/ 2147483647 w 651"/>
                <a:gd name="T83" fmla="*/ 2147483647 h 580"/>
                <a:gd name="T84" fmla="*/ 2147483647 w 651"/>
                <a:gd name="T85" fmla="*/ 2147483647 h 580"/>
                <a:gd name="T86" fmla="*/ 2147483647 w 651"/>
                <a:gd name="T87" fmla="*/ 2147483647 h 580"/>
                <a:gd name="T88" fmla="*/ 2147483647 w 651"/>
                <a:gd name="T89" fmla="*/ 2147483647 h 580"/>
                <a:gd name="T90" fmla="*/ 2147483647 w 651"/>
                <a:gd name="T91" fmla="*/ 2147483647 h 580"/>
                <a:gd name="T92" fmla="*/ 2147483647 w 651"/>
                <a:gd name="T93" fmla="*/ 2147483647 h 580"/>
                <a:gd name="T94" fmla="*/ 2147483647 w 651"/>
                <a:gd name="T95" fmla="*/ 2147483647 h 580"/>
                <a:gd name="T96" fmla="*/ 2147483647 w 651"/>
                <a:gd name="T97" fmla="*/ 2147483647 h 580"/>
                <a:gd name="T98" fmla="*/ 2147483647 w 651"/>
                <a:gd name="T99" fmla="*/ 2147483647 h 580"/>
                <a:gd name="T100" fmla="*/ 2147483647 w 651"/>
                <a:gd name="T101" fmla="*/ 2147483647 h 5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51" h="580">
                  <a:moveTo>
                    <a:pt x="638" y="290"/>
                  </a:moveTo>
                  <a:lnTo>
                    <a:pt x="651" y="281"/>
                  </a:lnTo>
                  <a:lnTo>
                    <a:pt x="619" y="235"/>
                  </a:lnTo>
                  <a:lnTo>
                    <a:pt x="593" y="256"/>
                  </a:lnTo>
                  <a:lnTo>
                    <a:pt x="569" y="235"/>
                  </a:lnTo>
                  <a:lnTo>
                    <a:pt x="557" y="223"/>
                  </a:lnTo>
                  <a:lnTo>
                    <a:pt x="543" y="223"/>
                  </a:lnTo>
                  <a:lnTo>
                    <a:pt x="532" y="202"/>
                  </a:lnTo>
                  <a:lnTo>
                    <a:pt x="532" y="179"/>
                  </a:lnTo>
                  <a:lnTo>
                    <a:pt x="519" y="179"/>
                  </a:lnTo>
                  <a:lnTo>
                    <a:pt x="506" y="179"/>
                  </a:lnTo>
                  <a:lnTo>
                    <a:pt x="501" y="190"/>
                  </a:lnTo>
                  <a:lnTo>
                    <a:pt x="482" y="158"/>
                  </a:lnTo>
                  <a:lnTo>
                    <a:pt x="475" y="158"/>
                  </a:lnTo>
                  <a:lnTo>
                    <a:pt x="469" y="167"/>
                  </a:lnTo>
                  <a:lnTo>
                    <a:pt x="456" y="167"/>
                  </a:lnTo>
                  <a:lnTo>
                    <a:pt x="444" y="146"/>
                  </a:lnTo>
                  <a:lnTo>
                    <a:pt x="413" y="100"/>
                  </a:lnTo>
                  <a:lnTo>
                    <a:pt x="387" y="69"/>
                  </a:lnTo>
                  <a:lnTo>
                    <a:pt x="376" y="35"/>
                  </a:lnTo>
                  <a:lnTo>
                    <a:pt x="350" y="69"/>
                  </a:lnTo>
                  <a:lnTo>
                    <a:pt x="344" y="46"/>
                  </a:lnTo>
                  <a:lnTo>
                    <a:pt x="307" y="46"/>
                  </a:lnTo>
                  <a:lnTo>
                    <a:pt x="300" y="46"/>
                  </a:lnTo>
                  <a:lnTo>
                    <a:pt x="281" y="0"/>
                  </a:lnTo>
                  <a:lnTo>
                    <a:pt x="262" y="0"/>
                  </a:lnTo>
                  <a:lnTo>
                    <a:pt x="257" y="23"/>
                  </a:lnTo>
                  <a:lnTo>
                    <a:pt x="231" y="35"/>
                  </a:lnTo>
                  <a:lnTo>
                    <a:pt x="225" y="23"/>
                  </a:lnTo>
                  <a:lnTo>
                    <a:pt x="207" y="46"/>
                  </a:lnTo>
                  <a:lnTo>
                    <a:pt x="200" y="46"/>
                  </a:lnTo>
                  <a:lnTo>
                    <a:pt x="169" y="56"/>
                  </a:lnTo>
                  <a:lnTo>
                    <a:pt x="157" y="46"/>
                  </a:lnTo>
                  <a:lnTo>
                    <a:pt x="157" y="56"/>
                  </a:lnTo>
                  <a:lnTo>
                    <a:pt x="169" y="91"/>
                  </a:lnTo>
                  <a:lnTo>
                    <a:pt x="157" y="114"/>
                  </a:lnTo>
                  <a:lnTo>
                    <a:pt x="162" y="135"/>
                  </a:lnTo>
                  <a:lnTo>
                    <a:pt x="162" y="146"/>
                  </a:lnTo>
                  <a:lnTo>
                    <a:pt x="174" y="146"/>
                  </a:lnTo>
                  <a:lnTo>
                    <a:pt x="182" y="167"/>
                  </a:lnTo>
                  <a:lnTo>
                    <a:pt x="182" y="190"/>
                  </a:lnTo>
                  <a:lnTo>
                    <a:pt x="174" y="190"/>
                  </a:lnTo>
                  <a:lnTo>
                    <a:pt x="169" y="179"/>
                  </a:lnTo>
                  <a:lnTo>
                    <a:pt x="162" y="190"/>
                  </a:lnTo>
                  <a:lnTo>
                    <a:pt x="157" y="190"/>
                  </a:lnTo>
                  <a:lnTo>
                    <a:pt x="143" y="179"/>
                  </a:lnTo>
                  <a:lnTo>
                    <a:pt x="143" y="167"/>
                  </a:lnTo>
                  <a:lnTo>
                    <a:pt x="132" y="167"/>
                  </a:lnTo>
                  <a:lnTo>
                    <a:pt x="132" y="179"/>
                  </a:lnTo>
                  <a:lnTo>
                    <a:pt x="124" y="167"/>
                  </a:lnTo>
                  <a:lnTo>
                    <a:pt x="113" y="179"/>
                  </a:lnTo>
                  <a:lnTo>
                    <a:pt x="93" y="190"/>
                  </a:lnTo>
                  <a:lnTo>
                    <a:pt x="93" y="179"/>
                  </a:lnTo>
                  <a:lnTo>
                    <a:pt x="87" y="167"/>
                  </a:lnTo>
                  <a:lnTo>
                    <a:pt x="69" y="158"/>
                  </a:lnTo>
                  <a:lnTo>
                    <a:pt x="44" y="158"/>
                  </a:lnTo>
                  <a:lnTo>
                    <a:pt x="32" y="158"/>
                  </a:lnTo>
                  <a:lnTo>
                    <a:pt x="32" y="167"/>
                  </a:lnTo>
                  <a:lnTo>
                    <a:pt x="24" y="167"/>
                  </a:lnTo>
                  <a:lnTo>
                    <a:pt x="24" y="179"/>
                  </a:lnTo>
                  <a:lnTo>
                    <a:pt x="18" y="202"/>
                  </a:lnTo>
                  <a:lnTo>
                    <a:pt x="18" y="212"/>
                  </a:lnTo>
                  <a:lnTo>
                    <a:pt x="13" y="223"/>
                  </a:lnTo>
                  <a:lnTo>
                    <a:pt x="13" y="202"/>
                  </a:lnTo>
                  <a:lnTo>
                    <a:pt x="6" y="202"/>
                  </a:lnTo>
                  <a:lnTo>
                    <a:pt x="0" y="235"/>
                  </a:lnTo>
                  <a:lnTo>
                    <a:pt x="0" y="246"/>
                  </a:lnTo>
                  <a:lnTo>
                    <a:pt x="0" y="267"/>
                  </a:lnTo>
                  <a:lnTo>
                    <a:pt x="6" y="281"/>
                  </a:lnTo>
                  <a:lnTo>
                    <a:pt x="6" y="290"/>
                  </a:lnTo>
                  <a:lnTo>
                    <a:pt x="6" y="311"/>
                  </a:lnTo>
                  <a:lnTo>
                    <a:pt x="13" y="302"/>
                  </a:lnTo>
                  <a:lnTo>
                    <a:pt x="24" y="290"/>
                  </a:lnTo>
                  <a:lnTo>
                    <a:pt x="32" y="302"/>
                  </a:lnTo>
                  <a:lnTo>
                    <a:pt x="37" y="325"/>
                  </a:lnTo>
                  <a:lnTo>
                    <a:pt x="44" y="335"/>
                  </a:lnTo>
                  <a:lnTo>
                    <a:pt x="50" y="369"/>
                  </a:lnTo>
                  <a:lnTo>
                    <a:pt x="63" y="356"/>
                  </a:lnTo>
                  <a:lnTo>
                    <a:pt x="82" y="356"/>
                  </a:lnTo>
                  <a:lnTo>
                    <a:pt x="119" y="346"/>
                  </a:lnTo>
                  <a:lnTo>
                    <a:pt x="124" y="369"/>
                  </a:lnTo>
                  <a:lnTo>
                    <a:pt x="124" y="400"/>
                  </a:lnTo>
                  <a:lnTo>
                    <a:pt x="113" y="413"/>
                  </a:lnTo>
                  <a:lnTo>
                    <a:pt x="93" y="423"/>
                  </a:lnTo>
                  <a:lnTo>
                    <a:pt x="100" y="446"/>
                  </a:lnTo>
                  <a:lnTo>
                    <a:pt x="74" y="446"/>
                  </a:lnTo>
                  <a:lnTo>
                    <a:pt x="93" y="502"/>
                  </a:lnTo>
                  <a:lnTo>
                    <a:pt x="106" y="513"/>
                  </a:lnTo>
                  <a:lnTo>
                    <a:pt x="119" y="513"/>
                  </a:lnTo>
                  <a:lnTo>
                    <a:pt x="119" y="536"/>
                  </a:lnTo>
                  <a:lnTo>
                    <a:pt x="124" y="523"/>
                  </a:lnTo>
                  <a:lnTo>
                    <a:pt x="143" y="523"/>
                  </a:lnTo>
                  <a:lnTo>
                    <a:pt x="150" y="536"/>
                  </a:lnTo>
                  <a:lnTo>
                    <a:pt x="157" y="546"/>
                  </a:lnTo>
                  <a:lnTo>
                    <a:pt x="162" y="536"/>
                  </a:lnTo>
                  <a:lnTo>
                    <a:pt x="174" y="536"/>
                  </a:lnTo>
                  <a:lnTo>
                    <a:pt x="157" y="413"/>
                  </a:lnTo>
                  <a:lnTo>
                    <a:pt x="162" y="400"/>
                  </a:lnTo>
                  <a:lnTo>
                    <a:pt x="188" y="379"/>
                  </a:lnTo>
                  <a:lnTo>
                    <a:pt x="193" y="379"/>
                  </a:lnTo>
                  <a:lnTo>
                    <a:pt x="188" y="356"/>
                  </a:lnTo>
                  <a:lnTo>
                    <a:pt x="193" y="369"/>
                  </a:lnTo>
                  <a:lnTo>
                    <a:pt x="193" y="356"/>
                  </a:lnTo>
                  <a:lnTo>
                    <a:pt x="200" y="346"/>
                  </a:lnTo>
                  <a:lnTo>
                    <a:pt x="207" y="346"/>
                  </a:lnTo>
                  <a:lnTo>
                    <a:pt x="212" y="356"/>
                  </a:lnTo>
                  <a:lnTo>
                    <a:pt x="219" y="346"/>
                  </a:lnTo>
                  <a:lnTo>
                    <a:pt x="225" y="346"/>
                  </a:lnTo>
                  <a:lnTo>
                    <a:pt x="219" y="369"/>
                  </a:lnTo>
                  <a:lnTo>
                    <a:pt x="225" y="400"/>
                  </a:lnTo>
                  <a:lnTo>
                    <a:pt x="238" y="413"/>
                  </a:lnTo>
                  <a:lnTo>
                    <a:pt x="238" y="423"/>
                  </a:lnTo>
                  <a:lnTo>
                    <a:pt x="231" y="434"/>
                  </a:lnTo>
                  <a:lnTo>
                    <a:pt x="238" y="446"/>
                  </a:lnTo>
                  <a:lnTo>
                    <a:pt x="249" y="457"/>
                  </a:lnTo>
                  <a:lnTo>
                    <a:pt x="257" y="467"/>
                  </a:lnTo>
                  <a:lnTo>
                    <a:pt x="275" y="467"/>
                  </a:lnTo>
                  <a:lnTo>
                    <a:pt x="288" y="457"/>
                  </a:lnTo>
                  <a:lnTo>
                    <a:pt x="307" y="513"/>
                  </a:lnTo>
                  <a:lnTo>
                    <a:pt x="313" y="536"/>
                  </a:lnTo>
                  <a:lnTo>
                    <a:pt x="307" y="546"/>
                  </a:lnTo>
                  <a:lnTo>
                    <a:pt x="300" y="557"/>
                  </a:lnTo>
                  <a:lnTo>
                    <a:pt x="318" y="567"/>
                  </a:lnTo>
                  <a:lnTo>
                    <a:pt x="318" y="580"/>
                  </a:lnTo>
                  <a:lnTo>
                    <a:pt x="338" y="567"/>
                  </a:lnTo>
                  <a:lnTo>
                    <a:pt x="344" y="580"/>
                  </a:lnTo>
                  <a:lnTo>
                    <a:pt x="363" y="557"/>
                  </a:lnTo>
                  <a:lnTo>
                    <a:pt x="368" y="557"/>
                  </a:lnTo>
                  <a:lnTo>
                    <a:pt x="382" y="567"/>
                  </a:lnTo>
                  <a:lnTo>
                    <a:pt x="400" y="567"/>
                  </a:lnTo>
                  <a:lnTo>
                    <a:pt x="400" y="546"/>
                  </a:lnTo>
                  <a:lnTo>
                    <a:pt x="400" y="536"/>
                  </a:lnTo>
                  <a:lnTo>
                    <a:pt x="400" y="523"/>
                  </a:lnTo>
                  <a:lnTo>
                    <a:pt x="400" y="513"/>
                  </a:lnTo>
                  <a:lnTo>
                    <a:pt x="394" y="513"/>
                  </a:lnTo>
                  <a:lnTo>
                    <a:pt x="413" y="502"/>
                  </a:lnTo>
                  <a:lnTo>
                    <a:pt x="418" y="513"/>
                  </a:lnTo>
                  <a:lnTo>
                    <a:pt x="426" y="513"/>
                  </a:lnTo>
                  <a:lnTo>
                    <a:pt x="437" y="513"/>
                  </a:lnTo>
                  <a:lnTo>
                    <a:pt x="426" y="490"/>
                  </a:lnTo>
                  <a:lnTo>
                    <a:pt x="437" y="479"/>
                  </a:lnTo>
                  <a:lnTo>
                    <a:pt x="475" y="490"/>
                  </a:lnTo>
                  <a:lnTo>
                    <a:pt x="506" y="502"/>
                  </a:lnTo>
                  <a:lnTo>
                    <a:pt x="532" y="523"/>
                  </a:lnTo>
                  <a:lnTo>
                    <a:pt x="543" y="523"/>
                  </a:lnTo>
                  <a:lnTo>
                    <a:pt x="543" y="546"/>
                  </a:lnTo>
                  <a:lnTo>
                    <a:pt x="557" y="490"/>
                  </a:lnTo>
                  <a:lnTo>
                    <a:pt x="543" y="434"/>
                  </a:lnTo>
                  <a:lnTo>
                    <a:pt x="582" y="423"/>
                  </a:lnTo>
                  <a:lnTo>
                    <a:pt x="582" y="390"/>
                  </a:lnTo>
                  <a:lnTo>
                    <a:pt x="588" y="346"/>
                  </a:lnTo>
                  <a:lnTo>
                    <a:pt x="631" y="346"/>
                  </a:lnTo>
                  <a:lnTo>
                    <a:pt x="638" y="29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52" name="Freeform 1116"/>
            <p:cNvSpPr>
              <a:spLocks/>
            </p:cNvSpPr>
            <p:nvPr>
              <p:custDataLst>
                <p:tags r:id="rId946"/>
              </p:custDataLst>
            </p:nvPr>
          </p:nvSpPr>
          <p:spPr bwMode="auto">
            <a:xfrm>
              <a:off x="5439023" y="2936875"/>
              <a:ext cx="952500" cy="460375"/>
            </a:xfrm>
            <a:custGeom>
              <a:avLst/>
              <a:gdLst>
                <a:gd name="T0" fmla="*/ 2147483647 w 651"/>
                <a:gd name="T1" fmla="*/ 2147483647 h 580"/>
                <a:gd name="T2" fmla="*/ 2147483647 w 651"/>
                <a:gd name="T3" fmla="*/ 2147483647 h 580"/>
                <a:gd name="T4" fmla="*/ 2147483647 w 651"/>
                <a:gd name="T5" fmla="*/ 2147483647 h 580"/>
                <a:gd name="T6" fmla="*/ 2147483647 w 651"/>
                <a:gd name="T7" fmla="*/ 2147483647 h 580"/>
                <a:gd name="T8" fmla="*/ 2147483647 w 651"/>
                <a:gd name="T9" fmla="*/ 2147483647 h 580"/>
                <a:gd name="T10" fmla="*/ 2147483647 w 651"/>
                <a:gd name="T11" fmla="*/ 2147483647 h 580"/>
                <a:gd name="T12" fmla="*/ 2147483647 w 651"/>
                <a:gd name="T13" fmla="*/ 2147483647 h 580"/>
                <a:gd name="T14" fmla="*/ 2147483647 w 651"/>
                <a:gd name="T15" fmla="*/ 2147483647 h 580"/>
                <a:gd name="T16" fmla="*/ 2147483647 w 651"/>
                <a:gd name="T17" fmla="*/ 2147483647 h 580"/>
                <a:gd name="T18" fmla="*/ 2147483647 w 651"/>
                <a:gd name="T19" fmla="*/ 2147483647 h 580"/>
                <a:gd name="T20" fmla="*/ 2147483647 w 651"/>
                <a:gd name="T21" fmla="*/ 2147483647 h 580"/>
                <a:gd name="T22" fmla="*/ 2147483647 w 651"/>
                <a:gd name="T23" fmla="*/ 2147483647 h 580"/>
                <a:gd name="T24" fmla="*/ 2147483647 w 651"/>
                <a:gd name="T25" fmla="*/ 2147483647 h 580"/>
                <a:gd name="T26" fmla="*/ 2147483647 w 651"/>
                <a:gd name="T27" fmla="*/ 2147483647 h 580"/>
                <a:gd name="T28" fmla="*/ 2147483647 w 651"/>
                <a:gd name="T29" fmla="*/ 2147483647 h 580"/>
                <a:gd name="T30" fmla="*/ 2147483647 w 651"/>
                <a:gd name="T31" fmla="*/ 2147483647 h 580"/>
                <a:gd name="T32" fmla="*/ 2147483647 w 651"/>
                <a:gd name="T33" fmla="*/ 2147483647 h 580"/>
                <a:gd name="T34" fmla="*/ 2147483647 w 651"/>
                <a:gd name="T35" fmla="*/ 2147483647 h 580"/>
                <a:gd name="T36" fmla="*/ 2147483647 w 651"/>
                <a:gd name="T37" fmla="*/ 2147483647 h 580"/>
                <a:gd name="T38" fmla="*/ 2147483647 w 651"/>
                <a:gd name="T39" fmla="*/ 2147483647 h 580"/>
                <a:gd name="T40" fmla="*/ 2147483647 w 651"/>
                <a:gd name="T41" fmla="*/ 2147483647 h 580"/>
                <a:gd name="T42" fmla="*/ 0 w 651"/>
                <a:gd name="T43" fmla="*/ 2147483647 h 580"/>
                <a:gd name="T44" fmla="*/ 2147483647 w 651"/>
                <a:gd name="T45" fmla="*/ 2147483647 h 580"/>
                <a:gd name="T46" fmla="*/ 2147483647 w 651"/>
                <a:gd name="T47" fmla="*/ 2147483647 h 580"/>
                <a:gd name="T48" fmla="*/ 2147483647 w 651"/>
                <a:gd name="T49" fmla="*/ 2147483647 h 580"/>
                <a:gd name="T50" fmla="*/ 2147483647 w 651"/>
                <a:gd name="T51" fmla="*/ 2147483647 h 580"/>
                <a:gd name="T52" fmla="*/ 2147483647 w 651"/>
                <a:gd name="T53" fmla="*/ 2147483647 h 580"/>
                <a:gd name="T54" fmla="*/ 2147483647 w 651"/>
                <a:gd name="T55" fmla="*/ 2147483647 h 580"/>
                <a:gd name="T56" fmla="*/ 2147483647 w 651"/>
                <a:gd name="T57" fmla="*/ 2147483647 h 580"/>
                <a:gd name="T58" fmla="*/ 2147483647 w 651"/>
                <a:gd name="T59" fmla="*/ 2147483647 h 580"/>
                <a:gd name="T60" fmla="*/ 2147483647 w 651"/>
                <a:gd name="T61" fmla="*/ 2147483647 h 580"/>
                <a:gd name="T62" fmla="*/ 2147483647 w 651"/>
                <a:gd name="T63" fmla="*/ 2147483647 h 580"/>
                <a:gd name="T64" fmla="*/ 2147483647 w 651"/>
                <a:gd name="T65" fmla="*/ 2147483647 h 580"/>
                <a:gd name="T66" fmla="*/ 2147483647 w 651"/>
                <a:gd name="T67" fmla="*/ 2147483647 h 580"/>
                <a:gd name="T68" fmla="*/ 2147483647 w 651"/>
                <a:gd name="T69" fmla="*/ 2147483647 h 580"/>
                <a:gd name="T70" fmla="*/ 2147483647 w 651"/>
                <a:gd name="T71" fmla="*/ 2147483647 h 580"/>
                <a:gd name="T72" fmla="*/ 2147483647 w 651"/>
                <a:gd name="T73" fmla="*/ 2147483647 h 580"/>
                <a:gd name="T74" fmla="*/ 2147483647 w 651"/>
                <a:gd name="T75" fmla="*/ 2147483647 h 580"/>
                <a:gd name="T76" fmla="*/ 2147483647 w 651"/>
                <a:gd name="T77" fmla="*/ 2147483647 h 580"/>
                <a:gd name="T78" fmla="*/ 2147483647 w 651"/>
                <a:gd name="T79" fmla="*/ 2147483647 h 580"/>
                <a:gd name="T80" fmla="*/ 2147483647 w 651"/>
                <a:gd name="T81" fmla="*/ 2147483647 h 580"/>
                <a:gd name="T82" fmla="*/ 2147483647 w 651"/>
                <a:gd name="T83" fmla="*/ 2147483647 h 580"/>
                <a:gd name="T84" fmla="*/ 2147483647 w 651"/>
                <a:gd name="T85" fmla="*/ 2147483647 h 580"/>
                <a:gd name="T86" fmla="*/ 2147483647 w 651"/>
                <a:gd name="T87" fmla="*/ 2147483647 h 580"/>
                <a:gd name="T88" fmla="*/ 2147483647 w 651"/>
                <a:gd name="T89" fmla="*/ 2147483647 h 580"/>
                <a:gd name="T90" fmla="*/ 2147483647 w 651"/>
                <a:gd name="T91" fmla="*/ 2147483647 h 580"/>
                <a:gd name="T92" fmla="*/ 2147483647 w 651"/>
                <a:gd name="T93" fmla="*/ 2147483647 h 580"/>
                <a:gd name="T94" fmla="*/ 2147483647 w 651"/>
                <a:gd name="T95" fmla="*/ 2147483647 h 580"/>
                <a:gd name="T96" fmla="*/ 2147483647 w 651"/>
                <a:gd name="T97" fmla="*/ 2147483647 h 580"/>
                <a:gd name="T98" fmla="*/ 2147483647 w 651"/>
                <a:gd name="T99" fmla="*/ 2147483647 h 580"/>
                <a:gd name="T100" fmla="*/ 2147483647 w 651"/>
                <a:gd name="T101" fmla="*/ 2147483647 h 5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51" h="580">
                  <a:moveTo>
                    <a:pt x="638" y="290"/>
                  </a:moveTo>
                  <a:lnTo>
                    <a:pt x="651" y="281"/>
                  </a:lnTo>
                  <a:lnTo>
                    <a:pt x="619" y="235"/>
                  </a:lnTo>
                  <a:lnTo>
                    <a:pt x="593" y="256"/>
                  </a:lnTo>
                  <a:lnTo>
                    <a:pt x="569" y="235"/>
                  </a:lnTo>
                  <a:lnTo>
                    <a:pt x="557" y="223"/>
                  </a:lnTo>
                  <a:lnTo>
                    <a:pt x="543" y="223"/>
                  </a:lnTo>
                  <a:lnTo>
                    <a:pt x="532" y="202"/>
                  </a:lnTo>
                  <a:lnTo>
                    <a:pt x="532" y="179"/>
                  </a:lnTo>
                  <a:lnTo>
                    <a:pt x="519" y="179"/>
                  </a:lnTo>
                  <a:lnTo>
                    <a:pt x="506" y="179"/>
                  </a:lnTo>
                  <a:lnTo>
                    <a:pt x="501" y="190"/>
                  </a:lnTo>
                  <a:lnTo>
                    <a:pt x="482" y="158"/>
                  </a:lnTo>
                  <a:lnTo>
                    <a:pt x="475" y="158"/>
                  </a:lnTo>
                  <a:lnTo>
                    <a:pt x="469" y="167"/>
                  </a:lnTo>
                  <a:lnTo>
                    <a:pt x="456" y="167"/>
                  </a:lnTo>
                  <a:lnTo>
                    <a:pt x="444" y="146"/>
                  </a:lnTo>
                  <a:lnTo>
                    <a:pt x="413" y="100"/>
                  </a:lnTo>
                  <a:lnTo>
                    <a:pt x="387" y="69"/>
                  </a:lnTo>
                  <a:lnTo>
                    <a:pt x="376" y="35"/>
                  </a:lnTo>
                  <a:lnTo>
                    <a:pt x="350" y="69"/>
                  </a:lnTo>
                  <a:lnTo>
                    <a:pt x="344" y="46"/>
                  </a:lnTo>
                  <a:lnTo>
                    <a:pt x="307" y="46"/>
                  </a:lnTo>
                  <a:lnTo>
                    <a:pt x="300" y="46"/>
                  </a:lnTo>
                  <a:lnTo>
                    <a:pt x="281" y="0"/>
                  </a:lnTo>
                  <a:lnTo>
                    <a:pt x="262" y="0"/>
                  </a:lnTo>
                  <a:lnTo>
                    <a:pt x="257" y="23"/>
                  </a:lnTo>
                  <a:lnTo>
                    <a:pt x="231" y="35"/>
                  </a:lnTo>
                  <a:lnTo>
                    <a:pt x="225" y="23"/>
                  </a:lnTo>
                  <a:lnTo>
                    <a:pt x="207" y="46"/>
                  </a:lnTo>
                  <a:lnTo>
                    <a:pt x="200" y="46"/>
                  </a:lnTo>
                  <a:lnTo>
                    <a:pt x="169" y="56"/>
                  </a:lnTo>
                  <a:lnTo>
                    <a:pt x="157" y="46"/>
                  </a:lnTo>
                  <a:lnTo>
                    <a:pt x="157" y="56"/>
                  </a:lnTo>
                  <a:lnTo>
                    <a:pt x="169" y="91"/>
                  </a:lnTo>
                  <a:lnTo>
                    <a:pt x="157" y="114"/>
                  </a:lnTo>
                  <a:lnTo>
                    <a:pt x="162" y="135"/>
                  </a:lnTo>
                  <a:lnTo>
                    <a:pt x="162" y="146"/>
                  </a:lnTo>
                  <a:lnTo>
                    <a:pt x="174" y="146"/>
                  </a:lnTo>
                  <a:lnTo>
                    <a:pt x="182" y="167"/>
                  </a:lnTo>
                  <a:lnTo>
                    <a:pt x="182" y="190"/>
                  </a:lnTo>
                  <a:lnTo>
                    <a:pt x="174" y="190"/>
                  </a:lnTo>
                  <a:lnTo>
                    <a:pt x="169" y="179"/>
                  </a:lnTo>
                  <a:lnTo>
                    <a:pt x="162" y="190"/>
                  </a:lnTo>
                  <a:lnTo>
                    <a:pt x="157" y="190"/>
                  </a:lnTo>
                  <a:lnTo>
                    <a:pt x="143" y="179"/>
                  </a:lnTo>
                  <a:lnTo>
                    <a:pt x="143" y="167"/>
                  </a:lnTo>
                  <a:lnTo>
                    <a:pt x="132" y="167"/>
                  </a:lnTo>
                  <a:lnTo>
                    <a:pt x="132" y="179"/>
                  </a:lnTo>
                  <a:lnTo>
                    <a:pt x="124" y="167"/>
                  </a:lnTo>
                  <a:lnTo>
                    <a:pt x="113" y="179"/>
                  </a:lnTo>
                  <a:lnTo>
                    <a:pt x="93" y="190"/>
                  </a:lnTo>
                  <a:lnTo>
                    <a:pt x="93" y="179"/>
                  </a:lnTo>
                  <a:lnTo>
                    <a:pt x="87" y="167"/>
                  </a:lnTo>
                  <a:lnTo>
                    <a:pt x="69" y="158"/>
                  </a:lnTo>
                  <a:lnTo>
                    <a:pt x="44" y="158"/>
                  </a:lnTo>
                  <a:lnTo>
                    <a:pt x="32" y="158"/>
                  </a:lnTo>
                  <a:lnTo>
                    <a:pt x="32" y="167"/>
                  </a:lnTo>
                  <a:lnTo>
                    <a:pt x="24" y="167"/>
                  </a:lnTo>
                  <a:lnTo>
                    <a:pt x="24" y="179"/>
                  </a:lnTo>
                  <a:lnTo>
                    <a:pt x="18" y="202"/>
                  </a:lnTo>
                  <a:lnTo>
                    <a:pt x="18" y="212"/>
                  </a:lnTo>
                  <a:lnTo>
                    <a:pt x="13" y="223"/>
                  </a:lnTo>
                  <a:lnTo>
                    <a:pt x="13" y="202"/>
                  </a:lnTo>
                  <a:lnTo>
                    <a:pt x="6" y="202"/>
                  </a:lnTo>
                  <a:lnTo>
                    <a:pt x="0" y="235"/>
                  </a:lnTo>
                  <a:lnTo>
                    <a:pt x="0" y="246"/>
                  </a:lnTo>
                  <a:lnTo>
                    <a:pt x="0" y="267"/>
                  </a:lnTo>
                  <a:lnTo>
                    <a:pt x="6" y="281"/>
                  </a:lnTo>
                  <a:lnTo>
                    <a:pt x="6" y="290"/>
                  </a:lnTo>
                  <a:lnTo>
                    <a:pt x="6" y="311"/>
                  </a:lnTo>
                  <a:lnTo>
                    <a:pt x="13" y="302"/>
                  </a:lnTo>
                  <a:lnTo>
                    <a:pt x="24" y="290"/>
                  </a:lnTo>
                  <a:lnTo>
                    <a:pt x="32" y="302"/>
                  </a:lnTo>
                  <a:lnTo>
                    <a:pt x="37" y="325"/>
                  </a:lnTo>
                  <a:lnTo>
                    <a:pt x="44" y="335"/>
                  </a:lnTo>
                  <a:lnTo>
                    <a:pt x="50" y="369"/>
                  </a:lnTo>
                  <a:lnTo>
                    <a:pt x="63" y="356"/>
                  </a:lnTo>
                  <a:lnTo>
                    <a:pt x="82" y="356"/>
                  </a:lnTo>
                  <a:lnTo>
                    <a:pt x="119" y="346"/>
                  </a:lnTo>
                  <a:lnTo>
                    <a:pt x="124" y="369"/>
                  </a:lnTo>
                  <a:lnTo>
                    <a:pt x="124" y="400"/>
                  </a:lnTo>
                  <a:lnTo>
                    <a:pt x="113" y="413"/>
                  </a:lnTo>
                  <a:lnTo>
                    <a:pt x="93" y="423"/>
                  </a:lnTo>
                  <a:lnTo>
                    <a:pt x="100" y="446"/>
                  </a:lnTo>
                  <a:lnTo>
                    <a:pt x="74" y="446"/>
                  </a:lnTo>
                  <a:lnTo>
                    <a:pt x="93" y="502"/>
                  </a:lnTo>
                  <a:lnTo>
                    <a:pt x="106" y="513"/>
                  </a:lnTo>
                  <a:lnTo>
                    <a:pt x="119" y="513"/>
                  </a:lnTo>
                  <a:lnTo>
                    <a:pt x="119" y="536"/>
                  </a:lnTo>
                  <a:lnTo>
                    <a:pt x="124" y="523"/>
                  </a:lnTo>
                  <a:lnTo>
                    <a:pt x="143" y="523"/>
                  </a:lnTo>
                  <a:lnTo>
                    <a:pt x="150" y="536"/>
                  </a:lnTo>
                  <a:lnTo>
                    <a:pt x="157" y="546"/>
                  </a:lnTo>
                  <a:lnTo>
                    <a:pt x="162" y="536"/>
                  </a:lnTo>
                  <a:lnTo>
                    <a:pt x="174" y="536"/>
                  </a:lnTo>
                  <a:lnTo>
                    <a:pt x="157" y="413"/>
                  </a:lnTo>
                  <a:lnTo>
                    <a:pt x="162" y="400"/>
                  </a:lnTo>
                  <a:lnTo>
                    <a:pt x="188" y="379"/>
                  </a:lnTo>
                  <a:lnTo>
                    <a:pt x="193" y="379"/>
                  </a:lnTo>
                  <a:lnTo>
                    <a:pt x="188" y="356"/>
                  </a:lnTo>
                  <a:lnTo>
                    <a:pt x="193" y="369"/>
                  </a:lnTo>
                  <a:lnTo>
                    <a:pt x="193" y="356"/>
                  </a:lnTo>
                  <a:lnTo>
                    <a:pt x="200" y="346"/>
                  </a:lnTo>
                  <a:lnTo>
                    <a:pt x="207" y="346"/>
                  </a:lnTo>
                  <a:lnTo>
                    <a:pt x="212" y="356"/>
                  </a:lnTo>
                  <a:lnTo>
                    <a:pt x="219" y="346"/>
                  </a:lnTo>
                  <a:lnTo>
                    <a:pt x="225" y="346"/>
                  </a:lnTo>
                  <a:lnTo>
                    <a:pt x="219" y="369"/>
                  </a:lnTo>
                  <a:lnTo>
                    <a:pt x="225" y="400"/>
                  </a:lnTo>
                  <a:lnTo>
                    <a:pt x="238" y="413"/>
                  </a:lnTo>
                  <a:lnTo>
                    <a:pt x="238" y="423"/>
                  </a:lnTo>
                  <a:lnTo>
                    <a:pt x="231" y="434"/>
                  </a:lnTo>
                  <a:lnTo>
                    <a:pt x="238" y="446"/>
                  </a:lnTo>
                  <a:lnTo>
                    <a:pt x="249" y="457"/>
                  </a:lnTo>
                  <a:lnTo>
                    <a:pt x="257" y="467"/>
                  </a:lnTo>
                  <a:lnTo>
                    <a:pt x="275" y="467"/>
                  </a:lnTo>
                  <a:lnTo>
                    <a:pt x="288" y="457"/>
                  </a:lnTo>
                  <a:lnTo>
                    <a:pt x="307" y="513"/>
                  </a:lnTo>
                  <a:lnTo>
                    <a:pt x="313" y="536"/>
                  </a:lnTo>
                  <a:lnTo>
                    <a:pt x="307" y="546"/>
                  </a:lnTo>
                  <a:lnTo>
                    <a:pt x="300" y="557"/>
                  </a:lnTo>
                  <a:lnTo>
                    <a:pt x="318" y="567"/>
                  </a:lnTo>
                  <a:lnTo>
                    <a:pt x="318" y="580"/>
                  </a:lnTo>
                  <a:lnTo>
                    <a:pt x="338" y="567"/>
                  </a:lnTo>
                  <a:lnTo>
                    <a:pt x="344" y="580"/>
                  </a:lnTo>
                  <a:lnTo>
                    <a:pt x="363" y="557"/>
                  </a:lnTo>
                  <a:lnTo>
                    <a:pt x="368" y="557"/>
                  </a:lnTo>
                  <a:lnTo>
                    <a:pt x="382" y="567"/>
                  </a:lnTo>
                  <a:lnTo>
                    <a:pt x="400" y="567"/>
                  </a:lnTo>
                  <a:lnTo>
                    <a:pt x="400" y="546"/>
                  </a:lnTo>
                  <a:lnTo>
                    <a:pt x="400" y="536"/>
                  </a:lnTo>
                  <a:lnTo>
                    <a:pt x="400" y="523"/>
                  </a:lnTo>
                  <a:lnTo>
                    <a:pt x="400" y="513"/>
                  </a:lnTo>
                  <a:lnTo>
                    <a:pt x="394" y="513"/>
                  </a:lnTo>
                  <a:lnTo>
                    <a:pt x="413" y="502"/>
                  </a:lnTo>
                  <a:lnTo>
                    <a:pt x="418" y="513"/>
                  </a:lnTo>
                  <a:lnTo>
                    <a:pt x="426" y="513"/>
                  </a:lnTo>
                  <a:lnTo>
                    <a:pt x="437" y="513"/>
                  </a:lnTo>
                  <a:lnTo>
                    <a:pt x="426" y="490"/>
                  </a:lnTo>
                  <a:lnTo>
                    <a:pt x="437" y="479"/>
                  </a:lnTo>
                  <a:lnTo>
                    <a:pt x="475" y="490"/>
                  </a:lnTo>
                  <a:lnTo>
                    <a:pt x="506" y="502"/>
                  </a:lnTo>
                  <a:lnTo>
                    <a:pt x="532" y="523"/>
                  </a:lnTo>
                  <a:lnTo>
                    <a:pt x="543" y="523"/>
                  </a:lnTo>
                  <a:lnTo>
                    <a:pt x="543" y="546"/>
                  </a:lnTo>
                  <a:lnTo>
                    <a:pt x="557" y="490"/>
                  </a:lnTo>
                  <a:lnTo>
                    <a:pt x="543" y="434"/>
                  </a:lnTo>
                  <a:lnTo>
                    <a:pt x="582" y="423"/>
                  </a:lnTo>
                  <a:lnTo>
                    <a:pt x="582" y="390"/>
                  </a:lnTo>
                  <a:lnTo>
                    <a:pt x="588" y="346"/>
                  </a:lnTo>
                  <a:lnTo>
                    <a:pt x="631" y="346"/>
                  </a:lnTo>
                  <a:lnTo>
                    <a:pt x="638" y="290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53" name="Freeform 1117"/>
            <p:cNvSpPr>
              <a:spLocks/>
            </p:cNvSpPr>
            <p:nvPr>
              <p:custDataLst>
                <p:tags r:id="rId947"/>
              </p:custDataLst>
            </p:nvPr>
          </p:nvSpPr>
          <p:spPr bwMode="auto">
            <a:xfrm>
              <a:off x="5667623" y="3228975"/>
              <a:ext cx="411163" cy="284163"/>
            </a:xfrm>
            <a:custGeom>
              <a:avLst/>
              <a:gdLst>
                <a:gd name="T0" fmla="*/ 2147483647 w 281"/>
                <a:gd name="T1" fmla="*/ 2147483647 h 357"/>
                <a:gd name="T2" fmla="*/ 2147483647 w 281"/>
                <a:gd name="T3" fmla="*/ 2147483647 h 357"/>
                <a:gd name="T4" fmla="*/ 2147483647 w 281"/>
                <a:gd name="T5" fmla="*/ 2147483647 h 357"/>
                <a:gd name="T6" fmla="*/ 2147483647 w 281"/>
                <a:gd name="T7" fmla="*/ 2147483647 h 357"/>
                <a:gd name="T8" fmla="*/ 2147483647 w 281"/>
                <a:gd name="T9" fmla="*/ 2147483647 h 357"/>
                <a:gd name="T10" fmla="*/ 2147483647 w 281"/>
                <a:gd name="T11" fmla="*/ 2147483647 h 357"/>
                <a:gd name="T12" fmla="*/ 2147483647 w 281"/>
                <a:gd name="T13" fmla="*/ 2147483647 h 357"/>
                <a:gd name="T14" fmla="*/ 2147483647 w 281"/>
                <a:gd name="T15" fmla="*/ 2147483647 h 357"/>
                <a:gd name="T16" fmla="*/ 2147483647 w 281"/>
                <a:gd name="T17" fmla="*/ 2147483647 h 357"/>
                <a:gd name="T18" fmla="*/ 2147483647 w 281"/>
                <a:gd name="T19" fmla="*/ 2147483647 h 357"/>
                <a:gd name="T20" fmla="*/ 2147483647 w 281"/>
                <a:gd name="T21" fmla="*/ 2147483647 h 357"/>
                <a:gd name="T22" fmla="*/ 2147483647 w 281"/>
                <a:gd name="T23" fmla="*/ 2147483647 h 357"/>
                <a:gd name="T24" fmla="*/ 2147483647 w 281"/>
                <a:gd name="T25" fmla="*/ 2147483647 h 357"/>
                <a:gd name="T26" fmla="*/ 2147483647 w 281"/>
                <a:gd name="T27" fmla="*/ 2147483647 h 357"/>
                <a:gd name="T28" fmla="*/ 2147483647 w 281"/>
                <a:gd name="T29" fmla="*/ 2147483647 h 357"/>
                <a:gd name="T30" fmla="*/ 2147483647 w 281"/>
                <a:gd name="T31" fmla="*/ 2147483647 h 357"/>
                <a:gd name="T32" fmla="*/ 2147483647 w 281"/>
                <a:gd name="T33" fmla="*/ 2147483647 h 357"/>
                <a:gd name="T34" fmla="*/ 2147483647 w 281"/>
                <a:gd name="T35" fmla="*/ 2147483647 h 357"/>
                <a:gd name="T36" fmla="*/ 2147483647 w 281"/>
                <a:gd name="T37" fmla="*/ 2147483647 h 357"/>
                <a:gd name="T38" fmla="*/ 2147483647 w 281"/>
                <a:gd name="T39" fmla="*/ 2147483647 h 357"/>
                <a:gd name="T40" fmla="*/ 2147483647 w 281"/>
                <a:gd name="T41" fmla="*/ 2147483647 h 357"/>
                <a:gd name="T42" fmla="*/ 2147483647 w 281"/>
                <a:gd name="T43" fmla="*/ 2147483647 h 357"/>
                <a:gd name="T44" fmla="*/ 2147483647 w 281"/>
                <a:gd name="T45" fmla="*/ 2147483647 h 357"/>
                <a:gd name="T46" fmla="*/ 2147483647 w 281"/>
                <a:gd name="T47" fmla="*/ 2147483647 h 357"/>
                <a:gd name="T48" fmla="*/ 2147483647 w 281"/>
                <a:gd name="T49" fmla="*/ 2147483647 h 357"/>
                <a:gd name="T50" fmla="*/ 2147483647 w 281"/>
                <a:gd name="T51" fmla="*/ 2147483647 h 357"/>
                <a:gd name="T52" fmla="*/ 2147483647 w 281"/>
                <a:gd name="T53" fmla="*/ 2147483647 h 357"/>
                <a:gd name="T54" fmla="*/ 2147483647 w 281"/>
                <a:gd name="T55" fmla="*/ 2147483647 h 357"/>
                <a:gd name="T56" fmla="*/ 2147483647 w 281"/>
                <a:gd name="T57" fmla="*/ 2147483647 h 357"/>
                <a:gd name="T58" fmla="*/ 2147483647 w 281"/>
                <a:gd name="T59" fmla="*/ 2147483647 h 357"/>
                <a:gd name="T60" fmla="*/ 2147483647 w 281"/>
                <a:gd name="T61" fmla="*/ 2147483647 h 357"/>
                <a:gd name="T62" fmla="*/ 2147483647 w 281"/>
                <a:gd name="T63" fmla="*/ 0 h 357"/>
                <a:gd name="T64" fmla="*/ 2147483647 w 281"/>
                <a:gd name="T65" fmla="*/ 2147483647 h 3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1" h="357">
                  <a:moveTo>
                    <a:pt x="18" y="167"/>
                  </a:moveTo>
                  <a:lnTo>
                    <a:pt x="26" y="167"/>
                  </a:lnTo>
                  <a:lnTo>
                    <a:pt x="32" y="156"/>
                  </a:lnTo>
                  <a:lnTo>
                    <a:pt x="32" y="135"/>
                  </a:lnTo>
                  <a:lnTo>
                    <a:pt x="44" y="144"/>
                  </a:lnTo>
                  <a:lnTo>
                    <a:pt x="37" y="123"/>
                  </a:lnTo>
                  <a:lnTo>
                    <a:pt x="44" y="123"/>
                  </a:lnTo>
                  <a:lnTo>
                    <a:pt x="51" y="135"/>
                  </a:lnTo>
                  <a:lnTo>
                    <a:pt x="56" y="135"/>
                  </a:lnTo>
                  <a:lnTo>
                    <a:pt x="63" y="144"/>
                  </a:lnTo>
                  <a:lnTo>
                    <a:pt x="68" y="144"/>
                  </a:lnTo>
                  <a:lnTo>
                    <a:pt x="68" y="167"/>
                  </a:lnTo>
                  <a:lnTo>
                    <a:pt x="75" y="167"/>
                  </a:lnTo>
                  <a:lnTo>
                    <a:pt x="75" y="179"/>
                  </a:lnTo>
                  <a:lnTo>
                    <a:pt x="87" y="200"/>
                  </a:lnTo>
                  <a:lnTo>
                    <a:pt x="93" y="213"/>
                  </a:lnTo>
                  <a:lnTo>
                    <a:pt x="93" y="200"/>
                  </a:lnTo>
                  <a:lnTo>
                    <a:pt x="106" y="188"/>
                  </a:lnTo>
                  <a:lnTo>
                    <a:pt x="113" y="200"/>
                  </a:lnTo>
                  <a:lnTo>
                    <a:pt x="119" y="223"/>
                  </a:lnTo>
                  <a:lnTo>
                    <a:pt x="132" y="257"/>
                  </a:lnTo>
                  <a:lnTo>
                    <a:pt x="156" y="267"/>
                  </a:lnTo>
                  <a:lnTo>
                    <a:pt x="156" y="279"/>
                  </a:lnTo>
                  <a:lnTo>
                    <a:pt x="175" y="302"/>
                  </a:lnTo>
                  <a:lnTo>
                    <a:pt x="182" y="311"/>
                  </a:lnTo>
                  <a:lnTo>
                    <a:pt x="175" y="357"/>
                  </a:lnTo>
                  <a:lnTo>
                    <a:pt x="188" y="357"/>
                  </a:lnTo>
                  <a:lnTo>
                    <a:pt x="201" y="334"/>
                  </a:lnTo>
                  <a:lnTo>
                    <a:pt x="206" y="323"/>
                  </a:lnTo>
                  <a:lnTo>
                    <a:pt x="206" y="311"/>
                  </a:lnTo>
                  <a:lnTo>
                    <a:pt x="206" y="288"/>
                  </a:lnTo>
                  <a:lnTo>
                    <a:pt x="194" y="279"/>
                  </a:lnTo>
                  <a:lnTo>
                    <a:pt x="201" y="234"/>
                  </a:lnTo>
                  <a:lnTo>
                    <a:pt x="206" y="213"/>
                  </a:lnTo>
                  <a:lnTo>
                    <a:pt x="212" y="223"/>
                  </a:lnTo>
                  <a:lnTo>
                    <a:pt x="238" y="213"/>
                  </a:lnTo>
                  <a:lnTo>
                    <a:pt x="238" y="234"/>
                  </a:lnTo>
                  <a:lnTo>
                    <a:pt x="250" y="234"/>
                  </a:lnTo>
                  <a:lnTo>
                    <a:pt x="281" y="223"/>
                  </a:lnTo>
                  <a:lnTo>
                    <a:pt x="281" y="200"/>
                  </a:lnTo>
                  <a:lnTo>
                    <a:pt x="281" y="188"/>
                  </a:lnTo>
                  <a:lnTo>
                    <a:pt x="262" y="188"/>
                  </a:lnTo>
                  <a:lnTo>
                    <a:pt x="231" y="188"/>
                  </a:lnTo>
                  <a:lnTo>
                    <a:pt x="220" y="188"/>
                  </a:lnTo>
                  <a:lnTo>
                    <a:pt x="206" y="188"/>
                  </a:lnTo>
                  <a:lnTo>
                    <a:pt x="194" y="213"/>
                  </a:lnTo>
                  <a:lnTo>
                    <a:pt x="188" y="200"/>
                  </a:lnTo>
                  <a:lnTo>
                    <a:pt x="175" y="200"/>
                  </a:lnTo>
                  <a:lnTo>
                    <a:pt x="170" y="213"/>
                  </a:lnTo>
                  <a:lnTo>
                    <a:pt x="162" y="200"/>
                  </a:lnTo>
                  <a:lnTo>
                    <a:pt x="151" y="188"/>
                  </a:lnTo>
                  <a:lnTo>
                    <a:pt x="151" y="179"/>
                  </a:lnTo>
                  <a:lnTo>
                    <a:pt x="156" y="167"/>
                  </a:lnTo>
                  <a:lnTo>
                    <a:pt x="151" y="135"/>
                  </a:lnTo>
                  <a:lnTo>
                    <a:pt x="137" y="90"/>
                  </a:lnTo>
                  <a:lnTo>
                    <a:pt x="101" y="100"/>
                  </a:lnTo>
                  <a:lnTo>
                    <a:pt x="93" y="90"/>
                  </a:lnTo>
                  <a:lnTo>
                    <a:pt x="82" y="79"/>
                  </a:lnTo>
                  <a:lnTo>
                    <a:pt x="68" y="90"/>
                  </a:lnTo>
                  <a:lnTo>
                    <a:pt x="51" y="90"/>
                  </a:lnTo>
                  <a:lnTo>
                    <a:pt x="37" y="65"/>
                  </a:lnTo>
                  <a:lnTo>
                    <a:pt x="37" y="44"/>
                  </a:lnTo>
                  <a:lnTo>
                    <a:pt x="37" y="21"/>
                  </a:lnTo>
                  <a:lnTo>
                    <a:pt x="37" y="0"/>
                  </a:lnTo>
                  <a:lnTo>
                    <a:pt x="0" y="44"/>
                  </a:lnTo>
                  <a:lnTo>
                    <a:pt x="18" y="16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54" name="Freeform 1118"/>
            <p:cNvSpPr>
              <a:spLocks/>
            </p:cNvSpPr>
            <p:nvPr>
              <p:custDataLst>
                <p:tags r:id="rId948"/>
              </p:custDataLst>
            </p:nvPr>
          </p:nvSpPr>
          <p:spPr bwMode="auto">
            <a:xfrm>
              <a:off x="5667623" y="3228975"/>
              <a:ext cx="411163" cy="284163"/>
            </a:xfrm>
            <a:custGeom>
              <a:avLst/>
              <a:gdLst>
                <a:gd name="T0" fmla="*/ 2147483647 w 281"/>
                <a:gd name="T1" fmla="*/ 2147483647 h 357"/>
                <a:gd name="T2" fmla="*/ 2147483647 w 281"/>
                <a:gd name="T3" fmla="*/ 2147483647 h 357"/>
                <a:gd name="T4" fmla="*/ 2147483647 w 281"/>
                <a:gd name="T5" fmla="*/ 2147483647 h 357"/>
                <a:gd name="T6" fmla="*/ 2147483647 w 281"/>
                <a:gd name="T7" fmla="*/ 2147483647 h 357"/>
                <a:gd name="T8" fmla="*/ 2147483647 w 281"/>
                <a:gd name="T9" fmla="*/ 2147483647 h 357"/>
                <a:gd name="T10" fmla="*/ 2147483647 w 281"/>
                <a:gd name="T11" fmla="*/ 2147483647 h 357"/>
                <a:gd name="T12" fmla="*/ 2147483647 w 281"/>
                <a:gd name="T13" fmla="*/ 2147483647 h 357"/>
                <a:gd name="T14" fmla="*/ 2147483647 w 281"/>
                <a:gd name="T15" fmla="*/ 2147483647 h 357"/>
                <a:gd name="T16" fmla="*/ 2147483647 w 281"/>
                <a:gd name="T17" fmla="*/ 2147483647 h 357"/>
                <a:gd name="T18" fmla="*/ 2147483647 w 281"/>
                <a:gd name="T19" fmla="*/ 2147483647 h 357"/>
                <a:gd name="T20" fmla="*/ 2147483647 w 281"/>
                <a:gd name="T21" fmla="*/ 2147483647 h 357"/>
                <a:gd name="T22" fmla="*/ 2147483647 w 281"/>
                <a:gd name="T23" fmla="*/ 2147483647 h 357"/>
                <a:gd name="T24" fmla="*/ 2147483647 w 281"/>
                <a:gd name="T25" fmla="*/ 2147483647 h 357"/>
                <a:gd name="T26" fmla="*/ 2147483647 w 281"/>
                <a:gd name="T27" fmla="*/ 2147483647 h 357"/>
                <a:gd name="T28" fmla="*/ 2147483647 w 281"/>
                <a:gd name="T29" fmla="*/ 2147483647 h 357"/>
                <a:gd name="T30" fmla="*/ 2147483647 w 281"/>
                <a:gd name="T31" fmla="*/ 2147483647 h 357"/>
                <a:gd name="T32" fmla="*/ 2147483647 w 281"/>
                <a:gd name="T33" fmla="*/ 2147483647 h 357"/>
                <a:gd name="T34" fmla="*/ 2147483647 w 281"/>
                <a:gd name="T35" fmla="*/ 2147483647 h 357"/>
                <a:gd name="T36" fmla="*/ 2147483647 w 281"/>
                <a:gd name="T37" fmla="*/ 2147483647 h 357"/>
                <a:gd name="T38" fmla="*/ 2147483647 w 281"/>
                <a:gd name="T39" fmla="*/ 2147483647 h 357"/>
                <a:gd name="T40" fmla="*/ 2147483647 w 281"/>
                <a:gd name="T41" fmla="*/ 2147483647 h 357"/>
                <a:gd name="T42" fmla="*/ 2147483647 w 281"/>
                <a:gd name="T43" fmla="*/ 2147483647 h 357"/>
                <a:gd name="T44" fmla="*/ 2147483647 w 281"/>
                <a:gd name="T45" fmla="*/ 2147483647 h 357"/>
                <a:gd name="T46" fmla="*/ 2147483647 w 281"/>
                <a:gd name="T47" fmla="*/ 2147483647 h 357"/>
                <a:gd name="T48" fmla="*/ 2147483647 w 281"/>
                <a:gd name="T49" fmla="*/ 2147483647 h 357"/>
                <a:gd name="T50" fmla="*/ 2147483647 w 281"/>
                <a:gd name="T51" fmla="*/ 2147483647 h 357"/>
                <a:gd name="T52" fmla="*/ 2147483647 w 281"/>
                <a:gd name="T53" fmla="*/ 2147483647 h 357"/>
                <a:gd name="T54" fmla="*/ 2147483647 w 281"/>
                <a:gd name="T55" fmla="*/ 2147483647 h 357"/>
                <a:gd name="T56" fmla="*/ 2147483647 w 281"/>
                <a:gd name="T57" fmla="*/ 2147483647 h 357"/>
                <a:gd name="T58" fmla="*/ 2147483647 w 281"/>
                <a:gd name="T59" fmla="*/ 2147483647 h 357"/>
                <a:gd name="T60" fmla="*/ 2147483647 w 281"/>
                <a:gd name="T61" fmla="*/ 2147483647 h 357"/>
                <a:gd name="T62" fmla="*/ 2147483647 w 281"/>
                <a:gd name="T63" fmla="*/ 0 h 357"/>
                <a:gd name="T64" fmla="*/ 2147483647 w 281"/>
                <a:gd name="T65" fmla="*/ 2147483647 h 3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1" h="357">
                  <a:moveTo>
                    <a:pt x="18" y="167"/>
                  </a:moveTo>
                  <a:lnTo>
                    <a:pt x="26" y="167"/>
                  </a:lnTo>
                  <a:lnTo>
                    <a:pt x="32" y="156"/>
                  </a:lnTo>
                  <a:lnTo>
                    <a:pt x="32" y="135"/>
                  </a:lnTo>
                  <a:lnTo>
                    <a:pt x="44" y="144"/>
                  </a:lnTo>
                  <a:lnTo>
                    <a:pt x="37" y="123"/>
                  </a:lnTo>
                  <a:lnTo>
                    <a:pt x="44" y="123"/>
                  </a:lnTo>
                  <a:lnTo>
                    <a:pt x="51" y="135"/>
                  </a:lnTo>
                  <a:lnTo>
                    <a:pt x="56" y="135"/>
                  </a:lnTo>
                  <a:lnTo>
                    <a:pt x="63" y="144"/>
                  </a:lnTo>
                  <a:lnTo>
                    <a:pt x="68" y="144"/>
                  </a:lnTo>
                  <a:lnTo>
                    <a:pt x="68" y="167"/>
                  </a:lnTo>
                  <a:lnTo>
                    <a:pt x="75" y="167"/>
                  </a:lnTo>
                  <a:lnTo>
                    <a:pt x="75" y="179"/>
                  </a:lnTo>
                  <a:lnTo>
                    <a:pt x="87" y="200"/>
                  </a:lnTo>
                  <a:lnTo>
                    <a:pt x="93" y="213"/>
                  </a:lnTo>
                  <a:lnTo>
                    <a:pt x="93" y="200"/>
                  </a:lnTo>
                  <a:lnTo>
                    <a:pt x="106" y="188"/>
                  </a:lnTo>
                  <a:lnTo>
                    <a:pt x="113" y="200"/>
                  </a:lnTo>
                  <a:lnTo>
                    <a:pt x="119" y="223"/>
                  </a:lnTo>
                  <a:lnTo>
                    <a:pt x="132" y="257"/>
                  </a:lnTo>
                  <a:lnTo>
                    <a:pt x="156" y="267"/>
                  </a:lnTo>
                  <a:lnTo>
                    <a:pt x="156" y="279"/>
                  </a:lnTo>
                  <a:lnTo>
                    <a:pt x="175" y="302"/>
                  </a:lnTo>
                  <a:lnTo>
                    <a:pt x="182" y="311"/>
                  </a:lnTo>
                  <a:lnTo>
                    <a:pt x="175" y="357"/>
                  </a:lnTo>
                  <a:lnTo>
                    <a:pt x="188" y="357"/>
                  </a:lnTo>
                  <a:lnTo>
                    <a:pt x="201" y="334"/>
                  </a:lnTo>
                  <a:lnTo>
                    <a:pt x="206" y="323"/>
                  </a:lnTo>
                  <a:lnTo>
                    <a:pt x="206" y="311"/>
                  </a:lnTo>
                  <a:lnTo>
                    <a:pt x="206" y="288"/>
                  </a:lnTo>
                  <a:lnTo>
                    <a:pt x="194" y="279"/>
                  </a:lnTo>
                  <a:lnTo>
                    <a:pt x="201" y="234"/>
                  </a:lnTo>
                  <a:lnTo>
                    <a:pt x="206" y="213"/>
                  </a:lnTo>
                  <a:lnTo>
                    <a:pt x="212" y="223"/>
                  </a:lnTo>
                  <a:lnTo>
                    <a:pt x="238" y="213"/>
                  </a:lnTo>
                  <a:lnTo>
                    <a:pt x="238" y="234"/>
                  </a:lnTo>
                  <a:lnTo>
                    <a:pt x="250" y="234"/>
                  </a:lnTo>
                  <a:lnTo>
                    <a:pt x="281" y="223"/>
                  </a:lnTo>
                  <a:lnTo>
                    <a:pt x="281" y="200"/>
                  </a:lnTo>
                  <a:lnTo>
                    <a:pt x="281" y="188"/>
                  </a:lnTo>
                  <a:lnTo>
                    <a:pt x="262" y="188"/>
                  </a:lnTo>
                  <a:lnTo>
                    <a:pt x="231" y="188"/>
                  </a:lnTo>
                  <a:lnTo>
                    <a:pt x="220" y="188"/>
                  </a:lnTo>
                  <a:lnTo>
                    <a:pt x="206" y="188"/>
                  </a:lnTo>
                  <a:lnTo>
                    <a:pt x="194" y="213"/>
                  </a:lnTo>
                  <a:lnTo>
                    <a:pt x="188" y="200"/>
                  </a:lnTo>
                  <a:lnTo>
                    <a:pt x="175" y="200"/>
                  </a:lnTo>
                  <a:lnTo>
                    <a:pt x="170" y="213"/>
                  </a:lnTo>
                  <a:lnTo>
                    <a:pt x="162" y="200"/>
                  </a:lnTo>
                  <a:lnTo>
                    <a:pt x="151" y="188"/>
                  </a:lnTo>
                  <a:lnTo>
                    <a:pt x="151" y="179"/>
                  </a:lnTo>
                  <a:lnTo>
                    <a:pt x="156" y="167"/>
                  </a:lnTo>
                  <a:lnTo>
                    <a:pt x="151" y="135"/>
                  </a:lnTo>
                  <a:lnTo>
                    <a:pt x="137" y="90"/>
                  </a:lnTo>
                  <a:lnTo>
                    <a:pt x="101" y="100"/>
                  </a:lnTo>
                  <a:lnTo>
                    <a:pt x="93" y="90"/>
                  </a:lnTo>
                  <a:lnTo>
                    <a:pt x="82" y="79"/>
                  </a:lnTo>
                  <a:lnTo>
                    <a:pt x="68" y="90"/>
                  </a:lnTo>
                  <a:lnTo>
                    <a:pt x="51" y="90"/>
                  </a:lnTo>
                  <a:lnTo>
                    <a:pt x="37" y="65"/>
                  </a:lnTo>
                  <a:lnTo>
                    <a:pt x="37" y="44"/>
                  </a:lnTo>
                  <a:lnTo>
                    <a:pt x="37" y="21"/>
                  </a:lnTo>
                  <a:lnTo>
                    <a:pt x="37" y="0"/>
                  </a:lnTo>
                  <a:lnTo>
                    <a:pt x="0" y="44"/>
                  </a:lnTo>
                  <a:lnTo>
                    <a:pt x="18" y="16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55" name="Freeform 1119"/>
            <p:cNvSpPr>
              <a:spLocks/>
            </p:cNvSpPr>
            <p:nvPr>
              <p:custDataLst>
                <p:tags r:id="rId949"/>
              </p:custDataLst>
            </p:nvPr>
          </p:nvSpPr>
          <p:spPr bwMode="auto">
            <a:xfrm>
              <a:off x="5667623" y="3228975"/>
              <a:ext cx="411163" cy="284163"/>
            </a:xfrm>
            <a:custGeom>
              <a:avLst/>
              <a:gdLst>
                <a:gd name="T0" fmla="*/ 2147483647 w 281"/>
                <a:gd name="T1" fmla="*/ 2147483647 h 357"/>
                <a:gd name="T2" fmla="*/ 2147483647 w 281"/>
                <a:gd name="T3" fmla="*/ 2147483647 h 357"/>
                <a:gd name="T4" fmla="*/ 2147483647 w 281"/>
                <a:gd name="T5" fmla="*/ 2147483647 h 357"/>
                <a:gd name="T6" fmla="*/ 2147483647 w 281"/>
                <a:gd name="T7" fmla="*/ 2147483647 h 357"/>
                <a:gd name="T8" fmla="*/ 2147483647 w 281"/>
                <a:gd name="T9" fmla="*/ 2147483647 h 357"/>
                <a:gd name="T10" fmla="*/ 2147483647 w 281"/>
                <a:gd name="T11" fmla="*/ 2147483647 h 357"/>
                <a:gd name="T12" fmla="*/ 2147483647 w 281"/>
                <a:gd name="T13" fmla="*/ 2147483647 h 357"/>
                <a:gd name="T14" fmla="*/ 2147483647 w 281"/>
                <a:gd name="T15" fmla="*/ 2147483647 h 357"/>
                <a:gd name="T16" fmla="*/ 2147483647 w 281"/>
                <a:gd name="T17" fmla="*/ 2147483647 h 357"/>
                <a:gd name="T18" fmla="*/ 2147483647 w 281"/>
                <a:gd name="T19" fmla="*/ 2147483647 h 357"/>
                <a:gd name="T20" fmla="*/ 2147483647 w 281"/>
                <a:gd name="T21" fmla="*/ 2147483647 h 357"/>
                <a:gd name="T22" fmla="*/ 2147483647 w 281"/>
                <a:gd name="T23" fmla="*/ 2147483647 h 357"/>
                <a:gd name="T24" fmla="*/ 2147483647 w 281"/>
                <a:gd name="T25" fmla="*/ 2147483647 h 357"/>
                <a:gd name="T26" fmla="*/ 2147483647 w 281"/>
                <a:gd name="T27" fmla="*/ 2147483647 h 357"/>
                <a:gd name="T28" fmla="*/ 2147483647 w 281"/>
                <a:gd name="T29" fmla="*/ 2147483647 h 357"/>
                <a:gd name="T30" fmla="*/ 2147483647 w 281"/>
                <a:gd name="T31" fmla="*/ 2147483647 h 357"/>
                <a:gd name="T32" fmla="*/ 2147483647 w 281"/>
                <a:gd name="T33" fmla="*/ 2147483647 h 357"/>
                <a:gd name="T34" fmla="*/ 2147483647 w 281"/>
                <a:gd name="T35" fmla="*/ 2147483647 h 357"/>
                <a:gd name="T36" fmla="*/ 2147483647 w 281"/>
                <a:gd name="T37" fmla="*/ 2147483647 h 357"/>
                <a:gd name="T38" fmla="*/ 2147483647 w 281"/>
                <a:gd name="T39" fmla="*/ 2147483647 h 357"/>
                <a:gd name="T40" fmla="*/ 2147483647 w 281"/>
                <a:gd name="T41" fmla="*/ 2147483647 h 357"/>
                <a:gd name="T42" fmla="*/ 2147483647 w 281"/>
                <a:gd name="T43" fmla="*/ 2147483647 h 357"/>
                <a:gd name="T44" fmla="*/ 2147483647 w 281"/>
                <a:gd name="T45" fmla="*/ 2147483647 h 357"/>
                <a:gd name="T46" fmla="*/ 2147483647 w 281"/>
                <a:gd name="T47" fmla="*/ 2147483647 h 357"/>
                <a:gd name="T48" fmla="*/ 2147483647 w 281"/>
                <a:gd name="T49" fmla="*/ 2147483647 h 357"/>
                <a:gd name="T50" fmla="*/ 2147483647 w 281"/>
                <a:gd name="T51" fmla="*/ 2147483647 h 357"/>
                <a:gd name="T52" fmla="*/ 2147483647 w 281"/>
                <a:gd name="T53" fmla="*/ 2147483647 h 357"/>
                <a:gd name="T54" fmla="*/ 2147483647 w 281"/>
                <a:gd name="T55" fmla="*/ 2147483647 h 357"/>
                <a:gd name="T56" fmla="*/ 2147483647 w 281"/>
                <a:gd name="T57" fmla="*/ 2147483647 h 357"/>
                <a:gd name="T58" fmla="*/ 2147483647 w 281"/>
                <a:gd name="T59" fmla="*/ 2147483647 h 357"/>
                <a:gd name="T60" fmla="*/ 2147483647 w 281"/>
                <a:gd name="T61" fmla="*/ 2147483647 h 357"/>
                <a:gd name="T62" fmla="*/ 2147483647 w 281"/>
                <a:gd name="T63" fmla="*/ 0 h 357"/>
                <a:gd name="T64" fmla="*/ 2147483647 w 281"/>
                <a:gd name="T65" fmla="*/ 2147483647 h 3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1" h="357">
                  <a:moveTo>
                    <a:pt x="18" y="167"/>
                  </a:moveTo>
                  <a:lnTo>
                    <a:pt x="26" y="167"/>
                  </a:lnTo>
                  <a:lnTo>
                    <a:pt x="32" y="156"/>
                  </a:lnTo>
                  <a:lnTo>
                    <a:pt x="32" y="135"/>
                  </a:lnTo>
                  <a:lnTo>
                    <a:pt x="44" y="144"/>
                  </a:lnTo>
                  <a:lnTo>
                    <a:pt x="37" y="123"/>
                  </a:lnTo>
                  <a:lnTo>
                    <a:pt x="44" y="123"/>
                  </a:lnTo>
                  <a:lnTo>
                    <a:pt x="51" y="135"/>
                  </a:lnTo>
                  <a:lnTo>
                    <a:pt x="56" y="135"/>
                  </a:lnTo>
                  <a:lnTo>
                    <a:pt x="63" y="144"/>
                  </a:lnTo>
                  <a:lnTo>
                    <a:pt x="68" y="144"/>
                  </a:lnTo>
                  <a:lnTo>
                    <a:pt x="68" y="167"/>
                  </a:lnTo>
                  <a:lnTo>
                    <a:pt x="75" y="167"/>
                  </a:lnTo>
                  <a:lnTo>
                    <a:pt x="75" y="179"/>
                  </a:lnTo>
                  <a:lnTo>
                    <a:pt x="87" y="200"/>
                  </a:lnTo>
                  <a:lnTo>
                    <a:pt x="93" y="213"/>
                  </a:lnTo>
                  <a:lnTo>
                    <a:pt x="93" y="200"/>
                  </a:lnTo>
                  <a:lnTo>
                    <a:pt x="106" y="188"/>
                  </a:lnTo>
                  <a:lnTo>
                    <a:pt x="113" y="200"/>
                  </a:lnTo>
                  <a:lnTo>
                    <a:pt x="119" y="223"/>
                  </a:lnTo>
                  <a:lnTo>
                    <a:pt x="132" y="257"/>
                  </a:lnTo>
                  <a:lnTo>
                    <a:pt x="156" y="267"/>
                  </a:lnTo>
                  <a:lnTo>
                    <a:pt x="156" y="279"/>
                  </a:lnTo>
                  <a:lnTo>
                    <a:pt x="175" y="302"/>
                  </a:lnTo>
                  <a:lnTo>
                    <a:pt x="182" y="311"/>
                  </a:lnTo>
                  <a:lnTo>
                    <a:pt x="175" y="357"/>
                  </a:lnTo>
                  <a:lnTo>
                    <a:pt x="188" y="357"/>
                  </a:lnTo>
                  <a:lnTo>
                    <a:pt x="201" y="334"/>
                  </a:lnTo>
                  <a:lnTo>
                    <a:pt x="206" y="323"/>
                  </a:lnTo>
                  <a:lnTo>
                    <a:pt x="206" y="311"/>
                  </a:lnTo>
                  <a:lnTo>
                    <a:pt x="206" y="288"/>
                  </a:lnTo>
                  <a:lnTo>
                    <a:pt x="194" y="279"/>
                  </a:lnTo>
                  <a:lnTo>
                    <a:pt x="201" y="234"/>
                  </a:lnTo>
                  <a:lnTo>
                    <a:pt x="206" y="213"/>
                  </a:lnTo>
                  <a:lnTo>
                    <a:pt x="212" y="223"/>
                  </a:lnTo>
                  <a:lnTo>
                    <a:pt x="238" y="213"/>
                  </a:lnTo>
                  <a:lnTo>
                    <a:pt x="238" y="234"/>
                  </a:lnTo>
                  <a:lnTo>
                    <a:pt x="250" y="234"/>
                  </a:lnTo>
                  <a:lnTo>
                    <a:pt x="281" y="223"/>
                  </a:lnTo>
                  <a:lnTo>
                    <a:pt x="281" y="200"/>
                  </a:lnTo>
                  <a:lnTo>
                    <a:pt x="281" y="188"/>
                  </a:lnTo>
                  <a:lnTo>
                    <a:pt x="262" y="188"/>
                  </a:lnTo>
                  <a:lnTo>
                    <a:pt x="231" y="188"/>
                  </a:lnTo>
                  <a:lnTo>
                    <a:pt x="220" y="188"/>
                  </a:lnTo>
                  <a:lnTo>
                    <a:pt x="206" y="188"/>
                  </a:lnTo>
                  <a:lnTo>
                    <a:pt x="194" y="213"/>
                  </a:lnTo>
                  <a:lnTo>
                    <a:pt x="188" y="200"/>
                  </a:lnTo>
                  <a:lnTo>
                    <a:pt x="175" y="200"/>
                  </a:lnTo>
                  <a:lnTo>
                    <a:pt x="170" y="213"/>
                  </a:lnTo>
                  <a:lnTo>
                    <a:pt x="162" y="200"/>
                  </a:lnTo>
                  <a:lnTo>
                    <a:pt x="151" y="188"/>
                  </a:lnTo>
                  <a:lnTo>
                    <a:pt x="151" y="179"/>
                  </a:lnTo>
                  <a:lnTo>
                    <a:pt x="156" y="167"/>
                  </a:lnTo>
                  <a:lnTo>
                    <a:pt x="151" y="135"/>
                  </a:lnTo>
                  <a:lnTo>
                    <a:pt x="137" y="90"/>
                  </a:lnTo>
                  <a:lnTo>
                    <a:pt x="101" y="100"/>
                  </a:lnTo>
                  <a:lnTo>
                    <a:pt x="93" y="90"/>
                  </a:lnTo>
                  <a:lnTo>
                    <a:pt x="82" y="79"/>
                  </a:lnTo>
                  <a:lnTo>
                    <a:pt x="68" y="90"/>
                  </a:lnTo>
                  <a:lnTo>
                    <a:pt x="51" y="90"/>
                  </a:lnTo>
                  <a:lnTo>
                    <a:pt x="37" y="65"/>
                  </a:lnTo>
                  <a:lnTo>
                    <a:pt x="37" y="44"/>
                  </a:lnTo>
                  <a:lnTo>
                    <a:pt x="37" y="21"/>
                  </a:lnTo>
                  <a:lnTo>
                    <a:pt x="37" y="0"/>
                  </a:lnTo>
                  <a:lnTo>
                    <a:pt x="0" y="44"/>
                  </a:lnTo>
                  <a:lnTo>
                    <a:pt x="18" y="16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56" name="Freeform 1120"/>
            <p:cNvSpPr>
              <a:spLocks/>
            </p:cNvSpPr>
            <p:nvPr>
              <p:custDataLst>
                <p:tags r:id="rId950"/>
              </p:custDataLst>
            </p:nvPr>
          </p:nvSpPr>
          <p:spPr bwMode="auto">
            <a:xfrm>
              <a:off x="5667623" y="3228975"/>
              <a:ext cx="411163" cy="284163"/>
            </a:xfrm>
            <a:custGeom>
              <a:avLst/>
              <a:gdLst>
                <a:gd name="T0" fmla="*/ 2147483647 w 281"/>
                <a:gd name="T1" fmla="*/ 2147483647 h 357"/>
                <a:gd name="T2" fmla="*/ 2147483647 w 281"/>
                <a:gd name="T3" fmla="*/ 2147483647 h 357"/>
                <a:gd name="T4" fmla="*/ 2147483647 w 281"/>
                <a:gd name="T5" fmla="*/ 2147483647 h 357"/>
                <a:gd name="T6" fmla="*/ 2147483647 w 281"/>
                <a:gd name="T7" fmla="*/ 2147483647 h 357"/>
                <a:gd name="T8" fmla="*/ 2147483647 w 281"/>
                <a:gd name="T9" fmla="*/ 2147483647 h 357"/>
                <a:gd name="T10" fmla="*/ 2147483647 w 281"/>
                <a:gd name="T11" fmla="*/ 2147483647 h 357"/>
                <a:gd name="T12" fmla="*/ 2147483647 w 281"/>
                <a:gd name="T13" fmla="*/ 2147483647 h 357"/>
                <a:gd name="T14" fmla="*/ 2147483647 w 281"/>
                <a:gd name="T15" fmla="*/ 2147483647 h 357"/>
                <a:gd name="T16" fmla="*/ 2147483647 w 281"/>
                <a:gd name="T17" fmla="*/ 2147483647 h 357"/>
                <a:gd name="T18" fmla="*/ 2147483647 w 281"/>
                <a:gd name="T19" fmla="*/ 2147483647 h 357"/>
                <a:gd name="T20" fmla="*/ 2147483647 w 281"/>
                <a:gd name="T21" fmla="*/ 2147483647 h 357"/>
                <a:gd name="T22" fmla="*/ 2147483647 w 281"/>
                <a:gd name="T23" fmla="*/ 2147483647 h 357"/>
                <a:gd name="T24" fmla="*/ 2147483647 w 281"/>
                <a:gd name="T25" fmla="*/ 2147483647 h 357"/>
                <a:gd name="T26" fmla="*/ 2147483647 w 281"/>
                <a:gd name="T27" fmla="*/ 2147483647 h 357"/>
                <a:gd name="T28" fmla="*/ 2147483647 w 281"/>
                <a:gd name="T29" fmla="*/ 2147483647 h 357"/>
                <a:gd name="T30" fmla="*/ 2147483647 w 281"/>
                <a:gd name="T31" fmla="*/ 2147483647 h 357"/>
                <a:gd name="T32" fmla="*/ 2147483647 w 281"/>
                <a:gd name="T33" fmla="*/ 2147483647 h 357"/>
                <a:gd name="T34" fmla="*/ 2147483647 w 281"/>
                <a:gd name="T35" fmla="*/ 2147483647 h 357"/>
                <a:gd name="T36" fmla="*/ 2147483647 w 281"/>
                <a:gd name="T37" fmla="*/ 2147483647 h 357"/>
                <a:gd name="T38" fmla="*/ 2147483647 w 281"/>
                <a:gd name="T39" fmla="*/ 2147483647 h 357"/>
                <a:gd name="T40" fmla="*/ 2147483647 w 281"/>
                <a:gd name="T41" fmla="*/ 2147483647 h 357"/>
                <a:gd name="T42" fmla="*/ 2147483647 w 281"/>
                <a:gd name="T43" fmla="*/ 2147483647 h 357"/>
                <a:gd name="T44" fmla="*/ 2147483647 w 281"/>
                <a:gd name="T45" fmla="*/ 2147483647 h 357"/>
                <a:gd name="T46" fmla="*/ 2147483647 w 281"/>
                <a:gd name="T47" fmla="*/ 2147483647 h 357"/>
                <a:gd name="T48" fmla="*/ 2147483647 w 281"/>
                <a:gd name="T49" fmla="*/ 2147483647 h 357"/>
                <a:gd name="T50" fmla="*/ 2147483647 w 281"/>
                <a:gd name="T51" fmla="*/ 2147483647 h 357"/>
                <a:gd name="T52" fmla="*/ 2147483647 w 281"/>
                <a:gd name="T53" fmla="*/ 2147483647 h 357"/>
                <a:gd name="T54" fmla="*/ 2147483647 w 281"/>
                <a:gd name="T55" fmla="*/ 2147483647 h 357"/>
                <a:gd name="T56" fmla="*/ 2147483647 w 281"/>
                <a:gd name="T57" fmla="*/ 2147483647 h 357"/>
                <a:gd name="T58" fmla="*/ 2147483647 w 281"/>
                <a:gd name="T59" fmla="*/ 2147483647 h 357"/>
                <a:gd name="T60" fmla="*/ 2147483647 w 281"/>
                <a:gd name="T61" fmla="*/ 2147483647 h 357"/>
                <a:gd name="T62" fmla="*/ 2147483647 w 281"/>
                <a:gd name="T63" fmla="*/ 0 h 357"/>
                <a:gd name="T64" fmla="*/ 2147483647 w 281"/>
                <a:gd name="T65" fmla="*/ 2147483647 h 3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1" h="357">
                  <a:moveTo>
                    <a:pt x="18" y="167"/>
                  </a:moveTo>
                  <a:lnTo>
                    <a:pt x="26" y="167"/>
                  </a:lnTo>
                  <a:lnTo>
                    <a:pt x="32" y="156"/>
                  </a:lnTo>
                  <a:lnTo>
                    <a:pt x="32" y="135"/>
                  </a:lnTo>
                  <a:lnTo>
                    <a:pt x="44" y="144"/>
                  </a:lnTo>
                  <a:lnTo>
                    <a:pt x="37" y="123"/>
                  </a:lnTo>
                  <a:lnTo>
                    <a:pt x="44" y="123"/>
                  </a:lnTo>
                  <a:lnTo>
                    <a:pt x="51" y="135"/>
                  </a:lnTo>
                  <a:lnTo>
                    <a:pt x="56" y="135"/>
                  </a:lnTo>
                  <a:lnTo>
                    <a:pt x="63" y="144"/>
                  </a:lnTo>
                  <a:lnTo>
                    <a:pt x="68" y="144"/>
                  </a:lnTo>
                  <a:lnTo>
                    <a:pt x="68" y="167"/>
                  </a:lnTo>
                  <a:lnTo>
                    <a:pt x="75" y="167"/>
                  </a:lnTo>
                  <a:lnTo>
                    <a:pt x="75" y="179"/>
                  </a:lnTo>
                  <a:lnTo>
                    <a:pt x="87" y="200"/>
                  </a:lnTo>
                  <a:lnTo>
                    <a:pt x="93" y="213"/>
                  </a:lnTo>
                  <a:lnTo>
                    <a:pt x="93" y="200"/>
                  </a:lnTo>
                  <a:lnTo>
                    <a:pt x="106" y="188"/>
                  </a:lnTo>
                  <a:lnTo>
                    <a:pt x="113" y="200"/>
                  </a:lnTo>
                  <a:lnTo>
                    <a:pt x="119" y="223"/>
                  </a:lnTo>
                  <a:lnTo>
                    <a:pt x="132" y="257"/>
                  </a:lnTo>
                  <a:lnTo>
                    <a:pt x="156" y="267"/>
                  </a:lnTo>
                  <a:lnTo>
                    <a:pt x="156" y="279"/>
                  </a:lnTo>
                  <a:lnTo>
                    <a:pt x="175" y="302"/>
                  </a:lnTo>
                  <a:lnTo>
                    <a:pt x="182" y="311"/>
                  </a:lnTo>
                  <a:lnTo>
                    <a:pt x="175" y="357"/>
                  </a:lnTo>
                  <a:lnTo>
                    <a:pt x="188" y="357"/>
                  </a:lnTo>
                  <a:lnTo>
                    <a:pt x="201" y="334"/>
                  </a:lnTo>
                  <a:lnTo>
                    <a:pt x="206" y="323"/>
                  </a:lnTo>
                  <a:lnTo>
                    <a:pt x="206" y="311"/>
                  </a:lnTo>
                  <a:lnTo>
                    <a:pt x="206" y="288"/>
                  </a:lnTo>
                  <a:lnTo>
                    <a:pt x="194" y="279"/>
                  </a:lnTo>
                  <a:lnTo>
                    <a:pt x="201" y="234"/>
                  </a:lnTo>
                  <a:lnTo>
                    <a:pt x="206" y="213"/>
                  </a:lnTo>
                  <a:lnTo>
                    <a:pt x="212" y="223"/>
                  </a:lnTo>
                  <a:lnTo>
                    <a:pt x="238" y="213"/>
                  </a:lnTo>
                  <a:lnTo>
                    <a:pt x="238" y="234"/>
                  </a:lnTo>
                  <a:lnTo>
                    <a:pt x="250" y="234"/>
                  </a:lnTo>
                  <a:lnTo>
                    <a:pt x="281" y="223"/>
                  </a:lnTo>
                  <a:lnTo>
                    <a:pt x="281" y="200"/>
                  </a:lnTo>
                  <a:lnTo>
                    <a:pt x="281" y="188"/>
                  </a:lnTo>
                  <a:lnTo>
                    <a:pt x="262" y="188"/>
                  </a:lnTo>
                  <a:lnTo>
                    <a:pt x="231" y="188"/>
                  </a:lnTo>
                  <a:lnTo>
                    <a:pt x="220" y="188"/>
                  </a:lnTo>
                  <a:lnTo>
                    <a:pt x="206" y="188"/>
                  </a:lnTo>
                  <a:lnTo>
                    <a:pt x="194" y="213"/>
                  </a:lnTo>
                  <a:lnTo>
                    <a:pt x="188" y="200"/>
                  </a:lnTo>
                  <a:lnTo>
                    <a:pt x="175" y="200"/>
                  </a:lnTo>
                  <a:lnTo>
                    <a:pt x="170" y="213"/>
                  </a:lnTo>
                  <a:lnTo>
                    <a:pt x="162" y="200"/>
                  </a:lnTo>
                  <a:lnTo>
                    <a:pt x="151" y="188"/>
                  </a:lnTo>
                  <a:lnTo>
                    <a:pt x="151" y="179"/>
                  </a:lnTo>
                  <a:lnTo>
                    <a:pt x="156" y="167"/>
                  </a:lnTo>
                  <a:lnTo>
                    <a:pt x="151" y="135"/>
                  </a:lnTo>
                  <a:lnTo>
                    <a:pt x="137" y="90"/>
                  </a:lnTo>
                  <a:lnTo>
                    <a:pt x="101" y="100"/>
                  </a:lnTo>
                  <a:lnTo>
                    <a:pt x="93" y="90"/>
                  </a:lnTo>
                  <a:lnTo>
                    <a:pt x="82" y="79"/>
                  </a:lnTo>
                  <a:lnTo>
                    <a:pt x="68" y="90"/>
                  </a:lnTo>
                  <a:lnTo>
                    <a:pt x="51" y="90"/>
                  </a:lnTo>
                  <a:lnTo>
                    <a:pt x="37" y="65"/>
                  </a:lnTo>
                  <a:lnTo>
                    <a:pt x="37" y="44"/>
                  </a:lnTo>
                  <a:lnTo>
                    <a:pt x="37" y="21"/>
                  </a:lnTo>
                  <a:lnTo>
                    <a:pt x="37" y="0"/>
                  </a:lnTo>
                  <a:lnTo>
                    <a:pt x="0" y="44"/>
                  </a:lnTo>
                  <a:lnTo>
                    <a:pt x="18" y="167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57" name="Freeform 1121"/>
            <p:cNvSpPr>
              <a:spLocks/>
            </p:cNvSpPr>
            <p:nvPr>
              <p:custDataLst>
                <p:tags r:id="rId951"/>
              </p:custDataLst>
            </p:nvPr>
          </p:nvSpPr>
          <p:spPr bwMode="auto">
            <a:xfrm>
              <a:off x="5610473" y="3325813"/>
              <a:ext cx="320675" cy="247650"/>
            </a:xfrm>
            <a:custGeom>
              <a:avLst/>
              <a:gdLst>
                <a:gd name="T0" fmla="*/ 0 w 218"/>
                <a:gd name="T1" fmla="*/ 2147483647 h 311"/>
                <a:gd name="T2" fmla="*/ 2147483647 w 218"/>
                <a:gd name="T3" fmla="*/ 2147483647 h 311"/>
                <a:gd name="T4" fmla="*/ 2147483647 w 218"/>
                <a:gd name="T5" fmla="*/ 2147483647 h 311"/>
                <a:gd name="T6" fmla="*/ 2147483647 w 218"/>
                <a:gd name="T7" fmla="*/ 2147483647 h 311"/>
                <a:gd name="T8" fmla="*/ 2147483647 w 218"/>
                <a:gd name="T9" fmla="*/ 2147483647 h 311"/>
                <a:gd name="T10" fmla="*/ 2147483647 w 218"/>
                <a:gd name="T11" fmla="*/ 2147483647 h 311"/>
                <a:gd name="T12" fmla="*/ 0 w 218"/>
                <a:gd name="T13" fmla="*/ 2147483647 h 311"/>
                <a:gd name="T14" fmla="*/ 2147483647 w 218"/>
                <a:gd name="T15" fmla="*/ 2147483647 h 311"/>
                <a:gd name="T16" fmla="*/ 2147483647 w 218"/>
                <a:gd name="T17" fmla="*/ 2147483647 h 311"/>
                <a:gd name="T18" fmla="*/ 2147483647 w 218"/>
                <a:gd name="T19" fmla="*/ 2147483647 h 311"/>
                <a:gd name="T20" fmla="*/ 2147483647 w 218"/>
                <a:gd name="T21" fmla="*/ 2147483647 h 311"/>
                <a:gd name="T22" fmla="*/ 2147483647 w 218"/>
                <a:gd name="T23" fmla="*/ 2147483647 h 311"/>
                <a:gd name="T24" fmla="*/ 2147483647 w 218"/>
                <a:gd name="T25" fmla="*/ 2147483647 h 311"/>
                <a:gd name="T26" fmla="*/ 2147483647 w 218"/>
                <a:gd name="T27" fmla="*/ 2147483647 h 311"/>
                <a:gd name="T28" fmla="*/ 2147483647 w 218"/>
                <a:gd name="T29" fmla="*/ 2147483647 h 311"/>
                <a:gd name="T30" fmla="*/ 2147483647 w 218"/>
                <a:gd name="T31" fmla="*/ 2147483647 h 311"/>
                <a:gd name="T32" fmla="*/ 2147483647 w 218"/>
                <a:gd name="T33" fmla="*/ 2147483647 h 311"/>
                <a:gd name="T34" fmla="*/ 2147483647 w 218"/>
                <a:gd name="T35" fmla="*/ 2147483647 h 311"/>
                <a:gd name="T36" fmla="*/ 2147483647 w 218"/>
                <a:gd name="T37" fmla="*/ 2147483647 h 311"/>
                <a:gd name="T38" fmla="*/ 2147483647 w 218"/>
                <a:gd name="T39" fmla="*/ 2147483647 h 311"/>
                <a:gd name="T40" fmla="*/ 2147483647 w 218"/>
                <a:gd name="T41" fmla="*/ 2147483647 h 311"/>
                <a:gd name="T42" fmla="*/ 2147483647 w 218"/>
                <a:gd name="T43" fmla="*/ 2147483647 h 311"/>
                <a:gd name="T44" fmla="*/ 2147483647 w 218"/>
                <a:gd name="T45" fmla="*/ 2147483647 h 311"/>
                <a:gd name="T46" fmla="*/ 2147483647 w 218"/>
                <a:gd name="T47" fmla="*/ 2147483647 h 311"/>
                <a:gd name="T48" fmla="*/ 2147483647 w 218"/>
                <a:gd name="T49" fmla="*/ 2147483647 h 311"/>
                <a:gd name="T50" fmla="*/ 2147483647 w 218"/>
                <a:gd name="T51" fmla="*/ 2147483647 h 311"/>
                <a:gd name="T52" fmla="*/ 2147483647 w 218"/>
                <a:gd name="T53" fmla="*/ 2147483647 h 311"/>
                <a:gd name="T54" fmla="*/ 2147483647 w 218"/>
                <a:gd name="T55" fmla="*/ 2147483647 h 311"/>
                <a:gd name="T56" fmla="*/ 2147483647 w 218"/>
                <a:gd name="T57" fmla="*/ 2147483647 h 311"/>
                <a:gd name="T58" fmla="*/ 2147483647 w 218"/>
                <a:gd name="T59" fmla="*/ 2147483647 h 311"/>
                <a:gd name="T60" fmla="*/ 2147483647 w 218"/>
                <a:gd name="T61" fmla="*/ 2147483647 h 311"/>
                <a:gd name="T62" fmla="*/ 2147483647 w 218"/>
                <a:gd name="T63" fmla="*/ 2147483647 h 311"/>
                <a:gd name="T64" fmla="*/ 2147483647 w 218"/>
                <a:gd name="T65" fmla="*/ 2147483647 h 311"/>
                <a:gd name="T66" fmla="*/ 2147483647 w 218"/>
                <a:gd name="T67" fmla="*/ 2147483647 h 311"/>
                <a:gd name="T68" fmla="*/ 2147483647 w 218"/>
                <a:gd name="T69" fmla="*/ 2147483647 h 311"/>
                <a:gd name="T70" fmla="*/ 2147483647 w 218"/>
                <a:gd name="T71" fmla="*/ 2147483647 h 311"/>
                <a:gd name="T72" fmla="*/ 2147483647 w 218"/>
                <a:gd name="T73" fmla="*/ 2147483647 h 311"/>
                <a:gd name="T74" fmla="*/ 2147483647 w 218"/>
                <a:gd name="T75" fmla="*/ 2147483647 h 311"/>
                <a:gd name="T76" fmla="*/ 2147483647 w 218"/>
                <a:gd name="T77" fmla="*/ 2147483647 h 311"/>
                <a:gd name="T78" fmla="*/ 2147483647 w 218"/>
                <a:gd name="T79" fmla="*/ 0 h 311"/>
                <a:gd name="T80" fmla="*/ 2147483647 w 218"/>
                <a:gd name="T81" fmla="*/ 0 h 311"/>
                <a:gd name="T82" fmla="*/ 2147483647 w 218"/>
                <a:gd name="T83" fmla="*/ 2147483647 h 311"/>
                <a:gd name="T84" fmla="*/ 2147483647 w 218"/>
                <a:gd name="T85" fmla="*/ 2147483647 h 311"/>
                <a:gd name="T86" fmla="*/ 2147483647 w 218"/>
                <a:gd name="T87" fmla="*/ 2147483647 h 311"/>
                <a:gd name="T88" fmla="*/ 2147483647 w 218"/>
                <a:gd name="T89" fmla="*/ 2147483647 h 311"/>
                <a:gd name="T90" fmla="*/ 2147483647 w 218"/>
                <a:gd name="T91" fmla="*/ 2147483647 h 311"/>
                <a:gd name="T92" fmla="*/ 2147483647 w 218"/>
                <a:gd name="T93" fmla="*/ 2147483647 h 311"/>
                <a:gd name="T94" fmla="*/ 2147483647 w 218"/>
                <a:gd name="T95" fmla="*/ 2147483647 h 311"/>
                <a:gd name="T96" fmla="*/ 2147483647 w 218"/>
                <a:gd name="T97" fmla="*/ 2147483647 h 311"/>
                <a:gd name="T98" fmla="*/ 2147483647 w 218"/>
                <a:gd name="T99" fmla="*/ 2147483647 h 311"/>
                <a:gd name="T100" fmla="*/ 0 w 218"/>
                <a:gd name="T101" fmla="*/ 2147483647 h 31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18" h="311">
                  <a:moveTo>
                    <a:pt x="0" y="44"/>
                  </a:moveTo>
                  <a:lnTo>
                    <a:pt x="6" y="77"/>
                  </a:lnTo>
                  <a:lnTo>
                    <a:pt x="19" y="54"/>
                  </a:lnTo>
                  <a:lnTo>
                    <a:pt x="31" y="88"/>
                  </a:lnTo>
                  <a:lnTo>
                    <a:pt x="25" y="109"/>
                  </a:lnTo>
                  <a:lnTo>
                    <a:pt x="6" y="88"/>
                  </a:lnTo>
                  <a:lnTo>
                    <a:pt x="0" y="121"/>
                  </a:lnTo>
                  <a:lnTo>
                    <a:pt x="6" y="133"/>
                  </a:lnTo>
                  <a:lnTo>
                    <a:pt x="19" y="133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19" y="223"/>
                  </a:lnTo>
                  <a:lnTo>
                    <a:pt x="50" y="209"/>
                  </a:lnTo>
                  <a:lnTo>
                    <a:pt x="62" y="188"/>
                  </a:lnTo>
                  <a:lnTo>
                    <a:pt x="106" y="232"/>
                  </a:lnTo>
                  <a:lnTo>
                    <a:pt x="125" y="255"/>
                  </a:lnTo>
                  <a:lnTo>
                    <a:pt x="130" y="255"/>
                  </a:lnTo>
                  <a:lnTo>
                    <a:pt x="138" y="288"/>
                  </a:lnTo>
                  <a:lnTo>
                    <a:pt x="156" y="311"/>
                  </a:lnTo>
                  <a:lnTo>
                    <a:pt x="194" y="232"/>
                  </a:lnTo>
                  <a:lnTo>
                    <a:pt x="213" y="232"/>
                  </a:lnTo>
                  <a:lnTo>
                    <a:pt x="213" y="200"/>
                  </a:lnTo>
                  <a:lnTo>
                    <a:pt x="218" y="188"/>
                  </a:lnTo>
                  <a:lnTo>
                    <a:pt x="213" y="165"/>
                  </a:lnTo>
                  <a:lnTo>
                    <a:pt x="194" y="156"/>
                  </a:lnTo>
                  <a:lnTo>
                    <a:pt x="194" y="144"/>
                  </a:lnTo>
                  <a:lnTo>
                    <a:pt x="169" y="133"/>
                  </a:lnTo>
                  <a:lnTo>
                    <a:pt x="156" y="100"/>
                  </a:lnTo>
                  <a:lnTo>
                    <a:pt x="149" y="88"/>
                  </a:lnTo>
                  <a:lnTo>
                    <a:pt x="144" y="65"/>
                  </a:lnTo>
                  <a:lnTo>
                    <a:pt x="138" y="77"/>
                  </a:lnTo>
                  <a:lnTo>
                    <a:pt x="130" y="88"/>
                  </a:lnTo>
                  <a:lnTo>
                    <a:pt x="125" y="77"/>
                  </a:lnTo>
                  <a:lnTo>
                    <a:pt x="112" y="54"/>
                  </a:lnTo>
                  <a:lnTo>
                    <a:pt x="112" y="44"/>
                  </a:lnTo>
                  <a:lnTo>
                    <a:pt x="106" y="31"/>
                  </a:lnTo>
                  <a:lnTo>
                    <a:pt x="106" y="21"/>
                  </a:lnTo>
                  <a:lnTo>
                    <a:pt x="94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75" y="0"/>
                  </a:lnTo>
                  <a:lnTo>
                    <a:pt x="80" y="21"/>
                  </a:lnTo>
                  <a:lnTo>
                    <a:pt x="75" y="21"/>
                  </a:lnTo>
                  <a:lnTo>
                    <a:pt x="69" y="10"/>
                  </a:lnTo>
                  <a:lnTo>
                    <a:pt x="62" y="44"/>
                  </a:lnTo>
                  <a:lnTo>
                    <a:pt x="56" y="44"/>
                  </a:lnTo>
                  <a:lnTo>
                    <a:pt x="50" y="44"/>
                  </a:lnTo>
                  <a:lnTo>
                    <a:pt x="43" y="54"/>
                  </a:lnTo>
                  <a:lnTo>
                    <a:pt x="38" y="44"/>
                  </a:lnTo>
                  <a:lnTo>
                    <a:pt x="25" y="3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58" name="Freeform 1122"/>
            <p:cNvSpPr>
              <a:spLocks/>
            </p:cNvSpPr>
            <p:nvPr>
              <p:custDataLst>
                <p:tags r:id="rId952"/>
              </p:custDataLst>
            </p:nvPr>
          </p:nvSpPr>
          <p:spPr bwMode="auto">
            <a:xfrm>
              <a:off x="5610473" y="3325813"/>
              <a:ext cx="320675" cy="247650"/>
            </a:xfrm>
            <a:custGeom>
              <a:avLst/>
              <a:gdLst>
                <a:gd name="T0" fmla="*/ 0 w 218"/>
                <a:gd name="T1" fmla="*/ 2147483647 h 311"/>
                <a:gd name="T2" fmla="*/ 2147483647 w 218"/>
                <a:gd name="T3" fmla="*/ 2147483647 h 311"/>
                <a:gd name="T4" fmla="*/ 2147483647 w 218"/>
                <a:gd name="T5" fmla="*/ 2147483647 h 311"/>
                <a:gd name="T6" fmla="*/ 2147483647 w 218"/>
                <a:gd name="T7" fmla="*/ 2147483647 h 311"/>
                <a:gd name="T8" fmla="*/ 2147483647 w 218"/>
                <a:gd name="T9" fmla="*/ 2147483647 h 311"/>
                <a:gd name="T10" fmla="*/ 2147483647 w 218"/>
                <a:gd name="T11" fmla="*/ 2147483647 h 311"/>
                <a:gd name="T12" fmla="*/ 0 w 218"/>
                <a:gd name="T13" fmla="*/ 2147483647 h 311"/>
                <a:gd name="T14" fmla="*/ 2147483647 w 218"/>
                <a:gd name="T15" fmla="*/ 2147483647 h 311"/>
                <a:gd name="T16" fmla="*/ 2147483647 w 218"/>
                <a:gd name="T17" fmla="*/ 2147483647 h 311"/>
                <a:gd name="T18" fmla="*/ 2147483647 w 218"/>
                <a:gd name="T19" fmla="*/ 2147483647 h 311"/>
                <a:gd name="T20" fmla="*/ 2147483647 w 218"/>
                <a:gd name="T21" fmla="*/ 2147483647 h 311"/>
                <a:gd name="T22" fmla="*/ 2147483647 w 218"/>
                <a:gd name="T23" fmla="*/ 2147483647 h 311"/>
                <a:gd name="T24" fmla="*/ 2147483647 w 218"/>
                <a:gd name="T25" fmla="*/ 2147483647 h 311"/>
                <a:gd name="T26" fmla="*/ 2147483647 w 218"/>
                <a:gd name="T27" fmla="*/ 2147483647 h 311"/>
                <a:gd name="T28" fmla="*/ 2147483647 w 218"/>
                <a:gd name="T29" fmla="*/ 2147483647 h 311"/>
                <a:gd name="T30" fmla="*/ 2147483647 w 218"/>
                <a:gd name="T31" fmla="*/ 2147483647 h 311"/>
                <a:gd name="T32" fmla="*/ 2147483647 w 218"/>
                <a:gd name="T33" fmla="*/ 2147483647 h 311"/>
                <a:gd name="T34" fmla="*/ 2147483647 w 218"/>
                <a:gd name="T35" fmla="*/ 2147483647 h 311"/>
                <a:gd name="T36" fmla="*/ 2147483647 w 218"/>
                <a:gd name="T37" fmla="*/ 2147483647 h 311"/>
                <a:gd name="T38" fmla="*/ 2147483647 w 218"/>
                <a:gd name="T39" fmla="*/ 2147483647 h 311"/>
                <a:gd name="T40" fmla="*/ 2147483647 w 218"/>
                <a:gd name="T41" fmla="*/ 2147483647 h 311"/>
                <a:gd name="T42" fmla="*/ 2147483647 w 218"/>
                <a:gd name="T43" fmla="*/ 2147483647 h 311"/>
                <a:gd name="T44" fmla="*/ 2147483647 w 218"/>
                <a:gd name="T45" fmla="*/ 2147483647 h 311"/>
                <a:gd name="T46" fmla="*/ 2147483647 w 218"/>
                <a:gd name="T47" fmla="*/ 2147483647 h 311"/>
                <a:gd name="T48" fmla="*/ 2147483647 w 218"/>
                <a:gd name="T49" fmla="*/ 2147483647 h 311"/>
                <a:gd name="T50" fmla="*/ 2147483647 w 218"/>
                <a:gd name="T51" fmla="*/ 2147483647 h 311"/>
                <a:gd name="T52" fmla="*/ 2147483647 w 218"/>
                <a:gd name="T53" fmla="*/ 2147483647 h 311"/>
                <a:gd name="T54" fmla="*/ 2147483647 w 218"/>
                <a:gd name="T55" fmla="*/ 2147483647 h 311"/>
                <a:gd name="T56" fmla="*/ 2147483647 w 218"/>
                <a:gd name="T57" fmla="*/ 2147483647 h 311"/>
                <a:gd name="T58" fmla="*/ 2147483647 w 218"/>
                <a:gd name="T59" fmla="*/ 2147483647 h 311"/>
                <a:gd name="T60" fmla="*/ 2147483647 w 218"/>
                <a:gd name="T61" fmla="*/ 2147483647 h 311"/>
                <a:gd name="T62" fmla="*/ 2147483647 w 218"/>
                <a:gd name="T63" fmla="*/ 2147483647 h 311"/>
                <a:gd name="T64" fmla="*/ 2147483647 w 218"/>
                <a:gd name="T65" fmla="*/ 2147483647 h 311"/>
                <a:gd name="T66" fmla="*/ 2147483647 w 218"/>
                <a:gd name="T67" fmla="*/ 2147483647 h 311"/>
                <a:gd name="T68" fmla="*/ 2147483647 w 218"/>
                <a:gd name="T69" fmla="*/ 2147483647 h 311"/>
                <a:gd name="T70" fmla="*/ 2147483647 w 218"/>
                <a:gd name="T71" fmla="*/ 2147483647 h 311"/>
                <a:gd name="T72" fmla="*/ 2147483647 w 218"/>
                <a:gd name="T73" fmla="*/ 2147483647 h 311"/>
                <a:gd name="T74" fmla="*/ 2147483647 w 218"/>
                <a:gd name="T75" fmla="*/ 2147483647 h 311"/>
                <a:gd name="T76" fmla="*/ 2147483647 w 218"/>
                <a:gd name="T77" fmla="*/ 2147483647 h 311"/>
                <a:gd name="T78" fmla="*/ 2147483647 w 218"/>
                <a:gd name="T79" fmla="*/ 0 h 311"/>
                <a:gd name="T80" fmla="*/ 2147483647 w 218"/>
                <a:gd name="T81" fmla="*/ 0 h 311"/>
                <a:gd name="T82" fmla="*/ 2147483647 w 218"/>
                <a:gd name="T83" fmla="*/ 2147483647 h 311"/>
                <a:gd name="T84" fmla="*/ 2147483647 w 218"/>
                <a:gd name="T85" fmla="*/ 2147483647 h 311"/>
                <a:gd name="T86" fmla="*/ 2147483647 w 218"/>
                <a:gd name="T87" fmla="*/ 2147483647 h 311"/>
                <a:gd name="T88" fmla="*/ 2147483647 w 218"/>
                <a:gd name="T89" fmla="*/ 2147483647 h 311"/>
                <a:gd name="T90" fmla="*/ 2147483647 w 218"/>
                <a:gd name="T91" fmla="*/ 2147483647 h 311"/>
                <a:gd name="T92" fmla="*/ 2147483647 w 218"/>
                <a:gd name="T93" fmla="*/ 2147483647 h 311"/>
                <a:gd name="T94" fmla="*/ 2147483647 w 218"/>
                <a:gd name="T95" fmla="*/ 2147483647 h 311"/>
                <a:gd name="T96" fmla="*/ 2147483647 w 218"/>
                <a:gd name="T97" fmla="*/ 2147483647 h 311"/>
                <a:gd name="T98" fmla="*/ 2147483647 w 218"/>
                <a:gd name="T99" fmla="*/ 2147483647 h 311"/>
                <a:gd name="T100" fmla="*/ 0 w 218"/>
                <a:gd name="T101" fmla="*/ 2147483647 h 31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18" h="311">
                  <a:moveTo>
                    <a:pt x="0" y="44"/>
                  </a:moveTo>
                  <a:lnTo>
                    <a:pt x="6" y="77"/>
                  </a:lnTo>
                  <a:lnTo>
                    <a:pt x="19" y="54"/>
                  </a:lnTo>
                  <a:lnTo>
                    <a:pt x="31" y="88"/>
                  </a:lnTo>
                  <a:lnTo>
                    <a:pt x="25" y="109"/>
                  </a:lnTo>
                  <a:lnTo>
                    <a:pt x="6" y="88"/>
                  </a:lnTo>
                  <a:lnTo>
                    <a:pt x="0" y="121"/>
                  </a:lnTo>
                  <a:lnTo>
                    <a:pt x="6" y="133"/>
                  </a:lnTo>
                  <a:lnTo>
                    <a:pt x="19" y="133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19" y="223"/>
                  </a:lnTo>
                  <a:lnTo>
                    <a:pt x="50" y="209"/>
                  </a:lnTo>
                  <a:lnTo>
                    <a:pt x="62" y="188"/>
                  </a:lnTo>
                  <a:lnTo>
                    <a:pt x="106" y="232"/>
                  </a:lnTo>
                  <a:lnTo>
                    <a:pt x="125" y="255"/>
                  </a:lnTo>
                  <a:lnTo>
                    <a:pt x="130" y="255"/>
                  </a:lnTo>
                  <a:lnTo>
                    <a:pt x="138" y="288"/>
                  </a:lnTo>
                  <a:lnTo>
                    <a:pt x="156" y="311"/>
                  </a:lnTo>
                  <a:lnTo>
                    <a:pt x="194" y="232"/>
                  </a:lnTo>
                  <a:lnTo>
                    <a:pt x="213" y="232"/>
                  </a:lnTo>
                  <a:lnTo>
                    <a:pt x="213" y="200"/>
                  </a:lnTo>
                  <a:lnTo>
                    <a:pt x="218" y="188"/>
                  </a:lnTo>
                  <a:lnTo>
                    <a:pt x="213" y="165"/>
                  </a:lnTo>
                  <a:lnTo>
                    <a:pt x="194" y="156"/>
                  </a:lnTo>
                  <a:lnTo>
                    <a:pt x="194" y="144"/>
                  </a:lnTo>
                  <a:lnTo>
                    <a:pt x="169" y="133"/>
                  </a:lnTo>
                  <a:lnTo>
                    <a:pt x="156" y="100"/>
                  </a:lnTo>
                  <a:lnTo>
                    <a:pt x="149" y="88"/>
                  </a:lnTo>
                  <a:lnTo>
                    <a:pt x="144" y="65"/>
                  </a:lnTo>
                  <a:lnTo>
                    <a:pt x="138" y="77"/>
                  </a:lnTo>
                  <a:lnTo>
                    <a:pt x="130" y="88"/>
                  </a:lnTo>
                  <a:lnTo>
                    <a:pt x="125" y="77"/>
                  </a:lnTo>
                  <a:lnTo>
                    <a:pt x="112" y="54"/>
                  </a:lnTo>
                  <a:lnTo>
                    <a:pt x="112" y="44"/>
                  </a:lnTo>
                  <a:lnTo>
                    <a:pt x="106" y="31"/>
                  </a:lnTo>
                  <a:lnTo>
                    <a:pt x="106" y="21"/>
                  </a:lnTo>
                  <a:lnTo>
                    <a:pt x="94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75" y="0"/>
                  </a:lnTo>
                  <a:lnTo>
                    <a:pt x="80" y="21"/>
                  </a:lnTo>
                  <a:lnTo>
                    <a:pt x="75" y="21"/>
                  </a:lnTo>
                  <a:lnTo>
                    <a:pt x="69" y="10"/>
                  </a:lnTo>
                  <a:lnTo>
                    <a:pt x="62" y="44"/>
                  </a:lnTo>
                  <a:lnTo>
                    <a:pt x="56" y="44"/>
                  </a:lnTo>
                  <a:lnTo>
                    <a:pt x="50" y="44"/>
                  </a:lnTo>
                  <a:lnTo>
                    <a:pt x="43" y="54"/>
                  </a:lnTo>
                  <a:lnTo>
                    <a:pt x="38" y="44"/>
                  </a:lnTo>
                  <a:lnTo>
                    <a:pt x="25" y="31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59" name="Freeform 1123"/>
            <p:cNvSpPr>
              <a:spLocks/>
            </p:cNvSpPr>
            <p:nvPr>
              <p:custDataLst>
                <p:tags r:id="rId953"/>
              </p:custDataLst>
            </p:nvPr>
          </p:nvSpPr>
          <p:spPr bwMode="auto">
            <a:xfrm>
              <a:off x="5610473" y="3325813"/>
              <a:ext cx="320675" cy="247650"/>
            </a:xfrm>
            <a:custGeom>
              <a:avLst/>
              <a:gdLst>
                <a:gd name="T0" fmla="*/ 0 w 218"/>
                <a:gd name="T1" fmla="*/ 2147483647 h 311"/>
                <a:gd name="T2" fmla="*/ 2147483647 w 218"/>
                <a:gd name="T3" fmla="*/ 2147483647 h 311"/>
                <a:gd name="T4" fmla="*/ 2147483647 w 218"/>
                <a:gd name="T5" fmla="*/ 2147483647 h 311"/>
                <a:gd name="T6" fmla="*/ 2147483647 w 218"/>
                <a:gd name="T7" fmla="*/ 2147483647 h 311"/>
                <a:gd name="T8" fmla="*/ 2147483647 w 218"/>
                <a:gd name="T9" fmla="*/ 2147483647 h 311"/>
                <a:gd name="T10" fmla="*/ 2147483647 w 218"/>
                <a:gd name="T11" fmla="*/ 2147483647 h 311"/>
                <a:gd name="T12" fmla="*/ 0 w 218"/>
                <a:gd name="T13" fmla="*/ 2147483647 h 311"/>
                <a:gd name="T14" fmla="*/ 2147483647 w 218"/>
                <a:gd name="T15" fmla="*/ 2147483647 h 311"/>
                <a:gd name="T16" fmla="*/ 2147483647 w 218"/>
                <a:gd name="T17" fmla="*/ 2147483647 h 311"/>
                <a:gd name="T18" fmla="*/ 2147483647 w 218"/>
                <a:gd name="T19" fmla="*/ 2147483647 h 311"/>
                <a:gd name="T20" fmla="*/ 2147483647 w 218"/>
                <a:gd name="T21" fmla="*/ 2147483647 h 311"/>
                <a:gd name="T22" fmla="*/ 2147483647 w 218"/>
                <a:gd name="T23" fmla="*/ 2147483647 h 311"/>
                <a:gd name="T24" fmla="*/ 2147483647 w 218"/>
                <a:gd name="T25" fmla="*/ 2147483647 h 311"/>
                <a:gd name="T26" fmla="*/ 2147483647 w 218"/>
                <a:gd name="T27" fmla="*/ 2147483647 h 311"/>
                <a:gd name="T28" fmla="*/ 2147483647 w 218"/>
                <a:gd name="T29" fmla="*/ 2147483647 h 311"/>
                <a:gd name="T30" fmla="*/ 2147483647 w 218"/>
                <a:gd name="T31" fmla="*/ 2147483647 h 311"/>
                <a:gd name="T32" fmla="*/ 2147483647 w 218"/>
                <a:gd name="T33" fmla="*/ 2147483647 h 311"/>
                <a:gd name="T34" fmla="*/ 2147483647 w 218"/>
                <a:gd name="T35" fmla="*/ 2147483647 h 311"/>
                <a:gd name="T36" fmla="*/ 2147483647 w 218"/>
                <a:gd name="T37" fmla="*/ 2147483647 h 311"/>
                <a:gd name="T38" fmla="*/ 2147483647 w 218"/>
                <a:gd name="T39" fmla="*/ 2147483647 h 311"/>
                <a:gd name="T40" fmla="*/ 2147483647 w 218"/>
                <a:gd name="T41" fmla="*/ 2147483647 h 311"/>
                <a:gd name="T42" fmla="*/ 2147483647 w 218"/>
                <a:gd name="T43" fmla="*/ 2147483647 h 311"/>
                <a:gd name="T44" fmla="*/ 2147483647 w 218"/>
                <a:gd name="T45" fmla="*/ 2147483647 h 311"/>
                <a:gd name="T46" fmla="*/ 2147483647 w 218"/>
                <a:gd name="T47" fmla="*/ 2147483647 h 311"/>
                <a:gd name="T48" fmla="*/ 2147483647 w 218"/>
                <a:gd name="T49" fmla="*/ 2147483647 h 311"/>
                <a:gd name="T50" fmla="*/ 2147483647 w 218"/>
                <a:gd name="T51" fmla="*/ 2147483647 h 311"/>
                <a:gd name="T52" fmla="*/ 2147483647 w 218"/>
                <a:gd name="T53" fmla="*/ 2147483647 h 311"/>
                <a:gd name="T54" fmla="*/ 2147483647 w 218"/>
                <a:gd name="T55" fmla="*/ 2147483647 h 311"/>
                <a:gd name="T56" fmla="*/ 2147483647 w 218"/>
                <a:gd name="T57" fmla="*/ 2147483647 h 311"/>
                <a:gd name="T58" fmla="*/ 2147483647 w 218"/>
                <a:gd name="T59" fmla="*/ 2147483647 h 311"/>
                <a:gd name="T60" fmla="*/ 2147483647 w 218"/>
                <a:gd name="T61" fmla="*/ 2147483647 h 311"/>
                <a:gd name="T62" fmla="*/ 2147483647 w 218"/>
                <a:gd name="T63" fmla="*/ 2147483647 h 311"/>
                <a:gd name="T64" fmla="*/ 2147483647 w 218"/>
                <a:gd name="T65" fmla="*/ 2147483647 h 311"/>
                <a:gd name="T66" fmla="*/ 2147483647 w 218"/>
                <a:gd name="T67" fmla="*/ 2147483647 h 311"/>
                <a:gd name="T68" fmla="*/ 2147483647 w 218"/>
                <a:gd name="T69" fmla="*/ 2147483647 h 311"/>
                <a:gd name="T70" fmla="*/ 2147483647 w 218"/>
                <a:gd name="T71" fmla="*/ 2147483647 h 311"/>
                <a:gd name="T72" fmla="*/ 2147483647 w 218"/>
                <a:gd name="T73" fmla="*/ 2147483647 h 311"/>
                <a:gd name="T74" fmla="*/ 2147483647 w 218"/>
                <a:gd name="T75" fmla="*/ 2147483647 h 311"/>
                <a:gd name="T76" fmla="*/ 2147483647 w 218"/>
                <a:gd name="T77" fmla="*/ 2147483647 h 311"/>
                <a:gd name="T78" fmla="*/ 2147483647 w 218"/>
                <a:gd name="T79" fmla="*/ 0 h 311"/>
                <a:gd name="T80" fmla="*/ 2147483647 w 218"/>
                <a:gd name="T81" fmla="*/ 0 h 311"/>
                <a:gd name="T82" fmla="*/ 2147483647 w 218"/>
                <a:gd name="T83" fmla="*/ 2147483647 h 311"/>
                <a:gd name="T84" fmla="*/ 2147483647 w 218"/>
                <a:gd name="T85" fmla="*/ 2147483647 h 311"/>
                <a:gd name="T86" fmla="*/ 2147483647 w 218"/>
                <a:gd name="T87" fmla="*/ 2147483647 h 311"/>
                <a:gd name="T88" fmla="*/ 2147483647 w 218"/>
                <a:gd name="T89" fmla="*/ 2147483647 h 311"/>
                <a:gd name="T90" fmla="*/ 2147483647 w 218"/>
                <a:gd name="T91" fmla="*/ 2147483647 h 311"/>
                <a:gd name="T92" fmla="*/ 2147483647 w 218"/>
                <a:gd name="T93" fmla="*/ 2147483647 h 311"/>
                <a:gd name="T94" fmla="*/ 2147483647 w 218"/>
                <a:gd name="T95" fmla="*/ 2147483647 h 311"/>
                <a:gd name="T96" fmla="*/ 2147483647 w 218"/>
                <a:gd name="T97" fmla="*/ 2147483647 h 311"/>
                <a:gd name="T98" fmla="*/ 2147483647 w 218"/>
                <a:gd name="T99" fmla="*/ 2147483647 h 311"/>
                <a:gd name="T100" fmla="*/ 0 w 218"/>
                <a:gd name="T101" fmla="*/ 2147483647 h 31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18" h="311">
                  <a:moveTo>
                    <a:pt x="0" y="44"/>
                  </a:moveTo>
                  <a:lnTo>
                    <a:pt x="6" y="77"/>
                  </a:lnTo>
                  <a:lnTo>
                    <a:pt x="19" y="54"/>
                  </a:lnTo>
                  <a:lnTo>
                    <a:pt x="31" y="88"/>
                  </a:lnTo>
                  <a:lnTo>
                    <a:pt x="25" y="109"/>
                  </a:lnTo>
                  <a:lnTo>
                    <a:pt x="6" y="88"/>
                  </a:lnTo>
                  <a:lnTo>
                    <a:pt x="0" y="121"/>
                  </a:lnTo>
                  <a:lnTo>
                    <a:pt x="6" y="133"/>
                  </a:lnTo>
                  <a:lnTo>
                    <a:pt x="19" y="133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19" y="223"/>
                  </a:lnTo>
                  <a:lnTo>
                    <a:pt x="50" y="209"/>
                  </a:lnTo>
                  <a:lnTo>
                    <a:pt x="62" y="188"/>
                  </a:lnTo>
                  <a:lnTo>
                    <a:pt x="106" y="232"/>
                  </a:lnTo>
                  <a:lnTo>
                    <a:pt x="125" y="255"/>
                  </a:lnTo>
                  <a:lnTo>
                    <a:pt x="130" y="255"/>
                  </a:lnTo>
                  <a:lnTo>
                    <a:pt x="138" y="288"/>
                  </a:lnTo>
                  <a:lnTo>
                    <a:pt x="156" y="311"/>
                  </a:lnTo>
                  <a:lnTo>
                    <a:pt x="194" y="232"/>
                  </a:lnTo>
                  <a:lnTo>
                    <a:pt x="213" y="232"/>
                  </a:lnTo>
                  <a:lnTo>
                    <a:pt x="213" y="200"/>
                  </a:lnTo>
                  <a:lnTo>
                    <a:pt x="218" y="188"/>
                  </a:lnTo>
                  <a:lnTo>
                    <a:pt x="213" y="165"/>
                  </a:lnTo>
                  <a:lnTo>
                    <a:pt x="194" y="156"/>
                  </a:lnTo>
                  <a:lnTo>
                    <a:pt x="194" y="144"/>
                  </a:lnTo>
                  <a:lnTo>
                    <a:pt x="169" y="133"/>
                  </a:lnTo>
                  <a:lnTo>
                    <a:pt x="156" y="100"/>
                  </a:lnTo>
                  <a:lnTo>
                    <a:pt x="149" y="88"/>
                  </a:lnTo>
                  <a:lnTo>
                    <a:pt x="144" y="65"/>
                  </a:lnTo>
                  <a:lnTo>
                    <a:pt x="138" y="77"/>
                  </a:lnTo>
                  <a:lnTo>
                    <a:pt x="130" y="88"/>
                  </a:lnTo>
                  <a:lnTo>
                    <a:pt x="125" y="77"/>
                  </a:lnTo>
                  <a:lnTo>
                    <a:pt x="112" y="54"/>
                  </a:lnTo>
                  <a:lnTo>
                    <a:pt x="112" y="44"/>
                  </a:lnTo>
                  <a:lnTo>
                    <a:pt x="106" y="31"/>
                  </a:lnTo>
                  <a:lnTo>
                    <a:pt x="106" y="21"/>
                  </a:lnTo>
                  <a:lnTo>
                    <a:pt x="94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75" y="0"/>
                  </a:lnTo>
                  <a:lnTo>
                    <a:pt x="80" y="21"/>
                  </a:lnTo>
                  <a:lnTo>
                    <a:pt x="75" y="21"/>
                  </a:lnTo>
                  <a:lnTo>
                    <a:pt x="69" y="10"/>
                  </a:lnTo>
                  <a:lnTo>
                    <a:pt x="62" y="44"/>
                  </a:lnTo>
                  <a:lnTo>
                    <a:pt x="56" y="44"/>
                  </a:lnTo>
                  <a:lnTo>
                    <a:pt x="50" y="44"/>
                  </a:lnTo>
                  <a:lnTo>
                    <a:pt x="43" y="54"/>
                  </a:lnTo>
                  <a:lnTo>
                    <a:pt x="38" y="44"/>
                  </a:lnTo>
                  <a:lnTo>
                    <a:pt x="25" y="3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60" name="Freeform 1124"/>
            <p:cNvSpPr>
              <a:spLocks/>
            </p:cNvSpPr>
            <p:nvPr>
              <p:custDataLst>
                <p:tags r:id="rId954"/>
              </p:custDataLst>
            </p:nvPr>
          </p:nvSpPr>
          <p:spPr bwMode="auto">
            <a:xfrm>
              <a:off x="5610473" y="3325813"/>
              <a:ext cx="320675" cy="247650"/>
            </a:xfrm>
            <a:custGeom>
              <a:avLst/>
              <a:gdLst>
                <a:gd name="T0" fmla="*/ 0 w 218"/>
                <a:gd name="T1" fmla="*/ 2147483647 h 311"/>
                <a:gd name="T2" fmla="*/ 2147483647 w 218"/>
                <a:gd name="T3" fmla="*/ 2147483647 h 311"/>
                <a:gd name="T4" fmla="*/ 2147483647 w 218"/>
                <a:gd name="T5" fmla="*/ 2147483647 h 311"/>
                <a:gd name="T6" fmla="*/ 2147483647 w 218"/>
                <a:gd name="T7" fmla="*/ 2147483647 h 311"/>
                <a:gd name="T8" fmla="*/ 2147483647 w 218"/>
                <a:gd name="T9" fmla="*/ 2147483647 h 311"/>
                <a:gd name="T10" fmla="*/ 2147483647 w 218"/>
                <a:gd name="T11" fmla="*/ 2147483647 h 311"/>
                <a:gd name="T12" fmla="*/ 0 w 218"/>
                <a:gd name="T13" fmla="*/ 2147483647 h 311"/>
                <a:gd name="T14" fmla="*/ 2147483647 w 218"/>
                <a:gd name="T15" fmla="*/ 2147483647 h 311"/>
                <a:gd name="T16" fmla="*/ 2147483647 w 218"/>
                <a:gd name="T17" fmla="*/ 2147483647 h 311"/>
                <a:gd name="T18" fmla="*/ 2147483647 w 218"/>
                <a:gd name="T19" fmla="*/ 2147483647 h 311"/>
                <a:gd name="T20" fmla="*/ 2147483647 w 218"/>
                <a:gd name="T21" fmla="*/ 2147483647 h 311"/>
                <a:gd name="T22" fmla="*/ 2147483647 w 218"/>
                <a:gd name="T23" fmla="*/ 2147483647 h 311"/>
                <a:gd name="T24" fmla="*/ 2147483647 w 218"/>
                <a:gd name="T25" fmla="*/ 2147483647 h 311"/>
                <a:gd name="T26" fmla="*/ 2147483647 w 218"/>
                <a:gd name="T27" fmla="*/ 2147483647 h 311"/>
                <a:gd name="T28" fmla="*/ 2147483647 w 218"/>
                <a:gd name="T29" fmla="*/ 2147483647 h 311"/>
                <a:gd name="T30" fmla="*/ 2147483647 w 218"/>
                <a:gd name="T31" fmla="*/ 2147483647 h 311"/>
                <a:gd name="T32" fmla="*/ 2147483647 w 218"/>
                <a:gd name="T33" fmla="*/ 2147483647 h 311"/>
                <a:gd name="T34" fmla="*/ 2147483647 w 218"/>
                <a:gd name="T35" fmla="*/ 2147483647 h 311"/>
                <a:gd name="T36" fmla="*/ 2147483647 w 218"/>
                <a:gd name="T37" fmla="*/ 2147483647 h 311"/>
                <a:gd name="T38" fmla="*/ 2147483647 w 218"/>
                <a:gd name="T39" fmla="*/ 2147483647 h 311"/>
                <a:gd name="T40" fmla="*/ 2147483647 w 218"/>
                <a:gd name="T41" fmla="*/ 2147483647 h 311"/>
                <a:gd name="T42" fmla="*/ 2147483647 w 218"/>
                <a:gd name="T43" fmla="*/ 2147483647 h 311"/>
                <a:gd name="T44" fmla="*/ 2147483647 w 218"/>
                <a:gd name="T45" fmla="*/ 2147483647 h 311"/>
                <a:gd name="T46" fmla="*/ 2147483647 w 218"/>
                <a:gd name="T47" fmla="*/ 2147483647 h 311"/>
                <a:gd name="T48" fmla="*/ 2147483647 w 218"/>
                <a:gd name="T49" fmla="*/ 2147483647 h 311"/>
                <a:gd name="T50" fmla="*/ 2147483647 w 218"/>
                <a:gd name="T51" fmla="*/ 2147483647 h 311"/>
                <a:gd name="T52" fmla="*/ 2147483647 w 218"/>
                <a:gd name="T53" fmla="*/ 2147483647 h 311"/>
                <a:gd name="T54" fmla="*/ 2147483647 w 218"/>
                <a:gd name="T55" fmla="*/ 2147483647 h 311"/>
                <a:gd name="T56" fmla="*/ 2147483647 w 218"/>
                <a:gd name="T57" fmla="*/ 2147483647 h 311"/>
                <a:gd name="T58" fmla="*/ 2147483647 w 218"/>
                <a:gd name="T59" fmla="*/ 2147483647 h 311"/>
                <a:gd name="T60" fmla="*/ 2147483647 w 218"/>
                <a:gd name="T61" fmla="*/ 2147483647 h 311"/>
                <a:gd name="T62" fmla="*/ 2147483647 w 218"/>
                <a:gd name="T63" fmla="*/ 2147483647 h 311"/>
                <a:gd name="T64" fmla="*/ 2147483647 w 218"/>
                <a:gd name="T65" fmla="*/ 2147483647 h 311"/>
                <a:gd name="T66" fmla="*/ 2147483647 w 218"/>
                <a:gd name="T67" fmla="*/ 2147483647 h 311"/>
                <a:gd name="T68" fmla="*/ 2147483647 w 218"/>
                <a:gd name="T69" fmla="*/ 2147483647 h 311"/>
                <a:gd name="T70" fmla="*/ 2147483647 w 218"/>
                <a:gd name="T71" fmla="*/ 2147483647 h 311"/>
                <a:gd name="T72" fmla="*/ 2147483647 w 218"/>
                <a:gd name="T73" fmla="*/ 2147483647 h 311"/>
                <a:gd name="T74" fmla="*/ 2147483647 w 218"/>
                <a:gd name="T75" fmla="*/ 2147483647 h 311"/>
                <a:gd name="T76" fmla="*/ 2147483647 w 218"/>
                <a:gd name="T77" fmla="*/ 2147483647 h 311"/>
                <a:gd name="T78" fmla="*/ 2147483647 w 218"/>
                <a:gd name="T79" fmla="*/ 0 h 311"/>
                <a:gd name="T80" fmla="*/ 2147483647 w 218"/>
                <a:gd name="T81" fmla="*/ 0 h 311"/>
                <a:gd name="T82" fmla="*/ 2147483647 w 218"/>
                <a:gd name="T83" fmla="*/ 2147483647 h 311"/>
                <a:gd name="T84" fmla="*/ 2147483647 w 218"/>
                <a:gd name="T85" fmla="*/ 2147483647 h 311"/>
                <a:gd name="T86" fmla="*/ 2147483647 w 218"/>
                <a:gd name="T87" fmla="*/ 2147483647 h 311"/>
                <a:gd name="T88" fmla="*/ 2147483647 w 218"/>
                <a:gd name="T89" fmla="*/ 2147483647 h 311"/>
                <a:gd name="T90" fmla="*/ 2147483647 w 218"/>
                <a:gd name="T91" fmla="*/ 2147483647 h 311"/>
                <a:gd name="T92" fmla="*/ 2147483647 w 218"/>
                <a:gd name="T93" fmla="*/ 2147483647 h 311"/>
                <a:gd name="T94" fmla="*/ 2147483647 w 218"/>
                <a:gd name="T95" fmla="*/ 2147483647 h 311"/>
                <a:gd name="T96" fmla="*/ 2147483647 w 218"/>
                <a:gd name="T97" fmla="*/ 2147483647 h 311"/>
                <a:gd name="T98" fmla="*/ 2147483647 w 218"/>
                <a:gd name="T99" fmla="*/ 2147483647 h 311"/>
                <a:gd name="T100" fmla="*/ 0 w 218"/>
                <a:gd name="T101" fmla="*/ 2147483647 h 31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18" h="311">
                  <a:moveTo>
                    <a:pt x="0" y="44"/>
                  </a:moveTo>
                  <a:lnTo>
                    <a:pt x="6" y="77"/>
                  </a:lnTo>
                  <a:lnTo>
                    <a:pt x="19" y="54"/>
                  </a:lnTo>
                  <a:lnTo>
                    <a:pt x="31" y="88"/>
                  </a:lnTo>
                  <a:lnTo>
                    <a:pt x="25" y="109"/>
                  </a:lnTo>
                  <a:lnTo>
                    <a:pt x="6" y="88"/>
                  </a:lnTo>
                  <a:lnTo>
                    <a:pt x="0" y="121"/>
                  </a:lnTo>
                  <a:lnTo>
                    <a:pt x="6" y="133"/>
                  </a:lnTo>
                  <a:lnTo>
                    <a:pt x="19" y="133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19" y="223"/>
                  </a:lnTo>
                  <a:lnTo>
                    <a:pt x="50" y="209"/>
                  </a:lnTo>
                  <a:lnTo>
                    <a:pt x="62" y="188"/>
                  </a:lnTo>
                  <a:lnTo>
                    <a:pt x="106" y="232"/>
                  </a:lnTo>
                  <a:lnTo>
                    <a:pt x="125" y="255"/>
                  </a:lnTo>
                  <a:lnTo>
                    <a:pt x="130" y="255"/>
                  </a:lnTo>
                  <a:lnTo>
                    <a:pt x="138" y="288"/>
                  </a:lnTo>
                  <a:lnTo>
                    <a:pt x="156" y="311"/>
                  </a:lnTo>
                  <a:lnTo>
                    <a:pt x="194" y="232"/>
                  </a:lnTo>
                  <a:lnTo>
                    <a:pt x="213" y="232"/>
                  </a:lnTo>
                  <a:lnTo>
                    <a:pt x="213" y="200"/>
                  </a:lnTo>
                  <a:lnTo>
                    <a:pt x="218" y="188"/>
                  </a:lnTo>
                  <a:lnTo>
                    <a:pt x="213" y="165"/>
                  </a:lnTo>
                  <a:lnTo>
                    <a:pt x="194" y="156"/>
                  </a:lnTo>
                  <a:lnTo>
                    <a:pt x="194" y="144"/>
                  </a:lnTo>
                  <a:lnTo>
                    <a:pt x="169" y="133"/>
                  </a:lnTo>
                  <a:lnTo>
                    <a:pt x="156" y="100"/>
                  </a:lnTo>
                  <a:lnTo>
                    <a:pt x="149" y="88"/>
                  </a:lnTo>
                  <a:lnTo>
                    <a:pt x="144" y="65"/>
                  </a:lnTo>
                  <a:lnTo>
                    <a:pt x="138" y="77"/>
                  </a:lnTo>
                  <a:lnTo>
                    <a:pt x="130" y="88"/>
                  </a:lnTo>
                  <a:lnTo>
                    <a:pt x="125" y="77"/>
                  </a:lnTo>
                  <a:lnTo>
                    <a:pt x="112" y="54"/>
                  </a:lnTo>
                  <a:lnTo>
                    <a:pt x="112" y="44"/>
                  </a:lnTo>
                  <a:lnTo>
                    <a:pt x="106" y="31"/>
                  </a:lnTo>
                  <a:lnTo>
                    <a:pt x="106" y="21"/>
                  </a:lnTo>
                  <a:lnTo>
                    <a:pt x="94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75" y="0"/>
                  </a:lnTo>
                  <a:lnTo>
                    <a:pt x="80" y="21"/>
                  </a:lnTo>
                  <a:lnTo>
                    <a:pt x="75" y="21"/>
                  </a:lnTo>
                  <a:lnTo>
                    <a:pt x="69" y="10"/>
                  </a:lnTo>
                  <a:lnTo>
                    <a:pt x="62" y="44"/>
                  </a:lnTo>
                  <a:lnTo>
                    <a:pt x="56" y="44"/>
                  </a:lnTo>
                  <a:lnTo>
                    <a:pt x="50" y="44"/>
                  </a:lnTo>
                  <a:lnTo>
                    <a:pt x="43" y="54"/>
                  </a:lnTo>
                  <a:lnTo>
                    <a:pt x="38" y="44"/>
                  </a:lnTo>
                  <a:lnTo>
                    <a:pt x="25" y="31"/>
                  </a:lnTo>
                  <a:lnTo>
                    <a:pt x="0" y="44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 cap="flat" cmpd="sng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61" name="Freeform 1125"/>
            <p:cNvSpPr>
              <a:spLocks/>
            </p:cNvSpPr>
            <p:nvPr>
              <p:custDataLst>
                <p:tags r:id="rId955"/>
              </p:custDataLst>
            </p:nvPr>
          </p:nvSpPr>
          <p:spPr bwMode="auto">
            <a:xfrm>
              <a:off x="5969248" y="3316288"/>
              <a:ext cx="265113" cy="131762"/>
            </a:xfrm>
            <a:custGeom>
              <a:avLst/>
              <a:gdLst>
                <a:gd name="T0" fmla="*/ 2147483647 w 181"/>
                <a:gd name="T1" fmla="*/ 2147483647 h 167"/>
                <a:gd name="T2" fmla="*/ 2147483647 w 181"/>
                <a:gd name="T3" fmla="*/ 2147483647 h 167"/>
                <a:gd name="T4" fmla="*/ 2147483647 w 181"/>
                <a:gd name="T5" fmla="*/ 2147483647 h 167"/>
                <a:gd name="T6" fmla="*/ 0 w 181"/>
                <a:gd name="T7" fmla="*/ 2147483647 h 167"/>
                <a:gd name="T8" fmla="*/ 2147483647 w 181"/>
                <a:gd name="T9" fmla="*/ 2147483647 h 167"/>
                <a:gd name="T10" fmla="*/ 2147483647 w 181"/>
                <a:gd name="T11" fmla="*/ 2147483647 h 167"/>
                <a:gd name="T12" fmla="*/ 2147483647 w 181"/>
                <a:gd name="T13" fmla="*/ 2147483647 h 167"/>
                <a:gd name="T14" fmla="*/ 2147483647 w 181"/>
                <a:gd name="T15" fmla="*/ 2147483647 h 167"/>
                <a:gd name="T16" fmla="*/ 2147483647 w 181"/>
                <a:gd name="T17" fmla="*/ 2147483647 h 167"/>
                <a:gd name="T18" fmla="*/ 2147483647 w 181"/>
                <a:gd name="T19" fmla="*/ 2147483647 h 167"/>
                <a:gd name="T20" fmla="*/ 2147483647 w 181"/>
                <a:gd name="T21" fmla="*/ 2147483647 h 167"/>
                <a:gd name="T22" fmla="*/ 2147483647 w 181"/>
                <a:gd name="T23" fmla="*/ 2147483647 h 167"/>
                <a:gd name="T24" fmla="*/ 2147483647 w 181"/>
                <a:gd name="T25" fmla="*/ 2147483647 h 167"/>
                <a:gd name="T26" fmla="*/ 2147483647 w 181"/>
                <a:gd name="T27" fmla="*/ 2147483647 h 167"/>
                <a:gd name="T28" fmla="*/ 2147483647 w 181"/>
                <a:gd name="T29" fmla="*/ 2147483647 h 167"/>
                <a:gd name="T30" fmla="*/ 2147483647 w 181"/>
                <a:gd name="T31" fmla="*/ 2147483647 h 167"/>
                <a:gd name="T32" fmla="*/ 2147483647 w 181"/>
                <a:gd name="T33" fmla="*/ 2147483647 h 167"/>
                <a:gd name="T34" fmla="*/ 2147483647 w 181"/>
                <a:gd name="T35" fmla="*/ 2147483647 h 167"/>
                <a:gd name="T36" fmla="*/ 2147483647 w 181"/>
                <a:gd name="T37" fmla="*/ 2147483647 h 167"/>
                <a:gd name="T38" fmla="*/ 2147483647 w 181"/>
                <a:gd name="T39" fmla="*/ 2147483647 h 167"/>
                <a:gd name="T40" fmla="*/ 2147483647 w 181"/>
                <a:gd name="T41" fmla="*/ 2147483647 h 167"/>
                <a:gd name="T42" fmla="*/ 2147483647 w 181"/>
                <a:gd name="T43" fmla="*/ 0 h 167"/>
                <a:gd name="T44" fmla="*/ 2147483647 w 181"/>
                <a:gd name="T45" fmla="*/ 2147483647 h 167"/>
                <a:gd name="T46" fmla="*/ 2147483647 w 181"/>
                <a:gd name="T47" fmla="*/ 2147483647 h 167"/>
                <a:gd name="T48" fmla="*/ 2147483647 w 181"/>
                <a:gd name="T49" fmla="*/ 2147483647 h 167"/>
                <a:gd name="T50" fmla="*/ 2147483647 w 181"/>
                <a:gd name="T51" fmla="*/ 2147483647 h 167"/>
                <a:gd name="T52" fmla="*/ 2147483647 w 181"/>
                <a:gd name="T53" fmla="*/ 2147483647 h 167"/>
                <a:gd name="T54" fmla="*/ 2147483647 w 181"/>
                <a:gd name="T55" fmla="*/ 2147483647 h 167"/>
                <a:gd name="T56" fmla="*/ 2147483647 w 181"/>
                <a:gd name="T57" fmla="*/ 2147483647 h 167"/>
                <a:gd name="T58" fmla="*/ 2147483647 w 181"/>
                <a:gd name="T59" fmla="*/ 2147483647 h 167"/>
                <a:gd name="T60" fmla="*/ 2147483647 w 181"/>
                <a:gd name="T61" fmla="*/ 2147483647 h 167"/>
                <a:gd name="T62" fmla="*/ 2147483647 w 181"/>
                <a:gd name="T63" fmla="*/ 2147483647 h 167"/>
                <a:gd name="T64" fmla="*/ 2147483647 w 181"/>
                <a:gd name="T65" fmla="*/ 2147483647 h 167"/>
                <a:gd name="T66" fmla="*/ 2147483647 w 181"/>
                <a:gd name="T67" fmla="*/ 2147483647 h 167"/>
                <a:gd name="T68" fmla="*/ 2147483647 w 181"/>
                <a:gd name="T69" fmla="*/ 2147483647 h 167"/>
                <a:gd name="T70" fmla="*/ 2147483647 w 181"/>
                <a:gd name="T71" fmla="*/ 2147483647 h 167"/>
                <a:gd name="T72" fmla="*/ 2147483647 w 181"/>
                <a:gd name="T73" fmla="*/ 2147483647 h 167"/>
                <a:gd name="T74" fmla="*/ 2147483647 w 181"/>
                <a:gd name="T75" fmla="*/ 2147483647 h 167"/>
                <a:gd name="T76" fmla="*/ 2147483647 w 181"/>
                <a:gd name="T77" fmla="*/ 2147483647 h 167"/>
                <a:gd name="T78" fmla="*/ 2147483647 w 181"/>
                <a:gd name="T79" fmla="*/ 2147483647 h 167"/>
                <a:gd name="T80" fmla="*/ 2147483647 w 181"/>
                <a:gd name="T81" fmla="*/ 2147483647 h 16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81" h="167">
                  <a:moveTo>
                    <a:pt x="44" y="122"/>
                  </a:moveTo>
                  <a:lnTo>
                    <a:pt x="31" y="122"/>
                  </a:lnTo>
                  <a:lnTo>
                    <a:pt x="6" y="122"/>
                  </a:lnTo>
                  <a:lnTo>
                    <a:pt x="0" y="146"/>
                  </a:lnTo>
                  <a:lnTo>
                    <a:pt x="6" y="146"/>
                  </a:lnTo>
                  <a:lnTo>
                    <a:pt x="13" y="155"/>
                  </a:lnTo>
                  <a:lnTo>
                    <a:pt x="50" y="155"/>
                  </a:lnTo>
                  <a:lnTo>
                    <a:pt x="75" y="155"/>
                  </a:lnTo>
                  <a:lnTo>
                    <a:pt x="88" y="167"/>
                  </a:lnTo>
                  <a:lnTo>
                    <a:pt x="88" y="146"/>
                  </a:lnTo>
                  <a:lnTo>
                    <a:pt x="101" y="146"/>
                  </a:lnTo>
                  <a:lnTo>
                    <a:pt x="113" y="134"/>
                  </a:lnTo>
                  <a:lnTo>
                    <a:pt x="125" y="134"/>
                  </a:lnTo>
                  <a:lnTo>
                    <a:pt x="151" y="101"/>
                  </a:lnTo>
                  <a:lnTo>
                    <a:pt x="175" y="78"/>
                  </a:lnTo>
                  <a:lnTo>
                    <a:pt x="181" y="67"/>
                  </a:lnTo>
                  <a:lnTo>
                    <a:pt x="175" y="44"/>
                  </a:lnTo>
                  <a:lnTo>
                    <a:pt x="170" y="44"/>
                  </a:lnTo>
                  <a:lnTo>
                    <a:pt x="156" y="34"/>
                  </a:lnTo>
                  <a:lnTo>
                    <a:pt x="144" y="23"/>
                  </a:lnTo>
                  <a:lnTo>
                    <a:pt x="113" y="13"/>
                  </a:lnTo>
                  <a:lnTo>
                    <a:pt x="75" y="0"/>
                  </a:lnTo>
                  <a:lnTo>
                    <a:pt x="69" y="13"/>
                  </a:lnTo>
                  <a:lnTo>
                    <a:pt x="69" y="23"/>
                  </a:lnTo>
                  <a:lnTo>
                    <a:pt x="75" y="34"/>
                  </a:lnTo>
                  <a:lnTo>
                    <a:pt x="64" y="34"/>
                  </a:lnTo>
                  <a:lnTo>
                    <a:pt x="50" y="23"/>
                  </a:lnTo>
                  <a:lnTo>
                    <a:pt x="31" y="34"/>
                  </a:lnTo>
                  <a:lnTo>
                    <a:pt x="38" y="34"/>
                  </a:lnTo>
                  <a:lnTo>
                    <a:pt x="44" y="44"/>
                  </a:lnTo>
                  <a:lnTo>
                    <a:pt x="38" y="57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64" y="78"/>
                  </a:lnTo>
                  <a:lnTo>
                    <a:pt x="69" y="78"/>
                  </a:lnTo>
                  <a:lnTo>
                    <a:pt x="75" y="101"/>
                  </a:lnTo>
                  <a:lnTo>
                    <a:pt x="69" y="111"/>
                  </a:lnTo>
                  <a:lnTo>
                    <a:pt x="64" y="111"/>
                  </a:lnTo>
                  <a:lnTo>
                    <a:pt x="56" y="111"/>
                  </a:lnTo>
                  <a:lnTo>
                    <a:pt x="50" y="111"/>
                  </a:lnTo>
                  <a:lnTo>
                    <a:pt x="44" y="12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62" name="Freeform 1126"/>
            <p:cNvSpPr>
              <a:spLocks/>
            </p:cNvSpPr>
            <p:nvPr>
              <p:custDataLst>
                <p:tags r:id="rId956"/>
              </p:custDataLst>
            </p:nvPr>
          </p:nvSpPr>
          <p:spPr bwMode="auto">
            <a:xfrm>
              <a:off x="5969248" y="3316288"/>
              <a:ext cx="265113" cy="131762"/>
            </a:xfrm>
            <a:custGeom>
              <a:avLst/>
              <a:gdLst>
                <a:gd name="T0" fmla="*/ 2147483647 w 181"/>
                <a:gd name="T1" fmla="*/ 2147483647 h 167"/>
                <a:gd name="T2" fmla="*/ 2147483647 w 181"/>
                <a:gd name="T3" fmla="*/ 2147483647 h 167"/>
                <a:gd name="T4" fmla="*/ 2147483647 w 181"/>
                <a:gd name="T5" fmla="*/ 2147483647 h 167"/>
                <a:gd name="T6" fmla="*/ 0 w 181"/>
                <a:gd name="T7" fmla="*/ 2147483647 h 167"/>
                <a:gd name="T8" fmla="*/ 2147483647 w 181"/>
                <a:gd name="T9" fmla="*/ 2147483647 h 167"/>
                <a:gd name="T10" fmla="*/ 2147483647 w 181"/>
                <a:gd name="T11" fmla="*/ 2147483647 h 167"/>
                <a:gd name="T12" fmla="*/ 2147483647 w 181"/>
                <a:gd name="T13" fmla="*/ 2147483647 h 167"/>
                <a:gd name="T14" fmla="*/ 2147483647 w 181"/>
                <a:gd name="T15" fmla="*/ 2147483647 h 167"/>
                <a:gd name="T16" fmla="*/ 2147483647 w 181"/>
                <a:gd name="T17" fmla="*/ 2147483647 h 167"/>
                <a:gd name="T18" fmla="*/ 2147483647 w 181"/>
                <a:gd name="T19" fmla="*/ 2147483647 h 167"/>
                <a:gd name="T20" fmla="*/ 2147483647 w 181"/>
                <a:gd name="T21" fmla="*/ 2147483647 h 167"/>
                <a:gd name="T22" fmla="*/ 2147483647 w 181"/>
                <a:gd name="T23" fmla="*/ 2147483647 h 167"/>
                <a:gd name="T24" fmla="*/ 2147483647 w 181"/>
                <a:gd name="T25" fmla="*/ 2147483647 h 167"/>
                <a:gd name="T26" fmla="*/ 2147483647 w 181"/>
                <a:gd name="T27" fmla="*/ 2147483647 h 167"/>
                <a:gd name="T28" fmla="*/ 2147483647 w 181"/>
                <a:gd name="T29" fmla="*/ 2147483647 h 167"/>
                <a:gd name="T30" fmla="*/ 2147483647 w 181"/>
                <a:gd name="T31" fmla="*/ 2147483647 h 167"/>
                <a:gd name="T32" fmla="*/ 2147483647 w 181"/>
                <a:gd name="T33" fmla="*/ 2147483647 h 167"/>
                <a:gd name="T34" fmla="*/ 2147483647 w 181"/>
                <a:gd name="T35" fmla="*/ 2147483647 h 167"/>
                <a:gd name="T36" fmla="*/ 2147483647 w 181"/>
                <a:gd name="T37" fmla="*/ 2147483647 h 167"/>
                <a:gd name="T38" fmla="*/ 2147483647 w 181"/>
                <a:gd name="T39" fmla="*/ 2147483647 h 167"/>
                <a:gd name="T40" fmla="*/ 2147483647 w 181"/>
                <a:gd name="T41" fmla="*/ 2147483647 h 167"/>
                <a:gd name="T42" fmla="*/ 2147483647 w 181"/>
                <a:gd name="T43" fmla="*/ 0 h 167"/>
                <a:gd name="T44" fmla="*/ 2147483647 w 181"/>
                <a:gd name="T45" fmla="*/ 2147483647 h 167"/>
                <a:gd name="T46" fmla="*/ 2147483647 w 181"/>
                <a:gd name="T47" fmla="*/ 2147483647 h 167"/>
                <a:gd name="T48" fmla="*/ 2147483647 w 181"/>
                <a:gd name="T49" fmla="*/ 2147483647 h 167"/>
                <a:gd name="T50" fmla="*/ 2147483647 w 181"/>
                <a:gd name="T51" fmla="*/ 2147483647 h 167"/>
                <a:gd name="T52" fmla="*/ 2147483647 w 181"/>
                <a:gd name="T53" fmla="*/ 2147483647 h 167"/>
                <a:gd name="T54" fmla="*/ 2147483647 w 181"/>
                <a:gd name="T55" fmla="*/ 2147483647 h 167"/>
                <a:gd name="T56" fmla="*/ 2147483647 w 181"/>
                <a:gd name="T57" fmla="*/ 2147483647 h 167"/>
                <a:gd name="T58" fmla="*/ 2147483647 w 181"/>
                <a:gd name="T59" fmla="*/ 2147483647 h 167"/>
                <a:gd name="T60" fmla="*/ 2147483647 w 181"/>
                <a:gd name="T61" fmla="*/ 2147483647 h 167"/>
                <a:gd name="T62" fmla="*/ 2147483647 w 181"/>
                <a:gd name="T63" fmla="*/ 2147483647 h 167"/>
                <a:gd name="T64" fmla="*/ 2147483647 w 181"/>
                <a:gd name="T65" fmla="*/ 2147483647 h 167"/>
                <a:gd name="T66" fmla="*/ 2147483647 w 181"/>
                <a:gd name="T67" fmla="*/ 2147483647 h 167"/>
                <a:gd name="T68" fmla="*/ 2147483647 w 181"/>
                <a:gd name="T69" fmla="*/ 2147483647 h 167"/>
                <a:gd name="T70" fmla="*/ 2147483647 w 181"/>
                <a:gd name="T71" fmla="*/ 2147483647 h 167"/>
                <a:gd name="T72" fmla="*/ 2147483647 w 181"/>
                <a:gd name="T73" fmla="*/ 2147483647 h 167"/>
                <a:gd name="T74" fmla="*/ 2147483647 w 181"/>
                <a:gd name="T75" fmla="*/ 2147483647 h 167"/>
                <a:gd name="T76" fmla="*/ 2147483647 w 181"/>
                <a:gd name="T77" fmla="*/ 2147483647 h 167"/>
                <a:gd name="T78" fmla="*/ 2147483647 w 181"/>
                <a:gd name="T79" fmla="*/ 2147483647 h 167"/>
                <a:gd name="T80" fmla="*/ 2147483647 w 181"/>
                <a:gd name="T81" fmla="*/ 2147483647 h 16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81" h="167">
                  <a:moveTo>
                    <a:pt x="44" y="122"/>
                  </a:moveTo>
                  <a:lnTo>
                    <a:pt x="31" y="122"/>
                  </a:lnTo>
                  <a:lnTo>
                    <a:pt x="6" y="122"/>
                  </a:lnTo>
                  <a:lnTo>
                    <a:pt x="0" y="146"/>
                  </a:lnTo>
                  <a:lnTo>
                    <a:pt x="6" y="146"/>
                  </a:lnTo>
                  <a:lnTo>
                    <a:pt x="13" y="155"/>
                  </a:lnTo>
                  <a:lnTo>
                    <a:pt x="50" y="155"/>
                  </a:lnTo>
                  <a:lnTo>
                    <a:pt x="75" y="155"/>
                  </a:lnTo>
                  <a:lnTo>
                    <a:pt x="88" y="167"/>
                  </a:lnTo>
                  <a:lnTo>
                    <a:pt x="88" y="146"/>
                  </a:lnTo>
                  <a:lnTo>
                    <a:pt x="101" y="146"/>
                  </a:lnTo>
                  <a:lnTo>
                    <a:pt x="113" y="134"/>
                  </a:lnTo>
                  <a:lnTo>
                    <a:pt x="125" y="134"/>
                  </a:lnTo>
                  <a:lnTo>
                    <a:pt x="151" y="101"/>
                  </a:lnTo>
                  <a:lnTo>
                    <a:pt x="175" y="78"/>
                  </a:lnTo>
                  <a:lnTo>
                    <a:pt x="181" y="67"/>
                  </a:lnTo>
                  <a:lnTo>
                    <a:pt x="175" y="44"/>
                  </a:lnTo>
                  <a:lnTo>
                    <a:pt x="170" y="44"/>
                  </a:lnTo>
                  <a:lnTo>
                    <a:pt x="156" y="34"/>
                  </a:lnTo>
                  <a:lnTo>
                    <a:pt x="144" y="23"/>
                  </a:lnTo>
                  <a:lnTo>
                    <a:pt x="113" y="13"/>
                  </a:lnTo>
                  <a:lnTo>
                    <a:pt x="75" y="0"/>
                  </a:lnTo>
                  <a:lnTo>
                    <a:pt x="69" y="13"/>
                  </a:lnTo>
                  <a:lnTo>
                    <a:pt x="69" y="23"/>
                  </a:lnTo>
                  <a:lnTo>
                    <a:pt x="75" y="34"/>
                  </a:lnTo>
                  <a:lnTo>
                    <a:pt x="64" y="34"/>
                  </a:lnTo>
                  <a:lnTo>
                    <a:pt x="50" y="23"/>
                  </a:lnTo>
                  <a:lnTo>
                    <a:pt x="31" y="34"/>
                  </a:lnTo>
                  <a:lnTo>
                    <a:pt x="38" y="34"/>
                  </a:lnTo>
                  <a:lnTo>
                    <a:pt x="44" y="44"/>
                  </a:lnTo>
                  <a:lnTo>
                    <a:pt x="38" y="57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64" y="78"/>
                  </a:lnTo>
                  <a:lnTo>
                    <a:pt x="69" y="78"/>
                  </a:lnTo>
                  <a:lnTo>
                    <a:pt x="75" y="101"/>
                  </a:lnTo>
                  <a:lnTo>
                    <a:pt x="69" y="111"/>
                  </a:lnTo>
                  <a:lnTo>
                    <a:pt x="64" y="111"/>
                  </a:lnTo>
                  <a:lnTo>
                    <a:pt x="56" y="111"/>
                  </a:lnTo>
                  <a:lnTo>
                    <a:pt x="50" y="111"/>
                  </a:lnTo>
                  <a:lnTo>
                    <a:pt x="44" y="12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63" name="Freeform 1127"/>
            <p:cNvSpPr>
              <a:spLocks/>
            </p:cNvSpPr>
            <p:nvPr>
              <p:custDataLst>
                <p:tags r:id="rId957"/>
              </p:custDataLst>
            </p:nvPr>
          </p:nvSpPr>
          <p:spPr bwMode="auto">
            <a:xfrm>
              <a:off x="5969248" y="3316288"/>
              <a:ext cx="265113" cy="131762"/>
            </a:xfrm>
            <a:custGeom>
              <a:avLst/>
              <a:gdLst>
                <a:gd name="T0" fmla="*/ 2147483647 w 181"/>
                <a:gd name="T1" fmla="*/ 2147483647 h 167"/>
                <a:gd name="T2" fmla="*/ 2147483647 w 181"/>
                <a:gd name="T3" fmla="*/ 2147483647 h 167"/>
                <a:gd name="T4" fmla="*/ 2147483647 w 181"/>
                <a:gd name="T5" fmla="*/ 2147483647 h 167"/>
                <a:gd name="T6" fmla="*/ 0 w 181"/>
                <a:gd name="T7" fmla="*/ 2147483647 h 167"/>
                <a:gd name="T8" fmla="*/ 2147483647 w 181"/>
                <a:gd name="T9" fmla="*/ 2147483647 h 167"/>
                <a:gd name="T10" fmla="*/ 2147483647 w 181"/>
                <a:gd name="T11" fmla="*/ 2147483647 h 167"/>
                <a:gd name="T12" fmla="*/ 2147483647 w 181"/>
                <a:gd name="T13" fmla="*/ 2147483647 h 167"/>
                <a:gd name="T14" fmla="*/ 2147483647 w 181"/>
                <a:gd name="T15" fmla="*/ 2147483647 h 167"/>
                <a:gd name="T16" fmla="*/ 2147483647 w 181"/>
                <a:gd name="T17" fmla="*/ 2147483647 h 167"/>
                <a:gd name="T18" fmla="*/ 2147483647 w 181"/>
                <a:gd name="T19" fmla="*/ 2147483647 h 167"/>
                <a:gd name="T20" fmla="*/ 2147483647 w 181"/>
                <a:gd name="T21" fmla="*/ 2147483647 h 167"/>
                <a:gd name="T22" fmla="*/ 2147483647 w 181"/>
                <a:gd name="T23" fmla="*/ 2147483647 h 167"/>
                <a:gd name="T24" fmla="*/ 2147483647 w 181"/>
                <a:gd name="T25" fmla="*/ 2147483647 h 167"/>
                <a:gd name="T26" fmla="*/ 2147483647 w 181"/>
                <a:gd name="T27" fmla="*/ 2147483647 h 167"/>
                <a:gd name="T28" fmla="*/ 2147483647 w 181"/>
                <a:gd name="T29" fmla="*/ 2147483647 h 167"/>
                <a:gd name="T30" fmla="*/ 2147483647 w 181"/>
                <a:gd name="T31" fmla="*/ 2147483647 h 167"/>
                <a:gd name="T32" fmla="*/ 2147483647 w 181"/>
                <a:gd name="T33" fmla="*/ 2147483647 h 167"/>
                <a:gd name="T34" fmla="*/ 2147483647 w 181"/>
                <a:gd name="T35" fmla="*/ 2147483647 h 167"/>
                <a:gd name="T36" fmla="*/ 2147483647 w 181"/>
                <a:gd name="T37" fmla="*/ 2147483647 h 167"/>
                <a:gd name="T38" fmla="*/ 2147483647 w 181"/>
                <a:gd name="T39" fmla="*/ 2147483647 h 167"/>
                <a:gd name="T40" fmla="*/ 2147483647 w 181"/>
                <a:gd name="T41" fmla="*/ 2147483647 h 167"/>
                <a:gd name="T42" fmla="*/ 2147483647 w 181"/>
                <a:gd name="T43" fmla="*/ 0 h 167"/>
                <a:gd name="T44" fmla="*/ 2147483647 w 181"/>
                <a:gd name="T45" fmla="*/ 2147483647 h 167"/>
                <a:gd name="T46" fmla="*/ 2147483647 w 181"/>
                <a:gd name="T47" fmla="*/ 2147483647 h 167"/>
                <a:gd name="T48" fmla="*/ 2147483647 w 181"/>
                <a:gd name="T49" fmla="*/ 2147483647 h 167"/>
                <a:gd name="T50" fmla="*/ 2147483647 w 181"/>
                <a:gd name="T51" fmla="*/ 2147483647 h 167"/>
                <a:gd name="T52" fmla="*/ 2147483647 w 181"/>
                <a:gd name="T53" fmla="*/ 2147483647 h 167"/>
                <a:gd name="T54" fmla="*/ 2147483647 w 181"/>
                <a:gd name="T55" fmla="*/ 2147483647 h 167"/>
                <a:gd name="T56" fmla="*/ 2147483647 w 181"/>
                <a:gd name="T57" fmla="*/ 2147483647 h 167"/>
                <a:gd name="T58" fmla="*/ 2147483647 w 181"/>
                <a:gd name="T59" fmla="*/ 2147483647 h 167"/>
                <a:gd name="T60" fmla="*/ 2147483647 w 181"/>
                <a:gd name="T61" fmla="*/ 2147483647 h 167"/>
                <a:gd name="T62" fmla="*/ 2147483647 w 181"/>
                <a:gd name="T63" fmla="*/ 2147483647 h 167"/>
                <a:gd name="T64" fmla="*/ 2147483647 w 181"/>
                <a:gd name="T65" fmla="*/ 2147483647 h 167"/>
                <a:gd name="T66" fmla="*/ 2147483647 w 181"/>
                <a:gd name="T67" fmla="*/ 2147483647 h 167"/>
                <a:gd name="T68" fmla="*/ 2147483647 w 181"/>
                <a:gd name="T69" fmla="*/ 2147483647 h 167"/>
                <a:gd name="T70" fmla="*/ 2147483647 w 181"/>
                <a:gd name="T71" fmla="*/ 2147483647 h 167"/>
                <a:gd name="T72" fmla="*/ 2147483647 w 181"/>
                <a:gd name="T73" fmla="*/ 2147483647 h 167"/>
                <a:gd name="T74" fmla="*/ 2147483647 w 181"/>
                <a:gd name="T75" fmla="*/ 2147483647 h 167"/>
                <a:gd name="T76" fmla="*/ 2147483647 w 181"/>
                <a:gd name="T77" fmla="*/ 2147483647 h 167"/>
                <a:gd name="T78" fmla="*/ 2147483647 w 181"/>
                <a:gd name="T79" fmla="*/ 2147483647 h 167"/>
                <a:gd name="T80" fmla="*/ 2147483647 w 181"/>
                <a:gd name="T81" fmla="*/ 2147483647 h 16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81" h="167">
                  <a:moveTo>
                    <a:pt x="44" y="122"/>
                  </a:moveTo>
                  <a:lnTo>
                    <a:pt x="31" y="122"/>
                  </a:lnTo>
                  <a:lnTo>
                    <a:pt x="6" y="122"/>
                  </a:lnTo>
                  <a:lnTo>
                    <a:pt x="0" y="146"/>
                  </a:lnTo>
                  <a:lnTo>
                    <a:pt x="6" y="146"/>
                  </a:lnTo>
                  <a:lnTo>
                    <a:pt x="13" y="155"/>
                  </a:lnTo>
                  <a:lnTo>
                    <a:pt x="50" y="155"/>
                  </a:lnTo>
                  <a:lnTo>
                    <a:pt x="75" y="155"/>
                  </a:lnTo>
                  <a:lnTo>
                    <a:pt x="88" y="167"/>
                  </a:lnTo>
                  <a:lnTo>
                    <a:pt x="88" y="146"/>
                  </a:lnTo>
                  <a:lnTo>
                    <a:pt x="101" y="146"/>
                  </a:lnTo>
                  <a:lnTo>
                    <a:pt x="113" y="134"/>
                  </a:lnTo>
                  <a:lnTo>
                    <a:pt x="125" y="134"/>
                  </a:lnTo>
                  <a:lnTo>
                    <a:pt x="151" y="101"/>
                  </a:lnTo>
                  <a:lnTo>
                    <a:pt x="175" y="78"/>
                  </a:lnTo>
                  <a:lnTo>
                    <a:pt x="181" y="67"/>
                  </a:lnTo>
                  <a:lnTo>
                    <a:pt x="175" y="44"/>
                  </a:lnTo>
                  <a:lnTo>
                    <a:pt x="170" y="44"/>
                  </a:lnTo>
                  <a:lnTo>
                    <a:pt x="156" y="34"/>
                  </a:lnTo>
                  <a:lnTo>
                    <a:pt x="144" y="23"/>
                  </a:lnTo>
                  <a:lnTo>
                    <a:pt x="113" y="13"/>
                  </a:lnTo>
                  <a:lnTo>
                    <a:pt x="75" y="0"/>
                  </a:lnTo>
                  <a:lnTo>
                    <a:pt x="69" y="13"/>
                  </a:lnTo>
                  <a:lnTo>
                    <a:pt x="69" y="23"/>
                  </a:lnTo>
                  <a:lnTo>
                    <a:pt x="75" y="34"/>
                  </a:lnTo>
                  <a:lnTo>
                    <a:pt x="64" y="34"/>
                  </a:lnTo>
                  <a:lnTo>
                    <a:pt x="50" y="23"/>
                  </a:lnTo>
                  <a:lnTo>
                    <a:pt x="31" y="34"/>
                  </a:lnTo>
                  <a:lnTo>
                    <a:pt x="38" y="34"/>
                  </a:lnTo>
                  <a:lnTo>
                    <a:pt x="44" y="44"/>
                  </a:lnTo>
                  <a:lnTo>
                    <a:pt x="38" y="57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64" y="78"/>
                  </a:lnTo>
                  <a:lnTo>
                    <a:pt x="69" y="78"/>
                  </a:lnTo>
                  <a:lnTo>
                    <a:pt x="75" y="101"/>
                  </a:lnTo>
                  <a:lnTo>
                    <a:pt x="69" y="111"/>
                  </a:lnTo>
                  <a:lnTo>
                    <a:pt x="64" y="111"/>
                  </a:lnTo>
                  <a:lnTo>
                    <a:pt x="56" y="111"/>
                  </a:lnTo>
                  <a:lnTo>
                    <a:pt x="50" y="111"/>
                  </a:lnTo>
                  <a:lnTo>
                    <a:pt x="44" y="12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64" name="Freeform 1128"/>
            <p:cNvSpPr>
              <a:spLocks/>
            </p:cNvSpPr>
            <p:nvPr>
              <p:custDataLst>
                <p:tags r:id="rId958"/>
              </p:custDataLst>
            </p:nvPr>
          </p:nvSpPr>
          <p:spPr bwMode="auto">
            <a:xfrm>
              <a:off x="5969248" y="3316288"/>
              <a:ext cx="265113" cy="131762"/>
            </a:xfrm>
            <a:custGeom>
              <a:avLst/>
              <a:gdLst>
                <a:gd name="T0" fmla="*/ 2147483647 w 181"/>
                <a:gd name="T1" fmla="*/ 2147483647 h 167"/>
                <a:gd name="T2" fmla="*/ 2147483647 w 181"/>
                <a:gd name="T3" fmla="*/ 2147483647 h 167"/>
                <a:gd name="T4" fmla="*/ 2147483647 w 181"/>
                <a:gd name="T5" fmla="*/ 2147483647 h 167"/>
                <a:gd name="T6" fmla="*/ 0 w 181"/>
                <a:gd name="T7" fmla="*/ 2147483647 h 167"/>
                <a:gd name="T8" fmla="*/ 2147483647 w 181"/>
                <a:gd name="T9" fmla="*/ 2147483647 h 167"/>
                <a:gd name="T10" fmla="*/ 2147483647 w 181"/>
                <a:gd name="T11" fmla="*/ 2147483647 h 167"/>
                <a:gd name="T12" fmla="*/ 2147483647 w 181"/>
                <a:gd name="T13" fmla="*/ 2147483647 h 167"/>
                <a:gd name="T14" fmla="*/ 2147483647 w 181"/>
                <a:gd name="T15" fmla="*/ 2147483647 h 167"/>
                <a:gd name="T16" fmla="*/ 2147483647 w 181"/>
                <a:gd name="T17" fmla="*/ 2147483647 h 167"/>
                <a:gd name="T18" fmla="*/ 2147483647 w 181"/>
                <a:gd name="T19" fmla="*/ 2147483647 h 167"/>
                <a:gd name="T20" fmla="*/ 2147483647 w 181"/>
                <a:gd name="T21" fmla="*/ 2147483647 h 167"/>
                <a:gd name="T22" fmla="*/ 2147483647 w 181"/>
                <a:gd name="T23" fmla="*/ 2147483647 h 167"/>
                <a:gd name="T24" fmla="*/ 2147483647 w 181"/>
                <a:gd name="T25" fmla="*/ 2147483647 h 167"/>
                <a:gd name="T26" fmla="*/ 2147483647 w 181"/>
                <a:gd name="T27" fmla="*/ 2147483647 h 167"/>
                <a:gd name="T28" fmla="*/ 2147483647 w 181"/>
                <a:gd name="T29" fmla="*/ 2147483647 h 167"/>
                <a:gd name="T30" fmla="*/ 2147483647 w 181"/>
                <a:gd name="T31" fmla="*/ 2147483647 h 167"/>
                <a:gd name="T32" fmla="*/ 2147483647 w 181"/>
                <a:gd name="T33" fmla="*/ 2147483647 h 167"/>
                <a:gd name="T34" fmla="*/ 2147483647 w 181"/>
                <a:gd name="T35" fmla="*/ 2147483647 h 167"/>
                <a:gd name="T36" fmla="*/ 2147483647 w 181"/>
                <a:gd name="T37" fmla="*/ 2147483647 h 167"/>
                <a:gd name="T38" fmla="*/ 2147483647 w 181"/>
                <a:gd name="T39" fmla="*/ 2147483647 h 167"/>
                <a:gd name="T40" fmla="*/ 2147483647 w 181"/>
                <a:gd name="T41" fmla="*/ 2147483647 h 167"/>
                <a:gd name="T42" fmla="*/ 2147483647 w 181"/>
                <a:gd name="T43" fmla="*/ 0 h 167"/>
                <a:gd name="T44" fmla="*/ 2147483647 w 181"/>
                <a:gd name="T45" fmla="*/ 2147483647 h 167"/>
                <a:gd name="T46" fmla="*/ 2147483647 w 181"/>
                <a:gd name="T47" fmla="*/ 2147483647 h 167"/>
                <a:gd name="T48" fmla="*/ 2147483647 w 181"/>
                <a:gd name="T49" fmla="*/ 2147483647 h 167"/>
                <a:gd name="T50" fmla="*/ 2147483647 w 181"/>
                <a:gd name="T51" fmla="*/ 2147483647 h 167"/>
                <a:gd name="T52" fmla="*/ 2147483647 w 181"/>
                <a:gd name="T53" fmla="*/ 2147483647 h 167"/>
                <a:gd name="T54" fmla="*/ 2147483647 w 181"/>
                <a:gd name="T55" fmla="*/ 2147483647 h 167"/>
                <a:gd name="T56" fmla="*/ 2147483647 w 181"/>
                <a:gd name="T57" fmla="*/ 2147483647 h 167"/>
                <a:gd name="T58" fmla="*/ 2147483647 w 181"/>
                <a:gd name="T59" fmla="*/ 2147483647 h 167"/>
                <a:gd name="T60" fmla="*/ 2147483647 w 181"/>
                <a:gd name="T61" fmla="*/ 2147483647 h 167"/>
                <a:gd name="T62" fmla="*/ 2147483647 w 181"/>
                <a:gd name="T63" fmla="*/ 2147483647 h 167"/>
                <a:gd name="T64" fmla="*/ 2147483647 w 181"/>
                <a:gd name="T65" fmla="*/ 2147483647 h 167"/>
                <a:gd name="T66" fmla="*/ 2147483647 w 181"/>
                <a:gd name="T67" fmla="*/ 2147483647 h 167"/>
                <a:gd name="T68" fmla="*/ 2147483647 w 181"/>
                <a:gd name="T69" fmla="*/ 2147483647 h 167"/>
                <a:gd name="T70" fmla="*/ 2147483647 w 181"/>
                <a:gd name="T71" fmla="*/ 2147483647 h 167"/>
                <a:gd name="T72" fmla="*/ 2147483647 w 181"/>
                <a:gd name="T73" fmla="*/ 2147483647 h 167"/>
                <a:gd name="T74" fmla="*/ 2147483647 w 181"/>
                <a:gd name="T75" fmla="*/ 2147483647 h 167"/>
                <a:gd name="T76" fmla="*/ 2147483647 w 181"/>
                <a:gd name="T77" fmla="*/ 2147483647 h 167"/>
                <a:gd name="T78" fmla="*/ 2147483647 w 181"/>
                <a:gd name="T79" fmla="*/ 2147483647 h 167"/>
                <a:gd name="T80" fmla="*/ 2147483647 w 181"/>
                <a:gd name="T81" fmla="*/ 2147483647 h 16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81" h="167">
                  <a:moveTo>
                    <a:pt x="44" y="122"/>
                  </a:moveTo>
                  <a:lnTo>
                    <a:pt x="31" y="122"/>
                  </a:lnTo>
                  <a:lnTo>
                    <a:pt x="6" y="122"/>
                  </a:lnTo>
                  <a:lnTo>
                    <a:pt x="0" y="146"/>
                  </a:lnTo>
                  <a:lnTo>
                    <a:pt x="6" y="146"/>
                  </a:lnTo>
                  <a:lnTo>
                    <a:pt x="13" y="155"/>
                  </a:lnTo>
                  <a:lnTo>
                    <a:pt x="50" y="155"/>
                  </a:lnTo>
                  <a:lnTo>
                    <a:pt x="75" y="155"/>
                  </a:lnTo>
                  <a:lnTo>
                    <a:pt x="88" y="167"/>
                  </a:lnTo>
                  <a:lnTo>
                    <a:pt x="88" y="146"/>
                  </a:lnTo>
                  <a:lnTo>
                    <a:pt x="101" y="146"/>
                  </a:lnTo>
                  <a:lnTo>
                    <a:pt x="113" y="134"/>
                  </a:lnTo>
                  <a:lnTo>
                    <a:pt x="125" y="134"/>
                  </a:lnTo>
                  <a:lnTo>
                    <a:pt x="151" y="101"/>
                  </a:lnTo>
                  <a:lnTo>
                    <a:pt x="175" y="78"/>
                  </a:lnTo>
                  <a:lnTo>
                    <a:pt x="181" y="67"/>
                  </a:lnTo>
                  <a:lnTo>
                    <a:pt x="175" y="44"/>
                  </a:lnTo>
                  <a:lnTo>
                    <a:pt x="170" y="44"/>
                  </a:lnTo>
                  <a:lnTo>
                    <a:pt x="156" y="34"/>
                  </a:lnTo>
                  <a:lnTo>
                    <a:pt x="144" y="23"/>
                  </a:lnTo>
                  <a:lnTo>
                    <a:pt x="113" y="13"/>
                  </a:lnTo>
                  <a:lnTo>
                    <a:pt x="75" y="0"/>
                  </a:lnTo>
                  <a:lnTo>
                    <a:pt x="69" y="13"/>
                  </a:lnTo>
                  <a:lnTo>
                    <a:pt x="69" y="23"/>
                  </a:lnTo>
                  <a:lnTo>
                    <a:pt x="75" y="34"/>
                  </a:lnTo>
                  <a:lnTo>
                    <a:pt x="64" y="34"/>
                  </a:lnTo>
                  <a:lnTo>
                    <a:pt x="50" y="23"/>
                  </a:lnTo>
                  <a:lnTo>
                    <a:pt x="31" y="34"/>
                  </a:lnTo>
                  <a:lnTo>
                    <a:pt x="38" y="34"/>
                  </a:lnTo>
                  <a:lnTo>
                    <a:pt x="44" y="44"/>
                  </a:lnTo>
                  <a:lnTo>
                    <a:pt x="38" y="57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64" y="78"/>
                  </a:lnTo>
                  <a:lnTo>
                    <a:pt x="69" y="78"/>
                  </a:lnTo>
                  <a:lnTo>
                    <a:pt x="75" y="101"/>
                  </a:lnTo>
                  <a:lnTo>
                    <a:pt x="69" y="111"/>
                  </a:lnTo>
                  <a:lnTo>
                    <a:pt x="64" y="111"/>
                  </a:lnTo>
                  <a:lnTo>
                    <a:pt x="56" y="111"/>
                  </a:lnTo>
                  <a:lnTo>
                    <a:pt x="50" y="111"/>
                  </a:lnTo>
                  <a:lnTo>
                    <a:pt x="44" y="12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65" name="Freeform 1129"/>
            <p:cNvSpPr>
              <a:spLocks/>
            </p:cNvSpPr>
            <p:nvPr>
              <p:custDataLst>
                <p:tags r:id="rId959"/>
              </p:custDataLst>
            </p:nvPr>
          </p:nvSpPr>
          <p:spPr bwMode="auto">
            <a:xfrm>
              <a:off x="5951786" y="3398838"/>
              <a:ext cx="163512" cy="130175"/>
            </a:xfrm>
            <a:custGeom>
              <a:avLst/>
              <a:gdLst>
                <a:gd name="T0" fmla="*/ 0 w 112"/>
                <a:gd name="T1" fmla="*/ 2147483647 h 165"/>
                <a:gd name="T2" fmla="*/ 0 w 112"/>
                <a:gd name="T3" fmla="*/ 2147483647 h 165"/>
                <a:gd name="T4" fmla="*/ 2147483647 w 112"/>
                <a:gd name="T5" fmla="*/ 2147483647 h 165"/>
                <a:gd name="T6" fmla="*/ 2147483647 w 112"/>
                <a:gd name="T7" fmla="*/ 2147483647 h 165"/>
                <a:gd name="T8" fmla="*/ 2147483647 w 112"/>
                <a:gd name="T9" fmla="*/ 2147483647 h 165"/>
                <a:gd name="T10" fmla="*/ 2147483647 w 112"/>
                <a:gd name="T11" fmla="*/ 2147483647 h 165"/>
                <a:gd name="T12" fmla="*/ 2147483647 w 112"/>
                <a:gd name="T13" fmla="*/ 2147483647 h 165"/>
                <a:gd name="T14" fmla="*/ 2147483647 w 112"/>
                <a:gd name="T15" fmla="*/ 2147483647 h 165"/>
                <a:gd name="T16" fmla="*/ 2147483647 w 112"/>
                <a:gd name="T17" fmla="*/ 2147483647 h 165"/>
                <a:gd name="T18" fmla="*/ 2147483647 w 112"/>
                <a:gd name="T19" fmla="*/ 2147483647 h 165"/>
                <a:gd name="T20" fmla="*/ 2147483647 w 112"/>
                <a:gd name="T21" fmla="*/ 2147483647 h 165"/>
                <a:gd name="T22" fmla="*/ 2147483647 w 112"/>
                <a:gd name="T23" fmla="*/ 2147483647 h 165"/>
                <a:gd name="T24" fmla="*/ 2147483647 w 112"/>
                <a:gd name="T25" fmla="*/ 2147483647 h 165"/>
                <a:gd name="T26" fmla="*/ 2147483647 w 112"/>
                <a:gd name="T27" fmla="*/ 2147483647 h 165"/>
                <a:gd name="T28" fmla="*/ 2147483647 w 112"/>
                <a:gd name="T29" fmla="*/ 2147483647 h 165"/>
                <a:gd name="T30" fmla="*/ 2147483647 w 112"/>
                <a:gd name="T31" fmla="*/ 2147483647 h 165"/>
                <a:gd name="T32" fmla="*/ 2147483647 w 112"/>
                <a:gd name="T33" fmla="*/ 2147483647 h 165"/>
                <a:gd name="T34" fmla="*/ 2147483647 w 112"/>
                <a:gd name="T35" fmla="*/ 2147483647 h 165"/>
                <a:gd name="T36" fmla="*/ 2147483647 w 112"/>
                <a:gd name="T37" fmla="*/ 2147483647 h 165"/>
                <a:gd name="T38" fmla="*/ 2147483647 w 112"/>
                <a:gd name="T39" fmla="*/ 2147483647 h 165"/>
                <a:gd name="T40" fmla="*/ 2147483647 w 112"/>
                <a:gd name="T41" fmla="*/ 2147483647 h 165"/>
                <a:gd name="T42" fmla="*/ 2147483647 w 112"/>
                <a:gd name="T43" fmla="*/ 2147483647 h 165"/>
                <a:gd name="T44" fmla="*/ 2147483647 w 112"/>
                <a:gd name="T45" fmla="*/ 2147483647 h 165"/>
                <a:gd name="T46" fmla="*/ 2147483647 w 112"/>
                <a:gd name="T47" fmla="*/ 2147483647 h 165"/>
                <a:gd name="T48" fmla="*/ 2147483647 w 112"/>
                <a:gd name="T49" fmla="*/ 0 h 165"/>
                <a:gd name="T50" fmla="*/ 2147483647 w 112"/>
                <a:gd name="T51" fmla="*/ 2147483647 h 165"/>
                <a:gd name="T52" fmla="*/ 2147483647 w 112"/>
                <a:gd name="T53" fmla="*/ 0 h 165"/>
                <a:gd name="T54" fmla="*/ 2147483647 w 112"/>
                <a:gd name="T55" fmla="*/ 2147483647 h 165"/>
                <a:gd name="T56" fmla="*/ 0 w 112"/>
                <a:gd name="T57" fmla="*/ 2147483647 h 165"/>
                <a:gd name="T58" fmla="*/ 0 w 112"/>
                <a:gd name="T59" fmla="*/ 2147483647 h 165"/>
                <a:gd name="T60" fmla="*/ 2147483647 w 112"/>
                <a:gd name="T61" fmla="*/ 2147483647 h 165"/>
                <a:gd name="T62" fmla="*/ 2147483647 w 112"/>
                <a:gd name="T63" fmla="*/ 2147483647 h 165"/>
                <a:gd name="T64" fmla="*/ 2147483647 w 112"/>
                <a:gd name="T65" fmla="*/ 2147483647 h 165"/>
                <a:gd name="T66" fmla="*/ 2147483647 w 112"/>
                <a:gd name="T67" fmla="*/ 2147483647 h 165"/>
                <a:gd name="T68" fmla="*/ 2147483647 w 112"/>
                <a:gd name="T69" fmla="*/ 2147483647 h 165"/>
                <a:gd name="T70" fmla="*/ 0 w 112"/>
                <a:gd name="T71" fmla="*/ 2147483647 h 1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2" h="165">
                  <a:moveTo>
                    <a:pt x="0" y="142"/>
                  </a:moveTo>
                  <a:lnTo>
                    <a:pt x="0" y="142"/>
                  </a:lnTo>
                  <a:lnTo>
                    <a:pt x="6" y="142"/>
                  </a:lnTo>
                  <a:lnTo>
                    <a:pt x="25" y="154"/>
                  </a:lnTo>
                  <a:lnTo>
                    <a:pt x="50" y="98"/>
                  </a:lnTo>
                  <a:lnTo>
                    <a:pt x="55" y="133"/>
                  </a:lnTo>
                  <a:lnTo>
                    <a:pt x="62" y="165"/>
                  </a:lnTo>
                  <a:lnTo>
                    <a:pt x="81" y="154"/>
                  </a:lnTo>
                  <a:lnTo>
                    <a:pt x="93" y="142"/>
                  </a:lnTo>
                  <a:lnTo>
                    <a:pt x="112" y="142"/>
                  </a:lnTo>
                  <a:lnTo>
                    <a:pt x="112" y="98"/>
                  </a:lnTo>
                  <a:lnTo>
                    <a:pt x="100" y="89"/>
                  </a:lnTo>
                  <a:lnTo>
                    <a:pt x="93" y="89"/>
                  </a:lnTo>
                  <a:lnTo>
                    <a:pt x="100" y="66"/>
                  </a:lnTo>
                  <a:lnTo>
                    <a:pt x="87" y="54"/>
                  </a:lnTo>
                  <a:lnTo>
                    <a:pt x="75" y="54"/>
                  </a:lnTo>
                  <a:lnTo>
                    <a:pt x="55" y="54"/>
                  </a:lnTo>
                  <a:lnTo>
                    <a:pt x="43" y="54"/>
                  </a:lnTo>
                  <a:lnTo>
                    <a:pt x="31" y="54"/>
                  </a:lnTo>
                  <a:lnTo>
                    <a:pt x="18" y="44"/>
                  </a:lnTo>
                  <a:lnTo>
                    <a:pt x="12" y="44"/>
                  </a:lnTo>
                  <a:lnTo>
                    <a:pt x="18" y="31"/>
                  </a:lnTo>
                  <a:lnTo>
                    <a:pt x="25" y="21"/>
                  </a:lnTo>
                  <a:lnTo>
                    <a:pt x="43" y="10"/>
                  </a:lnTo>
                  <a:lnTo>
                    <a:pt x="43" y="0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6" y="21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12" y="66"/>
                  </a:lnTo>
                  <a:lnTo>
                    <a:pt x="12" y="89"/>
                  </a:lnTo>
                  <a:lnTo>
                    <a:pt x="12" y="110"/>
                  </a:lnTo>
                  <a:lnTo>
                    <a:pt x="6" y="110"/>
                  </a:lnTo>
                  <a:lnTo>
                    <a:pt x="6" y="119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66" name="Freeform 1130"/>
            <p:cNvSpPr>
              <a:spLocks/>
            </p:cNvSpPr>
            <p:nvPr>
              <p:custDataLst>
                <p:tags r:id="rId960"/>
              </p:custDataLst>
            </p:nvPr>
          </p:nvSpPr>
          <p:spPr bwMode="auto">
            <a:xfrm>
              <a:off x="5951786" y="3398838"/>
              <a:ext cx="163512" cy="130175"/>
            </a:xfrm>
            <a:custGeom>
              <a:avLst/>
              <a:gdLst>
                <a:gd name="T0" fmla="*/ 0 w 112"/>
                <a:gd name="T1" fmla="*/ 2147483647 h 165"/>
                <a:gd name="T2" fmla="*/ 0 w 112"/>
                <a:gd name="T3" fmla="*/ 2147483647 h 165"/>
                <a:gd name="T4" fmla="*/ 2147483647 w 112"/>
                <a:gd name="T5" fmla="*/ 2147483647 h 165"/>
                <a:gd name="T6" fmla="*/ 2147483647 w 112"/>
                <a:gd name="T7" fmla="*/ 2147483647 h 165"/>
                <a:gd name="T8" fmla="*/ 2147483647 w 112"/>
                <a:gd name="T9" fmla="*/ 2147483647 h 165"/>
                <a:gd name="T10" fmla="*/ 2147483647 w 112"/>
                <a:gd name="T11" fmla="*/ 2147483647 h 165"/>
                <a:gd name="T12" fmla="*/ 2147483647 w 112"/>
                <a:gd name="T13" fmla="*/ 2147483647 h 165"/>
                <a:gd name="T14" fmla="*/ 2147483647 w 112"/>
                <a:gd name="T15" fmla="*/ 2147483647 h 165"/>
                <a:gd name="T16" fmla="*/ 2147483647 w 112"/>
                <a:gd name="T17" fmla="*/ 2147483647 h 165"/>
                <a:gd name="T18" fmla="*/ 2147483647 w 112"/>
                <a:gd name="T19" fmla="*/ 2147483647 h 165"/>
                <a:gd name="T20" fmla="*/ 2147483647 w 112"/>
                <a:gd name="T21" fmla="*/ 2147483647 h 165"/>
                <a:gd name="T22" fmla="*/ 2147483647 w 112"/>
                <a:gd name="T23" fmla="*/ 2147483647 h 165"/>
                <a:gd name="T24" fmla="*/ 2147483647 w 112"/>
                <a:gd name="T25" fmla="*/ 2147483647 h 165"/>
                <a:gd name="T26" fmla="*/ 2147483647 w 112"/>
                <a:gd name="T27" fmla="*/ 2147483647 h 165"/>
                <a:gd name="T28" fmla="*/ 2147483647 w 112"/>
                <a:gd name="T29" fmla="*/ 2147483647 h 165"/>
                <a:gd name="T30" fmla="*/ 2147483647 w 112"/>
                <a:gd name="T31" fmla="*/ 2147483647 h 165"/>
                <a:gd name="T32" fmla="*/ 2147483647 w 112"/>
                <a:gd name="T33" fmla="*/ 2147483647 h 165"/>
                <a:gd name="T34" fmla="*/ 2147483647 w 112"/>
                <a:gd name="T35" fmla="*/ 2147483647 h 165"/>
                <a:gd name="T36" fmla="*/ 2147483647 w 112"/>
                <a:gd name="T37" fmla="*/ 2147483647 h 165"/>
                <a:gd name="T38" fmla="*/ 2147483647 w 112"/>
                <a:gd name="T39" fmla="*/ 2147483647 h 165"/>
                <a:gd name="T40" fmla="*/ 2147483647 w 112"/>
                <a:gd name="T41" fmla="*/ 2147483647 h 165"/>
                <a:gd name="T42" fmla="*/ 2147483647 w 112"/>
                <a:gd name="T43" fmla="*/ 2147483647 h 165"/>
                <a:gd name="T44" fmla="*/ 2147483647 w 112"/>
                <a:gd name="T45" fmla="*/ 2147483647 h 165"/>
                <a:gd name="T46" fmla="*/ 2147483647 w 112"/>
                <a:gd name="T47" fmla="*/ 2147483647 h 165"/>
                <a:gd name="T48" fmla="*/ 2147483647 w 112"/>
                <a:gd name="T49" fmla="*/ 0 h 165"/>
                <a:gd name="T50" fmla="*/ 2147483647 w 112"/>
                <a:gd name="T51" fmla="*/ 2147483647 h 165"/>
                <a:gd name="T52" fmla="*/ 2147483647 w 112"/>
                <a:gd name="T53" fmla="*/ 0 h 165"/>
                <a:gd name="T54" fmla="*/ 2147483647 w 112"/>
                <a:gd name="T55" fmla="*/ 2147483647 h 165"/>
                <a:gd name="T56" fmla="*/ 0 w 112"/>
                <a:gd name="T57" fmla="*/ 2147483647 h 165"/>
                <a:gd name="T58" fmla="*/ 0 w 112"/>
                <a:gd name="T59" fmla="*/ 2147483647 h 165"/>
                <a:gd name="T60" fmla="*/ 2147483647 w 112"/>
                <a:gd name="T61" fmla="*/ 2147483647 h 165"/>
                <a:gd name="T62" fmla="*/ 2147483647 w 112"/>
                <a:gd name="T63" fmla="*/ 2147483647 h 165"/>
                <a:gd name="T64" fmla="*/ 2147483647 w 112"/>
                <a:gd name="T65" fmla="*/ 2147483647 h 165"/>
                <a:gd name="T66" fmla="*/ 2147483647 w 112"/>
                <a:gd name="T67" fmla="*/ 2147483647 h 165"/>
                <a:gd name="T68" fmla="*/ 2147483647 w 112"/>
                <a:gd name="T69" fmla="*/ 2147483647 h 165"/>
                <a:gd name="T70" fmla="*/ 0 w 112"/>
                <a:gd name="T71" fmla="*/ 2147483647 h 1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2" h="165">
                  <a:moveTo>
                    <a:pt x="0" y="142"/>
                  </a:moveTo>
                  <a:lnTo>
                    <a:pt x="0" y="142"/>
                  </a:lnTo>
                  <a:lnTo>
                    <a:pt x="6" y="142"/>
                  </a:lnTo>
                  <a:lnTo>
                    <a:pt x="25" y="154"/>
                  </a:lnTo>
                  <a:lnTo>
                    <a:pt x="50" y="98"/>
                  </a:lnTo>
                  <a:lnTo>
                    <a:pt x="55" y="133"/>
                  </a:lnTo>
                  <a:lnTo>
                    <a:pt x="62" y="165"/>
                  </a:lnTo>
                  <a:lnTo>
                    <a:pt x="81" y="154"/>
                  </a:lnTo>
                  <a:lnTo>
                    <a:pt x="93" y="142"/>
                  </a:lnTo>
                  <a:lnTo>
                    <a:pt x="112" y="142"/>
                  </a:lnTo>
                  <a:lnTo>
                    <a:pt x="112" y="98"/>
                  </a:lnTo>
                  <a:lnTo>
                    <a:pt x="100" y="89"/>
                  </a:lnTo>
                  <a:lnTo>
                    <a:pt x="93" y="89"/>
                  </a:lnTo>
                  <a:lnTo>
                    <a:pt x="100" y="66"/>
                  </a:lnTo>
                  <a:lnTo>
                    <a:pt x="87" y="54"/>
                  </a:lnTo>
                  <a:lnTo>
                    <a:pt x="75" y="54"/>
                  </a:lnTo>
                  <a:lnTo>
                    <a:pt x="55" y="54"/>
                  </a:lnTo>
                  <a:lnTo>
                    <a:pt x="43" y="54"/>
                  </a:lnTo>
                  <a:lnTo>
                    <a:pt x="31" y="54"/>
                  </a:lnTo>
                  <a:lnTo>
                    <a:pt x="18" y="44"/>
                  </a:lnTo>
                  <a:lnTo>
                    <a:pt x="12" y="44"/>
                  </a:lnTo>
                  <a:lnTo>
                    <a:pt x="18" y="31"/>
                  </a:lnTo>
                  <a:lnTo>
                    <a:pt x="25" y="21"/>
                  </a:lnTo>
                  <a:lnTo>
                    <a:pt x="43" y="10"/>
                  </a:lnTo>
                  <a:lnTo>
                    <a:pt x="43" y="0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6" y="21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12" y="66"/>
                  </a:lnTo>
                  <a:lnTo>
                    <a:pt x="12" y="89"/>
                  </a:lnTo>
                  <a:lnTo>
                    <a:pt x="12" y="110"/>
                  </a:lnTo>
                  <a:lnTo>
                    <a:pt x="6" y="110"/>
                  </a:lnTo>
                  <a:lnTo>
                    <a:pt x="6" y="119"/>
                  </a:lnTo>
                  <a:lnTo>
                    <a:pt x="0" y="14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67" name="Freeform 1131"/>
            <p:cNvSpPr>
              <a:spLocks/>
            </p:cNvSpPr>
            <p:nvPr>
              <p:custDataLst>
                <p:tags r:id="rId961"/>
              </p:custDataLst>
            </p:nvPr>
          </p:nvSpPr>
          <p:spPr bwMode="auto">
            <a:xfrm>
              <a:off x="5951786" y="3398838"/>
              <a:ext cx="163512" cy="130175"/>
            </a:xfrm>
            <a:custGeom>
              <a:avLst/>
              <a:gdLst>
                <a:gd name="T0" fmla="*/ 0 w 112"/>
                <a:gd name="T1" fmla="*/ 2147483647 h 165"/>
                <a:gd name="T2" fmla="*/ 0 w 112"/>
                <a:gd name="T3" fmla="*/ 2147483647 h 165"/>
                <a:gd name="T4" fmla="*/ 2147483647 w 112"/>
                <a:gd name="T5" fmla="*/ 2147483647 h 165"/>
                <a:gd name="T6" fmla="*/ 2147483647 w 112"/>
                <a:gd name="T7" fmla="*/ 2147483647 h 165"/>
                <a:gd name="T8" fmla="*/ 2147483647 w 112"/>
                <a:gd name="T9" fmla="*/ 2147483647 h 165"/>
                <a:gd name="T10" fmla="*/ 2147483647 w 112"/>
                <a:gd name="T11" fmla="*/ 2147483647 h 165"/>
                <a:gd name="T12" fmla="*/ 2147483647 w 112"/>
                <a:gd name="T13" fmla="*/ 2147483647 h 165"/>
                <a:gd name="T14" fmla="*/ 2147483647 w 112"/>
                <a:gd name="T15" fmla="*/ 2147483647 h 165"/>
                <a:gd name="T16" fmla="*/ 2147483647 w 112"/>
                <a:gd name="T17" fmla="*/ 2147483647 h 165"/>
                <a:gd name="T18" fmla="*/ 2147483647 w 112"/>
                <a:gd name="T19" fmla="*/ 2147483647 h 165"/>
                <a:gd name="T20" fmla="*/ 2147483647 w 112"/>
                <a:gd name="T21" fmla="*/ 2147483647 h 165"/>
                <a:gd name="T22" fmla="*/ 2147483647 w 112"/>
                <a:gd name="T23" fmla="*/ 2147483647 h 165"/>
                <a:gd name="T24" fmla="*/ 2147483647 w 112"/>
                <a:gd name="T25" fmla="*/ 2147483647 h 165"/>
                <a:gd name="T26" fmla="*/ 2147483647 w 112"/>
                <a:gd name="T27" fmla="*/ 2147483647 h 165"/>
                <a:gd name="T28" fmla="*/ 2147483647 w 112"/>
                <a:gd name="T29" fmla="*/ 2147483647 h 165"/>
                <a:gd name="T30" fmla="*/ 2147483647 w 112"/>
                <a:gd name="T31" fmla="*/ 2147483647 h 165"/>
                <a:gd name="T32" fmla="*/ 2147483647 w 112"/>
                <a:gd name="T33" fmla="*/ 2147483647 h 165"/>
                <a:gd name="T34" fmla="*/ 2147483647 w 112"/>
                <a:gd name="T35" fmla="*/ 2147483647 h 165"/>
                <a:gd name="T36" fmla="*/ 2147483647 w 112"/>
                <a:gd name="T37" fmla="*/ 2147483647 h 165"/>
                <a:gd name="T38" fmla="*/ 2147483647 w 112"/>
                <a:gd name="T39" fmla="*/ 2147483647 h 165"/>
                <a:gd name="T40" fmla="*/ 2147483647 w 112"/>
                <a:gd name="T41" fmla="*/ 2147483647 h 165"/>
                <a:gd name="T42" fmla="*/ 2147483647 w 112"/>
                <a:gd name="T43" fmla="*/ 2147483647 h 165"/>
                <a:gd name="T44" fmla="*/ 2147483647 w 112"/>
                <a:gd name="T45" fmla="*/ 2147483647 h 165"/>
                <a:gd name="T46" fmla="*/ 2147483647 w 112"/>
                <a:gd name="T47" fmla="*/ 2147483647 h 165"/>
                <a:gd name="T48" fmla="*/ 2147483647 w 112"/>
                <a:gd name="T49" fmla="*/ 0 h 165"/>
                <a:gd name="T50" fmla="*/ 2147483647 w 112"/>
                <a:gd name="T51" fmla="*/ 2147483647 h 165"/>
                <a:gd name="T52" fmla="*/ 2147483647 w 112"/>
                <a:gd name="T53" fmla="*/ 0 h 165"/>
                <a:gd name="T54" fmla="*/ 2147483647 w 112"/>
                <a:gd name="T55" fmla="*/ 2147483647 h 165"/>
                <a:gd name="T56" fmla="*/ 0 w 112"/>
                <a:gd name="T57" fmla="*/ 2147483647 h 165"/>
                <a:gd name="T58" fmla="*/ 0 w 112"/>
                <a:gd name="T59" fmla="*/ 2147483647 h 165"/>
                <a:gd name="T60" fmla="*/ 2147483647 w 112"/>
                <a:gd name="T61" fmla="*/ 2147483647 h 165"/>
                <a:gd name="T62" fmla="*/ 2147483647 w 112"/>
                <a:gd name="T63" fmla="*/ 2147483647 h 165"/>
                <a:gd name="T64" fmla="*/ 2147483647 w 112"/>
                <a:gd name="T65" fmla="*/ 2147483647 h 165"/>
                <a:gd name="T66" fmla="*/ 2147483647 w 112"/>
                <a:gd name="T67" fmla="*/ 2147483647 h 165"/>
                <a:gd name="T68" fmla="*/ 2147483647 w 112"/>
                <a:gd name="T69" fmla="*/ 2147483647 h 165"/>
                <a:gd name="T70" fmla="*/ 0 w 112"/>
                <a:gd name="T71" fmla="*/ 2147483647 h 1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2" h="165">
                  <a:moveTo>
                    <a:pt x="0" y="142"/>
                  </a:moveTo>
                  <a:lnTo>
                    <a:pt x="0" y="142"/>
                  </a:lnTo>
                  <a:lnTo>
                    <a:pt x="6" y="142"/>
                  </a:lnTo>
                  <a:lnTo>
                    <a:pt x="25" y="154"/>
                  </a:lnTo>
                  <a:lnTo>
                    <a:pt x="50" y="98"/>
                  </a:lnTo>
                  <a:lnTo>
                    <a:pt x="55" y="133"/>
                  </a:lnTo>
                  <a:lnTo>
                    <a:pt x="62" y="165"/>
                  </a:lnTo>
                  <a:lnTo>
                    <a:pt x="81" y="154"/>
                  </a:lnTo>
                  <a:lnTo>
                    <a:pt x="93" y="142"/>
                  </a:lnTo>
                  <a:lnTo>
                    <a:pt x="112" y="142"/>
                  </a:lnTo>
                  <a:lnTo>
                    <a:pt x="112" y="98"/>
                  </a:lnTo>
                  <a:lnTo>
                    <a:pt x="100" y="89"/>
                  </a:lnTo>
                  <a:lnTo>
                    <a:pt x="93" y="89"/>
                  </a:lnTo>
                  <a:lnTo>
                    <a:pt x="100" y="66"/>
                  </a:lnTo>
                  <a:lnTo>
                    <a:pt x="87" y="54"/>
                  </a:lnTo>
                  <a:lnTo>
                    <a:pt x="75" y="54"/>
                  </a:lnTo>
                  <a:lnTo>
                    <a:pt x="55" y="54"/>
                  </a:lnTo>
                  <a:lnTo>
                    <a:pt x="43" y="54"/>
                  </a:lnTo>
                  <a:lnTo>
                    <a:pt x="31" y="54"/>
                  </a:lnTo>
                  <a:lnTo>
                    <a:pt x="18" y="44"/>
                  </a:lnTo>
                  <a:lnTo>
                    <a:pt x="12" y="44"/>
                  </a:lnTo>
                  <a:lnTo>
                    <a:pt x="18" y="31"/>
                  </a:lnTo>
                  <a:lnTo>
                    <a:pt x="25" y="21"/>
                  </a:lnTo>
                  <a:lnTo>
                    <a:pt x="43" y="10"/>
                  </a:lnTo>
                  <a:lnTo>
                    <a:pt x="43" y="0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6" y="21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12" y="66"/>
                  </a:lnTo>
                  <a:lnTo>
                    <a:pt x="12" y="89"/>
                  </a:lnTo>
                  <a:lnTo>
                    <a:pt x="12" y="110"/>
                  </a:lnTo>
                  <a:lnTo>
                    <a:pt x="6" y="110"/>
                  </a:lnTo>
                  <a:lnTo>
                    <a:pt x="6" y="119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  <p:sp>
          <p:nvSpPr>
            <p:cNvPr id="968" name="Freeform 1132"/>
            <p:cNvSpPr>
              <a:spLocks/>
            </p:cNvSpPr>
            <p:nvPr>
              <p:custDataLst>
                <p:tags r:id="rId962"/>
              </p:custDataLst>
            </p:nvPr>
          </p:nvSpPr>
          <p:spPr bwMode="auto">
            <a:xfrm>
              <a:off x="5951786" y="3398838"/>
              <a:ext cx="163512" cy="130175"/>
            </a:xfrm>
            <a:custGeom>
              <a:avLst/>
              <a:gdLst>
                <a:gd name="T0" fmla="*/ 0 w 112"/>
                <a:gd name="T1" fmla="*/ 2147483647 h 165"/>
                <a:gd name="T2" fmla="*/ 0 w 112"/>
                <a:gd name="T3" fmla="*/ 2147483647 h 165"/>
                <a:gd name="T4" fmla="*/ 2147483647 w 112"/>
                <a:gd name="T5" fmla="*/ 2147483647 h 165"/>
                <a:gd name="T6" fmla="*/ 2147483647 w 112"/>
                <a:gd name="T7" fmla="*/ 2147483647 h 165"/>
                <a:gd name="T8" fmla="*/ 2147483647 w 112"/>
                <a:gd name="T9" fmla="*/ 2147483647 h 165"/>
                <a:gd name="T10" fmla="*/ 2147483647 w 112"/>
                <a:gd name="T11" fmla="*/ 2147483647 h 165"/>
                <a:gd name="T12" fmla="*/ 2147483647 w 112"/>
                <a:gd name="T13" fmla="*/ 2147483647 h 165"/>
                <a:gd name="T14" fmla="*/ 2147483647 w 112"/>
                <a:gd name="T15" fmla="*/ 2147483647 h 165"/>
                <a:gd name="T16" fmla="*/ 2147483647 w 112"/>
                <a:gd name="T17" fmla="*/ 2147483647 h 165"/>
                <a:gd name="T18" fmla="*/ 2147483647 w 112"/>
                <a:gd name="T19" fmla="*/ 2147483647 h 165"/>
                <a:gd name="T20" fmla="*/ 2147483647 w 112"/>
                <a:gd name="T21" fmla="*/ 2147483647 h 165"/>
                <a:gd name="T22" fmla="*/ 2147483647 w 112"/>
                <a:gd name="T23" fmla="*/ 2147483647 h 165"/>
                <a:gd name="T24" fmla="*/ 2147483647 w 112"/>
                <a:gd name="T25" fmla="*/ 2147483647 h 165"/>
                <a:gd name="T26" fmla="*/ 2147483647 w 112"/>
                <a:gd name="T27" fmla="*/ 2147483647 h 165"/>
                <a:gd name="T28" fmla="*/ 2147483647 w 112"/>
                <a:gd name="T29" fmla="*/ 2147483647 h 165"/>
                <a:gd name="T30" fmla="*/ 2147483647 w 112"/>
                <a:gd name="T31" fmla="*/ 2147483647 h 165"/>
                <a:gd name="T32" fmla="*/ 2147483647 w 112"/>
                <a:gd name="T33" fmla="*/ 2147483647 h 165"/>
                <a:gd name="T34" fmla="*/ 2147483647 w 112"/>
                <a:gd name="T35" fmla="*/ 2147483647 h 165"/>
                <a:gd name="T36" fmla="*/ 2147483647 w 112"/>
                <a:gd name="T37" fmla="*/ 2147483647 h 165"/>
                <a:gd name="T38" fmla="*/ 2147483647 w 112"/>
                <a:gd name="T39" fmla="*/ 2147483647 h 165"/>
                <a:gd name="T40" fmla="*/ 2147483647 w 112"/>
                <a:gd name="T41" fmla="*/ 2147483647 h 165"/>
                <a:gd name="T42" fmla="*/ 2147483647 w 112"/>
                <a:gd name="T43" fmla="*/ 2147483647 h 165"/>
                <a:gd name="T44" fmla="*/ 2147483647 w 112"/>
                <a:gd name="T45" fmla="*/ 2147483647 h 165"/>
                <a:gd name="T46" fmla="*/ 2147483647 w 112"/>
                <a:gd name="T47" fmla="*/ 2147483647 h 165"/>
                <a:gd name="T48" fmla="*/ 2147483647 w 112"/>
                <a:gd name="T49" fmla="*/ 0 h 165"/>
                <a:gd name="T50" fmla="*/ 2147483647 w 112"/>
                <a:gd name="T51" fmla="*/ 2147483647 h 165"/>
                <a:gd name="T52" fmla="*/ 2147483647 w 112"/>
                <a:gd name="T53" fmla="*/ 0 h 165"/>
                <a:gd name="T54" fmla="*/ 2147483647 w 112"/>
                <a:gd name="T55" fmla="*/ 2147483647 h 165"/>
                <a:gd name="T56" fmla="*/ 0 w 112"/>
                <a:gd name="T57" fmla="*/ 2147483647 h 165"/>
                <a:gd name="T58" fmla="*/ 0 w 112"/>
                <a:gd name="T59" fmla="*/ 2147483647 h 165"/>
                <a:gd name="T60" fmla="*/ 2147483647 w 112"/>
                <a:gd name="T61" fmla="*/ 2147483647 h 165"/>
                <a:gd name="T62" fmla="*/ 2147483647 w 112"/>
                <a:gd name="T63" fmla="*/ 2147483647 h 165"/>
                <a:gd name="T64" fmla="*/ 2147483647 w 112"/>
                <a:gd name="T65" fmla="*/ 2147483647 h 165"/>
                <a:gd name="T66" fmla="*/ 2147483647 w 112"/>
                <a:gd name="T67" fmla="*/ 2147483647 h 165"/>
                <a:gd name="T68" fmla="*/ 2147483647 w 112"/>
                <a:gd name="T69" fmla="*/ 2147483647 h 165"/>
                <a:gd name="T70" fmla="*/ 0 w 112"/>
                <a:gd name="T71" fmla="*/ 2147483647 h 1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2" h="165">
                  <a:moveTo>
                    <a:pt x="0" y="142"/>
                  </a:moveTo>
                  <a:lnTo>
                    <a:pt x="0" y="142"/>
                  </a:lnTo>
                  <a:lnTo>
                    <a:pt x="6" y="142"/>
                  </a:lnTo>
                  <a:lnTo>
                    <a:pt x="25" y="154"/>
                  </a:lnTo>
                  <a:lnTo>
                    <a:pt x="50" y="98"/>
                  </a:lnTo>
                  <a:lnTo>
                    <a:pt x="55" y="133"/>
                  </a:lnTo>
                  <a:lnTo>
                    <a:pt x="62" y="165"/>
                  </a:lnTo>
                  <a:lnTo>
                    <a:pt x="81" y="154"/>
                  </a:lnTo>
                  <a:lnTo>
                    <a:pt x="93" y="142"/>
                  </a:lnTo>
                  <a:lnTo>
                    <a:pt x="112" y="142"/>
                  </a:lnTo>
                  <a:lnTo>
                    <a:pt x="112" y="98"/>
                  </a:lnTo>
                  <a:lnTo>
                    <a:pt x="100" y="89"/>
                  </a:lnTo>
                  <a:lnTo>
                    <a:pt x="93" y="89"/>
                  </a:lnTo>
                  <a:lnTo>
                    <a:pt x="100" y="66"/>
                  </a:lnTo>
                  <a:lnTo>
                    <a:pt x="87" y="54"/>
                  </a:lnTo>
                  <a:lnTo>
                    <a:pt x="75" y="54"/>
                  </a:lnTo>
                  <a:lnTo>
                    <a:pt x="55" y="54"/>
                  </a:lnTo>
                  <a:lnTo>
                    <a:pt x="43" y="54"/>
                  </a:lnTo>
                  <a:lnTo>
                    <a:pt x="31" y="54"/>
                  </a:lnTo>
                  <a:lnTo>
                    <a:pt x="18" y="44"/>
                  </a:lnTo>
                  <a:lnTo>
                    <a:pt x="12" y="44"/>
                  </a:lnTo>
                  <a:lnTo>
                    <a:pt x="18" y="31"/>
                  </a:lnTo>
                  <a:lnTo>
                    <a:pt x="25" y="21"/>
                  </a:lnTo>
                  <a:lnTo>
                    <a:pt x="43" y="10"/>
                  </a:lnTo>
                  <a:lnTo>
                    <a:pt x="43" y="0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6" y="21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12" y="66"/>
                  </a:lnTo>
                  <a:lnTo>
                    <a:pt x="12" y="89"/>
                  </a:lnTo>
                  <a:lnTo>
                    <a:pt x="12" y="110"/>
                  </a:lnTo>
                  <a:lnTo>
                    <a:pt x="6" y="110"/>
                  </a:lnTo>
                  <a:lnTo>
                    <a:pt x="6" y="119"/>
                  </a:lnTo>
                  <a:lnTo>
                    <a:pt x="0" y="142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solidFill>
                <a:schemeClr val="tx2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endParaRPr lang="fr-FR" dirty="0">
                <a:solidFill>
                  <a:prstClr val="black"/>
                </a:solidFill>
              </a:endParaRPr>
            </a:p>
          </p:txBody>
        </p:sp>
      </p:grpSp>
      <p:sp>
        <p:nvSpPr>
          <p:cNvPr id="4" name="ZoneTexte 3"/>
          <p:cNvSpPr txBox="1"/>
          <p:nvPr/>
        </p:nvSpPr>
        <p:spPr>
          <a:xfrm>
            <a:off x="4644008" y="3356992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err="1">
                <a:solidFill>
                  <a:prstClr val="black"/>
                </a:solidFill>
              </a:rPr>
              <a:t>MToe</a:t>
            </a:r>
            <a:endParaRPr lang="fr-FR" sz="1400" b="1" dirty="0">
              <a:solidFill>
                <a:prstClr val="black"/>
              </a:solidFill>
            </a:endParaRPr>
          </a:p>
        </p:txBody>
      </p:sp>
      <p:sp>
        <p:nvSpPr>
          <p:cNvPr id="1139" name="Titre 1"/>
          <p:cNvSpPr txBox="1">
            <a:spLocks/>
          </p:cNvSpPr>
          <p:nvPr/>
        </p:nvSpPr>
        <p:spPr>
          <a:xfrm>
            <a:off x="251224" y="116632"/>
            <a:ext cx="8641556" cy="561975"/>
          </a:xfrm>
          <a:prstGeom prst="rect">
            <a:avLst/>
          </a:prstGeom>
        </p:spPr>
        <p:txBody>
          <a:bodyPr vert="horz" lIns="63862" tIns="31931" rIns="63862" bIns="31931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defTabSz="639366" eaLnBrk="0" hangingPunct="0">
              <a:defRPr/>
            </a:pPr>
            <a:r>
              <a:rPr lang="fr-FR" sz="2000" dirty="0"/>
              <a:t>SONATRACH, </a:t>
            </a:r>
            <a:r>
              <a:rPr lang="fr-FR" sz="2000" dirty="0" err="1"/>
              <a:t>Hydrocarbons</a:t>
            </a:r>
            <a:r>
              <a:rPr lang="fr-FR" sz="2000" dirty="0"/>
              <a:t> Global Supplier 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965D-C35C-4C81-A866-AF0EB9175DFD}" type="slidenum">
              <a:rPr lang="fr-FR" sz="750" smtClean="0">
                <a:solidFill>
                  <a:prstClr val="black">
                    <a:tint val="75000"/>
                  </a:prstClr>
                </a:solidFill>
              </a:rPr>
              <a:pPr/>
              <a:t>12</a:t>
            </a:fld>
            <a:endParaRPr lang="fr-FR" sz="75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9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824" y="817835"/>
            <a:ext cx="3889375" cy="525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9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0659" y="3664769"/>
            <a:ext cx="4633913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8996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65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4887" y="1211191"/>
            <a:ext cx="1897072" cy="1423975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8532440" y="6450024"/>
            <a:ext cx="323850" cy="342900"/>
          </a:xfrm>
        </p:spPr>
        <p:txBody>
          <a:bodyPr/>
          <a:lstStyle/>
          <a:p>
            <a:pPr algn="l">
              <a:defRPr/>
            </a:pPr>
            <a:fld id="{5AA4C030-03BF-49B3-9D94-8D2BD49F7547}" type="slidenum">
              <a:rPr lang="fr-FR"/>
              <a:pPr algn="l">
                <a:defRPr/>
              </a:pPr>
              <a:t>13</a:t>
            </a:fld>
            <a:endParaRPr lang="fr-FR" dirty="0"/>
          </a:p>
        </p:txBody>
      </p:sp>
      <p:sp>
        <p:nvSpPr>
          <p:cNvPr id="128011" name="Rectangle 11"/>
          <p:cNvSpPr>
            <a:spLocks noGrp="1" noChangeArrowheads="1"/>
          </p:cNvSpPr>
          <p:nvPr>
            <p:ph type="title"/>
          </p:nvPr>
        </p:nvSpPr>
        <p:spPr/>
        <p:txBody>
          <a:bodyPr lIns="63862" tIns="31931" rIns="63862" bIns="31931"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fr-FR" sz="2000" dirty="0"/>
              <a:t>SONATRACH, </a:t>
            </a:r>
            <a:r>
              <a:rPr lang="fr-FR" sz="2000" dirty="0" err="1" smtClean="0"/>
              <a:t>Gas</a:t>
            </a:r>
            <a:r>
              <a:rPr lang="fr-FR" sz="2000" dirty="0" smtClean="0"/>
              <a:t> &amp; LPG Player in the world</a:t>
            </a:r>
            <a:endParaRPr lang="fr-FR" sz="2000" dirty="0"/>
          </a:p>
        </p:txBody>
      </p:sp>
      <p:sp>
        <p:nvSpPr>
          <p:cNvPr id="4" name="ZoneTexte 3"/>
          <p:cNvSpPr txBox="1"/>
          <p:nvPr/>
        </p:nvSpPr>
        <p:spPr>
          <a:xfrm>
            <a:off x="251224" y="6413511"/>
            <a:ext cx="4496990" cy="207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469106" indent="-469106"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50" dirty="0">
                <a:solidFill>
                  <a:prstClr val="black"/>
                </a:solidFill>
                <a:latin typeface="+mn-lt"/>
                <a:cs typeface="Arial" charset="0"/>
              </a:rPr>
              <a:t>Source: BP </a:t>
            </a:r>
            <a:r>
              <a:rPr lang="fr-FR" sz="750" dirty="0" err="1">
                <a:solidFill>
                  <a:prstClr val="black"/>
                </a:solidFill>
                <a:latin typeface="+mn-lt"/>
                <a:cs typeface="Arial" charset="0"/>
              </a:rPr>
              <a:t>Statistical</a:t>
            </a:r>
            <a:r>
              <a:rPr lang="fr-FR" sz="750" dirty="0">
                <a:solidFill>
                  <a:prstClr val="black"/>
                </a:solidFill>
                <a:latin typeface="+mn-lt"/>
                <a:cs typeface="Arial" charset="0"/>
              </a:rPr>
              <a:t> </a:t>
            </a:r>
            <a:r>
              <a:rPr lang="fr-FR" sz="750" dirty="0" err="1">
                <a:solidFill>
                  <a:prstClr val="black"/>
                </a:solidFill>
                <a:latin typeface="+mn-lt"/>
                <a:cs typeface="Arial" charset="0"/>
              </a:rPr>
              <a:t>review</a:t>
            </a:r>
            <a:r>
              <a:rPr lang="fr-FR" sz="750" dirty="0">
                <a:solidFill>
                  <a:prstClr val="black"/>
                </a:solidFill>
                <a:latin typeface="+mn-lt"/>
                <a:cs typeface="Arial" charset="0"/>
              </a:rPr>
              <a:t>, 2017; SONATRACH figures 2016.</a:t>
            </a:r>
          </a:p>
        </p:txBody>
      </p:sp>
      <p:sp>
        <p:nvSpPr>
          <p:cNvPr id="73735" name="ZoneTexte 5"/>
          <p:cNvSpPr txBox="1">
            <a:spLocks noChangeArrowheads="1"/>
          </p:cNvSpPr>
          <p:nvPr/>
        </p:nvSpPr>
        <p:spPr bwMode="auto">
          <a:xfrm>
            <a:off x="1467100" y="2762945"/>
            <a:ext cx="931069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fr-FR"/>
            </a:defPPr>
            <a:lvl1pPr fontAlgn="auto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 sz="3600">
                <a:solidFill>
                  <a:srgbClr val="4F81BD"/>
                </a:solidFill>
                <a:latin typeface="Arial Narrow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7619"/>
              </a:buClr>
              <a:buSzPct val="50000"/>
              <a:buFont typeface="Wingdings 2" pitchFamily="18" charset="2"/>
              <a:buChar char="¤"/>
              <a:defRPr sz="2000"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7619"/>
              </a:buClr>
              <a:buSzPct val="90000"/>
              <a:buFont typeface="Wingdings 2" pitchFamily="18" charset="2"/>
              <a:buChar char="®"/>
              <a:defRPr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7619"/>
              </a:buClr>
              <a:buSzPct val="75000"/>
              <a:buFont typeface="Wingdings 2" pitchFamily="18" charset="2"/>
              <a:buChar char="²"/>
              <a:defRPr sz="1600"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7619"/>
              </a:buClr>
              <a:buFont typeface="Arial" pitchFamily="34" charset="0"/>
              <a:buChar char="–"/>
              <a:defRPr sz="1400"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latin typeface="Arial" pitchFamily="34" charset="0"/>
              </a:defRPr>
            </a:lvl9pPr>
          </a:lstStyle>
          <a:p>
            <a:r>
              <a:rPr lang="fr-FR" altLang="fr-FR" dirty="0"/>
              <a:t>4% </a:t>
            </a:r>
          </a:p>
          <a:p>
            <a:pPr>
              <a:defRPr/>
            </a:pPr>
            <a:r>
              <a:rPr lang="fr-FR" altLang="fr-FR" sz="1100" dirty="0"/>
              <a:t>of World LNG Imports</a:t>
            </a:r>
          </a:p>
        </p:txBody>
      </p:sp>
      <p:sp>
        <p:nvSpPr>
          <p:cNvPr id="73736" name="ZoneTexte 10"/>
          <p:cNvSpPr txBox="1">
            <a:spLocks noChangeArrowheads="1"/>
          </p:cNvSpPr>
          <p:nvPr/>
        </p:nvSpPr>
        <p:spPr bwMode="auto">
          <a:xfrm>
            <a:off x="465135" y="2728842"/>
            <a:ext cx="995363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7619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7619"/>
              </a:buClr>
              <a:buSzPct val="50000"/>
              <a:buFont typeface="Wingdings 2" pitchFamily="18" charset="2"/>
              <a:buChar char="¤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7619"/>
              </a:buClr>
              <a:buSzPct val="90000"/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7619"/>
              </a:buClr>
              <a:buSzPct val="75000"/>
              <a:buFont typeface="Wingdings 2" pitchFamily="18" charset="2"/>
              <a:buChar char="²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5400" dirty="0" smtClean="0">
                <a:solidFill>
                  <a:srgbClr val="FF0000"/>
                </a:solidFill>
                <a:latin typeface="Arial Narrow" pitchFamily="34" charset="0"/>
              </a:rPr>
              <a:t>6</a:t>
            </a:r>
            <a:r>
              <a:rPr lang="fr-FR" altLang="fr-FR" sz="3600" baseline="30000" dirty="0" smtClean="0">
                <a:solidFill>
                  <a:srgbClr val="FF0000"/>
                </a:solidFill>
                <a:latin typeface="Arial Narrow" pitchFamily="34" charset="0"/>
              </a:rPr>
              <a:t>th</a:t>
            </a:r>
            <a:r>
              <a:rPr lang="fr-FR" altLang="fr-FR" sz="4400" baseline="30000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  <a:endParaRPr lang="fr-FR" altLang="fr-FR" sz="4400" baseline="30000" dirty="0">
              <a:solidFill>
                <a:srgbClr val="FF0000"/>
              </a:solidFill>
              <a:latin typeface="Arial Narrow" pitchFamily="34" charset="0"/>
            </a:endParaRPr>
          </a:p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2000" dirty="0">
                <a:solidFill>
                  <a:srgbClr val="FF0000"/>
                </a:solidFill>
                <a:latin typeface="Arial Narrow" pitchFamily="34" charset="0"/>
              </a:rPr>
              <a:t>World LNG Supplier</a:t>
            </a:r>
          </a:p>
        </p:txBody>
      </p:sp>
      <p:sp>
        <p:nvSpPr>
          <p:cNvPr id="73737" name="ZoneTexte 6"/>
          <p:cNvSpPr txBox="1">
            <a:spLocks noChangeArrowheads="1"/>
          </p:cNvSpPr>
          <p:nvPr/>
        </p:nvSpPr>
        <p:spPr bwMode="auto">
          <a:xfrm>
            <a:off x="305237" y="782675"/>
            <a:ext cx="225734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fr-FR"/>
            </a:defPPr>
            <a:lvl1pPr fontAlgn="auto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 sz="1600" b="1">
                <a:solidFill>
                  <a:srgbClr val="4F81BD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7619"/>
              </a:buClr>
              <a:buSzPct val="50000"/>
              <a:buFont typeface="Wingdings 2" pitchFamily="18" charset="2"/>
              <a:buChar char="¤"/>
              <a:defRPr sz="2000"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7619"/>
              </a:buClr>
              <a:buSzPct val="90000"/>
              <a:buFont typeface="Wingdings 2" pitchFamily="18" charset="2"/>
              <a:buChar char="®"/>
              <a:defRPr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7619"/>
              </a:buClr>
              <a:buSzPct val="75000"/>
              <a:buFont typeface="Wingdings 2" pitchFamily="18" charset="2"/>
              <a:buChar char="²"/>
              <a:defRPr sz="1600"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7619"/>
              </a:buClr>
              <a:buFont typeface="Arial" pitchFamily="34" charset="0"/>
              <a:buChar char="–"/>
              <a:defRPr sz="1400"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latin typeface="Arial" pitchFamily="34" charset="0"/>
              </a:defRPr>
            </a:lvl9pPr>
          </a:lstStyle>
          <a:p>
            <a:r>
              <a:rPr lang="fr-FR" altLang="fr-FR" dirty="0"/>
              <a:t>World LNG Exports </a:t>
            </a:r>
            <a:r>
              <a:rPr lang="fr-FR" altLang="fr-FR" dirty="0" smtClean="0"/>
              <a:t>2016</a:t>
            </a:r>
            <a:endParaRPr lang="fr-FR" altLang="fr-FR" dirty="0"/>
          </a:p>
        </p:txBody>
      </p:sp>
      <p:sp>
        <p:nvSpPr>
          <p:cNvPr id="17" name="ZoneTexte 6"/>
          <p:cNvSpPr txBox="1">
            <a:spLocks noChangeArrowheads="1"/>
          </p:cNvSpPr>
          <p:nvPr/>
        </p:nvSpPr>
        <p:spPr bwMode="auto">
          <a:xfrm>
            <a:off x="3063347" y="798064"/>
            <a:ext cx="290015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7619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7619"/>
              </a:buClr>
              <a:buSzPct val="50000"/>
              <a:buFont typeface="Wingdings 2" pitchFamily="18" charset="2"/>
              <a:buChar char="¤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7619"/>
              </a:buClr>
              <a:buSzPct val="90000"/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7619"/>
              </a:buClr>
              <a:buSzPct val="75000"/>
              <a:buFont typeface="Wingdings 2" pitchFamily="18" charset="2"/>
              <a:buChar char="²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1600" b="1" dirty="0">
                <a:solidFill>
                  <a:srgbClr val="4F81BD"/>
                </a:solidFill>
                <a:latin typeface="Calibri" pitchFamily="34" charset="0"/>
              </a:rPr>
              <a:t>World </a:t>
            </a:r>
            <a:r>
              <a:rPr lang="fr-FR" altLang="fr-FR" sz="1600" b="1" dirty="0" smtClean="0">
                <a:solidFill>
                  <a:srgbClr val="4F81BD"/>
                </a:solidFill>
                <a:latin typeface="Calibri" pitchFamily="34" charset="0"/>
              </a:rPr>
              <a:t>Natural </a:t>
            </a:r>
            <a:r>
              <a:rPr lang="fr-FR" altLang="fr-FR" sz="1600" b="1" dirty="0" err="1" smtClean="0">
                <a:solidFill>
                  <a:srgbClr val="4F81BD"/>
                </a:solidFill>
                <a:latin typeface="Calibri" pitchFamily="34" charset="0"/>
              </a:rPr>
              <a:t>Gas</a:t>
            </a:r>
            <a:r>
              <a:rPr lang="fr-FR" altLang="fr-FR" sz="1600" b="1" dirty="0" smtClean="0">
                <a:solidFill>
                  <a:srgbClr val="4F81BD"/>
                </a:solidFill>
                <a:latin typeface="Calibri" pitchFamily="34" charset="0"/>
              </a:rPr>
              <a:t> </a:t>
            </a:r>
            <a:r>
              <a:rPr lang="fr-FR" altLang="fr-FR" sz="1600" b="1" dirty="0">
                <a:solidFill>
                  <a:srgbClr val="4F81BD"/>
                </a:solidFill>
                <a:latin typeface="Calibri" pitchFamily="34" charset="0"/>
              </a:rPr>
              <a:t>Exports </a:t>
            </a:r>
            <a:r>
              <a:rPr lang="fr-FR" altLang="fr-FR" sz="1600" b="1" dirty="0" smtClean="0">
                <a:solidFill>
                  <a:srgbClr val="4F81BD"/>
                </a:solidFill>
                <a:latin typeface="Calibri" pitchFamily="34" charset="0"/>
              </a:rPr>
              <a:t>2016</a:t>
            </a:r>
            <a:endParaRPr lang="fr-FR" altLang="fr-FR" sz="1600" b="1" dirty="0">
              <a:solidFill>
                <a:srgbClr val="4F81BD"/>
              </a:solidFill>
              <a:latin typeface="Calibri" pitchFamily="34" charset="0"/>
            </a:endParaRPr>
          </a:p>
        </p:txBody>
      </p:sp>
      <p:sp>
        <p:nvSpPr>
          <p:cNvPr id="19" name="ZoneTexte 5"/>
          <p:cNvSpPr txBox="1">
            <a:spLocks noChangeArrowheads="1"/>
          </p:cNvSpPr>
          <p:nvPr/>
        </p:nvSpPr>
        <p:spPr bwMode="auto">
          <a:xfrm>
            <a:off x="4653156" y="2822673"/>
            <a:ext cx="1060847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7619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7619"/>
              </a:buClr>
              <a:buSzPct val="50000"/>
              <a:buFont typeface="Wingdings 2" pitchFamily="18" charset="2"/>
              <a:buChar char="¤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7619"/>
              </a:buClr>
              <a:buSzPct val="90000"/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7619"/>
              </a:buClr>
              <a:buSzPct val="75000"/>
              <a:buFont typeface="Wingdings 2" pitchFamily="18" charset="2"/>
              <a:buChar char="²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3600" dirty="0">
                <a:solidFill>
                  <a:srgbClr val="4F81BD"/>
                </a:solidFill>
                <a:latin typeface="Arial Narrow" pitchFamily="34" charset="0"/>
              </a:rPr>
              <a:t>5</a:t>
            </a:r>
            <a:r>
              <a:rPr lang="fr-FR" altLang="fr-FR" sz="1600" dirty="0">
                <a:solidFill>
                  <a:srgbClr val="4F81BD"/>
                </a:solidFill>
                <a:latin typeface="Arial Narrow" pitchFamily="34" charset="0"/>
              </a:rPr>
              <a:t>%</a:t>
            </a:r>
            <a:r>
              <a:rPr lang="fr-FR" altLang="fr-FR" sz="2800" dirty="0">
                <a:solidFill>
                  <a:srgbClr val="4F81BD"/>
                </a:solidFill>
                <a:latin typeface="Arial Narrow" pitchFamily="34" charset="0"/>
              </a:rPr>
              <a:t> </a:t>
            </a:r>
          </a:p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1100" dirty="0">
                <a:solidFill>
                  <a:srgbClr val="4F81BD"/>
                </a:solidFill>
                <a:latin typeface="Arial Narrow" pitchFamily="34" charset="0"/>
              </a:rPr>
              <a:t>of W</a:t>
            </a:r>
            <a:r>
              <a:rPr lang="fr-FR" altLang="fr-FR" sz="1400" dirty="0">
                <a:solidFill>
                  <a:srgbClr val="4F81BD"/>
                </a:solidFill>
                <a:latin typeface="Calibri" pitchFamily="34" charset="0"/>
              </a:rPr>
              <a:t>orld NG Imports</a:t>
            </a:r>
            <a:endParaRPr lang="fr-FR" altLang="fr-FR" sz="1100" dirty="0">
              <a:solidFill>
                <a:srgbClr val="4F81BD"/>
              </a:solidFill>
              <a:latin typeface="Arial Narrow" pitchFamily="34" charset="0"/>
            </a:endParaRPr>
          </a:p>
        </p:txBody>
      </p:sp>
      <p:sp>
        <p:nvSpPr>
          <p:cNvPr id="20" name="ZoneTexte 10"/>
          <p:cNvSpPr txBox="1">
            <a:spLocks noChangeArrowheads="1"/>
          </p:cNvSpPr>
          <p:nvPr/>
        </p:nvSpPr>
        <p:spPr bwMode="auto">
          <a:xfrm>
            <a:off x="3564887" y="2744524"/>
            <a:ext cx="1378745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rgbClr val="FF7619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7619"/>
              </a:buClr>
              <a:buSzPct val="50000"/>
              <a:buFont typeface="Wingdings 2" pitchFamily="18" charset="2"/>
              <a:buChar char="¤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7619"/>
              </a:buClr>
              <a:buSzPct val="90000"/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7619"/>
              </a:buClr>
              <a:buSzPct val="75000"/>
              <a:buFont typeface="Wingdings 2" pitchFamily="18" charset="2"/>
              <a:buChar char="²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5400" dirty="0">
                <a:solidFill>
                  <a:srgbClr val="FF0000"/>
                </a:solidFill>
                <a:latin typeface="Arial Narrow" pitchFamily="34" charset="0"/>
              </a:rPr>
              <a:t>6</a:t>
            </a:r>
            <a:r>
              <a:rPr lang="fr-FR" altLang="fr-FR" sz="3600" baseline="30000" dirty="0">
                <a:solidFill>
                  <a:srgbClr val="FF0000"/>
                </a:solidFill>
                <a:latin typeface="Arial Narrow" pitchFamily="34" charset="0"/>
              </a:rPr>
              <a:t>th</a:t>
            </a:r>
            <a:r>
              <a:rPr lang="fr-FR" altLang="fr-FR" sz="4400" baseline="30000" dirty="0">
                <a:solidFill>
                  <a:srgbClr val="FF0000"/>
                </a:solidFill>
                <a:latin typeface="Arial Narrow" pitchFamily="34" charset="0"/>
              </a:rPr>
              <a:t> </a:t>
            </a:r>
          </a:p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2000" dirty="0">
                <a:solidFill>
                  <a:srgbClr val="FF0000"/>
                </a:solidFill>
                <a:latin typeface="Arial Narrow" pitchFamily="34" charset="0"/>
              </a:rPr>
              <a:t>World </a:t>
            </a:r>
            <a:endParaRPr lang="fr-FR" altLang="fr-FR" sz="2000" dirty="0" smtClean="0">
              <a:solidFill>
                <a:srgbClr val="FF0000"/>
              </a:solidFill>
              <a:latin typeface="Arial Narrow" pitchFamily="34" charset="0"/>
            </a:endParaRPr>
          </a:p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2000" dirty="0" smtClean="0">
                <a:solidFill>
                  <a:srgbClr val="FF0000"/>
                </a:solidFill>
                <a:latin typeface="Arial Narrow" pitchFamily="34" charset="0"/>
              </a:rPr>
              <a:t>Natural </a:t>
            </a:r>
            <a:r>
              <a:rPr lang="fr-FR" altLang="fr-FR" sz="2000" dirty="0" err="1" smtClean="0">
                <a:solidFill>
                  <a:srgbClr val="FF0000"/>
                </a:solidFill>
                <a:latin typeface="Arial Narrow" pitchFamily="34" charset="0"/>
              </a:rPr>
              <a:t>Gas</a:t>
            </a:r>
            <a:endParaRPr lang="fr-FR" altLang="fr-FR" sz="2000" dirty="0">
              <a:solidFill>
                <a:srgbClr val="FF0000"/>
              </a:solidFill>
              <a:latin typeface="Arial Narrow" pitchFamily="34" charset="0"/>
            </a:endParaRPr>
          </a:p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2000" dirty="0">
                <a:solidFill>
                  <a:srgbClr val="FF0000"/>
                </a:solidFill>
                <a:latin typeface="Arial Narrow" pitchFamily="34" charset="0"/>
              </a:rPr>
              <a:t>Supplier</a:t>
            </a:r>
          </a:p>
        </p:txBody>
      </p:sp>
      <p:sp>
        <p:nvSpPr>
          <p:cNvPr id="18" name="ZoneTexte 5"/>
          <p:cNvSpPr txBox="1">
            <a:spLocks noChangeArrowheads="1"/>
          </p:cNvSpPr>
          <p:nvPr/>
        </p:nvSpPr>
        <p:spPr bwMode="auto">
          <a:xfrm>
            <a:off x="7243247" y="2824500"/>
            <a:ext cx="1060847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7619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7619"/>
              </a:buClr>
              <a:buSzPct val="50000"/>
              <a:buFont typeface="Wingdings 2" pitchFamily="18" charset="2"/>
              <a:buChar char="¤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7619"/>
              </a:buClr>
              <a:buSzPct val="90000"/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7619"/>
              </a:buClr>
              <a:buSzPct val="75000"/>
              <a:buFont typeface="Wingdings 2" pitchFamily="18" charset="2"/>
              <a:buChar char="²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3600" dirty="0" smtClean="0">
                <a:solidFill>
                  <a:srgbClr val="4F81BD"/>
                </a:solidFill>
                <a:latin typeface="Arial Narrow" pitchFamily="34" charset="0"/>
              </a:rPr>
              <a:t>10</a:t>
            </a:r>
            <a:r>
              <a:rPr lang="fr-FR" altLang="fr-FR" sz="1600" dirty="0" smtClean="0">
                <a:solidFill>
                  <a:srgbClr val="4F81BD"/>
                </a:solidFill>
                <a:latin typeface="Arial Narrow" pitchFamily="34" charset="0"/>
              </a:rPr>
              <a:t>%</a:t>
            </a:r>
            <a:r>
              <a:rPr lang="fr-FR" altLang="fr-FR" sz="2800" dirty="0" smtClean="0">
                <a:solidFill>
                  <a:srgbClr val="4F81BD"/>
                </a:solidFill>
                <a:latin typeface="Arial Narrow" pitchFamily="34" charset="0"/>
              </a:rPr>
              <a:t> </a:t>
            </a:r>
            <a:endParaRPr lang="fr-FR" altLang="fr-FR" sz="2800" dirty="0">
              <a:solidFill>
                <a:srgbClr val="4F81BD"/>
              </a:solidFill>
              <a:latin typeface="Arial Narrow" pitchFamily="34" charset="0"/>
            </a:endParaRPr>
          </a:p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1100" dirty="0">
                <a:solidFill>
                  <a:srgbClr val="4F81BD"/>
                </a:solidFill>
                <a:latin typeface="Arial Narrow" pitchFamily="34" charset="0"/>
              </a:rPr>
              <a:t>of W</a:t>
            </a:r>
            <a:r>
              <a:rPr lang="fr-FR" altLang="fr-FR" sz="1400" dirty="0">
                <a:solidFill>
                  <a:srgbClr val="4F81BD"/>
                </a:solidFill>
                <a:latin typeface="Calibri" pitchFamily="34" charset="0"/>
              </a:rPr>
              <a:t>orld </a:t>
            </a:r>
            <a:r>
              <a:rPr lang="fr-FR" altLang="fr-FR" sz="1400" dirty="0" smtClean="0">
                <a:solidFill>
                  <a:srgbClr val="4F81BD"/>
                </a:solidFill>
                <a:latin typeface="Calibri" pitchFamily="34" charset="0"/>
              </a:rPr>
              <a:t>LPG </a:t>
            </a:r>
            <a:r>
              <a:rPr lang="fr-FR" altLang="fr-FR" sz="1400" dirty="0">
                <a:solidFill>
                  <a:srgbClr val="4F81BD"/>
                </a:solidFill>
                <a:latin typeface="Calibri" pitchFamily="34" charset="0"/>
              </a:rPr>
              <a:t>Imports</a:t>
            </a:r>
            <a:endParaRPr lang="fr-FR" altLang="fr-FR" sz="1100" dirty="0">
              <a:solidFill>
                <a:srgbClr val="4F81BD"/>
              </a:solidFill>
              <a:latin typeface="Arial Narrow" pitchFamily="34" charset="0"/>
            </a:endParaRPr>
          </a:p>
        </p:txBody>
      </p:sp>
      <p:sp>
        <p:nvSpPr>
          <p:cNvPr id="21" name="ZoneTexte 10"/>
          <p:cNvSpPr txBox="1">
            <a:spLocks noChangeArrowheads="1"/>
          </p:cNvSpPr>
          <p:nvPr/>
        </p:nvSpPr>
        <p:spPr bwMode="auto">
          <a:xfrm>
            <a:off x="6247884" y="2753841"/>
            <a:ext cx="995363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rgbClr val="FF7619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7619"/>
              </a:buClr>
              <a:buSzPct val="50000"/>
              <a:buFont typeface="Wingdings 2" pitchFamily="18" charset="2"/>
              <a:buChar char="¤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7619"/>
              </a:buClr>
              <a:buSzPct val="90000"/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7619"/>
              </a:buClr>
              <a:buSzPct val="75000"/>
              <a:buFont typeface="Wingdings 2" pitchFamily="18" charset="2"/>
              <a:buChar char="²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5400" dirty="0" smtClean="0">
                <a:solidFill>
                  <a:srgbClr val="FF0000"/>
                </a:solidFill>
                <a:latin typeface="Arial Narrow" pitchFamily="34" charset="0"/>
              </a:rPr>
              <a:t>5</a:t>
            </a:r>
            <a:r>
              <a:rPr lang="fr-FR" altLang="fr-FR" sz="3600" baseline="30000" dirty="0" smtClean="0">
                <a:solidFill>
                  <a:srgbClr val="FF0000"/>
                </a:solidFill>
                <a:latin typeface="Arial Narrow" pitchFamily="34" charset="0"/>
              </a:rPr>
              <a:t>th</a:t>
            </a:r>
            <a:r>
              <a:rPr lang="fr-FR" altLang="fr-FR" sz="4400" baseline="30000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  <a:endParaRPr lang="fr-FR" altLang="fr-FR" sz="4400" baseline="30000" dirty="0">
              <a:solidFill>
                <a:srgbClr val="FF0000"/>
              </a:solidFill>
              <a:latin typeface="Arial Narrow" pitchFamily="34" charset="0"/>
            </a:endParaRPr>
          </a:p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2000" dirty="0">
                <a:solidFill>
                  <a:srgbClr val="FF0000"/>
                </a:solidFill>
                <a:latin typeface="Arial Narrow" pitchFamily="34" charset="0"/>
              </a:rPr>
              <a:t>World </a:t>
            </a:r>
            <a:r>
              <a:rPr lang="fr-FR" altLang="fr-FR" sz="2000" b="1" dirty="0" smtClean="0">
                <a:solidFill>
                  <a:srgbClr val="FF0000"/>
                </a:solidFill>
                <a:latin typeface="Arial Narrow" pitchFamily="34" charset="0"/>
              </a:rPr>
              <a:t>LPG</a:t>
            </a:r>
            <a:endParaRPr lang="fr-FR" altLang="fr-FR" sz="2000" b="1" dirty="0">
              <a:solidFill>
                <a:srgbClr val="FF0000"/>
              </a:solidFill>
              <a:latin typeface="Arial Narrow" pitchFamily="34" charset="0"/>
            </a:endParaRPr>
          </a:p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2000" dirty="0">
                <a:solidFill>
                  <a:srgbClr val="FF0000"/>
                </a:solidFill>
                <a:latin typeface="Arial Narrow" pitchFamily="34" charset="0"/>
              </a:rPr>
              <a:t>Supplier</a:t>
            </a:r>
          </a:p>
        </p:txBody>
      </p:sp>
      <p:sp>
        <p:nvSpPr>
          <p:cNvPr id="22" name="ZoneTexte 6"/>
          <p:cNvSpPr txBox="1">
            <a:spLocks noChangeArrowheads="1"/>
          </p:cNvSpPr>
          <p:nvPr/>
        </p:nvSpPr>
        <p:spPr bwMode="auto">
          <a:xfrm>
            <a:off x="6364681" y="788216"/>
            <a:ext cx="2231701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lr>
                <a:srgbClr val="FF7619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7619"/>
              </a:buClr>
              <a:buSzPct val="50000"/>
              <a:buFont typeface="Wingdings 2" pitchFamily="18" charset="2"/>
              <a:buChar char="¤"/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F7619"/>
              </a:buClr>
              <a:buSzPct val="90000"/>
              <a:buFont typeface="Wingdings 2" pitchFamily="18" charset="2"/>
              <a:buChar char="®"/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F7619"/>
              </a:buClr>
              <a:buSzPct val="75000"/>
              <a:buFont typeface="Wingdings 2" pitchFamily="18" charset="2"/>
              <a:buChar char="²"/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7619"/>
              </a:buClr>
              <a:buFont typeface="Arial" pitchFamily="34" charset="0"/>
              <a:buChar char="–"/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ClrTx/>
              <a:buFontTx/>
              <a:buNone/>
              <a:defRPr/>
            </a:pPr>
            <a:r>
              <a:rPr lang="fr-FR" altLang="fr-FR" sz="1600" b="1" dirty="0">
                <a:solidFill>
                  <a:srgbClr val="4F81BD"/>
                </a:solidFill>
                <a:latin typeface="Calibri" pitchFamily="34" charset="0"/>
              </a:rPr>
              <a:t>World </a:t>
            </a:r>
            <a:r>
              <a:rPr lang="fr-FR" altLang="fr-FR" sz="1600" b="1" dirty="0" smtClean="0">
                <a:solidFill>
                  <a:srgbClr val="4F81BD"/>
                </a:solidFill>
                <a:latin typeface="Calibri" pitchFamily="34" charset="0"/>
              </a:rPr>
              <a:t>LPG </a:t>
            </a:r>
            <a:r>
              <a:rPr lang="fr-FR" altLang="fr-FR" sz="1600" b="1" dirty="0">
                <a:solidFill>
                  <a:srgbClr val="4F81BD"/>
                </a:solidFill>
                <a:latin typeface="Calibri" pitchFamily="34" charset="0"/>
              </a:rPr>
              <a:t>Exports </a:t>
            </a:r>
            <a:r>
              <a:rPr lang="fr-FR" altLang="fr-FR" sz="1600" b="1" dirty="0" smtClean="0">
                <a:solidFill>
                  <a:srgbClr val="4F81BD"/>
                </a:solidFill>
                <a:latin typeface="Calibri" pitchFamily="34" charset="0"/>
              </a:rPr>
              <a:t>2016</a:t>
            </a:r>
            <a:endParaRPr lang="fr-FR" altLang="fr-FR" sz="1600" b="1" dirty="0">
              <a:solidFill>
                <a:srgbClr val="4F81BD"/>
              </a:solidFill>
              <a:latin typeface="Calibri" pitchFamily="34" charset="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1888140" y="2234480"/>
            <a:ext cx="356188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600" dirty="0" smtClean="0"/>
              <a:t>BCM</a:t>
            </a:r>
            <a:endParaRPr lang="fr-FR" sz="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828" y="1136618"/>
            <a:ext cx="1816246" cy="1498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1208" y="1202864"/>
            <a:ext cx="1937876" cy="142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Image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3399" y="4870470"/>
            <a:ext cx="1301858" cy="122808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5" name="Rectangle 24"/>
          <p:cNvSpPr/>
          <p:nvPr/>
        </p:nvSpPr>
        <p:spPr>
          <a:xfrm>
            <a:off x="108640" y="5130570"/>
            <a:ext cx="139974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fr-FR" sz="2000" b="1" dirty="0" smtClean="0"/>
              <a:t>8</a:t>
            </a:r>
            <a:r>
              <a:rPr lang="fr-FR" sz="1600" dirty="0" smtClean="0"/>
              <a:t> </a:t>
            </a:r>
            <a:r>
              <a:rPr lang="fr-FR" sz="1400" dirty="0"/>
              <a:t>LNG </a:t>
            </a:r>
            <a:r>
              <a:rPr lang="fr-FR" sz="1400" dirty="0" smtClean="0"/>
              <a:t>carriers</a:t>
            </a:r>
          </a:p>
          <a:p>
            <a:pPr fontAlgn="ctr"/>
            <a:r>
              <a:rPr lang="fr-FR" sz="2000" b="1" dirty="0" smtClean="0"/>
              <a:t>1 </a:t>
            </a:r>
            <a:r>
              <a:rPr lang="fr-FR" sz="1400" dirty="0" smtClean="0"/>
              <a:t>MCM</a:t>
            </a:r>
          </a:p>
        </p:txBody>
      </p:sp>
      <p:pic>
        <p:nvPicPr>
          <p:cNvPr id="26" name="Image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544" y="4870470"/>
            <a:ext cx="1228469" cy="1137472"/>
          </a:xfrm>
          <a:prstGeom prst="roundRect">
            <a:avLst>
              <a:gd name="adj" fmla="val 8594"/>
            </a:avLst>
          </a:prstGeom>
        </p:spPr>
      </p:pic>
      <p:sp>
        <p:nvSpPr>
          <p:cNvPr id="27" name="Rectangle 26"/>
          <p:cNvSpPr/>
          <p:nvPr/>
        </p:nvSpPr>
        <p:spPr>
          <a:xfrm>
            <a:off x="5832488" y="5013176"/>
            <a:ext cx="1390124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ctr"/>
            <a:r>
              <a:rPr lang="fr-FR" sz="2000" b="1" dirty="0" smtClean="0"/>
              <a:t>9</a:t>
            </a:r>
            <a:r>
              <a:rPr lang="fr-FR" sz="1600" dirty="0" smtClean="0"/>
              <a:t> </a:t>
            </a:r>
            <a:r>
              <a:rPr lang="fr-FR" sz="1400" dirty="0" smtClean="0"/>
              <a:t>LPG carriers</a:t>
            </a:r>
          </a:p>
          <a:p>
            <a:pPr fontAlgn="ctr"/>
            <a:r>
              <a:rPr lang="fr-FR" sz="2000" b="1" dirty="0" smtClean="0"/>
              <a:t>460 </a:t>
            </a:r>
            <a:r>
              <a:rPr lang="fr-FR" sz="1600" dirty="0" err="1" smtClean="0"/>
              <a:t>kCM</a:t>
            </a:r>
            <a:endParaRPr lang="fr-FR" sz="1600" b="1" dirty="0">
              <a:solidFill>
                <a:srgbClr val="8EB4E3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1394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986259" cy="562074"/>
          </a:xfrm>
        </p:spPr>
        <p:txBody>
          <a:bodyPr vert="horz" lIns="85149" tIns="42574" rIns="85149" bIns="42574" rtlCol="0" anchor="ctr">
            <a:noAutofit/>
          </a:bodyPr>
          <a:lstStyle/>
          <a:p>
            <a:pPr defTabSz="852488" eaLnBrk="0" fontAlgn="base" hangingPunct="0">
              <a:spcAft>
                <a:spcPct val="0"/>
              </a:spcAft>
              <a:defRPr/>
            </a:pPr>
            <a:r>
              <a:rPr lang="fr-FR" sz="2000" dirty="0"/>
              <a:t>SONATRACH, </a:t>
            </a:r>
            <a:r>
              <a:rPr lang="fr-FR" sz="2000" dirty="0" smtClean="0"/>
              <a:t>Major rôle in the Algerian </a:t>
            </a:r>
            <a:r>
              <a:rPr lang="fr-FR" sz="2000" dirty="0" err="1" smtClean="0"/>
              <a:t>Energy</a:t>
            </a:r>
            <a:r>
              <a:rPr lang="fr-FR" sz="2000" dirty="0" smtClean="0"/>
              <a:t> </a:t>
            </a:r>
            <a:r>
              <a:rPr lang="fr-FR" sz="2000" dirty="0" err="1" smtClean="0"/>
              <a:t>market</a:t>
            </a:r>
            <a:r>
              <a:rPr lang="fr-FR" sz="2000" dirty="0" smtClean="0"/>
              <a:t> &amp; </a:t>
            </a:r>
            <a:r>
              <a:rPr lang="fr-FR" sz="2000" dirty="0" err="1" smtClean="0"/>
              <a:t>Economy</a:t>
            </a:r>
            <a:endParaRPr lang="fr-FR" sz="2000" dirty="0"/>
          </a:p>
        </p:txBody>
      </p:sp>
      <p:sp>
        <p:nvSpPr>
          <p:cNvPr id="1151" name="ZoneTexte 1150"/>
          <p:cNvSpPr txBox="1"/>
          <p:nvPr/>
        </p:nvSpPr>
        <p:spPr>
          <a:xfrm>
            <a:off x="6115300" y="5949280"/>
            <a:ext cx="1109599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fr-FR" sz="800" kern="0" dirty="0">
                <a:solidFill>
                  <a:sysClr val="windowText" lastClr="000000"/>
                </a:solidFill>
              </a:rPr>
              <a:t>Source : ONS, </a:t>
            </a:r>
            <a:r>
              <a:rPr lang="fr-FR" sz="800" kern="0" dirty="0" smtClean="0">
                <a:solidFill>
                  <a:sysClr val="windowText" lastClr="000000"/>
                </a:solidFill>
              </a:rPr>
              <a:t>2017</a:t>
            </a:r>
            <a:endParaRPr lang="fr-FR" sz="800" kern="0" dirty="0">
              <a:solidFill>
                <a:sysClr val="windowText" lastClr="000000"/>
              </a:solidFill>
            </a:endParaRPr>
          </a:p>
        </p:txBody>
      </p:sp>
      <p:sp>
        <p:nvSpPr>
          <p:cNvPr id="1152" name="Rectangle 3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79224" y="1997034"/>
            <a:ext cx="125095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r>
              <a:rPr lang="fr-FR" sz="1400" b="1" kern="0" dirty="0" err="1">
                <a:solidFill>
                  <a:schemeClr val="accent6">
                    <a:lumMod val="75000"/>
                  </a:schemeClr>
                </a:solidFill>
                <a:sym typeface="Times New Roman" pitchFamily="18" charset="0"/>
              </a:rPr>
              <a:t>Hydrocarbons</a:t>
            </a:r>
            <a:endParaRPr lang="fr-FR" sz="1400" b="1" kern="0" dirty="0">
              <a:solidFill>
                <a:schemeClr val="accent6">
                  <a:lumMod val="75000"/>
                </a:schemeClr>
              </a:solidFill>
              <a:sym typeface="Times New Roman" pitchFamily="18" charset="0"/>
            </a:endParaRPr>
          </a:p>
        </p:txBody>
      </p:sp>
      <p:sp>
        <p:nvSpPr>
          <p:cNvPr id="1153" name="Rectangle 3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310504" y="3427459"/>
            <a:ext cx="8540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fld id="{ED746E34-2474-42A4-B948-3E2118EC9094}" type="datetime''''''''''''' ''A''''''''''g''''ri''''''cu''lt''ur''''''e  '''">
              <a:rPr lang="fr-FR" sz="1200" b="1" kern="0">
                <a:solidFill>
                  <a:schemeClr val="accent1">
                    <a:lumMod val="75000"/>
                  </a:schemeClr>
                </a:solidFill>
                <a:sym typeface="Times New Roman" pitchFamily="18" charset="0"/>
              </a:rPr>
              <a:pPr>
                <a:defRPr/>
              </a:pPr>
              <a:t> Agriculture  </a:t>
            </a:fld>
            <a:endParaRPr lang="fr-FR" sz="1200" b="1" kern="0" dirty="0">
              <a:solidFill>
                <a:schemeClr val="accent1">
                  <a:lumMod val="75000"/>
                </a:schemeClr>
              </a:solidFill>
              <a:sym typeface="Times New Roman" pitchFamily="18" charset="0"/>
            </a:endParaRPr>
          </a:p>
        </p:txBody>
      </p:sp>
      <p:sp>
        <p:nvSpPr>
          <p:cNvPr id="1154" name="Rectangle 3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232468" y="4508080"/>
            <a:ext cx="5413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r>
              <a:rPr lang="fr-FR" sz="1200" b="1" kern="0" dirty="0" err="1">
                <a:solidFill>
                  <a:schemeClr val="accent1">
                    <a:lumMod val="75000"/>
                  </a:schemeClr>
                </a:solidFill>
                <a:sym typeface="Times New Roman" pitchFamily="18" charset="0"/>
              </a:rPr>
              <a:t>Industry</a:t>
            </a:r>
            <a:endParaRPr lang="fr-FR" sz="1200" b="1" kern="0" dirty="0">
              <a:solidFill>
                <a:schemeClr val="accent1">
                  <a:lumMod val="75000"/>
                </a:schemeClr>
              </a:solidFill>
              <a:sym typeface="Times New Roman" pitchFamily="18" charset="0"/>
            </a:endParaRPr>
          </a:p>
        </p:txBody>
      </p:sp>
      <p:sp>
        <p:nvSpPr>
          <p:cNvPr id="1155" name="Rectangle 3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344178" y="5163578"/>
            <a:ext cx="1084251" cy="593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r">
              <a:defRPr/>
            </a:pPr>
            <a:r>
              <a:rPr lang="fr-FR" sz="1200" b="1" kern="0" dirty="0">
                <a:solidFill>
                  <a:schemeClr val="accent1">
                    <a:lumMod val="75000"/>
                  </a:schemeClr>
                </a:solidFill>
                <a:sym typeface="Times New Roman" pitchFamily="18" charset="0"/>
              </a:rPr>
              <a:t>Construction</a:t>
            </a:r>
          </a:p>
        </p:txBody>
      </p:sp>
      <p:sp>
        <p:nvSpPr>
          <p:cNvPr id="1156" name="Rectangle 3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39952" y="4726699"/>
            <a:ext cx="1436686" cy="422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fr-FR" sz="1200" b="1" kern="0" dirty="0">
                <a:solidFill>
                  <a:schemeClr val="accent1">
                    <a:lumMod val="75000"/>
                  </a:schemeClr>
                </a:solidFill>
                <a:sym typeface="Times New Roman" pitchFamily="18" charset="0"/>
              </a:rPr>
              <a:t>Services</a:t>
            </a:r>
          </a:p>
        </p:txBody>
      </p:sp>
      <p:sp>
        <p:nvSpPr>
          <p:cNvPr id="1157" name="Rectangle 4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68544" y="1794007"/>
            <a:ext cx="1183260" cy="39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fr-FR" sz="1200" b="1" kern="0" dirty="0">
                <a:solidFill>
                  <a:schemeClr val="accent1">
                    <a:lumMod val="60000"/>
                    <a:lumOff val="40000"/>
                  </a:schemeClr>
                </a:solidFill>
                <a:sym typeface="Times New Roman" pitchFamily="18" charset="0"/>
              </a:rPr>
              <a:t>Administrative </a:t>
            </a:r>
          </a:p>
          <a:p>
            <a:pPr algn="ctr">
              <a:defRPr/>
            </a:pPr>
            <a:r>
              <a:rPr lang="fr-FR" sz="1200" b="1" kern="0" dirty="0">
                <a:solidFill>
                  <a:schemeClr val="accent1">
                    <a:lumMod val="60000"/>
                    <a:lumOff val="40000"/>
                  </a:schemeClr>
                </a:solidFill>
                <a:sym typeface="Times New Roman" pitchFamily="18" charset="0"/>
              </a:rPr>
              <a:t>services</a:t>
            </a:r>
          </a:p>
        </p:txBody>
      </p:sp>
      <p:sp>
        <p:nvSpPr>
          <p:cNvPr id="1158" name="Rectangle 3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979672" y="5599135"/>
            <a:ext cx="5413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>
              <a:defRPr/>
            </a:pPr>
            <a:r>
              <a:rPr lang="fr-FR" sz="1200" b="1" kern="0" dirty="0">
                <a:solidFill>
                  <a:schemeClr val="accent1">
                    <a:lumMod val="75000"/>
                  </a:schemeClr>
                </a:solidFill>
                <a:sym typeface="Times New Roman" pitchFamily="18" charset="0"/>
              </a:rPr>
              <a:t>Taxes</a:t>
            </a:r>
          </a:p>
        </p:txBody>
      </p:sp>
      <p:cxnSp>
        <p:nvCxnSpPr>
          <p:cNvPr id="16" name="Connecteur droit 15"/>
          <p:cNvCxnSpPr/>
          <p:nvPr/>
        </p:nvCxnSpPr>
        <p:spPr>
          <a:xfrm>
            <a:off x="4355976" y="1430541"/>
            <a:ext cx="0" cy="4536504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ZoneTexte 16"/>
          <p:cNvSpPr txBox="1"/>
          <p:nvPr/>
        </p:nvSpPr>
        <p:spPr>
          <a:xfrm>
            <a:off x="4499991" y="982687"/>
            <a:ext cx="41669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 b="1">
                <a:solidFill>
                  <a:prstClr val="white">
                    <a:lumMod val="50000"/>
                  </a:prstClr>
                </a:solidFill>
                <a:latin typeface="Corbel" panose="020B0503020204020204" pitchFamily="34" charset="0"/>
              </a:defRPr>
            </a:lvl1pPr>
          </a:lstStyle>
          <a:p>
            <a:pPr algn="ctr"/>
            <a:r>
              <a:rPr lang="fr-FR" dirty="0"/>
              <a:t>Hydrocarbons </a:t>
            </a:r>
            <a:r>
              <a:rPr lang="fr-FR" dirty="0" err="1"/>
              <a:t>Industry</a:t>
            </a:r>
            <a:r>
              <a:rPr lang="fr-FR" dirty="0"/>
              <a:t> Contribution to the national </a:t>
            </a:r>
            <a:r>
              <a:rPr lang="fr-FR" dirty="0" err="1" smtClean="0"/>
              <a:t>economy</a:t>
            </a:r>
            <a:r>
              <a:rPr lang="fr-FR" dirty="0" smtClean="0"/>
              <a:t> in 2017</a:t>
            </a:r>
            <a:endParaRPr lang="fr-FR" dirty="0"/>
          </a:p>
        </p:txBody>
      </p:sp>
      <p:sp>
        <p:nvSpPr>
          <p:cNvPr id="5" name="ZoneTexte 4"/>
          <p:cNvSpPr txBox="1"/>
          <p:nvPr/>
        </p:nvSpPr>
        <p:spPr>
          <a:xfrm>
            <a:off x="540023" y="908720"/>
            <a:ext cx="31683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err="1">
                <a:solidFill>
                  <a:prstClr val="white">
                    <a:lumMod val="50000"/>
                  </a:prstClr>
                </a:solidFill>
                <a:latin typeface="Corbel" panose="020B0503020204020204" pitchFamily="34" charset="0"/>
              </a:rPr>
              <a:t>Domestic</a:t>
            </a:r>
            <a:r>
              <a:rPr lang="fr-FR" b="1" dirty="0">
                <a:solidFill>
                  <a:prstClr val="white">
                    <a:lumMod val="50000"/>
                  </a:prstClr>
                </a:solidFill>
                <a:latin typeface="Corbel" panose="020B0503020204020204" pitchFamily="34" charset="0"/>
              </a:rPr>
              <a:t> </a:t>
            </a:r>
            <a:r>
              <a:rPr lang="fr-FR" b="1" dirty="0" err="1">
                <a:solidFill>
                  <a:prstClr val="white">
                    <a:lumMod val="50000"/>
                  </a:prstClr>
                </a:solidFill>
                <a:latin typeface="Corbel" panose="020B0503020204020204" pitchFamily="34" charset="0"/>
              </a:rPr>
              <a:t>market</a:t>
            </a:r>
            <a:r>
              <a:rPr lang="fr-FR" b="1" dirty="0">
                <a:solidFill>
                  <a:prstClr val="white">
                    <a:lumMod val="50000"/>
                  </a:prstClr>
                </a:solidFill>
                <a:latin typeface="Corbel" panose="020B0503020204020204" pitchFamily="34" charset="0"/>
              </a:rPr>
              <a:t> sales 2017: </a:t>
            </a:r>
          </a:p>
          <a:p>
            <a:pPr algn="ctr"/>
            <a:r>
              <a:rPr lang="fr-FR" b="1" dirty="0">
                <a:solidFill>
                  <a:prstClr val="white">
                    <a:lumMod val="50000"/>
                  </a:prstClr>
                </a:solidFill>
                <a:latin typeface="Corbel" panose="020B0503020204020204" pitchFamily="34" charset="0"/>
              </a:rPr>
              <a:t>54,3 </a:t>
            </a:r>
            <a:r>
              <a:rPr lang="fr-FR" b="1" dirty="0" err="1">
                <a:solidFill>
                  <a:prstClr val="white">
                    <a:lumMod val="50000"/>
                  </a:prstClr>
                </a:solidFill>
                <a:latin typeface="Corbel" panose="020B0503020204020204" pitchFamily="34" charset="0"/>
              </a:rPr>
              <a:t>MToe</a:t>
            </a:r>
            <a:r>
              <a:rPr lang="fr-FR" b="1" dirty="0">
                <a:solidFill>
                  <a:prstClr val="white">
                    <a:lumMod val="50000"/>
                  </a:prstClr>
                </a:solidFill>
                <a:latin typeface="Corbel" panose="020B0503020204020204" pitchFamily="34" charset="0"/>
              </a:rPr>
              <a:t>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C9965D-C35C-4C81-A866-AF0EB9175DFD}" type="slidenum">
              <a:rPr lang="fr-FR" sz="750" smtClean="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fr-FR" sz="75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0684" y="1366907"/>
            <a:ext cx="3481387" cy="4664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891216"/>
            <a:ext cx="3889375" cy="525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86410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51" grpId="0"/>
      <p:bldP spid="1152" grpId="0"/>
      <p:bldP spid="1153" grpId="0"/>
      <p:bldP spid="1154" grpId="0"/>
      <p:bldP spid="1155" grpId="0"/>
      <p:bldP spid="1156" grpId="0"/>
      <p:bldP spid="1157" grpId="0"/>
      <p:bldP spid="1158" grpId="0"/>
      <p:bldP spid="1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/>
          <p:cNvSpPr txBox="1">
            <a:spLocks/>
          </p:cNvSpPr>
          <p:nvPr/>
        </p:nvSpPr>
        <p:spPr bwMode="auto">
          <a:xfrm>
            <a:off x="184174" y="139606"/>
            <a:ext cx="881419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5149" tIns="42574" rIns="85149" bIns="42574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 defTabSz="685800" eaLnBrk="0" hangingPunct="0">
              <a:lnSpc>
                <a:spcPct val="150000"/>
              </a:lnSpc>
              <a:defRPr/>
            </a:pPr>
            <a:r>
              <a:rPr lang="fr-FR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SONATRACH, </a:t>
            </a:r>
            <a:r>
              <a:rPr lang="fr-FR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E&amp;P </a:t>
            </a:r>
            <a:r>
              <a:rPr lang="fr-FR" sz="2000" b="1" dirty="0" err="1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Cooperation</a:t>
            </a:r>
            <a:r>
              <a:rPr lang="fr-FR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 </a:t>
            </a:r>
            <a:r>
              <a:rPr lang="fr-FR" sz="2000" b="1" dirty="0" err="1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with</a:t>
            </a:r>
            <a:r>
              <a:rPr lang="fr-FR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 </a:t>
            </a:r>
            <a:r>
              <a:rPr lang="fr-FR" sz="2000" b="1" dirty="0" err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Arab</a:t>
            </a:r>
            <a:r>
              <a:rPr lang="fr-FR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 </a:t>
            </a:r>
            <a:r>
              <a:rPr lang="fr-FR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countries</a:t>
            </a:r>
            <a:endParaRPr lang="fr-FR" sz="16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686801" y="4506097"/>
            <a:ext cx="315146" cy="2306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sp>
        <p:nvSpPr>
          <p:cNvPr id="2" name="AutoShape 4" descr="RÃ©sultat de recherche d'images pour &quot;distributeur sabic france&quot;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4" y="1052735"/>
            <a:ext cx="8688800" cy="5243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6741" y="2565398"/>
            <a:ext cx="540060" cy="360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801" y="2613263"/>
            <a:ext cx="567591" cy="31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588" y="2426157"/>
            <a:ext cx="541917" cy="3612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7698" y="2787435"/>
            <a:ext cx="421310" cy="440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4322" y="2708920"/>
            <a:ext cx="588118" cy="338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1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9886" y="2708920"/>
            <a:ext cx="560882" cy="440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1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6655" y="3505219"/>
            <a:ext cx="687345" cy="194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14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5061" y="3176773"/>
            <a:ext cx="630535" cy="360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5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8303" y="3700960"/>
            <a:ext cx="541979" cy="345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1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329556"/>
            <a:ext cx="552629" cy="383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717032"/>
            <a:ext cx="646113" cy="433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19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4305" y="2329556"/>
            <a:ext cx="450358" cy="332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20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4663" y="2329556"/>
            <a:ext cx="748547" cy="277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1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1891" y="1412776"/>
            <a:ext cx="623993" cy="3787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5884" y="1412776"/>
            <a:ext cx="536612" cy="376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23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5927" y="1469591"/>
            <a:ext cx="528661" cy="317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24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8148" y="1402377"/>
            <a:ext cx="399550" cy="39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786030" y="6413602"/>
            <a:ext cx="2133600" cy="365125"/>
          </a:xfrm>
        </p:spPr>
        <p:txBody>
          <a:bodyPr/>
          <a:lstStyle/>
          <a:p>
            <a:fld id="{57C9965D-C35C-4C81-A866-AF0EB9175DFD}" type="slidenum">
              <a:rPr lang="fr-FR" sz="750" smtClean="0">
                <a:solidFill>
                  <a:prstClr val="black">
                    <a:tint val="75000"/>
                  </a:prstClr>
                </a:solidFill>
              </a:rPr>
              <a:pPr/>
              <a:t>15</a:t>
            </a:fld>
            <a:endParaRPr lang="fr-FR" sz="75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64598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/>
          <p:cNvSpPr txBox="1">
            <a:spLocks/>
          </p:cNvSpPr>
          <p:nvPr/>
        </p:nvSpPr>
        <p:spPr bwMode="auto">
          <a:xfrm>
            <a:off x="155574" y="140526"/>
            <a:ext cx="8988426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5149" tIns="42574" rIns="85149" bIns="42574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 defTabSz="685800" eaLnBrk="0" hangingPunct="0">
              <a:lnSpc>
                <a:spcPct val="150000"/>
              </a:lnSpc>
              <a:defRPr/>
            </a:pP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SONATRACH, </a:t>
            </a:r>
            <a:r>
              <a:rPr lang="en-US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Hydrocarbons Transport Cooperation </a:t>
            </a: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with Arab countries</a:t>
            </a:r>
          </a:p>
        </p:txBody>
      </p:sp>
      <p:sp>
        <p:nvSpPr>
          <p:cNvPr id="6" name="Rectangle 5"/>
          <p:cNvSpPr/>
          <p:nvPr/>
        </p:nvSpPr>
        <p:spPr>
          <a:xfrm>
            <a:off x="8686801" y="4506097"/>
            <a:ext cx="315146" cy="2306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4" y="1052735"/>
            <a:ext cx="8688800" cy="5243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5128" y="2366936"/>
            <a:ext cx="512976" cy="341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9" y="2762872"/>
            <a:ext cx="446772" cy="244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322" y="3048412"/>
            <a:ext cx="448073" cy="267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360" y="2719673"/>
            <a:ext cx="432048" cy="272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0917" y="2579388"/>
            <a:ext cx="552878" cy="552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1458223"/>
            <a:ext cx="504056" cy="305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9290" y="1041754"/>
            <a:ext cx="576064" cy="7240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F5B5D8-74B3-4FD1-88D7-1C79C37A0425}" type="slidenum">
              <a:rPr lang="fr-FR" smtClean="0"/>
              <a:pPr>
                <a:defRPr/>
              </a:pPr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953465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/>
          <p:cNvSpPr txBox="1">
            <a:spLocks/>
          </p:cNvSpPr>
          <p:nvPr/>
        </p:nvSpPr>
        <p:spPr bwMode="auto">
          <a:xfrm>
            <a:off x="197704" y="126205"/>
            <a:ext cx="881419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5149" tIns="42574" rIns="85149" bIns="42574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 defTabSz="685800" eaLnBrk="0" hangingPunct="0">
              <a:lnSpc>
                <a:spcPct val="150000"/>
              </a:lnSpc>
              <a:defRPr/>
            </a:pP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SONATRACH, </a:t>
            </a:r>
            <a:r>
              <a:rPr lang="en-US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Downstream Cooperation </a:t>
            </a: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with Arab countries</a:t>
            </a:r>
          </a:p>
        </p:txBody>
      </p:sp>
      <p:sp>
        <p:nvSpPr>
          <p:cNvPr id="6" name="Rectangle 5"/>
          <p:cNvSpPr/>
          <p:nvPr/>
        </p:nvSpPr>
        <p:spPr>
          <a:xfrm>
            <a:off x="8686801" y="4506097"/>
            <a:ext cx="315146" cy="2306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4" y="1052735"/>
            <a:ext cx="8688800" cy="5243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1537" y="2543962"/>
            <a:ext cx="472581" cy="315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3599" y="2564904"/>
            <a:ext cx="496673" cy="2731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2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2901" y="3299467"/>
            <a:ext cx="864096" cy="23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6977" y="2871475"/>
            <a:ext cx="606740" cy="281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7966" y="3542589"/>
            <a:ext cx="499692" cy="4776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9127" y="2871475"/>
            <a:ext cx="645953" cy="320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3536" y="3218829"/>
            <a:ext cx="560078" cy="31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9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459085"/>
            <a:ext cx="473083" cy="315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" name="Picture 10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080" y="2800844"/>
            <a:ext cx="398553" cy="398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1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0318" y="3470360"/>
            <a:ext cx="504056" cy="311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1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4588" y="3781412"/>
            <a:ext cx="569786" cy="543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1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484784"/>
            <a:ext cx="536190" cy="325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F5B5D8-74B3-4FD1-88D7-1C79C37A0425}" type="slidenum">
              <a:rPr lang="fr-FR" smtClean="0"/>
              <a:pPr>
                <a:defRPr/>
              </a:pPr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56802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/>
          <p:cNvSpPr txBox="1">
            <a:spLocks/>
          </p:cNvSpPr>
          <p:nvPr/>
        </p:nvSpPr>
        <p:spPr bwMode="auto">
          <a:xfrm>
            <a:off x="181571" y="224634"/>
            <a:ext cx="881419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5149" tIns="42574" rIns="85149" bIns="42574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 defTabSz="685800" eaLnBrk="0" hangingPunct="0">
              <a:lnSpc>
                <a:spcPct val="150000"/>
              </a:lnSpc>
              <a:defRPr/>
            </a:pP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SONATRACH, </a:t>
            </a:r>
            <a:r>
              <a:rPr lang="en-US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Commercial Cooperation </a:t>
            </a: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with Arab countries</a:t>
            </a:r>
          </a:p>
        </p:txBody>
      </p:sp>
      <p:sp>
        <p:nvSpPr>
          <p:cNvPr id="6" name="Rectangle 5"/>
          <p:cNvSpPr/>
          <p:nvPr/>
        </p:nvSpPr>
        <p:spPr>
          <a:xfrm>
            <a:off x="8686801" y="4506097"/>
            <a:ext cx="315146" cy="2306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4" y="1052735"/>
            <a:ext cx="8688800" cy="5243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54609" y="2564904"/>
            <a:ext cx="472581" cy="315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3143" y="2564904"/>
            <a:ext cx="496673" cy="273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2459085"/>
            <a:ext cx="473083" cy="3153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1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093" y="2722431"/>
            <a:ext cx="398553" cy="398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7142" y="2807393"/>
            <a:ext cx="402877" cy="313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6463" y="3148355"/>
            <a:ext cx="457320" cy="239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11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4322" y="2708920"/>
            <a:ext cx="588118" cy="338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3037366"/>
            <a:ext cx="687345" cy="194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14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8838" y="2708920"/>
            <a:ext cx="630535" cy="360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1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1484784"/>
            <a:ext cx="536190" cy="325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9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1646" y="1477823"/>
            <a:ext cx="432048" cy="393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3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560" y="1551824"/>
            <a:ext cx="480759" cy="288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10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0664" y="1127280"/>
            <a:ext cx="403030" cy="403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4407" y="1133399"/>
            <a:ext cx="393643" cy="408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155" y="1699583"/>
            <a:ext cx="515005" cy="343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8262" y="2075761"/>
            <a:ext cx="444898" cy="233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F5B5D8-74B3-4FD1-88D7-1C79C37A0425}" type="slidenum">
              <a:rPr lang="fr-FR" smtClean="0"/>
              <a:pPr>
                <a:defRPr/>
              </a:pPr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19946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/>
          <p:cNvSpPr txBox="1">
            <a:spLocks/>
          </p:cNvSpPr>
          <p:nvPr/>
        </p:nvSpPr>
        <p:spPr bwMode="auto">
          <a:xfrm>
            <a:off x="181572" y="224634"/>
            <a:ext cx="8662802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5149" tIns="42574" rIns="85149" bIns="42574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 defTabSz="852488" eaLnBrk="0" hangingPunct="0">
              <a:lnSpc>
                <a:spcPct val="150000"/>
              </a:lnSpc>
              <a:defRPr/>
            </a:pP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SONATRACH, </a:t>
            </a:r>
            <a:r>
              <a:rPr lang="fr-FR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E&amp;P </a:t>
            </a:r>
            <a:r>
              <a:rPr lang="fr-FR" sz="2000" b="1" dirty="0" err="1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Cooperation</a:t>
            </a:r>
            <a:r>
              <a:rPr lang="fr-FR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 </a:t>
            </a:r>
            <a:r>
              <a:rPr lang="fr-FR" sz="2000" b="1" dirty="0" err="1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with</a:t>
            </a:r>
            <a:r>
              <a:rPr lang="fr-FR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 China</a:t>
            </a:r>
            <a:endParaRPr lang="fr-FR" sz="20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281906" y="3006087"/>
            <a:ext cx="388843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180">
              <a:defRPr/>
            </a:pPr>
            <a:r>
              <a:rPr lang="en-US" sz="1400" b="1" dirty="0"/>
              <a:t>China Petroleum and Chemical Corporation</a:t>
            </a:r>
            <a:endParaRPr lang="fr-FR" sz="1400" b="1" dirty="0" smtClean="0"/>
          </a:p>
          <a:p>
            <a:pPr algn="just" defTabSz="914180">
              <a:defRPr/>
            </a:pPr>
            <a:endParaRPr lang="fr-FR" sz="1400" dirty="0"/>
          </a:p>
          <a:p>
            <a:pPr algn="just" defTabSz="914180">
              <a:defRPr/>
            </a:pPr>
            <a:r>
              <a:rPr lang="en-US" sz="1400" dirty="0" smtClean="0"/>
              <a:t>Enhancing recovery rate of </a:t>
            </a:r>
            <a:r>
              <a:rPr lang="en-US" sz="1400" dirty="0"/>
              <a:t>crude oil reserves in place of the </a:t>
            </a:r>
            <a:r>
              <a:rPr lang="en-US" sz="1400" dirty="0" err="1"/>
              <a:t>Zarzaitine</a:t>
            </a:r>
            <a:r>
              <a:rPr lang="en-US" sz="1400" dirty="0"/>
              <a:t> </a:t>
            </a:r>
            <a:r>
              <a:rPr lang="en-US" sz="1400" dirty="0" smtClean="0"/>
              <a:t>deposit Contract </a:t>
            </a:r>
            <a:endParaRPr lang="fr-FR" sz="14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8686801" y="4886915"/>
            <a:ext cx="315146" cy="2306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776" y="1352992"/>
            <a:ext cx="1257260" cy="1296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955" y="1412776"/>
            <a:ext cx="4303390" cy="4896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lèche droite 3"/>
          <p:cNvSpPr/>
          <p:nvPr/>
        </p:nvSpPr>
        <p:spPr>
          <a:xfrm rot="19316139">
            <a:off x="7552477" y="4119484"/>
            <a:ext cx="846145" cy="566868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068" y="1352992"/>
            <a:ext cx="1976745" cy="1317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ZoneTexte 2"/>
          <p:cNvSpPr txBox="1"/>
          <p:nvPr/>
        </p:nvSpPr>
        <p:spPr>
          <a:xfrm rot="19587088">
            <a:off x="6106925" y="1074764"/>
            <a:ext cx="218320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rgbClr val="FF0000"/>
                </a:solidFill>
              </a:rPr>
              <a:t>Operating Projet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15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786030" y="6413602"/>
            <a:ext cx="2133600" cy="365125"/>
          </a:xfrm>
        </p:spPr>
        <p:txBody>
          <a:bodyPr/>
          <a:lstStyle/>
          <a:p>
            <a:fld id="{57C9965D-C35C-4C81-A866-AF0EB9175DFD}" type="slidenum">
              <a:rPr lang="fr-FR" sz="750" smtClean="0">
                <a:solidFill>
                  <a:prstClr val="black">
                    <a:tint val="75000"/>
                  </a:prstClr>
                </a:solidFill>
              </a:rPr>
              <a:pPr/>
              <a:t>19</a:t>
            </a:fld>
            <a:endParaRPr lang="fr-FR" sz="75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906" y="3967752"/>
            <a:ext cx="4210050" cy="183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574193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1224" y="908058"/>
            <a:ext cx="8641556" cy="5400675"/>
          </a:xfrm>
        </p:spPr>
        <p:txBody>
          <a:bodyPr>
            <a:normAutofit/>
          </a:bodyPr>
          <a:lstStyle/>
          <a:p>
            <a:pPr marL="201216" indent="-201216" fontAlgn="auto">
              <a:lnSpc>
                <a:spcPct val="200000"/>
              </a:lnSpc>
              <a:spcAft>
                <a:spcPts val="0"/>
              </a:spcAft>
              <a:buClr>
                <a:schemeClr val="accent6">
                  <a:lumMod val="75000"/>
                </a:schemeClr>
              </a:buClr>
              <a:defRPr/>
            </a:pPr>
            <a:endParaRPr lang="fr-FR" sz="2000" dirty="0" smtClean="0"/>
          </a:p>
          <a:p>
            <a:pPr marL="457200" indent="-457200" fontAlgn="auto">
              <a:lnSpc>
                <a:spcPct val="200000"/>
              </a:lnSpc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+mj-lt"/>
              <a:buAutoNum type="arabicPeriod"/>
              <a:defRPr/>
            </a:pPr>
            <a:r>
              <a:rPr lang="fr-FR" sz="2000" dirty="0" err="1"/>
              <a:t>Algeria</a:t>
            </a:r>
            <a:r>
              <a:rPr lang="fr-FR" sz="2000" dirty="0"/>
              <a:t> </a:t>
            </a:r>
            <a:r>
              <a:rPr lang="fr-FR" sz="2000" dirty="0" err="1"/>
              <a:t>Overview</a:t>
            </a:r>
            <a:endParaRPr lang="fr-FR" sz="2000" dirty="0"/>
          </a:p>
          <a:p>
            <a:pPr marL="457200" indent="-457200" fontAlgn="auto">
              <a:lnSpc>
                <a:spcPct val="200000"/>
              </a:lnSpc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+mj-lt"/>
              <a:buAutoNum type="arabicPeriod"/>
              <a:defRPr/>
            </a:pPr>
            <a:r>
              <a:rPr lang="fr-FR" sz="2000" dirty="0" smtClean="0"/>
              <a:t>SONATRACH </a:t>
            </a:r>
            <a:r>
              <a:rPr lang="fr-FR" sz="2000" dirty="0" err="1" smtClean="0"/>
              <a:t>Overview</a:t>
            </a:r>
            <a:endParaRPr lang="fr-FR" sz="2000" dirty="0"/>
          </a:p>
          <a:p>
            <a:pPr marL="457200" indent="-457200" fontAlgn="auto">
              <a:lnSpc>
                <a:spcPct val="200000"/>
              </a:lnSpc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+mj-lt"/>
              <a:buAutoNum type="arabicPeriod"/>
              <a:defRPr/>
            </a:pPr>
            <a:r>
              <a:rPr lang="fr-FR" sz="2000" dirty="0" smtClean="0"/>
              <a:t>SONATRACH - </a:t>
            </a:r>
            <a:r>
              <a:rPr lang="fr-FR" sz="2000" dirty="0" err="1"/>
              <a:t>Arab</a:t>
            </a:r>
            <a:r>
              <a:rPr lang="fr-FR" sz="2000" dirty="0"/>
              <a:t> countries </a:t>
            </a:r>
            <a:r>
              <a:rPr lang="fr-FR" sz="2000" dirty="0" err="1"/>
              <a:t>Companies</a:t>
            </a:r>
            <a:r>
              <a:rPr lang="fr-FR" sz="2000" dirty="0"/>
              <a:t> </a:t>
            </a:r>
            <a:r>
              <a:rPr lang="fr-FR" sz="2000" dirty="0" err="1" smtClean="0"/>
              <a:t>Cooperation</a:t>
            </a:r>
            <a:endParaRPr lang="fr-FR" sz="2000" dirty="0"/>
          </a:p>
          <a:p>
            <a:pPr marL="457200" indent="-457200" fontAlgn="auto">
              <a:lnSpc>
                <a:spcPct val="200000"/>
              </a:lnSpc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+mj-lt"/>
              <a:buAutoNum type="arabicPeriod"/>
              <a:defRPr/>
            </a:pPr>
            <a:r>
              <a:rPr lang="fr-FR" sz="2000" dirty="0" smtClean="0"/>
              <a:t>SONATRACH – </a:t>
            </a:r>
            <a:r>
              <a:rPr lang="fr-FR" sz="2000" dirty="0"/>
              <a:t>China </a:t>
            </a:r>
            <a:r>
              <a:rPr lang="fr-FR" sz="2000" dirty="0" err="1"/>
              <a:t>Companies</a:t>
            </a:r>
            <a:r>
              <a:rPr lang="fr-FR" sz="2000" dirty="0"/>
              <a:t> </a:t>
            </a:r>
            <a:r>
              <a:rPr lang="fr-FR" sz="2000" dirty="0" err="1"/>
              <a:t>Cooperation</a:t>
            </a:r>
            <a:endParaRPr lang="fr-FR" sz="2000" dirty="0"/>
          </a:p>
          <a:p>
            <a:pPr marL="457200" indent="-457200" fontAlgn="auto">
              <a:lnSpc>
                <a:spcPct val="200000"/>
              </a:lnSpc>
              <a:spcAft>
                <a:spcPts val="0"/>
              </a:spcAft>
              <a:buClr>
                <a:schemeClr val="accent6">
                  <a:lumMod val="75000"/>
                </a:schemeClr>
              </a:buClr>
              <a:buFont typeface="+mj-lt"/>
              <a:buAutoNum type="arabicPeriod"/>
              <a:defRPr/>
            </a:pPr>
            <a:r>
              <a:rPr lang="fr-FR" sz="2000" dirty="0"/>
              <a:t>Conclusion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F5B5D8-74B3-4FD1-88D7-1C79C37A0425}" type="slidenum">
              <a:rPr lang="fr-FR" smtClean="0"/>
              <a:pPr>
                <a:defRPr/>
              </a:pPr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16520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/>
          <p:cNvSpPr txBox="1">
            <a:spLocks/>
          </p:cNvSpPr>
          <p:nvPr/>
        </p:nvSpPr>
        <p:spPr bwMode="auto">
          <a:xfrm>
            <a:off x="181572" y="224634"/>
            <a:ext cx="8662802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5149" tIns="42574" rIns="85149" bIns="42574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 defTabSz="852488" eaLnBrk="0" hangingPunct="0">
              <a:lnSpc>
                <a:spcPct val="150000"/>
              </a:lnSpc>
              <a:defRPr/>
            </a:pP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SONATRACH, </a:t>
            </a:r>
            <a:r>
              <a:rPr lang="en-US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E&amp;P </a:t>
            </a: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Cooperation with </a:t>
            </a:r>
            <a:r>
              <a:rPr lang="en-US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China</a:t>
            </a:r>
            <a:endParaRPr lang="fr-FR" sz="20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323528" y="2564904"/>
            <a:ext cx="383059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180">
              <a:defRPr/>
            </a:pPr>
            <a:r>
              <a:rPr lang="fr-FR" sz="1400" b="1" dirty="0"/>
              <a:t>China National Petroleum Corporation </a:t>
            </a:r>
            <a:endParaRPr lang="fr-FR" sz="1400" b="1" dirty="0" smtClean="0"/>
          </a:p>
          <a:p>
            <a:pPr algn="just" defTabSz="914180">
              <a:defRPr/>
            </a:pPr>
            <a:endParaRPr lang="fr-FR" sz="1400" dirty="0">
              <a:solidFill>
                <a:prstClr val="black"/>
              </a:solidFill>
            </a:endParaRPr>
          </a:p>
          <a:p>
            <a:pPr algn="just" defTabSz="914180">
              <a:defRPr/>
            </a:pPr>
            <a:r>
              <a:rPr lang="en-US" sz="1400" dirty="0">
                <a:solidFill>
                  <a:prstClr val="black"/>
                </a:solidFill>
              </a:rPr>
              <a:t>Research, Appraisal and </a:t>
            </a:r>
            <a:r>
              <a:rPr lang="en-US" sz="1400" dirty="0" smtClean="0">
                <a:solidFill>
                  <a:prstClr val="black"/>
                </a:solidFill>
              </a:rPr>
              <a:t>development of El </a:t>
            </a:r>
            <a:r>
              <a:rPr lang="en-US" sz="1400" dirty="0" err="1">
                <a:solidFill>
                  <a:prstClr val="black"/>
                </a:solidFill>
              </a:rPr>
              <a:t>M'Zaid</a:t>
            </a:r>
            <a:r>
              <a:rPr lang="en-US" sz="1400" dirty="0">
                <a:solidFill>
                  <a:prstClr val="black"/>
                </a:solidFill>
              </a:rPr>
              <a:t> Hydrocarbons F</a:t>
            </a:r>
            <a:r>
              <a:rPr lang="en-US" sz="1400" dirty="0" smtClean="0">
                <a:solidFill>
                  <a:prstClr val="black"/>
                </a:solidFill>
              </a:rPr>
              <a:t>ield,</a:t>
            </a:r>
          </a:p>
          <a:p>
            <a:pPr algn="just" defTabSz="914180">
              <a:defRPr/>
            </a:pPr>
            <a:endParaRPr lang="en-US" sz="1400" dirty="0">
              <a:solidFill>
                <a:prstClr val="black"/>
              </a:solidFill>
            </a:endParaRPr>
          </a:p>
          <a:p>
            <a:pPr algn="just" defTabSz="914180">
              <a:defRPr/>
            </a:pPr>
            <a:r>
              <a:rPr lang="en-US" sz="1400" dirty="0" smtClean="0">
                <a:solidFill>
                  <a:prstClr val="black"/>
                </a:solidFill>
              </a:rPr>
              <a:t>Project in development phase.</a:t>
            </a:r>
          </a:p>
          <a:p>
            <a:pPr algn="just" defTabSz="914180">
              <a:defRPr/>
            </a:pPr>
            <a:endParaRPr lang="en-US" sz="1400" dirty="0">
              <a:solidFill>
                <a:prstClr val="black"/>
              </a:solidFill>
            </a:endParaRPr>
          </a:p>
          <a:p>
            <a:pPr algn="just" defTabSz="914180">
              <a:defRPr/>
            </a:pPr>
            <a:endParaRPr lang="en-US" sz="1400" dirty="0" smtClean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686801" y="4506097"/>
            <a:ext cx="315146" cy="2306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6774" y="884838"/>
            <a:ext cx="1711410" cy="1680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955" y="1484784"/>
            <a:ext cx="4303390" cy="4443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Flèche droite 11"/>
          <p:cNvSpPr/>
          <p:nvPr/>
        </p:nvSpPr>
        <p:spPr>
          <a:xfrm rot="19316139">
            <a:off x="6667465" y="3016883"/>
            <a:ext cx="846145" cy="514445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047" y="1065956"/>
            <a:ext cx="1976745" cy="1317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ZoneTexte 13"/>
          <p:cNvSpPr txBox="1"/>
          <p:nvPr/>
        </p:nvSpPr>
        <p:spPr>
          <a:xfrm rot="19587088">
            <a:off x="6684967" y="5636472"/>
            <a:ext cx="1794507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err="1" smtClean="0">
                <a:solidFill>
                  <a:srgbClr val="FF0000"/>
                </a:solidFill>
              </a:rPr>
              <a:t>Ongoing</a:t>
            </a:r>
            <a:r>
              <a:rPr lang="fr-FR" dirty="0" smtClean="0">
                <a:solidFill>
                  <a:srgbClr val="FF0000"/>
                </a:solidFill>
              </a:rPr>
              <a:t> Projet 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786030" y="6413602"/>
            <a:ext cx="2133600" cy="365125"/>
          </a:xfrm>
        </p:spPr>
        <p:txBody>
          <a:bodyPr/>
          <a:lstStyle/>
          <a:p>
            <a:fld id="{57C9965D-C35C-4C81-A866-AF0EB9175DFD}" type="slidenum">
              <a:rPr lang="fr-FR" sz="750" smtClean="0">
                <a:solidFill>
                  <a:prstClr val="black">
                    <a:tint val="75000"/>
                  </a:prstClr>
                </a:solidFill>
              </a:rPr>
              <a:pPr/>
              <a:t>20</a:t>
            </a:fld>
            <a:endParaRPr lang="fr-FR" sz="750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35" y="4137197"/>
            <a:ext cx="4152900" cy="180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96252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/>
          <p:cNvSpPr txBox="1">
            <a:spLocks/>
          </p:cNvSpPr>
          <p:nvPr/>
        </p:nvSpPr>
        <p:spPr bwMode="auto">
          <a:xfrm>
            <a:off x="181572" y="224634"/>
            <a:ext cx="8662802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5149" tIns="42574" rIns="85149" bIns="42574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 defTabSz="852488" eaLnBrk="0" hangingPunct="0">
              <a:lnSpc>
                <a:spcPct val="150000"/>
              </a:lnSpc>
              <a:defRPr/>
            </a:pP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SONATRACH, </a:t>
            </a:r>
            <a:r>
              <a:rPr lang="en-US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E&amp;P </a:t>
            </a: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Cooperation with China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323528" y="2564904"/>
            <a:ext cx="403244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180">
              <a:defRPr/>
            </a:pPr>
            <a:r>
              <a:rPr lang="en-US" sz="1400" b="1" dirty="0" smtClean="0"/>
              <a:t>China National Offshore Oil Corporation</a:t>
            </a:r>
          </a:p>
          <a:p>
            <a:pPr algn="just" defTabSz="914180">
              <a:defRPr/>
            </a:pPr>
            <a:endParaRPr lang="fr-FR" sz="1400" dirty="0"/>
          </a:p>
          <a:p>
            <a:pPr algn="just" defTabSz="914180">
              <a:defRPr/>
            </a:pPr>
            <a:r>
              <a:rPr lang="en-US" sz="1400" dirty="0">
                <a:solidFill>
                  <a:prstClr val="black"/>
                </a:solidFill>
              </a:rPr>
              <a:t>Research, Appraisal and development of </a:t>
            </a:r>
            <a:r>
              <a:rPr lang="en-US" sz="1400" dirty="0" smtClean="0">
                <a:solidFill>
                  <a:prstClr val="black"/>
                </a:solidFill>
              </a:rPr>
              <a:t>El </a:t>
            </a:r>
            <a:r>
              <a:rPr lang="fr-FR" sz="1400" dirty="0" err="1"/>
              <a:t>Hassi</a:t>
            </a:r>
            <a:r>
              <a:rPr lang="fr-FR" sz="1400" dirty="0"/>
              <a:t> </a:t>
            </a:r>
            <a:r>
              <a:rPr lang="fr-FR" sz="1400" dirty="0" err="1"/>
              <a:t>Bir</a:t>
            </a:r>
            <a:r>
              <a:rPr lang="fr-FR" sz="1400" dirty="0"/>
              <a:t> </a:t>
            </a:r>
            <a:r>
              <a:rPr lang="fr-FR" sz="1400" dirty="0" err="1" smtClean="0"/>
              <a:t>Rekaiz</a:t>
            </a:r>
            <a:r>
              <a:rPr lang="fr-FR" sz="1400" dirty="0" smtClean="0"/>
              <a:t> </a:t>
            </a:r>
            <a:r>
              <a:rPr lang="en-US" sz="1400" dirty="0" smtClean="0">
                <a:solidFill>
                  <a:prstClr val="black"/>
                </a:solidFill>
              </a:rPr>
              <a:t>Hydrocarbons </a:t>
            </a:r>
            <a:r>
              <a:rPr lang="en-US" sz="1400" dirty="0">
                <a:solidFill>
                  <a:prstClr val="black"/>
                </a:solidFill>
              </a:rPr>
              <a:t>Field</a:t>
            </a:r>
            <a:r>
              <a:rPr lang="en-US" sz="1400" dirty="0" smtClean="0">
                <a:solidFill>
                  <a:prstClr val="black"/>
                </a:solidFill>
              </a:rPr>
              <a:t>,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686801" y="4506097"/>
            <a:ext cx="315146" cy="2306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3963" y="885358"/>
            <a:ext cx="1679546" cy="16795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955" y="1484784"/>
            <a:ext cx="4303390" cy="4443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Flèche droite 11"/>
          <p:cNvSpPr/>
          <p:nvPr/>
        </p:nvSpPr>
        <p:spPr>
          <a:xfrm rot="8677425">
            <a:off x="7595133" y="2402306"/>
            <a:ext cx="846145" cy="514445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872688"/>
            <a:ext cx="4191000" cy="2055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066216"/>
            <a:ext cx="1976745" cy="1317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ZoneTexte 13"/>
          <p:cNvSpPr txBox="1"/>
          <p:nvPr/>
        </p:nvSpPr>
        <p:spPr>
          <a:xfrm rot="19587088">
            <a:off x="7136624" y="5526358"/>
            <a:ext cx="1707921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err="1" smtClean="0">
                <a:solidFill>
                  <a:srgbClr val="FF0000"/>
                </a:solidFill>
              </a:rPr>
              <a:t>Ongoing</a:t>
            </a:r>
            <a:r>
              <a:rPr lang="fr-FR" dirty="0" smtClean="0">
                <a:solidFill>
                  <a:srgbClr val="FF0000"/>
                </a:solidFill>
              </a:rPr>
              <a:t> Projet 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786030" y="6413602"/>
            <a:ext cx="2133600" cy="365125"/>
          </a:xfrm>
        </p:spPr>
        <p:txBody>
          <a:bodyPr/>
          <a:lstStyle/>
          <a:p>
            <a:fld id="{57C9965D-C35C-4C81-A866-AF0EB9175DFD}" type="slidenum">
              <a:rPr lang="fr-FR" sz="750" smtClean="0">
                <a:solidFill>
                  <a:prstClr val="black">
                    <a:tint val="75000"/>
                  </a:prstClr>
                </a:solidFill>
              </a:rPr>
              <a:pPr/>
              <a:t>21</a:t>
            </a:fld>
            <a:endParaRPr lang="fr-FR" sz="75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57397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/>
          <p:cNvSpPr txBox="1">
            <a:spLocks/>
          </p:cNvSpPr>
          <p:nvPr/>
        </p:nvSpPr>
        <p:spPr bwMode="auto">
          <a:xfrm>
            <a:off x="181572" y="224634"/>
            <a:ext cx="8662802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5149" tIns="42574" rIns="85149" bIns="42574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 defTabSz="852488" eaLnBrk="0" hangingPunct="0">
              <a:lnSpc>
                <a:spcPct val="150000"/>
              </a:lnSpc>
              <a:defRPr/>
            </a:pP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SONATRACH, </a:t>
            </a:r>
            <a:r>
              <a:rPr lang="fr-FR" sz="2000" b="1" dirty="0" err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Hydrocarbons</a:t>
            </a:r>
            <a:r>
              <a:rPr lang="fr-FR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 </a:t>
            </a:r>
            <a:r>
              <a:rPr lang="fr-FR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Transport</a:t>
            </a:r>
            <a:r>
              <a:rPr lang="en-US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 Cooperation </a:t>
            </a: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with </a:t>
            </a:r>
            <a:r>
              <a:rPr lang="en-US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China</a:t>
            </a:r>
            <a:endParaRPr lang="fr-FR" sz="2000" b="1" dirty="0" smtClean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241379" y="2924944"/>
            <a:ext cx="427159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180">
              <a:defRPr/>
            </a:pPr>
            <a:r>
              <a:rPr lang="fr-FR" sz="1400" b="1" dirty="0"/>
              <a:t>China Petroleum Engineering &amp; Construction </a:t>
            </a:r>
            <a:r>
              <a:rPr lang="fr-FR" sz="1400" b="1" dirty="0" smtClean="0"/>
              <a:t>Corporation</a:t>
            </a:r>
          </a:p>
          <a:p>
            <a:pPr algn="ctr" defTabSz="914180">
              <a:defRPr/>
            </a:pPr>
            <a:endParaRPr lang="fr-FR" sz="1400" dirty="0"/>
          </a:p>
          <a:p>
            <a:pPr algn="just" defTabSz="914180">
              <a:defRPr/>
            </a:pPr>
            <a:r>
              <a:rPr lang="en-US" sz="1400" dirty="0" smtClean="0"/>
              <a:t>SP1/</a:t>
            </a:r>
            <a:r>
              <a:rPr lang="en-US" sz="1400" dirty="0" err="1" smtClean="0"/>
              <a:t>Hassi</a:t>
            </a:r>
            <a:r>
              <a:rPr lang="en-US" sz="1400" dirty="0" smtClean="0"/>
              <a:t> </a:t>
            </a:r>
            <a:r>
              <a:rPr lang="en-US" sz="1400" dirty="0" err="1"/>
              <a:t>Messaoud</a:t>
            </a:r>
            <a:r>
              <a:rPr lang="en-US" sz="1400" dirty="0"/>
              <a:t> pumping </a:t>
            </a:r>
            <a:r>
              <a:rPr lang="en-US" sz="1400" dirty="0" smtClean="0"/>
              <a:t>station EPC, </a:t>
            </a:r>
            <a:r>
              <a:rPr lang="en-US" sz="1400" dirty="0"/>
              <a:t>adjoining the </a:t>
            </a:r>
            <a:r>
              <a:rPr lang="en-US" sz="1400" dirty="0" smtClean="0"/>
              <a:t>oil pipeline </a:t>
            </a:r>
            <a:r>
              <a:rPr lang="fr-FR" sz="1400" dirty="0" smtClean="0"/>
              <a:t>(</a:t>
            </a:r>
            <a:r>
              <a:rPr lang="fr-FR" sz="1400" dirty="0"/>
              <a:t>HEH – </a:t>
            </a:r>
            <a:r>
              <a:rPr lang="fr-FR" sz="1400" dirty="0" err="1"/>
              <a:t>Béjaia</a:t>
            </a:r>
            <a:r>
              <a:rPr lang="fr-FR" sz="1400" dirty="0"/>
              <a:t>)</a:t>
            </a:r>
            <a:endParaRPr lang="en-US" sz="1400" dirty="0" smtClean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686801" y="4506097"/>
            <a:ext cx="315146" cy="2306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176" y="995734"/>
            <a:ext cx="190500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0955" y="1484784"/>
            <a:ext cx="4303390" cy="4443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lèche droite 8"/>
          <p:cNvSpPr/>
          <p:nvPr/>
        </p:nvSpPr>
        <p:spPr>
          <a:xfrm rot="8677425">
            <a:off x="7523124" y="2402307"/>
            <a:ext cx="846145" cy="514445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138" y="1166157"/>
            <a:ext cx="1976745" cy="1317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ZoneTexte 11"/>
          <p:cNvSpPr txBox="1"/>
          <p:nvPr/>
        </p:nvSpPr>
        <p:spPr>
          <a:xfrm rot="19587088">
            <a:off x="6513585" y="5305148"/>
            <a:ext cx="1707921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err="1" smtClean="0">
                <a:solidFill>
                  <a:srgbClr val="FF0000"/>
                </a:solidFill>
              </a:rPr>
              <a:t>Ongoing</a:t>
            </a:r>
            <a:r>
              <a:rPr lang="fr-FR" dirty="0" smtClean="0">
                <a:solidFill>
                  <a:srgbClr val="FF0000"/>
                </a:solidFill>
              </a:rPr>
              <a:t> Projet 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1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786030" y="6413602"/>
            <a:ext cx="2133600" cy="365125"/>
          </a:xfrm>
        </p:spPr>
        <p:txBody>
          <a:bodyPr/>
          <a:lstStyle/>
          <a:p>
            <a:fld id="{57C9965D-C35C-4C81-A866-AF0EB9175DFD}" type="slidenum">
              <a:rPr lang="fr-FR" sz="750" smtClean="0">
                <a:solidFill>
                  <a:prstClr val="black">
                    <a:tint val="75000"/>
                  </a:prstClr>
                </a:solidFill>
              </a:rPr>
              <a:pPr/>
              <a:t>22</a:t>
            </a:fld>
            <a:endParaRPr lang="fr-FR" sz="75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1867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re 1"/>
          <p:cNvSpPr txBox="1">
            <a:spLocks/>
          </p:cNvSpPr>
          <p:nvPr/>
        </p:nvSpPr>
        <p:spPr bwMode="auto">
          <a:xfrm>
            <a:off x="225662" y="218904"/>
            <a:ext cx="8662802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85149" tIns="42574" rIns="85149" bIns="42574"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7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 defTabSz="852488" eaLnBrk="0" hangingPunct="0">
              <a:lnSpc>
                <a:spcPct val="150000"/>
              </a:lnSpc>
              <a:defRPr/>
            </a:pP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SONATRACH, </a:t>
            </a:r>
            <a:r>
              <a:rPr lang="en-US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Downstream – Refining  Cooperation </a:t>
            </a:r>
            <a:r>
              <a:rPr lang="en-US" sz="2000" b="1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with </a:t>
            </a:r>
            <a:r>
              <a:rPr lang="en-US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</a:rPr>
              <a:t>China</a:t>
            </a:r>
            <a:endParaRPr lang="en-US" sz="20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173313" y="3982877"/>
            <a:ext cx="22301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914180">
              <a:defRPr/>
            </a:pPr>
            <a:r>
              <a:rPr lang="fr-FR" sz="1400" b="1" dirty="0" smtClean="0"/>
              <a:t>China </a:t>
            </a:r>
            <a:r>
              <a:rPr lang="fr-FR" sz="1400" b="1" dirty="0"/>
              <a:t>National </a:t>
            </a:r>
            <a:r>
              <a:rPr lang="fr-FR" sz="1400" b="1" dirty="0" err="1" smtClean="0"/>
              <a:t>PetroleumCorporation</a:t>
            </a:r>
            <a:endParaRPr lang="fr-FR" sz="1400" b="1" dirty="0" smtClean="0"/>
          </a:p>
        </p:txBody>
      </p:sp>
      <p:sp>
        <p:nvSpPr>
          <p:cNvPr id="6" name="Rectangle 5"/>
          <p:cNvSpPr/>
          <p:nvPr/>
        </p:nvSpPr>
        <p:spPr>
          <a:xfrm>
            <a:off x="8686801" y="4506097"/>
            <a:ext cx="315146" cy="2306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805" y="2263008"/>
            <a:ext cx="1711410" cy="1680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7193704" y="1700347"/>
            <a:ext cx="182410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180">
              <a:defRPr/>
            </a:pPr>
            <a:r>
              <a:rPr lang="en-US" sz="1200" b="1" dirty="0" smtClean="0"/>
              <a:t>05 million </a:t>
            </a:r>
            <a:r>
              <a:rPr lang="en-US" sz="1200" b="1" dirty="0"/>
              <a:t>tons per year condensate refinery </a:t>
            </a:r>
            <a:r>
              <a:rPr lang="en-US" sz="1200" b="1" dirty="0" smtClean="0"/>
              <a:t>EPC:</a:t>
            </a:r>
            <a:r>
              <a:rPr lang="en-US" sz="1200" dirty="0" smtClean="0"/>
              <a:t> </a:t>
            </a:r>
            <a:r>
              <a:rPr lang="en-US" sz="1200" dirty="0"/>
              <a:t>operating since 2009 &amp; located in </a:t>
            </a:r>
            <a:r>
              <a:rPr lang="en-US" sz="1200" dirty="0" err="1"/>
              <a:t>Skikda</a:t>
            </a:r>
            <a:r>
              <a:rPr lang="en-US" sz="1200" dirty="0"/>
              <a:t> </a:t>
            </a:r>
            <a:endParaRPr lang="en-US" sz="1200" dirty="0" smtClean="0"/>
          </a:p>
          <a:p>
            <a:pPr algn="just" defTabSz="914180">
              <a:defRPr/>
            </a:pPr>
            <a:endParaRPr lang="fr-FR" sz="1200" dirty="0"/>
          </a:p>
          <a:p>
            <a:pPr algn="just" defTabSz="914180">
              <a:defRPr/>
            </a:pPr>
            <a:r>
              <a:rPr lang="en-US" sz="1200" b="1" dirty="0"/>
              <a:t>Increase </a:t>
            </a:r>
            <a:r>
              <a:rPr lang="en-US" sz="1200" b="1" dirty="0" smtClean="0"/>
              <a:t>of </a:t>
            </a:r>
            <a:r>
              <a:rPr lang="en-US" sz="1200" b="1" dirty="0" err="1" smtClean="0"/>
              <a:t>Naphta</a:t>
            </a:r>
            <a:r>
              <a:rPr lang="en-US" sz="1200" b="1" dirty="0" smtClean="0"/>
              <a:t> &amp; Butane </a:t>
            </a:r>
            <a:r>
              <a:rPr lang="en-US" sz="1200" b="1" dirty="0"/>
              <a:t>Storage </a:t>
            </a:r>
            <a:r>
              <a:rPr lang="en-US" sz="1200" b="1" dirty="0" smtClean="0"/>
              <a:t>Capacity + </a:t>
            </a:r>
            <a:r>
              <a:rPr lang="en-US" sz="1200" b="1" dirty="0"/>
              <a:t>Fuel Oil and Naphtha Shipping </a:t>
            </a:r>
            <a:r>
              <a:rPr lang="en-US" sz="1200" b="1" dirty="0" smtClean="0"/>
              <a:t>Capacity (RA1K)</a:t>
            </a:r>
            <a:endParaRPr lang="fr-FR" sz="1200" b="1" dirty="0" smtClean="0"/>
          </a:p>
        </p:txBody>
      </p:sp>
      <p:sp>
        <p:nvSpPr>
          <p:cNvPr id="3" name="Rectangle 2"/>
          <p:cNvSpPr/>
          <p:nvPr/>
        </p:nvSpPr>
        <p:spPr>
          <a:xfrm>
            <a:off x="2403501" y="1102753"/>
            <a:ext cx="19709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180"/>
            <a:r>
              <a:rPr lang="fr-FR" sz="1200" b="1" dirty="0" err="1"/>
              <a:t>Algiers</a:t>
            </a:r>
            <a:r>
              <a:rPr lang="fr-FR" sz="1200" b="1" dirty="0"/>
              <a:t> </a:t>
            </a:r>
            <a:r>
              <a:rPr lang="fr-FR" sz="1200" b="1" dirty="0" err="1"/>
              <a:t>Refinery</a:t>
            </a:r>
            <a:r>
              <a:rPr lang="fr-FR" sz="1200" b="1" dirty="0"/>
              <a:t> </a:t>
            </a:r>
            <a:r>
              <a:rPr lang="fr-FR" sz="1200" b="1" dirty="0" smtClean="0"/>
              <a:t>(RA1G) </a:t>
            </a:r>
            <a:r>
              <a:rPr lang="fr-FR" sz="1200" b="1" dirty="0" err="1" smtClean="0"/>
              <a:t>Rehabilitation</a:t>
            </a:r>
            <a:r>
              <a:rPr lang="fr-FR" sz="1200" b="1" dirty="0" smtClean="0"/>
              <a:t>  Project</a:t>
            </a:r>
            <a:endParaRPr lang="fr-FR" sz="1200" b="1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672" y="1484784"/>
            <a:ext cx="4559211" cy="4693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Flèche droite 14"/>
          <p:cNvSpPr/>
          <p:nvPr/>
        </p:nvSpPr>
        <p:spPr>
          <a:xfrm rot="9897080">
            <a:off x="5832414" y="1217313"/>
            <a:ext cx="1360424" cy="514445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Flèche droite 15"/>
          <p:cNvSpPr/>
          <p:nvPr/>
        </p:nvSpPr>
        <p:spPr>
          <a:xfrm rot="3138291">
            <a:off x="4248053" y="1328484"/>
            <a:ext cx="516382" cy="514445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Flèche droite 12"/>
          <p:cNvSpPr/>
          <p:nvPr/>
        </p:nvSpPr>
        <p:spPr>
          <a:xfrm rot="584911">
            <a:off x="1877418" y="5031425"/>
            <a:ext cx="1666630" cy="514445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Rectangle 3"/>
          <p:cNvSpPr/>
          <p:nvPr/>
        </p:nvSpPr>
        <p:spPr>
          <a:xfrm>
            <a:off x="349108" y="4780544"/>
            <a:ext cx="14967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180"/>
            <a:r>
              <a:rPr lang="fr-FR" sz="1200" b="1" dirty="0"/>
              <a:t>0,6 Million tons par </a:t>
            </a:r>
            <a:r>
              <a:rPr lang="fr-FR" sz="1200" b="1" dirty="0" err="1"/>
              <a:t>year</a:t>
            </a:r>
            <a:r>
              <a:rPr lang="fr-FR" sz="1200" b="1" dirty="0"/>
              <a:t> </a:t>
            </a:r>
            <a:r>
              <a:rPr lang="fr-FR" sz="1200" b="1" dirty="0" err="1"/>
              <a:t>crude</a:t>
            </a:r>
            <a:r>
              <a:rPr lang="fr-FR" sz="1200" b="1" dirty="0"/>
              <a:t> </a:t>
            </a:r>
            <a:r>
              <a:rPr lang="fr-FR" sz="1200" b="1" dirty="0" err="1"/>
              <a:t>oil</a:t>
            </a:r>
            <a:r>
              <a:rPr lang="fr-FR" sz="1200" b="1" dirty="0"/>
              <a:t> </a:t>
            </a:r>
            <a:r>
              <a:rPr lang="fr-FR" sz="1200" b="1" dirty="0" err="1"/>
              <a:t>refinery</a:t>
            </a:r>
            <a:r>
              <a:rPr lang="fr-FR" sz="1200" b="1" dirty="0"/>
              <a:t> in </a:t>
            </a:r>
            <a:r>
              <a:rPr lang="fr-FR" sz="1200" b="1" dirty="0" smtClean="0"/>
              <a:t>Adrar : </a:t>
            </a:r>
            <a:r>
              <a:rPr lang="fr-FR" sz="1200" dirty="0" smtClean="0"/>
              <a:t>operating </a:t>
            </a:r>
            <a:r>
              <a:rPr lang="fr-FR" sz="1200" dirty="0" err="1" smtClean="0"/>
              <a:t>since</a:t>
            </a:r>
            <a:r>
              <a:rPr lang="fr-FR" sz="1200" dirty="0" smtClean="0"/>
              <a:t> </a:t>
            </a:r>
            <a:r>
              <a:rPr lang="fr-FR" sz="1200" dirty="0" err="1" smtClean="0"/>
              <a:t>may</a:t>
            </a:r>
            <a:r>
              <a:rPr lang="fr-FR" sz="1200" dirty="0" smtClean="0"/>
              <a:t> 2007. CNPC as EPC &amp; Partner.</a:t>
            </a:r>
            <a:endParaRPr lang="fr-FR" sz="1200" dirty="0"/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138" y="947972"/>
            <a:ext cx="1976745" cy="1317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ZoneTexte 19"/>
          <p:cNvSpPr txBox="1"/>
          <p:nvPr/>
        </p:nvSpPr>
        <p:spPr>
          <a:xfrm rot="19587088">
            <a:off x="6696555" y="1119416"/>
            <a:ext cx="218320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rgbClr val="FF0000"/>
                </a:solidFill>
              </a:rPr>
              <a:t>Operating Projet 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21" name="ZoneTexte 20"/>
          <p:cNvSpPr txBox="1"/>
          <p:nvPr/>
        </p:nvSpPr>
        <p:spPr>
          <a:xfrm rot="19587088">
            <a:off x="2107707" y="957712"/>
            <a:ext cx="218320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err="1" smtClean="0">
                <a:solidFill>
                  <a:srgbClr val="FF0000"/>
                </a:solidFill>
              </a:rPr>
              <a:t>Ongoing</a:t>
            </a:r>
            <a:r>
              <a:rPr lang="fr-FR" dirty="0" smtClean="0">
                <a:solidFill>
                  <a:srgbClr val="FF0000"/>
                </a:solidFill>
              </a:rPr>
              <a:t> Projet 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23" name="ZoneTexte 22"/>
          <p:cNvSpPr txBox="1"/>
          <p:nvPr/>
        </p:nvSpPr>
        <p:spPr>
          <a:xfrm rot="19587088">
            <a:off x="1629380" y="4059821"/>
            <a:ext cx="2183200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fr-FR" dirty="0" smtClean="0">
                <a:solidFill>
                  <a:srgbClr val="FF0000"/>
                </a:solidFill>
              </a:rPr>
              <a:t>Operating Projet 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25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786030" y="6413602"/>
            <a:ext cx="2133600" cy="365125"/>
          </a:xfrm>
        </p:spPr>
        <p:txBody>
          <a:bodyPr/>
          <a:lstStyle/>
          <a:p>
            <a:fld id="{57C9965D-C35C-4C81-A866-AF0EB9175DFD}" type="slidenum">
              <a:rPr lang="fr-FR" sz="750" smtClean="0">
                <a:solidFill>
                  <a:prstClr val="black">
                    <a:tint val="75000"/>
                  </a:prstClr>
                </a:solidFill>
              </a:rPr>
              <a:pPr/>
              <a:t>23</a:t>
            </a:fld>
            <a:endParaRPr lang="fr-FR" sz="75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8273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852488" eaLnBrk="0" fontAlgn="base" hangingPunct="0">
              <a:lnSpc>
                <a:spcPct val="150000"/>
              </a:lnSpc>
              <a:spcAft>
                <a:spcPct val="0"/>
              </a:spcAft>
              <a:defRPr/>
            </a:pPr>
            <a:r>
              <a:rPr lang="fr-FR" sz="20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  <a:cs typeface="Arial" charset="0"/>
              </a:rPr>
              <a:t>SONATRACH, </a:t>
            </a:r>
            <a:r>
              <a:rPr lang="fr-FR" sz="2000" dirty="0" err="1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  <a:cs typeface="Arial" charset="0"/>
              </a:rPr>
              <a:t>Hydrocarbons</a:t>
            </a:r>
            <a:r>
              <a:rPr lang="fr-FR" sz="200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  <a:cs typeface="Arial" charset="0"/>
              </a:rPr>
              <a:t> Exports </a:t>
            </a:r>
            <a:r>
              <a:rPr lang="fr-FR" sz="200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  <a:cs typeface="Arial" charset="0"/>
              </a:rPr>
              <a:t>to China... </a:t>
            </a:r>
            <a:r>
              <a:rPr lang="fr-FR" sz="2000" dirty="0" err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  <a:cs typeface="Arial" charset="0"/>
              </a:rPr>
              <a:t>faraway</a:t>
            </a:r>
            <a:r>
              <a:rPr lang="fr-FR" sz="200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  <a:cs typeface="Arial" charset="0"/>
              </a:rPr>
              <a:t> </a:t>
            </a:r>
            <a:r>
              <a:rPr lang="fr-FR" sz="2000" dirty="0" err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  <a:cs typeface="Arial" charset="0"/>
              </a:rPr>
              <a:t>so</a:t>
            </a:r>
            <a:r>
              <a:rPr lang="fr-FR" sz="2000" dirty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  <a:cs typeface="Arial" charset="0"/>
              </a:rPr>
              <a:t> close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568" y="1412776"/>
            <a:ext cx="8485877" cy="4464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ZoneTexte 5"/>
          <p:cNvSpPr txBox="1"/>
          <p:nvPr/>
        </p:nvSpPr>
        <p:spPr>
          <a:xfrm>
            <a:off x="330568" y="1104999"/>
            <a:ext cx="8640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dirty="0" err="1">
                <a:solidFill>
                  <a:prstClr val="black"/>
                </a:solidFill>
              </a:rPr>
              <a:t>K</a:t>
            </a:r>
            <a:r>
              <a:rPr lang="fr-FR" sz="1400" dirty="0" err="1" smtClean="0">
                <a:solidFill>
                  <a:prstClr val="black"/>
                </a:solidFill>
              </a:rPr>
              <a:t>Toe</a:t>
            </a:r>
            <a:endParaRPr lang="fr-FR" sz="1400" dirty="0">
              <a:solidFill>
                <a:prstClr val="black"/>
              </a:solidFill>
            </a:endParaRPr>
          </a:p>
        </p:txBody>
      </p:sp>
      <p:sp>
        <p:nvSpPr>
          <p:cNvPr id="9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786030" y="6413602"/>
            <a:ext cx="2133600" cy="365125"/>
          </a:xfrm>
        </p:spPr>
        <p:txBody>
          <a:bodyPr/>
          <a:lstStyle/>
          <a:p>
            <a:fld id="{57C9965D-C35C-4C81-A866-AF0EB9175DFD}" type="slidenum">
              <a:rPr lang="fr-FR" sz="750" smtClean="0">
                <a:solidFill>
                  <a:prstClr val="black">
                    <a:tint val="75000"/>
                  </a:prstClr>
                </a:solidFill>
              </a:rPr>
              <a:pPr/>
              <a:t>24</a:t>
            </a:fld>
            <a:endParaRPr lang="fr-FR" sz="75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067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1" name="Titre 1"/>
          <p:cNvSpPr txBox="1">
            <a:spLocks/>
          </p:cNvSpPr>
          <p:nvPr/>
        </p:nvSpPr>
        <p:spPr bwMode="auto">
          <a:xfrm>
            <a:off x="217048" y="224634"/>
            <a:ext cx="4546997" cy="32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3862" tIns="31931" rIns="63862" bIns="31931" anchor="ctr"/>
          <a:lstStyle/>
          <a:p>
            <a:pPr defTabSz="63936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cs typeface="Arial" charset="0"/>
              </a:rPr>
              <a:t>Conclusions</a:t>
            </a:r>
            <a:endParaRPr lang="en-US" sz="2000" b="1" dirty="0">
              <a:solidFill>
                <a:srgbClr val="00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j-lt"/>
              <a:cs typeface="Arial" charset="0"/>
            </a:endParaRPr>
          </a:p>
        </p:txBody>
      </p:sp>
      <p:sp>
        <p:nvSpPr>
          <p:cNvPr id="58372" name="Rectangle 1"/>
          <p:cNvSpPr>
            <a:spLocks noChangeArrowheads="1"/>
          </p:cNvSpPr>
          <p:nvPr/>
        </p:nvSpPr>
        <p:spPr bwMode="auto">
          <a:xfrm>
            <a:off x="217048" y="980728"/>
            <a:ext cx="7323187" cy="5103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Clr>
                <a:srgbClr val="E46C0A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46C0A"/>
              </a:buClr>
              <a:buFont typeface="Arial" panose="020B0604020202020204" pitchFamily="34" charset="0"/>
              <a:buChar char="–"/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46C0A"/>
              </a:buClr>
              <a:buSzPct val="70000"/>
              <a:buFont typeface="Wingdings" panose="05000000000000000000" pitchFamily="2" charset="2"/>
              <a:buChar char="q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46C0A"/>
              </a:buClr>
              <a:buFont typeface="Courier New" panose="02070309020205020404" pitchFamily="49" charset="0"/>
              <a:buChar char="o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lnSpc>
                <a:spcPct val="200000"/>
              </a:lnSpc>
              <a:buClr>
                <a:schemeClr val="accent6">
                  <a:lumMod val="75000"/>
                </a:schemeClr>
              </a:buClr>
              <a:defRPr/>
            </a:pPr>
            <a:r>
              <a:rPr lang="en-US" altLang="fr-FR" sz="1800" dirty="0">
                <a:latin typeface="+mn-lt"/>
              </a:rPr>
              <a:t>Algeria still has a large unexplored and undiscovered potential for hydrocarbons, which could contribute to the long-term energy security of the country and other parts of the world.</a:t>
            </a:r>
          </a:p>
          <a:p>
            <a:pPr defTabSz="685800">
              <a:lnSpc>
                <a:spcPct val="200000"/>
              </a:lnSpc>
              <a:buClr>
                <a:schemeClr val="accent6">
                  <a:lumMod val="75000"/>
                </a:schemeClr>
              </a:buClr>
              <a:defRPr/>
            </a:pPr>
            <a:r>
              <a:rPr lang="en-US" altLang="fr-FR" sz="1800" dirty="0">
                <a:latin typeface="+mn-lt"/>
              </a:rPr>
              <a:t>To create more attractive framework and facilitate access to partners, an amendment to the hydrocarbons law is in progress and will be published in early 2019.</a:t>
            </a:r>
          </a:p>
          <a:p>
            <a:pPr defTabSz="685800">
              <a:lnSpc>
                <a:spcPct val="200000"/>
              </a:lnSpc>
              <a:buClr>
                <a:schemeClr val="accent6">
                  <a:lumMod val="75000"/>
                </a:schemeClr>
              </a:buClr>
              <a:defRPr/>
            </a:pPr>
            <a:r>
              <a:rPr lang="en-US" altLang="fr-FR" sz="1800" dirty="0">
                <a:latin typeface="+mn-lt"/>
              </a:rPr>
              <a:t>Sonatrach, as a historical energy supplier with a large presence in the hydrocarbons value chain, with a solid expertise &amp; know-how, is </a:t>
            </a:r>
            <a:r>
              <a:rPr lang="en-US" altLang="fr-FR" sz="1800" b="1" dirty="0">
                <a:latin typeface="+mn-lt"/>
              </a:rPr>
              <a:t>looking ahead for more future fruitful </a:t>
            </a:r>
            <a:r>
              <a:rPr lang="en-US" altLang="fr-FR" sz="1800" b="1" dirty="0" smtClean="0">
                <a:latin typeface="+mn-lt"/>
              </a:rPr>
              <a:t>partnerships</a:t>
            </a:r>
            <a:r>
              <a:rPr lang="en-US" altLang="fr-FR" sz="1800" dirty="0" smtClean="0">
                <a:latin typeface="+mn-lt"/>
              </a:rPr>
              <a:t>. </a:t>
            </a:r>
            <a:endParaRPr lang="en-US" altLang="fr-FR" sz="1800" dirty="0">
              <a:latin typeface="+mn-lt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235" y="2276872"/>
            <a:ext cx="1440161" cy="2028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786030" y="6413602"/>
            <a:ext cx="2133600" cy="365125"/>
          </a:xfrm>
        </p:spPr>
        <p:txBody>
          <a:bodyPr/>
          <a:lstStyle/>
          <a:p>
            <a:fld id="{57C9965D-C35C-4C81-A866-AF0EB9175DFD}" type="slidenum">
              <a:rPr lang="fr-FR" sz="750" smtClean="0">
                <a:solidFill>
                  <a:prstClr val="black">
                    <a:tint val="75000"/>
                  </a:prstClr>
                </a:solidFill>
              </a:rPr>
              <a:pPr/>
              <a:t>25</a:t>
            </a:fld>
            <a:endParaRPr lang="fr-FR" sz="750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317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fr-FR" sz="2000" dirty="0" err="1">
                <a:ea typeface="+mn-ea"/>
                <a:cs typeface="+mn-cs"/>
              </a:rPr>
              <a:t>Algeria</a:t>
            </a:r>
            <a:r>
              <a:rPr lang="fr-FR" sz="2000" dirty="0">
                <a:ea typeface="+mn-ea"/>
                <a:cs typeface="+mn-cs"/>
              </a:rPr>
              <a:t> </a:t>
            </a:r>
            <a:r>
              <a:rPr lang="fr-FR" sz="2000" dirty="0" err="1">
                <a:ea typeface="+mn-ea"/>
                <a:cs typeface="+mn-cs"/>
              </a:rPr>
              <a:t>Overview</a:t>
            </a:r>
            <a:endParaRPr lang="fr-FR" sz="2000" dirty="0">
              <a:ea typeface="+mn-ea"/>
              <a:cs typeface="+mn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79512" y="3284673"/>
            <a:ext cx="475252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</a:pPr>
            <a:r>
              <a:rPr lang="en-US" sz="2000" b="1" dirty="0">
                <a:solidFill>
                  <a:prstClr val="black"/>
                </a:solidFill>
              </a:rPr>
              <a:t>People's Democratic Republic of </a:t>
            </a:r>
            <a:r>
              <a:rPr lang="en-US" sz="2000" b="1" dirty="0" smtClean="0">
                <a:solidFill>
                  <a:prstClr val="black"/>
                </a:solidFill>
              </a:rPr>
              <a:t>Algeria in 2017</a:t>
            </a:r>
            <a:endParaRPr lang="fr-FR" sz="2000" dirty="0">
              <a:solidFill>
                <a:prstClr val="black"/>
              </a:solidFill>
              <a:latin typeface="Arial Narrow" pitchFamily="34" charset="0"/>
            </a:endParaRP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fr-FR" sz="1600" dirty="0">
                <a:solidFill>
                  <a:prstClr val="black"/>
                </a:solidFill>
                <a:latin typeface="Arial Narrow" pitchFamily="34" charset="0"/>
              </a:rPr>
              <a:t>Area : </a:t>
            </a:r>
            <a:r>
              <a:rPr lang="fr-FR" sz="1600" dirty="0" smtClean="0">
                <a:solidFill>
                  <a:prstClr val="black"/>
                </a:solidFill>
                <a:latin typeface="Arial Narrow" pitchFamily="34" charset="0"/>
              </a:rPr>
              <a:t>2,4 </a:t>
            </a:r>
            <a:r>
              <a:rPr lang="fr-FR" sz="1600" dirty="0">
                <a:solidFill>
                  <a:prstClr val="black"/>
                </a:solidFill>
                <a:latin typeface="Arial Narrow" pitchFamily="34" charset="0"/>
              </a:rPr>
              <a:t>million km</a:t>
            </a:r>
            <a:r>
              <a:rPr lang="fr-FR" sz="1600" baseline="30000" dirty="0">
                <a:solidFill>
                  <a:prstClr val="black"/>
                </a:solidFill>
                <a:latin typeface="Arial Narrow" pitchFamily="34" charset="0"/>
              </a:rPr>
              <a:t>2</a:t>
            </a:r>
            <a:r>
              <a:rPr lang="fr-FR" sz="1600" dirty="0">
                <a:solidFill>
                  <a:prstClr val="black"/>
                </a:solidFill>
                <a:latin typeface="Arial Narrow" pitchFamily="34" charset="0"/>
              </a:rPr>
              <a:t>, </a:t>
            </a:r>
            <a:r>
              <a:rPr lang="fr-FR" sz="1600" dirty="0" err="1">
                <a:solidFill>
                  <a:prstClr val="black"/>
                </a:solidFill>
                <a:latin typeface="Arial Narrow" pitchFamily="34" charset="0"/>
              </a:rPr>
              <a:t>world’s</a:t>
            </a:r>
            <a:r>
              <a:rPr lang="fr-FR" sz="1600" dirty="0">
                <a:solidFill>
                  <a:prstClr val="black"/>
                </a:solidFill>
                <a:latin typeface="Arial Narrow" pitchFamily="34" charset="0"/>
              </a:rPr>
              <a:t> 10</a:t>
            </a:r>
            <a:r>
              <a:rPr lang="fr-FR" sz="1600" baseline="30000" dirty="0">
                <a:solidFill>
                  <a:prstClr val="black"/>
                </a:solidFill>
                <a:latin typeface="Arial Narrow" pitchFamily="34" charset="0"/>
              </a:rPr>
              <a:t>th</a:t>
            </a:r>
            <a:r>
              <a:rPr lang="fr-FR" sz="1600" dirty="0">
                <a:solidFill>
                  <a:prstClr val="black"/>
                </a:solidFill>
                <a:latin typeface="Arial Narrow" pitchFamily="34" charset="0"/>
              </a:rPr>
              <a:t>, </a:t>
            </a:r>
            <a:r>
              <a:rPr lang="fr-FR" sz="1600" dirty="0" err="1">
                <a:solidFill>
                  <a:prstClr val="black"/>
                </a:solidFill>
                <a:latin typeface="Arial Narrow" pitchFamily="34" charset="0"/>
              </a:rPr>
              <a:t>Africa’s</a:t>
            </a:r>
            <a:r>
              <a:rPr lang="fr-FR" sz="1600" dirty="0">
                <a:solidFill>
                  <a:prstClr val="black"/>
                </a:solidFill>
                <a:latin typeface="Arial Narrow" pitchFamily="34" charset="0"/>
              </a:rPr>
              <a:t> 1</a:t>
            </a:r>
            <a:r>
              <a:rPr lang="fr-FR" sz="1600" baseline="30000" dirty="0">
                <a:solidFill>
                  <a:prstClr val="black"/>
                </a:solidFill>
                <a:latin typeface="Arial Narrow" pitchFamily="34" charset="0"/>
              </a:rPr>
              <a:t>st</a:t>
            </a:r>
            <a:r>
              <a:rPr lang="fr-FR" sz="1600" dirty="0">
                <a:solidFill>
                  <a:prstClr val="black"/>
                </a:solidFill>
                <a:latin typeface="Arial Narrow" pitchFamily="34" charset="0"/>
              </a:rPr>
              <a:t>  </a:t>
            </a:r>
            <a:endParaRPr lang="fr-FR" sz="1600" baseline="30000" dirty="0">
              <a:solidFill>
                <a:prstClr val="black"/>
              </a:solidFill>
              <a:latin typeface="Arial Narrow" pitchFamily="34" charset="0"/>
            </a:endParaRP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en-US" sz="1600" dirty="0">
                <a:solidFill>
                  <a:prstClr val="black"/>
                </a:solidFill>
                <a:latin typeface="Arial Narrow" pitchFamily="34" charset="0"/>
              </a:rPr>
              <a:t>Population : </a:t>
            </a:r>
            <a:r>
              <a:rPr lang="en-US" sz="1600" dirty="0" smtClean="0">
                <a:solidFill>
                  <a:prstClr val="black"/>
                </a:solidFill>
                <a:latin typeface="Arial Narrow" pitchFamily="34" charset="0"/>
              </a:rPr>
              <a:t>41,3 </a:t>
            </a:r>
            <a:r>
              <a:rPr lang="en-US" sz="1600" dirty="0">
                <a:solidFill>
                  <a:prstClr val="black"/>
                </a:solidFill>
                <a:latin typeface="Arial Narrow" pitchFamily="34" charset="0"/>
              </a:rPr>
              <a:t>million </a:t>
            </a: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en-US" sz="1600" dirty="0">
                <a:solidFill>
                  <a:prstClr val="black"/>
                </a:solidFill>
                <a:latin typeface="Arial Narrow" pitchFamily="34" charset="0"/>
              </a:rPr>
              <a:t>GDP 2017 : $</a:t>
            </a:r>
            <a:r>
              <a:rPr lang="en-US" sz="1600" dirty="0" smtClean="0">
                <a:solidFill>
                  <a:prstClr val="black"/>
                </a:solidFill>
                <a:latin typeface="Arial Narrow" pitchFamily="34" charset="0"/>
              </a:rPr>
              <a:t>170 </a:t>
            </a:r>
            <a:r>
              <a:rPr lang="en-US" sz="1600" dirty="0">
                <a:solidFill>
                  <a:prstClr val="black"/>
                </a:solidFill>
                <a:latin typeface="Arial Narrow" pitchFamily="34" charset="0"/>
              </a:rPr>
              <a:t>billion (current), </a:t>
            </a:r>
            <a:r>
              <a:rPr lang="en-US" sz="1600" dirty="0" smtClean="0">
                <a:solidFill>
                  <a:prstClr val="black"/>
                </a:solidFill>
                <a:latin typeface="Arial Narrow" pitchFamily="34" charset="0"/>
              </a:rPr>
              <a:t>1,6% </a:t>
            </a:r>
            <a:r>
              <a:rPr lang="en-US" sz="1600" dirty="0">
                <a:solidFill>
                  <a:prstClr val="black"/>
                </a:solidFill>
                <a:latin typeface="Arial Narrow" pitchFamily="34" charset="0"/>
              </a:rPr>
              <a:t>AGR</a:t>
            </a: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en-US" sz="1600" dirty="0">
                <a:solidFill>
                  <a:prstClr val="black"/>
                </a:solidFill>
                <a:latin typeface="Arial Narrow" pitchFamily="34" charset="0"/>
              </a:rPr>
              <a:t>GDP per capita : $</a:t>
            </a:r>
            <a:r>
              <a:rPr lang="en-US" sz="1600" dirty="0" smtClean="0">
                <a:solidFill>
                  <a:prstClr val="black"/>
                </a:solidFill>
                <a:latin typeface="Arial Narrow" pitchFamily="34" charset="0"/>
              </a:rPr>
              <a:t>4,125 </a:t>
            </a:r>
            <a:endParaRPr lang="en-US" sz="1600" dirty="0">
              <a:solidFill>
                <a:prstClr val="black"/>
              </a:solidFill>
              <a:latin typeface="Arial Narrow" pitchFamily="34" charset="0"/>
            </a:endParaRPr>
          </a:p>
          <a:p>
            <a:pPr marL="28575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FontTx/>
              <a:buChar char="•"/>
            </a:pPr>
            <a:r>
              <a:rPr lang="en-US" sz="1600" dirty="0">
                <a:solidFill>
                  <a:prstClr val="black"/>
                </a:solidFill>
                <a:latin typeface="Arial Narrow" pitchFamily="34" charset="0"/>
              </a:rPr>
              <a:t>Hydrocarbons GDP : </a:t>
            </a:r>
            <a:r>
              <a:rPr lang="en-US" sz="1600" dirty="0" smtClean="0">
                <a:solidFill>
                  <a:prstClr val="black"/>
                </a:solidFill>
                <a:latin typeface="Arial Narrow" pitchFamily="34" charset="0"/>
              </a:rPr>
              <a:t>19% </a:t>
            </a:r>
            <a:r>
              <a:rPr lang="en-US" sz="1600" dirty="0">
                <a:solidFill>
                  <a:prstClr val="black"/>
                </a:solidFill>
                <a:latin typeface="Arial Narrow" pitchFamily="34" charset="0"/>
              </a:rPr>
              <a:t>of total</a:t>
            </a:r>
          </a:p>
        </p:txBody>
      </p:sp>
      <p:pic>
        <p:nvPicPr>
          <p:cNvPr id="32" name="Picture 2" descr="RÃ©sultat de recherche d'images pour &quot;algeria map on world&quot;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512591"/>
            <a:ext cx="1027071" cy="1369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180" name="Picture 4" descr="RÃ©sultat de recherche d'images pour &quot;algeria map on world&quot;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4160" y="1124744"/>
            <a:ext cx="1654403" cy="2145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s://upload.wikimedia.org/wikipedia/commons/a/a5/Algiers_Montage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905896"/>
            <a:ext cx="3927353" cy="5452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330D31-4995-49B9-86BD-656E33C59AFD}" type="slidenum">
              <a:rPr lang="fr-FR" smtClean="0"/>
              <a:pPr>
                <a:defRPr/>
              </a:pPr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8999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1"/>
          <p:cNvSpPr txBox="1">
            <a:spLocks/>
          </p:cNvSpPr>
          <p:nvPr/>
        </p:nvSpPr>
        <p:spPr bwMode="auto">
          <a:xfrm>
            <a:off x="188124" y="266711"/>
            <a:ext cx="8465961" cy="3206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lIns="63862" tIns="31931" rIns="63862" bIns="31931" rtlCol="0" anchor="ctr">
            <a:noAutofit/>
          </a:bodyPr>
          <a:lstStyle>
            <a:lvl1pPr defTabSz="639366" eaLnBrk="0" fontAlgn="base" hangingPunct="0">
              <a:spcBef>
                <a:spcPct val="0"/>
              </a:spcBef>
              <a:spcAft>
                <a:spcPct val="0"/>
              </a:spcAft>
              <a:defRPr sz="165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  <a:lvl2pPr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2pPr>
            <a:lvl3pPr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3pPr>
            <a:lvl4pPr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4pPr>
            <a:lvl5pPr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5pPr>
            <a:lvl6pPr marL="457200"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6pPr>
            <a:lvl7pPr marL="914400"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7pPr>
            <a:lvl8pPr marL="1371600"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8pPr>
            <a:lvl9pPr marL="1828800"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9pPr>
          </a:lstStyle>
          <a:p>
            <a:r>
              <a:rPr lang="en-US" sz="2000" dirty="0"/>
              <a:t>National Mining </a:t>
            </a:r>
            <a:r>
              <a:rPr lang="en-US" sz="2000" dirty="0" smtClean="0"/>
              <a:t>Domain</a:t>
            </a:r>
            <a:r>
              <a:rPr lang="en-US" sz="2000" dirty="0"/>
              <a:t>, </a:t>
            </a:r>
            <a:r>
              <a:rPr lang="en-US" sz="2000" dirty="0" smtClean="0"/>
              <a:t> Vast … and still Under Explored</a:t>
            </a:r>
            <a:endParaRPr lang="en-US" sz="2000" dirty="0"/>
          </a:p>
        </p:txBody>
      </p:sp>
      <p:sp>
        <p:nvSpPr>
          <p:cNvPr id="8" name="ZoneTexte 7"/>
          <p:cNvSpPr txBox="1"/>
          <p:nvPr/>
        </p:nvSpPr>
        <p:spPr>
          <a:xfrm>
            <a:off x="828677" y="3036890"/>
            <a:ext cx="1574006" cy="126188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800" b="1" dirty="0">
                <a:solidFill>
                  <a:srgbClr val="000000"/>
                </a:solidFill>
                <a:latin typeface="Arial Narrow" pitchFamily="34" charset="0"/>
              </a:rPr>
              <a:t>1 553 488 km</a:t>
            </a:r>
            <a:r>
              <a:rPr lang="fr-FR" sz="2800" b="1" baseline="30000" dirty="0">
                <a:solidFill>
                  <a:srgbClr val="000000"/>
                </a:solidFill>
                <a:latin typeface="Arial Narrow" pitchFamily="34" charset="0"/>
              </a:rPr>
              <a:t>2</a:t>
            </a:r>
            <a:r>
              <a:rPr lang="fr-FR" sz="2800" b="1" dirty="0">
                <a:solidFill>
                  <a:srgbClr val="000000"/>
                </a:solidFill>
                <a:latin typeface="Arial Narrow" pitchFamily="34" charset="0"/>
              </a:rPr>
              <a:t> 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2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itchFamily="34" charset="0"/>
              </a:rPr>
              <a:t>(6% Offshore)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211933" y="5891223"/>
            <a:ext cx="1233488" cy="3231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750" i="1" dirty="0">
                <a:solidFill>
                  <a:srgbClr val="000000"/>
                </a:solidFill>
                <a:latin typeface="+mn-lt"/>
              </a:rPr>
              <a:t>Source: ALNAFT, octobre 2017</a:t>
            </a:r>
          </a:p>
        </p:txBody>
      </p:sp>
      <p:sp>
        <p:nvSpPr>
          <p:cNvPr id="11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5817394" y="5667375"/>
            <a:ext cx="1200150" cy="274638"/>
          </a:xfrm>
        </p:spPr>
        <p:txBody>
          <a:bodyPr/>
          <a:lstStyle/>
          <a:p>
            <a:pPr>
              <a:defRPr/>
            </a:pPr>
            <a:fld id="{49774EE9-271C-456C-AC25-27F3BACEC64F}" type="slidenum">
              <a:rPr lang="fr-FR"/>
              <a:pPr>
                <a:defRPr/>
              </a:pPr>
              <a:t>4</a:t>
            </a:fld>
            <a:endParaRPr lang="fr-FR" dirty="0"/>
          </a:p>
        </p:txBody>
      </p:sp>
      <p:sp>
        <p:nvSpPr>
          <p:cNvPr id="34823" name="Rectangle 1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32899" y="5334011"/>
            <a:ext cx="2880122" cy="96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57175" indent="-257175" defTabSz="7000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7000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7000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7000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700088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700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700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700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700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buClr>
                <a:srgbClr val="F0812D"/>
              </a:buClr>
              <a:buFont typeface="Arial" panose="020B0604020202020204" pitchFamily="34" charset="0"/>
              <a:buAutoNum type="arabicPeriod"/>
            </a:pPr>
            <a:r>
              <a:rPr lang="fr-FR" altLang="fr-FR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Mature Basins </a:t>
            </a:r>
          </a:p>
          <a:p>
            <a:pPr eaLnBrk="1" hangingPunct="1">
              <a:lnSpc>
                <a:spcPct val="150000"/>
              </a:lnSpc>
              <a:buClr>
                <a:srgbClr val="F0812D"/>
              </a:buClr>
              <a:buFont typeface="Arial" panose="020B0604020202020204" pitchFamily="34" charset="0"/>
              <a:buAutoNum type="arabicPeriod"/>
            </a:pPr>
            <a:r>
              <a:rPr lang="en-US" altLang="fr-FR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Underexplored zones</a:t>
            </a:r>
          </a:p>
          <a:p>
            <a:pPr eaLnBrk="1" hangingPunct="1">
              <a:lnSpc>
                <a:spcPct val="150000"/>
              </a:lnSpc>
              <a:buClr>
                <a:srgbClr val="F0812D"/>
              </a:buClr>
              <a:buFont typeface="Arial" panose="020B0604020202020204" pitchFamily="34" charset="0"/>
              <a:buAutoNum type="arabicPeriod"/>
            </a:pPr>
            <a:r>
              <a:rPr lang="fr-FR" altLang="fr-FR" sz="1400" b="1" dirty="0">
                <a:solidFill>
                  <a:srgbClr val="000000"/>
                </a:solidFill>
                <a:latin typeface="Arial Narrow" panose="020B0606020202030204" pitchFamily="34" charset="0"/>
              </a:rPr>
              <a:t>Offshore &amp; </a:t>
            </a:r>
            <a:r>
              <a:rPr lang="fr-FR" altLang="fr-FR" sz="1400" b="1" dirty="0" err="1" smtClean="0">
                <a:solidFill>
                  <a:srgbClr val="000000"/>
                </a:solidFill>
                <a:latin typeface="Arial Narrow" panose="020B0606020202030204" pitchFamily="34" charset="0"/>
              </a:rPr>
              <a:t>North</a:t>
            </a:r>
            <a:r>
              <a:rPr lang="fr-FR" altLang="fr-FR" sz="1400" b="1" dirty="0" smtClean="0">
                <a:solidFill>
                  <a:srgbClr val="000000"/>
                </a:solidFill>
                <a:latin typeface="Arial Narrow" panose="020B0606020202030204" pitchFamily="34" charset="0"/>
              </a:rPr>
              <a:t> </a:t>
            </a:r>
            <a:r>
              <a:rPr lang="fr-FR" altLang="fr-FR" sz="1400" b="1" dirty="0" err="1">
                <a:solidFill>
                  <a:srgbClr val="000000"/>
                </a:solidFill>
                <a:latin typeface="Arial Narrow" panose="020B0606020202030204" pitchFamily="34" charset="0"/>
              </a:rPr>
              <a:t>R</a:t>
            </a:r>
            <a:r>
              <a:rPr lang="fr-FR" altLang="fr-FR" sz="1400" b="1" dirty="0" err="1" smtClean="0">
                <a:solidFill>
                  <a:srgbClr val="000000"/>
                </a:solidFill>
                <a:latin typeface="Arial Narrow" panose="020B0606020202030204" pitchFamily="34" charset="0"/>
              </a:rPr>
              <a:t>egion</a:t>
            </a:r>
            <a:endParaRPr lang="fr-FR" altLang="fr-FR" sz="1400" b="1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4824" name="Groupe 11"/>
          <p:cNvGrpSpPr>
            <a:grpSpLocks/>
          </p:cNvGrpSpPr>
          <p:nvPr/>
        </p:nvGrpSpPr>
        <p:grpSpPr bwMode="auto">
          <a:xfrm>
            <a:off x="5898966" y="1515942"/>
            <a:ext cx="3438134" cy="3749798"/>
            <a:chOff x="4396007" y="1083724"/>
            <a:chExt cx="6117860" cy="5236335"/>
          </a:xfrm>
        </p:grpSpPr>
        <p:pic>
          <p:nvPicPr>
            <p:cNvPr id="13" name="Picture 80" descr="bassins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4660011" y="1275452"/>
              <a:ext cx="5106756" cy="5044607"/>
            </a:xfrm>
            <a:prstGeom prst="rect">
              <a:avLst/>
            </a:prstGeom>
            <a:ln w="38100" cap="sq" cmpd="thickThin">
              <a:solidFill>
                <a:srgbClr val="000000"/>
              </a:solidFill>
              <a:prstDash val="solid"/>
              <a:miter lim="800000"/>
            </a:ln>
            <a:effectLst>
              <a:innerShdw blurRad="76200">
                <a:srgbClr val="000000"/>
              </a:innerShdw>
            </a:effectLst>
          </p:spPr>
        </p:pic>
        <p:sp>
          <p:nvSpPr>
            <p:cNvPr id="34850" name="Text Box 20"/>
            <p:cNvSpPr txBox="1">
              <a:spLocks noChangeArrowheads="1"/>
            </p:cNvSpPr>
            <p:nvPr/>
          </p:nvSpPr>
          <p:spPr bwMode="auto">
            <a:xfrm rot="2277925">
              <a:off x="5236936" y="4870889"/>
              <a:ext cx="2656159" cy="515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fr-FR">
                  <a:solidFill>
                    <a:srgbClr val="FF0000"/>
                  </a:solidFill>
                </a:rPr>
                <a:t>Chenachène</a:t>
              </a:r>
            </a:p>
          </p:txBody>
        </p:sp>
        <p:sp>
          <p:nvSpPr>
            <p:cNvPr id="34851" name="Text Box 21"/>
            <p:cNvSpPr txBox="1">
              <a:spLocks noChangeArrowheads="1"/>
            </p:cNvSpPr>
            <p:nvPr/>
          </p:nvSpPr>
          <p:spPr bwMode="auto">
            <a:xfrm rot="20350619">
              <a:off x="6913734" y="5587148"/>
              <a:ext cx="2496540" cy="515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fr-FR">
                  <a:solidFill>
                    <a:srgbClr val="FF0000"/>
                  </a:solidFill>
                </a:rPr>
                <a:t>Tafassasset</a:t>
              </a:r>
            </a:p>
          </p:txBody>
        </p:sp>
        <p:sp>
          <p:nvSpPr>
            <p:cNvPr id="17" name="Forme libre 16"/>
            <p:cNvSpPr/>
            <p:nvPr/>
          </p:nvSpPr>
          <p:spPr>
            <a:xfrm>
              <a:off x="8214798" y="3537931"/>
              <a:ext cx="995749" cy="738207"/>
            </a:xfrm>
            <a:custGeom>
              <a:avLst/>
              <a:gdLst>
                <a:gd name="connsiteX0" fmla="*/ 916781 w 995450"/>
                <a:gd name="connsiteY0" fmla="*/ 40481 h 738187"/>
                <a:gd name="connsiteX1" fmla="*/ 904875 w 995450"/>
                <a:gd name="connsiteY1" fmla="*/ 50006 h 738187"/>
                <a:gd name="connsiteX2" fmla="*/ 900112 w 995450"/>
                <a:gd name="connsiteY2" fmla="*/ 57150 h 738187"/>
                <a:gd name="connsiteX3" fmla="*/ 883443 w 995450"/>
                <a:gd name="connsiteY3" fmla="*/ 64293 h 738187"/>
                <a:gd name="connsiteX4" fmla="*/ 878681 w 995450"/>
                <a:gd name="connsiteY4" fmla="*/ 71437 h 738187"/>
                <a:gd name="connsiteX5" fmla="*/ 845343 w 995450"/>
                <a:gd name="connsiteY5" fmla="*/ 73818 h 738187"/>
                <a:gd name="connsiteX6" fmla="*/ 835818 w 995450"/>
                <a:gd name="connsiteY6" fmla="*/ 69056 h 738187"/>
                <a:gd name="connsiteX7" fmla="*/ 828675 w 995450"/>
                <a:gd name="connsiteY7" fmla="*/ 64293 h 738187"/>
                <a:gd name="connsiteX8" fmla="*/ 821531 w 995450"/>
                <a:gd name="connsiteY8" fmla="*/ 61912 h 738187"/>
                <a:gd name="connsiteX9" fmla="*/ 812006 w 995450"/>
                <a:gd name="connsiteY9" fmla="*/ 57150 h 738187"/>
                <a:gd name="connsiteX10" fmla="*/ 795337 w 995450"/>
                <a:gd name="connsiteY10" fmla="*/ 50006 h 738187"/>
                <a:gd name="connsiteX11" fmla="*/ 781050 w 995450"/>
                <a:gd name="connsiteY11" fmla="*/ 42862 h 738187"/>
                <a:gd name="connsiteX12" fmla="*/ 773906 w 995450"/>
                <a:gd name="connsiteY12" fmla="*/ 38100 h 738187"/>
                <a:gd name="connsiteX13" fmla="*/ 759618 w 995450"/>
                <a:gd name="connsiteY13" fmla="*/ 35718 h 738187"/>
                <a:gd name="connsiteX14" fmla="*/ 745331 w 995450"/>
                <a:gd name="connsiteY14" fmla="*/ 30956 h 738187"/>
                <a:gd name="connsiteX15" fmla="*/ 690562 w 995450"/>
                <a:gd name="connsiteY15" fmla="*/ 26193 h 738187"/>
                <a:gd name="connsiteX16" fmla="*/ 611981 w 995450"/>
                <a:gd name="connsiteY16" fmla="*/ 21431 h 738187"/>
                <a:gd name="connsiteX17" fmla="*/ 597693 w 995450"/>
                <a:gd name="connsiteY17" fmla="*/ 16668 h 738187"/>
                <a:gd name="connsiteX18" fmla="*/ 590550 w 995450"/>
                <a:gd name="connsiteY18" fmla="*/ 9525 h 738187"/>
                <a:gd name="connsiteX19" fmla="*/ 581025 w 995450"/>
                <a:gd name="connsiteY19" fmla="*/ 7143 h 738187"/>
                <a:gd name="connsiteX20" fmla="*/ 566737 w 995450"/>
                <a:gd name="connsiteY20" fmla="*/ 2381 h 738187"/>
                <a:gd name="connsiteX21" fmla="*/ 559593 w 995450"/>
                <a:gd name="connsiteY21" fmla="*/ 0 h 738187"/>
                <a:gd name="connsiteX22" fmla="*/ 516731 w 995450"/>
                <a:gd name="connsiteY22" fmla="*/ 2381 h 738187"/>
                <a:gd name="connsiteX23" fmla="*/ 502443 w 995450"/>
                <a:gd name="connsiteY23" fmla="*/ 7143 h 738187"/>
                <a:gd name="connsiteX24" fmla="*/ 495300 w 995450"/>
                <a:gd name="connsiteY24" fmla="*/ 11906 h 738187"/>
                <a:gd name="connsiteX25" fmla="*/ 488156 w 995450"/>
                <a:gd name="connsiteY25" fmla="*/ 14287 h 738187"/>
                <a:gd name="connsiteX26" fmla="*/ 473868 w 995450"/>
                <a:gd name="connsiteY26" fmla="*/ 23812 h 738187"/>
                <a:gd name="connsiteX27" fmla="*/ 426243 w 995450"/>
                <a:gd name="connsiteY27" fmla="*/ 21431 h 738187"/>
                <a:gd name="connsiteX28" fmla="*/ 411956 w 995450"/>
                <a:gd name="connsiteY28" fmla="*/ 11906 h 738187"/>
                <a:gd name="connsiteX29" fmla="*/ 404812 w 995450"/>
                <a:gd name="connsiteY29" fmla="*/ 9525 h 738187"/>
                <a:gd name="connsiteX30" fmla="*/ 371475 w 995450"/>
                <a:gd name="connsiteY30" fmla="*/ 7143 h 738187"/>
                <a:gd name="connsiteX31" fmla="*/ 364331 w 995450"/>
                <a:gd name="connsiteY31" fmla="*/ 11906 h 738187"/>
                <a:gd name="connsiteX32" fmla="*/ 350043 w 995450"/>
                <a:gd name="connsiteY32" fmla="*/ 16668 h 738187"/>
                <a:gd name="connsiteX33" fmla="*/ 335756 w 995450"/>
                <a:gd name="connsiteY33" fmla="*/ 21431 h 738187"/>
                <a:gd name="connsiteX34" fmla="*/ 314325 w 995450"/>
                <a:gd name="connsiteY34" fmla="*/ 35718 h 738187"/>
                <a:gd name="connsiteX35" fmla="*/ 307181 w 995450"/>
                <a:gd name="connsiteY35" fmla="*/ 42862 h 738187"/>
                <a:gd name="connsiteX36" fmla="*/ 252412 w 995450"/>
                <a:gd name="connsiteY36" fmla="*/ 50006 h 738187"/>
                <a:gd name="connsiteX37" fmla="*/ 230981 w 995450"/>
                <a:gd name="connsiteY37" fmla="*/ 54768 h 738187"/>
                <a:gd name="connsiteX38" fmla="*/ 223837 w 995450"/>
                <a:gd name="connsiteY38" fmla="*/ 57150 h 738187"/>
                <a:gd name="connsiteX39" fmla="*/ 209550 w 995450"/>
                <a:gd name="connsiteY39" fmla="*/ 64293 h 738187"/>
                <a:gd name="connsiteX40" fmla="*/ 202406 w 995450"/>
                <a:gd name="connsiteY40" fmla="*/ 69056 h 738187"/>
                <a:gd name="connsiteX41" fmla="*/ 195262 w 995450"/>
                <a:gd name="connsiteY41" fmla="*/ 71437 h 738187"/>
                <a:gd name="connsiteX42" fmla="*/ 180975 w 995450"/>
                <a:gd name="connsiteY42" fmla="*/ 80962 h 738187"/>
                <a:gd name="connsiteX43" fmla="*/ 173831 w 995450"/>
                <a:gd name="connsiteY43" fmla="*/ 85725 h 738187"/>
                <a:gd name="connsiteX44" fmla="*/ 159543 w 995450"/>
                <a:gd name="connsiteY44" fmla="*/ 100012 h 738187"/>
                <a:gd name="connsiteX45" fmla="*/ 145256 w 995450"/>
                <a:gd name="connsiteY45" fmla="*/ 114300 h 738187"/>
                <a:gd name="connsiteX46" fmla="*/ 140493 w 995450"/>
                <a:gd name="connsiteY46" fmla="*/ 121443 h 738187"/>
                <a:gd name="connsiteX47" fmla="*/ 135731 w 995450"/>
                <a:gd name="connsiteY47" fmla="*/ 111918 h 738187"/>
                <a:gd name="connsiteX48" fmla="*/ 130968 w 995450"/>
                <a:gd name="connsiteY48" fmla="*/ 104775 h 738187"/>
                <a:gd name="connsiteX49" fmla="*/ 128587 w 995450"/>
                <a:gd name="connsiteY49" fmla="*/ 97631 h 738187"/>
                <a:gd name="connsiteX50" fmla="*/ 123825 w 995450"/>
                <a:gd name="connsiteY50" fmla="*/ 85725 h 738187"/>
                <a:gd name="connsiteX51" fmla="*/ 123825 w 995450"/>
                <a:gd name="connsiteY51" fmla="*/ 57150 h 738187"/>
                <a:gd name="connsiteX52" fmla="*/ 119062 w 995450"/>
                <a:gd name="connsiteY52" fmla="*/ 50006 h 738187"/>
                <a:gd name="connsiteX53" fmla="*/ 107156 w 995450"/>
                <a:gd name="connsiteY53" fmla="*/ 52387 h 738187"/>
                <a:gd name="connsiteX54" fmla="*/ 104775 w 995450"/>
                <a:gd name="connsiteY54" fmla="*/ 61912 h 738187"/>
                <a:gd name="connsiteX55" fmla="*/ 100012 w 995450"/>
                <a:gd name="connsiteY55" fmla="*/ 76200 h 738187"/>
                <a:gd name="connsiteX56" fmla="*/ 97631 w 995450"/>
                <a:gd name="connsiteY56" fmla="*/ 111918 h 738187"/>
                <a:gd name="connsiteX57" fmla="*/ 88106 w 995450"/>
                <a:gd name="connsiteY57" fmla="*/ 126206 h 738187"/>
                <a:gd name="connsiteX58" fmla="*/ 54768 w 995450"/>
                <a:gd name="connsiteY58" fmla="*/ 138112 h 738187"/>
                <a:gd name="connsiteX59" fmla="*/ 47625 w 995450"/>
                <a:gd name="connsiteY59" fmla="*/ 152400 h 738187"/>
                <a:gd name="connsiteX60" fmla="*/ 45243 w 995450"/>
                <a:gd name="connsiteY60" fmla="*/ 159543 h 738187"/>
                <a:gd name="connsiteX61" fmla="*/ 35718 w 995450"/>
                <a:gd name="connsiteY61" fmla="*/ 173831 h 738187"/>
                <a:gd name="connsiteX62" fmla="*/ 23812 w 995450"/>
                <a:gd name="connsiteY62" fmla="*/ 188118 h 738187"/>
                <a:gd name="connsiteX63" fmla="*/ 16668 w 995450"/>
                <a:gd name="connsiteY63" fmla="*/ 190500 h 738187"/>
                <a:gd name="connsiteX64" fmla="*/ 7143 w 995450"/>
                <a:gd name="connsiteY64" fmla="*/ 195262 h 738187"/>
                <a:gd name="connsiteX65" fmla="*/ 0 w 995450"/>
                <a:gd name="connsiteY65" fmla="*/ 209550 h 738187"/>
                <a:gd name="connsiteX66" fmla="*/ 4762 w 995450"/>
                <a:gd name="connsiteY66" fmla="*/ 235743 h 738187"/>
                <a:gd name="connsiteX67" fmla="*/ 7143 w 995450"/>
                <a:gd name="connsiteY67" fmla="*/ 242887 h 738187"/>
                <a:gd name="connsiteX68" fmla="*/ 11906 w 995450"/>
                <a:gd name="connsiteY68" fmla="*/ 250031 h 738187"/>
                <a:gd name="connsiteX69" fmla="*/ 16668 w 995450"/>
                <a:gd name="connsiteY69" fmla="*/ 264318 h 738187"/>
                <a:gd name="connsiteX70" fmla="*/ 21431 w 995450"/>
                <a:gd name="connsiteY70" fmla="*/ 273843 h 738187"/>
                <a:gd name="connsiteX71" fmla="*/ 26193 w 995450"/>
                <a:gd name="connsiteY71" fmla="*/ 288131 h 738187"/>
                <a:gd name="connsiteX72" fmla="*/ 28575 w 995450"/>
                <a:gd name="connsiteY72" fmla="*/ 295275 h 738187"/>
                <a:gd name="connsiteX73" fmla="*/ 33337 w 995450"/>
                <a:gd name="connsiteY73" fmla="*/ 309562 h 738187"/>
                <a:gd name="connsiteX74" fmla="*/ 35718 w 995450"/>
                <a:gd name="connsiteY74" fmla="*/ 323850 h 738187"/>
                <a:gd name="connsiteX75" fmla="*/ 38100 w 995450"/>
                <a:gd name="connsiteY75" fmla="*/ 330993 h 738187"/>
                <a:gd name="connsiteX76" fmla="*/ 45243 w 995450"/>
                <a:gd name="connsiteY76" fmla="*/ 354806 h 738187"/>
                <a:gd name="connsiteX77" fmla="*/ 50006 w 995450"/>
                <a:gd name="connsiteY77" fmla="*/ 381000 h 738187"/>
                <a:gd name="connsiteX78" fmla="*/ 54768 w 995450"/>
                <a:gd name="connsiteY78" fmla="*/ 395287 h 738187"/>
                <a:gd name="connsiteX79" fmla="*/ 61912 w 995450"/>
                <a:gd name="connsiteY79" fmla="*/ 416718 h 738187"/>
                <a:gd name="connsiteX80" fmla="*/ 76200 w 995450"/>
                <a:gd name="connsiteY80" fmla="*/ 423862 h 738187"/>
                <a:gd name="connsiteX81" fmla="*/ 78581 w 995450"/>
                <a:gd name="connsiteY81" fmla="*/ 433387 h 738187"/>
                <a:gd name="connsiteX82" fmla="*/ 88106 w 995450"/>
                <a:gd name="connsiteY82" fmla="*/ 447675 h 738187"/>
                <a:gd name="connsiteX83" fmla="*/ 95250 w 995450"/>
                <a:gd name="connsiteY83" fmla="*/ 461962 h 738187"/>
                <a:gd name="connsiteX84" fmla="*/ 102393 w 995450"/>
                <a:gd name="connsiteY84" fmla="*/ 466725 h 738187"/>
                <a:gd name="connsiteX85" fmla="*/ 109537 w 995450"/>
                <a:gd name="connsiteY85" fmla="*/ 469106 h 738187"/>
                <a:gd name="connsiteX86" fmla="*/ 123825 w 995450"/>
                <a:gd name="connsiteY86" fmla="*/ 466725 h 738187"/>
                <a:gd name="connsiteX87" fmla="*/ 140493 w 995450"/>
                <a:gd name="connsiteY87" fmla="*/ 454818 h 738187"/>
                <a:gd name="connsiteX88" fmla="*/ 147637 w 995450"/>
                <a:gd name="connsiteY88" fmla="*/ 452437 h 738187"/>
                <a:gd name="connsiteX89" fmla="*/ 169068 w 995450"/>
                <a:gd name="connsiteY89" fmla="*/ 435768 h 738187"/>
                <a:gd name="connsiteX90" fmla="*/ 183356 w 995450"/>
                <a:gd name="connsiteY90" fmla="*/ 431006 h 738187"/>
                <a:gd name="connsiteX91" fmla="*/ 190500 w 995450"/>
                <a:gd name="connsiteY91" fmla="*/ 426243 h 738187"/>
                <a:gd name="connsiteX92" fmla="*/ 197643 w 995450"/>
                <a:gd name="connsiteY92" fmla="*/ 419100 h 738187"/>
                <a:gd name="connsiteX93" fmla="*/ 204787 w 995450"/>
                <a:gd name="connsiteY93" fmla="*/ 423862 h 738187"/>
                <a:gd name="connsiteX94" fmla="*/ 211931 w 995450"/>
                <a:gd name="connsiteY94" fmla="*/ 440531 h 738187"/>
                <a:gd name="connsiteX95" fmla="*/ 214312 w 995450"/>
                <a:gd name="connsiteY95" fmla="*/ 447675 h 738187"/>
                <a:gd name="connsiteX96" fmla="*/ 219075 w 995450"/>
                <a:gd name="connsiteY96" fmla="*/ 454818 h 738187"/>
                <a:gd name="connsiteX97" fmla="*/ 240506 w 995450"/>
                <a:gd name="connsiteY97" fmla="*/ 473868 h 738187"/>
                <a:gd name="connsiteX98" fmla="*/ 254793 w 995450"/>
                <a:gd name="connsiteY98" fmla="*/ 495300 h 738187"/>
                <a:gd name="connsiteX99" fmla="*/ 261937 w 995450"/>
                <a:gd name="connsiteY99" fmla="*/ 497681 h 738187"/>
                <a:gd name="connsiteX100" fmla="*/ 278606 w 995450"/>
                <a:gd name="connsiteY100" fmla="*/ 519112 h 738187"/>
                <a:gd name="connsiteX101" fmla="*/ 290512 w 995450"/>
                <a:gd name="connsiteY101" fmla="*/ 535781 h 738187"/>
                <a:gd name="connsiteX102" fmla="*/ 295275 w 995450"/>
                <a:gd name="connsiteY102" fmla="*/ 542925 h 738187"/>
                <a:gd name="connsiteX103" fmla="*/ 319087 w 995450"/>
                <a:gd name="connsiteY103" fmla="*/ 564356 h 738187"/>
                <a:gd name="connsiteX104" fmla="*/ 328612 w 995450"/>
                <a:gd name="connsiteY104" fmla="*/ 569118 h 738187"/>
                <a:gd name="connsiteX105" fmla="*/ 335756 w 995450"/>
                <a:gd name="connsiteY105" fmla="*/ 576262 h 738187"/>
                <a:gd name="connsiteX106" fmla="*/ 350043 w 995450"/>
                <a:gd name="connsiteY106" fmla="*/ 578643 h 738187"/>
                <a:gd name="connsiteX107" fmla="*/ 369093 w 995450"/>
                <a:gd name="connsiteY107" fmla="*/ 583406 h 738187"/>
                <a:gd name="connsiteX108" fmla="*/ 376237 w 995450"/>
                <a:gd name="connsiteY108" fmla="*/ 588168 h 738187"/>
                <a:gd name="connsiteX109" fmla="*/ 388143 w 995450"/>
                <a:gd name="connsiteY109" fmla="*/ 600075 h 738187"/>
                <a:gd name="connsiteX110" fmla="*/ 395287 w 995450"/>
                <a:gd name="connsiteY110" fmla="*/ 602456 h 738187"/>
                <a:gd name="connsiteX111" fmla="*/ 409575 w 995450"/>
                <a:gd name="connsiteY111" fmla="*/ 611981 h 738187"/>
                <a:gd name="connsiteX112" fmla="*/ 426243 w 995450"/>
                <a:gd name="connsiteY112" fmla="*/ 616743 h 738187"/>
                <a:gd name="connsiteX113" fmla="*/ 452437 w 995450"/>
                <a:gd name="connsiteY113" fmla="*/ 602456 h 738187"/>
                <a:gd name="connsiteX114" fmla="*/ 459581 w 995450"/>
                <a:gd name="connsiteY114" fmla="*/ 595312 h 738187"/>
                <a:gd name="connsiteX115" fmla="*/ 471487 w 995450"/>
                <a:gd name="connsiteY115" fmla="*/ 592931 h 738187"/>
                <a:gd name="connsiteX116" fmla="*/ 478631 w 995450"/>
                <a:gd name="connsiteY116" fmla="*/ 590550 h 738187"/>
                <a:gd name="connsiteX117" fmla="*/ 488156 w 995450"/>
                <a:gd name="connsiteY117" fmla="*/ 588168 h 738187"/>
                <a:gd name="connsiteX118" fmla="*/ 495300 w 995450"/>
                <a:gd name="connsiteY118" fmla="*/ 583406 h 738187"/>
                <a:gd name="connsiteX119" fmla="*/ 500062 w 995450"/>
                <a:gd name="connsiteY119" fmla="*/ 576262 h 738187"/>
                <a:gd name="connsiteX120" fmla="*/ 514350 w 995450"/>
                <a:gd name="connsiteY120" fmla="*/ 571500 h 738187"/>
                <a:gd name="connsiteX121" fmla="*/ 535781 w 995450"/>
                <a:gd name="connsiteY121" fmla="*/ 566737 h 738187"/>
                <a:gd name="connsiteX122" fmla="*/ 583406 w 995450"/>
                <a:gd name="connsiteY122" fmla="*/ 569118 h 738187"/>
                <a:gd name="connsiteX123" fmla="*/ 597693 w 995450"/>
                <a:gd name="connsiteY123" fmla="*/ 576262 h 738187"/>
                <a:gd name="connsiteX124" fmla="*/ 611981 w 995450"/>
                <a:gd name="connsiteY124" fmla="*/ 581025 h 738187"/>
                <a:gd name="connsiteX125" fmla="*/ 619125 w 995450"/>
                <a:gd name="connsiteY125" fmla="*/ 585787 h 738187"/>
                <a:gd name="connsiteX126" fmla="*/ 642937 w 995450"/>
                <a:gd name="connsiteY126" fmla="*/ 592931 h 738187"/>
                <a:gd name="connsiteX127" fmla="*/ 657225 w 995450"/>
                <a:gd name="connsiteY127" fmla="*/ 597693 h 738187"/>
                <a:gd name="connsiteX128" fmla="*/ 721518 w 995450"/>
                <a:gd name="connsiteY128" fmla="*/ 595312 h 738187"/>
                <a:gd name="connsiteX129" fmla="*/ 728662 w 995450"/>
                <a:gd name="connsiteY129" fmla="*/ 588168 h 738187"/>
                <a:gd name="connsiteX130" fmla="*/ 738187 w 995450"/>
                <a:gd name="connsiteY130" fmla="*/ 573881 h 738187"/>
                <a:gd name="connsiteX131" fmla="*/ 742950 w 995450"/>
                <a:gd name="connsiteY131" fmla="*/ 566737 h 738187"/>
                <a:gd name="connsiteX132" fmla="*/ 771525 w 995450"/>
                <a:gd name="connsiteY132" fmla="*/ 552450 h 738187"/>
                <a:gd name="connsiteX133" fmla="*/ 778668 w 995450"/>
                <a:gd name="connsiteY133" fmla="*/ 550068 h 738187"/>
                <a:gd name="connsiteX134" fmla="*/ 800100 w 995450"/>
                <a:gd name="connsiteY134" fmla="*/ 535781 h 738187"/>
                <a:gd name="connsiteX135" fmla="*/ 807243 w 995450"/>
                <a:gd name="connsiteY135" fmla="*/ 531018 h 738187"/>
                <a:gd name="connsiteX136" fmla="*/ 814387 w 995450"/>
                <a:gd name="connsiteY136" fmla="*/ 523875 h 738187"/>
                <a:gd name="connsiteX137" fmla="*/ 816768 w 995450"/>
                <a:gd name="connsiteY137" fmla="*/ 516731 h 738187"/>
                <a:gd name="connsiteX138" fmla="*/ 819150 w 995450"/>
                <a:gd name="connsiteY138" fmla="*/ 523875 h 738187"/>
                <a:gd name="connsiteX139" fmla="*/ 821531 w 995450"/>
                <a:gd name="connsiteY139" fmla="*/ 533400 h 738187"/>
                <a:gd name="connsiteX140" fmla="*/ 833437 w 995450"/>
                <a:gd name="connsiteY140" fmla="*/ 554831 h 738187"/>
                <a:gd name="connsiteX141" fmla="*/ 838200 w 995450"/>
                <a:gd name="connsiteY141" fmla="*/ 561975 h 738187"/>
                <a:gd name="connsiteX142" fmla="*/ 842962 w 995450"/>
                <a:gd name="connsiteY142" fmla="*/ 569118 h 738187"/>
                <a:gd name="connsiteX143" fmla="*/ 850106 w 995450"/>
                <a:gd name="connsiteY143" fmla="*/ 619125 h 738187"/>
                <a:gd name="connsiteX144" fmla="*/ 847725 w 995450"/>
                <a:gd name="connsiteY144" fmla="*/ 678656 h 738187"/>
                <a:gd name="connsiteX145" fmla="*/ 850106 w 995450"/>
                <a:gd name="connsiteY145" fmla="*/ 702468 h 738187"/>
                <a:gd name="connsiteX146" fmla="*/ 859631 w 995450"/>
                <a:gd name="connsiteY146" fmla="*/ 707231 h 738187"/>
                <a:gd name="connsiteX147" fmla="*/ 866775 w 995450"/>
                <a:gd name="connsiteY147" fmla="*/ 711993 h 738187"/>
                <a:gd name="connsiteX148" fmla="*/ 873918 w 995450"/>
                <a:gd name="connsiteY148" fmla="*/ 719137 h 738187"/>
                <a:gd name="connsiteX149" fmla="*/ 878681 w 995450"/>
                <a:gd name="connsiteY149" fmla="*/ 726281 h 738187"/>
                <a:gd name="connsiteX150" fmla="*/ 900112 w 995450"/>
                <a:gd name="connsiteY150" fmla="*/ 738187 h 738187"/>
                <a:gd name="connsiteX151" fmla="*/ 904875 w 995450"/>
                <a:gd name="connsiteY151" fmla="*/ 728662 h 738187"/>
                <a:gd name="connsiteX152" fmla="*/ 973931 w 995450"/>
                <a:gd name="connsiteY152" fmla="*/ 711993 h 738187"/>
                <a:gd name="connsiteX153" fmla="*/ 988218 w 995450"/>
                <a:gd name="connsiteY153" fmla="*/ 700087 h 738187"/>
                <a:gd name="connsiteX154" fmla="*/ 990600 w 995450"/>
                <a:gd name="connsiteY154" fmla="*/ 690562 h 738187"/>
                <a:gd name="connsiteX155" fmla="*/ 992981 w 995450"/>
                <a:gd name="connsiteY155" fmla="*/ 683418 h 738187"/>
                <a:gd name="connsiteX156" fmla="*/ 992981 w 995450"/>
                <a:gd name="connsiteY156" fmla="*/ 607218 h 738187"/>
                <a:gd name="connsiteX157" fmla="*/ 985837 w 995450"/>
                <a:gd name="connsiteY157" fmla="*/ 592931 h 738187"/>
                <a:gd name="connsiteX158" fmla="*/ 971550 w 995450"/>
                <a:gd name="connsiteY158" fmla="*/ 583406 h 738187"/>
                <a:gd name="connsiteX159" fmla="*/ 973931 w 995450"/>
                <a:gd name="connsiteY159" fmla="*/ 554831 h 738187"/>
                <a:gd name="connsiteX160" fmla="*/ 969168 w 995450"/>
                <a:gd name="connsiteY160" fmla="*/ 538162 h 738187"/>
                <a:gd name="connsiteX161" fmla="*/ 966787 w 995450"/>
                <a:gd name="connsiteY161" fmla="*/ 528637 h 738187"/>
                <a:gd name="connsiteX162" fmla="*/ 959643 w 995450"/>
                <a:gd name="connsiteY162" fmla="*/ 521493 h 738187"/>
                <a:gd name="connsiteX163" fmla="*/ 950118 w 995450"/>
                <a:gd name="connsiteY163" fmla="*/ 507206 h 738187"/>
                <a:gd name="connsiteX164" fmla="*/ 947737 w 995450"/>
                <a:gd name="connsiteY164" fmla="*/ 459581 h 738187"/>
                <a:gd name="connsiteX165" fmla="*/ 952500 w 995450"/>
                <a:gd name="connsiteY165" fmla="*/ 452437 h 738187"/>
                <a:gd name="connsiteX166" fmla="*/ 966787 w 995450"/>
                <a:gd name="connsiteY166" fmla="*/ 438150 h 738187"/>
                <a:gd name="connsiteX167" fmla="*/ 973931 w 995450"/>
                <a:gd name="connsiteY167" fmla="*/ 431006 h 738187"/>
                <a:gd name="connsiteX168" fmla="*/ 981075 w 995450"/>
                <a:gd name="connsiteY168" fmla="*/ 404812 h 738187"/>
                <a:gd name="connsiteX169" fmla="*/ 983456 w 995450"/>
                <a:gd name="connsiteY169" fmla="*/ 397668 h 738187"/>
                <a:gd name="connsiteX170" fmla="*/ 988218 w 995450"/>
                <a:gd name="connsiteY170" fmla="*/ 366712 h 738187"/>
                <a:gd name="connsiteX171" fmla="*/ 983456 w 995450"/>
                <a:gd name="connsiteY171" fmla="*/ 330993 h 738187"/>
                <a:gd name="connsiteX172" fmla="*/ 973931 w 995450"/>
                <a:gd name="connsiteY172" fmla="*/ 316706 h 738187"/>
                <a:gd name="connsiteX173" fmla="*/ 959643 w 995450"/>
                <a:gd name="connsiteY173" fmla="*/ 302418 h 738187"/>
                <a:gd name="connsiteX174" fmla="*/ 950118 w 995450"/>
                <a:gd name="connsiteY174" fmla="*/ 288131 h 738187"/>
                <a:gd name="connsiteX175" fmla="*/ 942975 w 995450"/>
                <a:gd name="connsiteY175" fmla="*/ 271462 h 738187"/>
                <a:gd name="connsiteX176" fmla="*/ 938212 w 995450"/>
                <a:gd name="connsiteY176" fmla="*/ 257175 h 738187"/>
                <a:gd name="connsiteX177" fmla="*/ 935831 w 995450"/>
                <a:gd name="connsiteY177" fmla="*/ 250031 h 738187"/>
                <a:gd name="connsiteX178" fmla="*/ 931068 w 995450"/>
                <a:gd name="connsiteY178" fmla="*/ 50006 h 738187"/>
                <a:gd name="connsiteX179" fmla="*/ 916781 w 995450"/>
                <a:gd name="connsiteY179" fmla="*/ 40481 h 7381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995450" h="738187">
                  <a:moveTo>
                    <a:pt x="916781" y="40481"/>
                  </a:moveTo>
                  <a:cubicBezTo>
                    <a:pt x="912416" y="40481"/>
                    <a:pt x="908469" y="46412"/>
                    <a:pt x="904875" y="50006"/>
                  </a:cubicBezTo>
                  <a:cubicBezTo>
                    <a:pt x="902851" y="52030"/>
                    <a:pt x="902311" y="55318"/>
                    <a:pt x="900112" y="57150"/>
                  </a:cubicBezTo>
                  <a:cubicBezTo>
                    <a:pt x="896189" y="60419"/>
                    <a:pt x="888406" y="62639"/>
                    <a:pt x="883443" y="64293"/>
                  </a:cubicBezTo>
                  <a:cubicBezTo>
                    <a:pt x="881856" y="66674"/>
                    <a:pt x="880705" y="69413"/>
                    <a:pt x="878681" y="71437"/>
                  </a:cubicBezTo>
                  <a:cubicBezTo>
                    <a:pt x="868654" y="81465"/>
                    <a:pt x="860872" y="75230"/>
                    <a:pt x="845343" y="73818"/>
                  </a:cubicBezTo>
                  <a:cubicBezTo>
                    <a:pt x="842168" y="72231"/>
                    <a:pt x="838900" y="70817"/>
                    <a:pt x="835818" y="69056"/>
                  </a:cubicBezTo>
                  <a:cubicBezTo>
                    <a:pt x="833333" y="67636"/>
                    <a:pt x="831235" y="65573"/>
                    <a:pt x="828675" y="64293"/>
                  </a:cubicBezTo>
                  <a:cubicBezTo>
                    <a:pt x="826430" y="63170"/>
                    <a:pt x="823838" y="62901"/>
                    <a:pt x="821531" y="61912"/>
                  </a:cubicBezTo>
                  <a:cubicBezTo>
                    <a:pt x="818268" y="60514"/>
                    <a:pt x="815088" y="58911"/>
                    <a:pt x="812006" y="57150"/>
                  </a:cubicBezTo>
                  <a:cubicBezTo>
                    <a:pt x="799214" y="49840"/>
                    <a:pt x="810983" y="53917"/>
                    <a:pt x="795337" y="50006"/>
                  </a:cubicBezTo>
                  <a:cubicBezTo>
                    <a:pt x="774871" y="36361"/>
                    <a:pt x="800759" y="52716"/>
                    <a:pt x="781050" y="42862"/>
                  </a:cubicBezTo>
                  <a:cubicBezTo>
                    <a:pt x="778490" y="41582"/>
                    <a:pt x="776621" y="39005"/>
                    <a:pt x="773906" y="38100"/>
                  </a:cubicBezTo>
                  <a:cubicBezTo>
                    <a:pt x="769325" y="36573"/>
                    <a:pt x="764302" y="36889"/>
                    <a:pt x="759618" y="35718"/>
                  </a:cubicBezTo>
                  <a:cubicBezTo>
                    <a:pt x="754748" y="34500"/>
                    <a:pt x="750340" y="31290"/>
                    <a:pt x="745331" y="30956"/>
                  </a:cubicBezTo>
                  <a:cubicBezTo>
                    <a:pt x="703227" y="28149"/>
                    <a:pt x="721453" y="30056"/>
                    <a:pt x="690562" y="26193"/>
                  </a:cubicBezTo>
                  <a:cubicBezTo>
                    <a:pt x="659256" y="15759"/>
                    <a:pt x="700721" y="28826"/>
                    <a:pt x="611981" y="21431"/>
                  </a:cubicBezTo>
                  <a:cubicBezTo>
                    <a:pt x="606978" y="21014"/>
                    <a:pt x="597693" y="16668"/>
                    <a:pt x="597693" y="16668"/>
                  </a:cubicBezTo>
                  <a:cubicBezTo>
                    <a:pt x="595312" y="14287"/>
                    <a:pt x="593474" y="11196"/>
                    <a:pt x="590550" y="9525"/>
                  </a:cubicBezTo>
                  <a:cubicBezTo>
                    <a:pt x="587708" y="7901"/>
                    <a:pt x="584160" y="8083"/>
                    <a:pt x="581025" y="7143"/>
                  </a:cubicBezTo>
                  <a:cubicBezTo>
                    <a:pt x="576217" y="5700"/>
                    <a:pt x="571500" y="3968"/>
                    <a:pt x="566737" y="2381"/>
                  </a:cubicBezTo>
                  <a:lnTo>
                    <a:pt x="559593" y="0"/>
                  </a:lnTo>
                  <a:cubicBezTo>
                    <a:pt x="545306" y="794"/>
                    <a:pt x="530930" y="606"/>
                    <a:pt x="516731" y="2381"/>
                  </a:cubicBezTo>
                  <a:cubicBezTo>
                    <a:pt x="511750" y="3004"/>
                    <a:pt x="502443" y="7143"/>
                    <a:pt x="502443" y="7143"/>
                  </a:cubicBezTo>
                  <a:cubicBezTo>
                    <a:pt x="500062" y="8731"/>
                    <a:pt x="497860" y="10626"/>
                    <a:pt x="495300" y="11906"/>
                  </a:cubicBezTo>
                  <a:cubicBezTo>
                    <a:pt x="493055" y="13029"/>
                    <a:pt x="490245" y="12895"/>
                    <a:pt x="488156" y="14287"/>
                  </a:cubicBezTo>
                  <a:cubicBezTo>
                    <a:pt x="470318" y="26178"/>
                    <a:pt x="490855" y="18151"/>
                    <a:pt x="473868" y="23812"/>
                  </a:cubicBezTo>
                  <a:cubicBezTo>
                    <a:pt x="457993" y="23018"/>
                    <a:pt x="441852" y="24433"/>
                    <a:pt x="426243" y="21431"/>
                  </a:cubicBezTo>
                  <a:cubicBezTo>
                    <a:pt x="420622" y="20350"/>
                    <a:pt x="417386" y="13716"/>
                    <a:pt x="411956" y="11906"/>
                  </a:cubicBezTo>
                  <a:lnTo>
                    <a:pt x="404812" y="9525"/>
                  </a:lnTo>
                  <a:cubicBezTo>
                    <a:pt x="391702" y="784"/>
                    <a:pt x="396451" y="1791"/>
                    <a:pt x="371475" y="7143"/>
                  </a:cubicBezTo>
                  <a:cubicBezTo>
                    <a:pt x="368676" y="7743"/>
                    <a:pt x="366946" y="10744"/>
                    <a:pt x="364331" y="11906"/>
                  </a:cubicBezTo>
                  <a:cubicBezTo>
                    <a:pt x="359743" y="13945"/>
                    <a:pt x="354806" y="15080"/>
                    <a:pt x="350043" y="16668"/>
                  </a:cubicBezTo>
                  <a:lnTo>
                    <a:pt x="335756" y="21431"/>
                  </a:lnTo>
                  <a:cubicBezTo>
                    <a:pt x="335755" y="21431"/>
                    <a:pt x="317898" y="33336"/>
                    <a:pt x="314325" y="35718"/>
                  </a:cubicBezTo>
                  <a:cubicBezTo>
                    <a:pt x="311523" y="37586"/>
                    <a:pt x="310125" y="41226"/>
                    <a:pt x="307181" y="42862"/>
                  </a:cubicBezTo>
                  <a:cubicBezTo>
                    <a:pt x="292198" y="51186"/>
                    <a:pt x="265251" y="49251"/>
                    <a:pt x="252412" y="50006"/>
                  </a:cubicBezTo>
                  <a:cubicBezTo>
                    <a:pt x="244235" y="51641"/>
                    <a:pt x="238822" y="52527"/>
                    <a:pt x="230981" y="54768"/>
                  </a:cubicBezTo>
                  <a:cubicBezTo>
                    <a:pt x="228567" y="55458"/>
                    <a:pt x="226082" y="56027"/>
                    <a:pt x="223837" y="57150"/>
                  </a:cubicBezTo>
                  <a:cubicBezTo>
                    <a:pt x="205377" y="66380"/>
                    <a:pt x="227500" y="58310"/>
                    <a:pt x="209550" y="64293"/>
                  </a:cubicBezTo>
                  <a:cubicBezTo>
                    <a:pt x="207169" y="65881"/>
                    <a:pt x="204966" y="67776"/>
                    <a:pt x="202406" y="69056"/>
                  </a:cubicBezTo>
                  <a:cubicBezTo>
                    <a:pt x="200161" y="70179"/>
                    <a:pt x="197456" y="70218"/>
                    <a:pt x="195262" y="71437"/>
                  </a:cubicBezTo>
                  <a:cubicBezTo>
                    <a:pt x="190259" y="74217"/>
                    <a:pt x="185737" y="77787"/>
                    <a:pt x="180975" y="80962"/>
                  </a:cubicBezTo>
                  <a:cubicBezTo>
                    <a:pt x="178594" y="82550"/>
                    <a:pt x="175855" y="83701"/>
                    <a:pt x="173831" y="85725"/>
                  </a:cubicBezTo>
                  <a:lnTo>
                    <a:pt x="159543" y="100012"/>
                  </a:lnTo>
                  <a:lnTo>
                    <a:pt x="145256" y="114300"/>
                  </a:lnTo>
                  <a:cubicBezTo>
                    <a:pt x="143232" y="116324"/>
                    <a:pt x="142081" y="119062"/>
                    <a:pt x="140493" y="121443"/>
                  </a:cubicBezTo>
                  <a:cubicBezTo>
                    <a:pt x="138906" y="118268"/>
                    <a:pt x="137492" y="115000"/>
                    <a:pt x="135731" y="111918"/>
                  </a:cubicBezTo>
                  <a:cubicBezTo>
                    <a:pt x="134311" y="109433"/>
                    <a:pt x="132248" y="107335"/>
                    <a:pt x="130968" y="104775"/>
                  </a:cubicBezTo>
                  <a:cubicBezTo>
                    <a:pt x="129845" y="102530"/>
                    <a:pt x="129468" y="99981"/>
                    <a:pt x="128587" y="97631"/>
                  </a:cubicBezTo>
                  <a:cubicBezTo>
                    <a:pt x="127086" y="93629"/>
                    <a:pt x="125412" y="89694"/>
                    <a:pt x="123825" y="85725"/>
                  </a:cubicBezTo>
                  <a:cubicBezTo>
                    <a:pt x="127815" y="73752"/>
                    <a:pt x="128382" y="75378"/>
                    <a:pt x="123825" y="57150"/>
                  </a:cubicBezTo>
                  <a:cubicBezTo>
                    <a:pt x="123131" y="54373"/>
                    <a:pt x="120650" y="52387"/>
                    <a:pt x="119062" y="50006"/>
                  </a:cubicBezTo>
                  <a:cubicBezTo>
                    <a:pt x="115093" y="50800"/>
                    <a:pt x="110265" y="49796"/>
                    <a:pt x="107156" y="52387"/>
                  </a:cubicBezTo>
                  <a:cubicBezTo>
                    <a:pt x="104642" y="54482"/>
                    <a:pt x="105715" y="58777"/>
                    <a:pt x="104775" y="61912"/>
                  </a:cubicBezTo>
                  <a:cubicBezTo>
                    <a:pt x="103332" y="66721"/>
                    <a:pt x="100012" y="76200"/>
                    <a:pt x="100012" y="76200"/>
                  </a:cubicBezTo>
                  <a:cubicBezTo>
                    <a:pt x="99218" y="88106"/>
                    <a:pt x="98949" y="100059"/>
                    <a:pt x="97631" y="111918"/>
                  </a:cubicBezTo>
                  <a:cubicBezTo>
                    <a:pt x="96852" y="118926"/>
                    <a:pt x="93446" y="121756"/>
                    <a:pt x="88106" y="126206"/>
                  </a:cubicBezTo>
                  <a:cubicBezTo>
                    <a:pt x="78566" y="134156"/>
                    <a:pt x="66453" y="135775"/>
                    <a:pt x="54768" y="138112"/>
                  </a:cubicBezTo>
                  <a:cubicBezTo>
                    <a:pt x="48787" y="156059"/>
                    <a:pt x="56852" y="133946"/>
                    <a:pt x="47625" y="152400"/>
                  </a:cubicBezTo>
                  <a:cubicBezTo>
                    <a:pt x="46502" y="154645"/>
                    <a:pt x="46462" y="157349"/>
                    <a:pt x="45243" y="159543"/>
                  </a:cubicBezTo>
                  <a:cubicBezTo>
                    <a:pt x="42463" y="164547"/>
                    <a:pt x="38893" y="169068"/>
                    <a:pt x="35718" y="173831"/>
                  </a:cubicBezTo>
                  <a:cubicBezTo>
                    <a:pt x="32202" y="179105"/>
                    <a:pt x="29316" y="184449"/>
                    <a:pt x="23812" y="188118"/>
                  </a:cubicBezTo>
                  <a:cubicBezTo>
                    <a:pt x="21723" y="189510"/>
                    <a:pt x="18975" y="189511"/>
                    <a:pt x="16668" y="190500"/>
                  </a:cubicBezTo>
                  <a:cubicBezTo>
                    <a:pt x="13405" y="191898"/>
                    <a:pt x="10318" y="193675"/>
                    <a:pt x="7143" y="195262"/>
                  </a:cubicBezTo>
                  <a:cubicBezTo>
                    <a:pt x="4735" y="198874"/>
                    <a:pt x="0" y="204620"/>
                    <a:pt x="0" y="209550"/>
                  </a:cubicBezTo>
                  <a:cubicBezTo>
                    <a:pt x="0" y="216295"/>
                    <a:pt x="2678" y="228449"/>
                    <a:pt x="4762" y="235743"/>
                  </a:cubicBezTo>
                  <a:cubicBezTo>
                    <a:pt x="5452" y="238157"/>
                    <a:pt x="6020" y="240642"/>
                    <a:pt x="7143" y="242887"/>
                  </a:cubicBezTo>
                  <a:cubicBezTo>
                    <a:pt x="8423" y="245447"/>
                    <a:pt x="10318" y="247650"/>
                    <a:pt x="11906" y="250031"/>
                  </a:cubicBezTo>
                  <a:cubicBezTo>
                    <a:pt x="13493" y="254793"/>
                    <a:pt x="14423" y="259828"/>
                    <a:pt x="16668" y="264318"/>
                  </a:cubicBezTo>
                  <a:cubicBezTo>
                    <a:pt x="18256" y="267493"/>
                    <a:pt x="20113" y="270547"/>
                    <a:pt x="21431" y="273843"/>
                  </a:cubicBezTo>
                  <a:cubicBezTo>
                    <a:pt x="23295" y="278504"/>
                    <a:pt x="24605" y="283368"/>
                    <a:pt x="26193" y="288131"/>
                  </a:cubicBezTo>
                  <a:lnTo>
                    <a:pt x="28575" y="295275"/>
                  </a:lnTo>
                  <a:lnTo>
                    <a:pt x="33337" y="309562"/>
                  </a:lnTo>
                  <a:cubicBezTo>
                    <a:pt x="34131" y="314325"/>
                    <a:pt x="34670" y="319137"/>
                    <a:pt x="35718" y="323850"/>
                  </a:cubicBezTo>
                  <a:cubicBezTo>
                    <a:pt x="36263" y="326300"/>
                    <a:pt x="37410" y="328580"/>
                    <a:pt x="38100" y="330993"/>
                  </a:cubicBezTo>
                  <a:cubicBezTo>
                    <a:pt x="45311" y="356226"/>
                    <a:pt x="33905" y="320788"/>
                    <a:pt x="45243" y="354806"/>
                  </a:cubicBezTo>
                  <a:cubicBezTo>
                    <a:pt x="49501" y="367581"/>
                    <a:pt x="46281" y="364856"/>
                    <a:pt x="50006" y="381000"/>
                  </a:cubicBezTo>
                  <a:cubicBezTo>
                    <a:pt x="51135" y="385891"/>
                    <a:pt x="53181" y="390525"/>
                    <a:pt x="54768" y="395287"/>
                  </a:cubicBezTo>
                  <a:cubicBezTo>
                    <a:pt x="57933" y="404782"/>
                    <a:pt x="55264" y="408741"/>
                    <a:pt x="61912" y="416718"/>
                  </a:cubicBezTo>
                  <a:cubicBezTo>
                    <a:pt x="65463" y="420980"/>
                    <a:pt x="71323" y="422237"/>
                    <a:pt x="76200" y="423862"/>
                  </a:cubicBezTo>
                  <a:cubicBezTo>
                    <a:pt x="76994" y="427037"/>
                    <a:pt x="77117" y="430460"/>
                    <a:pt x="78581" y="433387"/>
                  </a:cubicBezTo>
                  <a:cubicBezTo>
                    <a:pt x="81141" y="438507"/>
                    <a:pt x="88106" y="447675"/>
                    <a:pt x="88106" y="447675"/>
                  </a:cubicBezTo>
                  <a:cubicBezTo>
                    <a:pt x="90043" y="453486"/>
                    <a:pt x="90633" y="457345"/>
                    <a:pt x="95250" y="461962"/>
                  </a:cubicBezTo>
                  <a:cubicBezTo>
                    <a:pt x="97274" y="463986"/>
                    <a:pt x="99833" y="465445"/>
                    <a:pt x="102393" y="466725"/>
                  </a:cubicBezTo>
                  <a:cubicBezTo>
                    <a:pt x="104638" y="467848"/>
                    <a:pt x="107156" y="468312"/>
                    <a:pt x="109537" y="469106"/>
                  </a:cubicBezTo>
                  <a:cubicBezTo>
                    <a:pt x="114300" y="468312"/>
                    <a:pt x="119244" y="468252"/>
                    <a:pt x="123825" y="466725"/>
                  </a:cubicBezTo>
                  <a:cubicBezTo>
                    <a:pt x="126031" y="465990"/>
                    <a:pt x="140104" y="455040"/>
                    <a:pt x="140493" y="454818"/>
                  </a:cubicBezTo>
                  <a:cubicBezTo>
                    <a:pt x="142672" y="453573"/>
                    <a:pt x="145256" y="453231"/>
                    <a:pt x="147637" y="452437"/>
                  </a:cubicBezTo>
                  <a:cubicBezTo>
                    <a:pt x="158828" y="441246"/>
                    <a:pt x="151979" y="447161"/>
                    <a:pt x="169068" y="435768"/>
                  </a:cubicBezTo>
                  <a:cubicBezTo>
                    <a:pt x="173245" y="432983"/>
                    <a:pt x="183356" y="431006"/>
                    <a:pt x="183356" y="431006"/>
                  </a:cubicBezTo>
                  <a:cubicBezTo>
                    <a:pt x="185737" y="429418"/>
                    <a:pt x="188301" y="428075"/>
                    <a:pt x="190500" y="426243"/>
                  </a:cubicBezTo>
                  <a:cubicBezTo>
                    <a:pt x="193087" y="424087"/>
                    <a:pt x="194322" y="419654"/>
                    <a:pt x="197643" y="419100"/>
                  </a:cubicBezTo>
                  <a:cubicBezTo>
                    <a:pt x="200466" y="418630"/>
                    <a:pt x="202406" y="422275"/>
                    <a:pt x="204787" y="423862"/>
                  </a:cubicBezTo>
                  <a:cubicBezTo>
                    <a:pt x="210371" y="440616"/>
                    <a:pt x="203103" y="419933"/>
                    <a:pt x="211931" y="440531"/>
                  </a:cubicBezTo>
                  <a:cubicBezTo>
                    <a:pt x="212920" y="442838"/>
                    <a:pt x="213189" y="445430"/>
                    <a:pt x="214312" y="447675"/>
                  </a:cubicBezTo>
                  <a:cubicBezTo>
                    <a:pt x="215592" y="450235"/>
                    <a:pt x="217174" y="452679"/>
                    <a:pt x="219075" y="454818"/>
                  </a:cubicBezTo>
                  <a:cubicBezTo>
                    <a:pt x="230941" y="468167"/>
                    <a:pt x="229646" y="466629"/>
                    <a:pt x="240506" y="473868"/>
                  </a:cubicBezTo>
                  <a:lnTo>
                    <a:pt x="254793" y="495300"/>
                  </a:lnTo>
                  <a:cubicBezTo>
                    <a:pt x="256185" y="497389"/>
                    <a:pt x="259556" y="496887"/>
                    <a:pt x="261937" y="497681"/>
                  </a:cubicBezTo>
                  <a:cubicBezTo>
                    <a:pt x="273330" y="514770"/>
                    <a:pt x="267415" y="507921"/>
                    <a:pt x="278606" y="519112"/>
                  </a:cubicBezTo>
                  <a:cubicBezTo>
                    <a:pt x="287981" y="542552"/>
                    <a:pt x="277434" y="522703"/>
                    <a:pt x="290512" y="535781"/>
                  </a:cubicBezTo>
                  <a:cubicBezTo>
                    <a:pt x="292536" y="537805"/>
                    <a:pt x="293374" y="540786"/>
                    <a:pt x="295275" y="542925"/>
                  </a:cubicBezTo>
                  <a:cubicBezTo>
                    <a:pt x="301767" y="550228"/>
                    <a:pt x="310421" y="558940"/>
                    <a:pt x="319087" y="564356"/>
                  </a:cubicBezTo>
                  <a:cubicBezTo>
                    <a:pt x="322097" y="566237"/>
                    <a:pt x="325437" y="567531"/>
                    <a:pt x="328612" y="569118"/>
                  </a:cubicBezTo>
                  <a:cubicBezTo>
                    <a:pt x="330993" y="571499"/>
                    <a:pt x="332679" y="574894"/>
                    <a:pt x="335756" y="576262"/>
                  </a:cubicBezTo>
                  <a:cubicBezTo>
                    <a:pt x="340168" y="578223"/>
                    <a:pt x="345293" y="577779"/>
                    <a:pt x="350043" y="578643"/>
                  </a:cubicBezTo>
                  <a:cubicBezTo>
                    <a:pt x="354311" y="579419"/>
                    <a:pt x="364373" y="581046"/>
                    <a:pt x="369093" y="583406"/>
                  </a:cubicBezTo>
                  <a:cubicBezTo>
                    <a:pt x="371653" y="584686"/>
                    <a:pt x="373856" y="586581"/>
                    <a:pt x="376237" y="588168"/>
                  </a:cubicBezTo>
                  <a:cubicBezTo>
                    <a:pt x="380999" y="595310"/>
                    <a:pt x="380207" y="596107"/>
                    <a:pt x="388143" y="600075"/>
                  </a:cubicBezTo>
                  <a:cubicBezTo>
                    <a:pt x="390388" y="601198"/>
                    <a:pt x="393093" y="601237"/>
                    <a:pt x="395287" y="602456"/>
                  </a:cubicBezTo>
                  <a:cubicBezTo>
                    <a:pt x="400291" y="605236"/>
                    <a:pt x="404022" y="610593"/>
                    <a:pt x="409575" y="611981"/>
                  </a:cubicBezTo>
                  <a:cubicBezTo>
                    <a:pt x="421535" y="614971"/>
                    <a:pt x="415995" y="613327"/>
                    <a:pt x="426243" y="616743"/>
                  </a:cubicBezTo>
                  <a:cubicBezTo>
                    <a:pt x="443464" y="609856"/>
                    <a:pt x="434593" y="614352"/>
                    <a:pt x="452437" y="602456"/>
                  </a:cubicBezTo>
                  <a:cubicBezTo>
                    <a:pt x="455239" y="600588"/>
                    <a:pt x="456569" y="596818"/>
                    <a:pt x="459581" y="595312"/>
                  </a:cubicBezTo>
                  <a:cubicBezTo>
                    <a:pt x="463201" y="593502"/>
                    <a:pt x="467561" y="593913"/>
                    <a:pt x="471487" y="592931"/>
                  </a:cubicBezTo>
                  <a:cubicBezTo>
                    <a:pt x="473922" y="592322"/>
                    <a:pt x="476217" y="591240"/>
                    <a:pt x="478631" y="590550"/>
                  </a:cubicBezTo>
                  <a:cubicBezTo>
                    <a:pt x="481778" y="589651"/>
                    <a:pt x="484981" y="588962"/>
                    <a:pt x="488156" y="588168"/>
                  </a:cubicBezTo>
                  <a:cubicBezTo>
                    <a:pt x="490537" y="586581"/>
                    <a:pt x="493276" y="585430"/>
                    <a:pt x="495300" y="583406"/>
                  </a:cubicBezTo>
                  <a:cubicBezTo>
                    <a:pt x="497324" y="581382"/>
                    <a:pt x="497635" y="577779"/>
                    <a:pt x="500062" y="576262"/>
                  </a:cubicBezTo>
                  <a:cubicBezTo>
                    <a:pt x="504319" y="573601"/>
                    <a:pt x="509587" y="573088"/>
                    <a:pt x="514350" y="571500"/>
                  </a:cubicBezTo>
                  <a:cubicBezTo>
                    <a:pt x="526082" y="567589"/>
                    <a:pt x="519000" y="569533"/>
                    <a:pt x="535781" y="566737"/>
                  </a:cubicBezTo>
                  <a:cubicBezTo>
                    <a:pt x="551656" y="567531"/>
                    <a:pt x="567571" y="567741"/>
                    <a:pt x="583406" y="569118"/>
                  </a:cubicBezTo>
                  <a:cubicBezTo>
                    <a:pt x="591502" y="569822"/>
                    <a:pt x="590471" y="573052"/>
                    <a:pt x="597693" y="576262"/>
                  </a:cubicBezTo>
                  <a:cubicBezTo>
                    <a:pt x="602281" y="578301"/>
                    <a:pt x="607804" y="578240"/>
                    <a:pt x="611981" y="581025"/>
                  </a:cubicBezTo>
                  <a:cubicBezTo>
                    <a:pt x="614362" y="582612"/>
                    <a:pt x="616510" y="584625"/>
                    <a:pt x="619125" y="585787"/>
                  </a:cubicBezTo>
                  <a:cubicBezTo>
                    <a:pt x="630787" y="590970"/>
                    <a:pt x="632277" y="589734"/>
                    <a:pt x="642937" y="592931"/>
                  </a:cubicBezTo>
                  <a:cubicBezTo>
                    <a:pt x="647746" y="594373"/>
                    <a:pt x="657225" y="597693"/>
                    <a:pt x="657225" y="597693"/>
                  </a:cubicBezTo>
                  <a:cubicBezTo>
                    <a:pt x="678656" y="596899"/>
                    <a:pt x="700260" y="598146"/>
                    <a:pt x="721518" y="595312"/>
                  </a:cubicBezTo>
                  <a:cubicBezTo>
                    <a:pt x="724856" y="594867"/>
                    <a:pt x="726594" y="590826"/>
                    <a:pt x="728662" y="588168"/>
                  </a:cubicBezTo>
                  <a:cubicBezTo>
                    <a:pt x="732176" y="583650"/>
                    <a:pt x="735012" y="578643"/>
                    <a:pt x="738187" y="573881"/>
                  </a:cubicBezTo>
                  <a:lnTo>
                    <a:pt x="742950" y="566737"/>
                  </a:lnTo>
                  <a:cubicBezTo>
                    <a:pt x="748227" y="558822"/>
                    <a:pt x="763373" y="555167"/>
                    <a:pt x="771525" y="552450"/>
                  </a:cubicBezTo>
                  <a:cubicBezTo>
                    <a:pt x="773906" y="551656"/>
                    <a:pt x="776580" y="551460"/>
                    <a:pt x="778668" y="550068"/>
                  </a:cubicBezTo>
                  <a:lnTo>
                    <a:pt x="800100" y="535781"/>
                  </a:lnTo>
                  <a:cubicBezTo>
                    <a:pt x="802481" y="534194"/>
                    <a:pt x="805219" y="533041"/>
                    <a:pt x="807243" y="531018"/>
                  </a:cubicBezTo>
                  <a:lnTo>
                    <a:pt x="814387" y="523875"/>
                  </a:lnTo>
                  <a:cubicBezTo>
                    <a:pt x="815181" y="521494"/>
                    <a:pt x="814258" y="516731"/>
                    <a:pt x="816768" y="516731"/>
                  </a:cubicBezTo>
                  <a:cubicBezTo>
                    <a:pt x="819278" y="516731"/>
                    <a:pt x="818460" y="521461"/>
                    <a:pt x="819150" y="523875"/>
                  </a:cubicBezTo>
                  <a:cubicBezTo>
                    <a:pt x="820049" y="527022"/>
                    <a:pt x="820632" y="530253"/>
                    <a:pt x="821531" y="533400"/>
                  </a:cubicBezTo>
                  <a:cubicBezTo>
                    <a:pt x="824674" y="544401"/>
                    <a:pt x="824910" y="542041"/>
                    <a:pt x="833437" y="554831"/>
                  </a:cubicBezTo>
                  <a:lnTo>
                    <a:pt x="838200" y="561975"/>
                  </a:lnTo>
                  <a:lnTo>
                    <a:pt x="842962" y="569118"/>
                  </a:lnTo>
                  <a:cubicBezTo>
                    <a:pt x="851499" y="594726"/>
                    <a:pt x="847391" y="578397"/>
                    <a:pt x="850106" y="619125"/>
                  </a:cubicBezTo>
                  <a:cubicBezTo>
                    <a:pt x="849312" y="638969"/>
                    <a:pt x="847725" y="658796"/>
                    <a:pt x="847725" y="678656"/>
                  </a:cubicBezTo>
                  <a:cubicBezTo>
                    <a:pt x="847725" y="686633"/>
                    <a:pt x="847038" y="695105"/>
                    <a:pt x="850106" y="702468"/>
                  </a:cubicBezTo>
                  <a:cubicBezTo>
                    <a:pt x="851471" y="705745"/>
                    <a:pt x="856549" y="705470"/>
                    <a:pt x="859631" y="707231"/>
                  </a:cubicBezTo>
                  <a:cubicBezTo>
                    <a:pt x="862116" y="708651"/>
                    <a:pt x="864576" y="710161"/>
                    <a:pt x="866775" y="711993"/>
                  </a:cubicBezTo>
                  <a:cubicBezTo>
                    <a:pt x="869362" y="714149"/>
                    <a:pt x="871762" y="716550"/>
                    <a:pt x="873918" y="719137"/>
                  </a:cubicBezTo>
                  <a:cubicBezTo>
                    <a:pt x="875750" y="721336"/>
                    <a:pt x="876527" y="724396"/>
                    <a:pt x="878681" y="726281"/>
                  </a:cubicBezTo>
                  <a:cubicBezTo>
                    <a:pt x="888759" y="735100"/>
                    <a:pt x="890300" y="734917"/>
                    <a:pt x="900112" y="738187"/>
                  </a:cubicBezTo>
                  <a:cubicBezTo>
                    <a:pt x="901700" y="735012"/>
                    <a:pt x="903049" y="731706"/>
                    <a:pt x="904875" y="728662"/>
                  </a:cubicBezTo>
                  <a:cubicBezTo>
                    <a:pt x="923312" y="697935"/>
                    <a:pt x="915982" y="714312"/>
                    <a:pt x="973931" y="711993"/>
                  </a:cubicBezTo>
                  <a:cubicBezTo>
                    <a:pt x="978485" y="708957"/>
                    <a:pt x="985396" y="705026"/>
                    <a:pt x="988218" y="700087"/>
                  </a:cubicBezTo>
                  <a:cubicBezTo>
                    <a:pt x="989842" y="697245"/>
                    <a:pt x="989701" y="693709"/>
                    <a:pt x="990600" y="690562"/>
                  </a:cubicBezTo>
                  <a:cubicBezTo>
                    <a:pt x="991290" y="688148"/>
                    <a:pt x="992187" y="685799"/>
                    <a:pt x="992981" y="683418"/>
                  </a:cubicBezTo>
                  <a:cubicBezTo>
                    <a:pt x="994615" y="647459"/>
                    <a:pt x="997607" y="637291"/>
                    <a:pt x="992981" y="607218"/>
                  </a:cubicBezTo>
                  <a:cubicBezTo>
                    <a:pt x="992339" y="603047"/>
                    <a:pt x="988977" y="595678"/>
                    <a:pt x="985837" y="592931"/>
                  </a:cubicBezTo>
                  <a:cubicBezTo>
                    <a:pt x="981530" y="589162"/>
                    <a:pt x="971550" y="583406"/>
                    <a:pt x="971550" y="583406"/>
                  </a:cubicBezTo>
                  <a:cubicBezTo>
                    <a:pt x="972344" y="573881"/>
                    <a:pt x="973931" y="564389"/>
                    <a:pt x="973931" y="554831"/>
                  </a:cubicBezTo>
                  <a:cubicBezTo>
                    <a:pt x="973931" y="551104"/>
                    <a:pt x="970292" y="542096"/>
                    <a:pt x="969168" y="538162"/>
                  </a:cubicBezTo>
                  <a:cubicBezTo>
                    <a:pt x="968269" y="535015"/>
                    <a:pt x="968411" y="531479"/>
                    <a:pt x="966787" y="528637"/>
                  </a:cubicBezTo>
                  <a:cubicBezTo>
                    <a:pt x="965116" y="525713"/>
                    <a:pt x="961711" y="524151"/>
                    <a:pt x="959643" y="521493"/>
                  </a:cubicBezTo>
                  <a:cubicBezTo>
                    <a:pt x="956129" y="516975"/>
                    <a:pt x="950118" y="507206"/>
                    <a:pt x="950118" y="507206"/>
                  </a:cubicBezTo>
                  <a:cubicBezTo>
                    <a:pt x="943020" y="485910"/>
                    <a:pt x="942365" y="490023"/>
                    <a:pt x="947737" y="459581"/>
                  </a:cubicBezTo>
                  <a:cubicBezTo>
                    <a:pt x="948234" y="456762"/>
                    <a:pt x="950599" y="454576"/>
                    <a:pt x="952500" y="452437"/>
                  </a:cubicBezTo>
                  <a:cubicBezTo>
                    <a:pt x="956974" y="447403"/>
                    <a:pt x="962025" y="442912"/>
                    <a:pt x="966787" y="438150"/>
                  </a:cubicBezTo>
                  <a:lnTo>
                    <a:pt x="973931" y="431006"/>
                  </a:lnTo>
                  <a:cubicBezTo>
                    <a:pt x="978382" y="417652"/>
                    <a:pt x="975703" y="426297"/>
                    <a:pt x="981075" y="404812"/>
                  </a:cubicBezTo>
                  <a:cubicBezTo>
                    <a:pt x="981684" y="402377"/>
                    <a:pt x="982912" y="400118"/>
                    <a:pt x="983456" y="397668"/>
                  </a:cubicBezTo>
                  <a:cubicBezTo>
                    <a:pt x="984778" y="391719"/>
                    <a:pt x="987458" y="372031"/>
                    <a:pt x="988218" y="366712"/>
                  </a:cubicBezTo>
                  <a:cubicBezTo>
                    <a:pt x="988050" y="364691"/>
                    <a:pt x="988223" y="339574"/>
                    <a:pt x="983456" y="330993"/>
                  </a:cubicBezTo>
                  <a:cubicBezTo>
                    <a:pt x="980676" y="325990"/>
                    <a:pt x="977106" y="321468"/>
                    <a:pt x="973931" y="316706"/>
                  </a:cubicBezTo>
                  <a:cubicBezTo>
                    <a:pt x="970195" y="311102"/>
                    <a:pt x="964406" y="307181"/>
                    <a:pt x="959643" y="302418"/>
                  </a:cubicBezTo>
                  <a:cubicBezTo>
                    <a:pt x="955596" y="298371"/>
                    <a:pt x="950118" y="288131"/>
                    <a:pt x="950118" y="288131"/>
                  </a:cubicBezTo>
                  <a:cubicBezTo>
                    <a:pt x="942460" y="265153"/>
                    <a:pt x="954735" y="300862"/>
                    <a:pt x="942975" y="271462"/>
                  </a:cubicBezTo>
                  <a:cubicBezTo>
                    <a:pt x="941111" y="266801"/>
                    <a:pt x="939800" y="261937"/>
                    <a:pt x="938212" y="257175"/>
                  </a:cubicBezTo>
                  <a:lnTo>
                    <a:pt x="935831" y="250031"/>
                  </a:lnTo>
                  <a:cubicBezTo>
                    <a:pt x="925259" y="165448"/>
                    <a:pt x="940213" y="290815"/>
                    <a:pt x="931068" y="50006"/>
                  </a:cubicBezTo>
                  <a:cubicBezTo>
                    <a:pt x="930845" y="44146"/>
                    <a:pt x="921146" y="40481"/>
                    <a:pt x="916781" y="40481"/>
                  </a:cubicBezTo>
                  <a:close/>
                </a:path>
              </a:pathLst>
            </a:custGeom>
            <a:solidFill>
              <a:srgbClr val="595959">
                <a:alpha val="40000"/>
              </a:srgbClr>
            </a:solidFill>
            <a:ln w="28575">
              <a:solidFill>
                <a:schemeClr val="tx1">
                  <a:lumMod val="95000"/>
                  <a:lumOff val="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400" dirty="0">
                  <a:solidFill>
                    <a:schemeClr val="tx1"/>
                  </a:solidFill>
                  <a:latin typeface="Arial Narrow" pitchFamily="34" charset="0"/>
                </a:rPr>
                <a:t>Illizi</a:t>
              </a:r>
            </a:p>
          </p:txBody>
        </p:sp>
        <p:sp>
          <p:nvSpPr>
            <p:cNvPr id="18" name="Forme libre 17"/>
            <p:cNvSpPr/>
            <p:nvPr/>
          </p:nvSpPr>
          <p:spPr>
            <a:xfrm>
              <a:off x="8324965" y="2866231"/>
              <a:ext cx="809311" cy="793627"/>
            </a:xfrm>
            <a:custGeom>
              <a:avLst/>
              <a:gdLst>
                <a:gd name="connsiteX0" fmla="*/ 648107 w 810787"/>
                <a:gd name="connsiteY0" fmla="*/ 166688 h 792423"/>
                <a:gd name="connsiteX1" fmla="*/ 576670 w 810787"/>
                <a:gd name="connsiteY1" fmla="*/ 161925 h 792423"/>
                <a:gd name="connsiteX2" fmla="*/ 548095 w 810787"/>
                <a:gd name="connsiteY2" fmla="*/ 152400 h 792423"/>
                <a:gd name="connsiteX3" fmla="*/ 533807 w 810787"/>
                <a:gd name="connsiteY3" fmla="*/ 147638 h 792423"/>
                <a:gd name="connsiteX4" fmla="*/ 519520 w 810787"/>
                <a:gd name="connsiteY4" fmla="*/ 142875 h 792423"/>
                <a:gd name="connsiteX5" fmla="*/ 481420 w 810787"/>
                <a:gd name="connsiteY5" fmla="*/ 138113 h 792423"/>
                <a:gd name="connsiteX6" fmla="*/ 476657 w 810787"/>
                <a:gd name="connsiteY6" fmla="*/ 119063 h 792423"/>
                <a:gd name="connsiteX7" fmla="*/ 452845 w 810787"/>
                <a:gd name="connsiteY7" fmla="*/ 90488 h 792423"/>
                <a:gd name="connsiteX8" fmla="*/ 448082 w 810787"/>
                <a:gd name="connsiteY8" fmla="*/ 76200 h 792423"/>
                <a:gd name="connsiteX9" fmla="*/ 424270 w 810787"/>
                <a:gd name="connsiteY9" fmla="*/ 47625 h 792423"/>
                <a:gd name="connsiteX10" fmla="*/ 419507 w 810787"/>
                <a:gd name="connsiteY10" fmla="*/ 33338 h 792423"/>
                <a:gd name="connsiteX11" fmla="*/ 405220 w 810787"/>
                <a:gd name="connsiteY11" fmla="*/ 23813 h 792423"/>
                <a:gd name="connsiteX12" fmla="*/ 376645 w 810787"/>
                <a:gd name="connsiteY12" fmla="*/ 0 h 792423"/>
                <a:gd name="connsiteX13" fmla="*/ 357595 w 810787"/>
                <a:gd name="connsiteY13" fmla="*/ 23813 h 792423"/>
                <a:gd name="connsiteX14" fmla="*/ 343307 w 810787"/>
                <a:gd name="connsiteY14" fmla="*/ 33338 h 792423"/>
                <a:gd name="connsiteX15" fmla="*/ 324257 w 810787"/>
                <a:gd name="connsiteY15" fmla="*/ 47625 h 792423"/>
                <a:gd name="connsiteX16" fmla="*/ 309970 w 810787"/>
                <a:gd name="connsiteY16" fmla="*/ 52388 h 792423"/>
                <a:gd name="connsiteX17" fmla="*/ 295682 w 810787"/>
                <a:gd name="connsiteY17" fmla="*/ 61913 h 792423"/>
                <a:gd name="connsiteX18" fmla="*/ 267107 w 810787"/>
                <a:gd name="connsiteY18" fmla="*/ 71438 h 792423"/>
                <a:gd name="connsiteX19" fmla="*/ 224245 w 810787"/>
                <a:gd name="connsiteY19" fmla="*/ 85725 h 792423"/>
                <a:gd name="connsiteX20" fmla="*/ 209957 w 810787"/>
                <a:gd name="connsiteY20" fmla="*/ 90488 h 792423"/>
                <a:gd name="connsiteX21" fmla="*/ 195670 w 810787"/>
                <a:gd name="connsiteY21" fmla="*/ 85725 h 792423"/>
                <a:gd name="connsiteX22" fmla="*/ 209957 w 810787"/>
                <a:gd name="connsiteY22" fmla="*/ 57150 h 792423"/>
                <a:gd name="connsiteX23" fmla="*/ 176620 w 810787"/>
                <a:gd name="connsiteY23" fmla="*/ 42863 h 792423"/>
                <a:gd name="connsiteX24" fmla="*/ 167095 w 810787"/>
                <a:gd name="connsiteY24" fmla="*/ 71438 h 792423"/>
                <a:gd name="connsiteX25" fmla="*/ 133757 w 810787"/>
                <a:gd name="connsiteY25" fmla="*/ 104775 h 792423"/>
                <a:gd name="connsiteX26" fmla="*/ 114707 w 810787"/>
                <a:gd name="connsiteY26" fmla="*/ 138113 h 792423"/>
                <a:gd name="connsiteX27" fmla="*/ 105182 w 810787"/>
                <a:gd name="connsiteY27" fmla="*/ 152400 h 792423"/>
                <a:gd name="connsiteX28" fmla="*/ 95657 w 810787"/>
                <a:gd name="connsiteY28" fmla="*/ 190500 h 792423"/>
                <a:gd name="connsiteX29" fmla="*/ 90895 w 810787"/>
                <a:gd name="connsiteY29" fmla="*/ 242888 h 792423"/>
                <a:gd name="connsiteX30" fmla="*/ 76607 w 810787"/>
                <a:gd name="connsiteY30" fmla="*/ 252413 h 792423"/>
                <a:gd name="connsiteX31" fmla="*/ 48032 w 810787"/>
                <a:gd name="connsiteY31" fmla="*/ 280988 h 792423"/>
                <a:gd name="connsiteX32" fmla="*/ 38507 w 810787"/>
                <a:gd name="connsiteY32" fmla="*/ 319088 h 792423"/>
                <a:gd name="connsiteX33" fmla="*/ 33745 w 810787"/>
                <a:gd name="connsiteY33" fmla="*/ 338138 h 792423"/>
                <a:gd name="connsiteX34" fmla="*/ 28982 w 810787"/>
                <a:gd name="connsiteY34" fmla="*/ 352425 h 792423"/>
                <a:gd name="connsiteX35" fmla="*/ 24220 w 810787"/>
                <a:gd name="connsiteY35" fmla="*/ 376238 h 792423"/>
                <a:gd name="connsiteX36" fmla="*/ 14695 w 810787"/>
                <a:gd name="connsiteY36" fmla="*/ 390525 h 792423"/>
                <a:gd name="connsiteX37" fmla="*/ 9932 w 810787"/>
                <a:gd name="connsiteY37" fmla="*/ 404813 h 792423"/>
                <a:gd name="connsiteX38" fmla="*/ 28982 w 810787"/>
                <a:gd name="connsiteY38" fmla="*/ 423863 h 792423"/>
                <a:gd name="connsiteX39" fmla="*/ 33745 w 810787"/>
                <a:gd name="connsiteY39" fmla="*/ 438150 h 792423"/>
                <a:gd name="connsiteX40" fmla="*/ 43270 w 810787"/>
                <a:gd name="connsiteY40" fmla="*/ 452438 h 792423"/>
                <a:gd name="connsiteX41" fmla="*/ 48032 w 810787"/>
                <a:gd name="connsiteY41" fmla="*/ 490538 h 792423"/>
                <a:gd name="connsiteX42" fmla="*/ 76607 w 810787"/>
                <a:gd name="connsiteY42" fmla="*/ 500063 h 792423"/>
                <a:gd name="connsiteX43" fmla="*/ 90895 w 810787"/>
                <a:gd name="connsiteY43" fmla="*/ 495300 h 792423"/>
                <a:gd name="connsiteX44" fmla="*/ 105182 w 810787"/>
                <a:gd name="connsiteY44" fmla="*/ 485775 h 792423"/>
                <a:gd name="connsiteX45" fmla="*/ 119470 w 810787"/>
                <a:gd name="connsiteY45" fmla="*/ 490538 h 792423"/>
                <a:gd name="connsiteX46" fmla="*/ 124232 w 810787"/>
                <a:gd name="connsiteY46" fmla="*/ 504825 h 792423"/>
                <a:gd name="connsiteX47" fmla="*/ 152807 w 810787"/>
                <a:gd name="connsiteY47" fmla="*/ 519113 h 792423"/>
                <a:gd name="connsiteX48" fmla="*/ 148045 w 810787"/>
                <a:gd name="connsiteY48" fmla="*/ 533400 h 792423"/>
                <a:gd name="connsiteX49" fmla="*/ 133757 w 810787"/>
                <a:gd name="connsiteY49" fmla="*/ 547688 h 792423"/>
                <a:gd name="connsiteX50" fmla="*/ 124232 w 810787"/>
                <a:gd name="connsiteY50" fmla="*/ 561975 h 792423"/>
                <a:gd name="connsiteX51" fmla="*/ 114707 w 810787"/>
                <a:gd name="connsiteY51" fmla="*/ 590550 h 792423"/>
                <a:gd name="connsiteX52" fmla="*/ 81370 w 810787"/>
                <a:gd name="connsiteY52" fmla="*/ 633413 h 792423"/>
                <a:gd name="connsiteX53" fmla="*/ 48032 w 810787"/>
                <a:gd name="connsiteY53" fmla="*/ 666750 h 792423"/>
                <a:gd name="connsiteX54" fmla="*/ 19457 w 810787"/>
                <a:gd name="connsiteY54" fmla="*/ 685800 h 792423"/>
                <a:gd name="connsiteX55" fmla="*/ 5170 w 810787"/>
                <a:gd name="connsiteY55" fmla="*/ 695325 h 792423"/>
                <a:gd name="connsiteX56" fmla="*/ 407 w 810787"/>
                <a:gd name="connsiteY56" fmla="*/ 709613 h 792423"/>
                <a:gd name="connsiteX57" fmla="*/ 14695 w 810787"/>
                <a:gd name="connsiteY57" fmla="*/ 719138 h 792423"/>
                <a:gd name="connsiteX58" fmla="*/ 19457 w 810787"/>
                <a:gd name="connsiteY58" fmla="*/ 733425 h 792423"/>
                <a:gd name="connsiteX59" fmla="*/ 43270 w 810787"/>
                <a:gd name="connsiteY59" fmla="*/ 785813 h 792423"/>
                <a:gd name="connsiteX60" fmla="*/ 52795 w 810787"/>
                <a:gd name="connsiteY60" fmla="*/ 752475 h 792423"/>
                <a:gd name="connsiteX61" fmla="*/ 90895 w 810787"/>
                <a:gd name="connsiteY61" fmla="*/ 747713 h 792423"/>
                <a:gd name="connsiteX62" fmla="*/ 105182 w 810787"/>
                <a:gd name="connsiteY62" fmla="*/ 742950 h 792423"/>
                <a:gd name="connsiteX63" fmla="*/ 128995 w 810787"/>
                <a:gd name="connsiteY63" fmla="*/ 738188 h 792423"/>
                <a:gd name="connsiteX64" fmla="*/ 143282 w 810787"/>
                <a:gd name="connsiteY64" fmla="*/ 728663 h 792423"/>
                <a:gd name="connsiteX65" fmla="*/ 200432 w 810787"/>
                <a:gd name="connsiteY65" fmla="*/ 723900 h 792423"/>
                <a:gd name="connsiteX66" fmla="*/ 229007 w 810787"/>
                <a:gd name="connsiteY66" fmla="*/ 714375 h 792423"/>
                <a:gd name="connsiteX67" fmla="*/ 257582 w 810787"/>
                <a:gd name="connsiteY67" fmla="*/ 700088 h 792423"/>
                <a:gd name="connsiteX68" fmla="*/ 286157 w 810787"/>
                <a:gd name="connsiteY68" fmla="*/ 681038 h 792423"/>
                <a:gd name="connsiteX69" fmla="*/ 300445 w 810787"/>
                <a:gd name="connsiteY69" fmla="*/ 685800 h 792423"/>
                <a:gd name="connsiteX70" fmla="*/ 314732 w 810787"/>
                <a:gd name="connsiteY70" fmla="*/ 695325 h 792423"/>
                <a:gd name="connsiteX71" fmla="*/ 348070 w 810787"/>
                <a:gd name="connsiteY71" fmla="*/ 704850 h 792423"/>
                <a:gd name="connsiteX72" fmla="*/ 390932 w 810787"/>
                <a:gd name="connsiteY72" fmla="*/ 700088 h 792423"/>
                <a:gd name="connsiteX73" fmla="*/ 405220 w 810787"/>
                <a:gd name="connsiteY73" fmla="*/ 690563 h 792423"/>
                <a:gd name="connsiteX74" fmla="*/ 433795 w 810787"/>
                <a:gd name="connsiteY74" fmla="*/ 676275 h 792423"/>
                <a:gd name="connsiteX75" fmla="*/ 471895 w 810787"/>
                <a:gd name="connsiteY75" fmla="*/ 681038 h 792423"/>
                <a:gd name="connsiteX76" fmla="*/ 490945 w 810787"/>
                <a:gd name="connsiteY76" fmla="*/ 690563 h 792423"/>
                <a:gd name="connsiteX77" fmla="*/ 505232 w 810787"/>
                <a:gd name="connsiteY77" fmla="*/ 700088 h 792423"/>
                <a:gd name="connsiteX78" fmla="*/ 595720 w 810787"/>
                <a:gd name="connsiteY78" fmla="*/ 704850 h 792423"/>
                <a:gd name="connsiteX79" fmla="*/ 662395 w 810787"/>
                <a:gd name="connsiteY79" fmla="*/ 709613 h 792423"/>
                <a:gd name="connsiteX80" fmla="*/ 690970 w 810787"/>
                <a:gd name="connsiteY80" fmla="*/ 719138 h 792423"/>
                <a:gd name="connsiteX81" fmla="*/ 719545 w 810787"/>
                <a:gd name="connsiteY81" fmla="*/ 733425 h 792423"/>
                <a:gd name="connsiteX82" fmla="*/ 733832 w 810787"/>
                <a:gd name="connsiteY82" fmla="*/ 742950 h 792423"/>
                <a:gd name="connsiteX83" fmla="*/ 800507 w 810787"/>
                <a:gd name="connsiteY83" fmla="*/ 728663 h 792423"/>
                <a:gd name="connsiteX84" fmla="*/ 805270 w 810787"/>
                <a:gd name="connsiteY84" fmla="*/ 681038 h 792423"/>
                <a:gd name="connsiteX85" fmla="*/ 795745 w 810787"/>
                <a:gd name="connsiteY85" fmla="*/ 623888 h 792423"/>
                <a:gd name="connsiteX86" fmla="*/ 786220 w 810787"/>
                <a:gd name="connsiteY86" fmla="*/ 590550 h 792423"/>
                <a:gd name="connsiteX87" fmla="*/ 771932 w 810787"/>
                <a:gd name="connsiteY87" fmla="*/ 576263 h 792423"/>
                <a:gd name="connsiteX88" fmla="*/ 752882 w 810787"/>
                <a:gd name="connsiteY88" fmla="*/ 533400 h 792423"/>
                <a:gd name="connsiteX89" fmla="*/ 748120 w 810787"/>
                <a:gd name="connsiteY89" fmla="*/ 519113 h 792423"/>
                <a:gd name="connsiteX90" fmla="*/ 719545 w 810787"/>
                <a:gd name="connsiteY90" fmla="*/ 504825 h 792423"/>
                <a:gd name="connsiteX91" fmla="*/ 710020 w 810787"/>
                <a:gd name="connsiteY91" fmla="*/ 490538 h 792423"/>
                <a:gd name="connsiteX92" fmla="*/ 690970 w 810787"/>
                <a:gd name="connsiteY92" fmla="*/ 447675 h 792423"/>
                <a:gd name="connsiteX93" fmla="*/ 676682 w 810787"/>
                <a:gd name="connsiteY93" fmla="*/ 442913 h 792423"/>
                <a:gd name="connsiteX94" fmla="*/ 681445 w 810787"/>
                <a:gd name="connsiteY94" fmla="*/ 428625 h 792423"/>
                <a:gd name="connsiteX95" fmla="*/ 719545 w 810787"/>
                <a:gd name="connsiteY95" fmla="*/ 371475 h 792423"/>
                <a:gd name="connsiteX96" fmla="*/ 705257 w 810787"/>
                <a:gd name="connsiteY96" fmla="*/ 361950 h 792423"/>
                <a:gd name="connsiteX97" fmla="*/ 695732 w 810787"/>
                <a:gd name="connsiteY97" fmla="*/ 300038 h 792423"/>
                <a:gd name="connsiteX98" fmla="*/ 686207 w 810787"/>
                <a:gd name="connsiteY98" fmla="*/ 271463 h 792423"/>
                <a:gd name="connsiteX99" fmla="*/ 681445 w 810787"/>
                <a:gd name="connsiteY99" fmla="*/ 257175 h 792423"/>
                <a:gd name="connsiteX100" fmla="*/ 676682 w 810787"/>
                <a:gd name="connsiteY100" fmla="*/ 238125 h 792423"/>
                <a:gd name="connsiteX101" fmla="*/ 667157 w 810787"/>
                <a:gd name="connsiteY101" fmla="*/ 223838 h 792423"/>
                <a:gd name="connsiteX102" fmla="*/ 662395 w 810787"/>
                <a:gd name="connsiteY102" fmla="*/ 209550 h 792423"/>
                <a:gd name="connsiteX103" fmla="*/ 643345 w 810787"/>
                <a:gd name="connsiteY103" fmla="*/ 180975 h 792423"/>
                <a:gd name="connsiteX104" fmla="*/ 648107 w 810787"/>
                <a:gd name="connsiteY104" fmla="*/ 166688 h 7924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</a:cxnLst>
              <a:rect l="l" t="t" r="r" b="b"/>
              <a:pathLst>
                <a:path w="810787" h="792423">
                  <a:moveTo>
                    <a:pt x="648107" y="166688"/>
                  </a:moveTo>
                  <a:cubicBezTo>
                    <a:pt x="624295" y="165100"/>
                    <a:pt x="600295" y="165300"/>
                    <a:pt x="576670" y="161925"/>
                  </a:cubicBezTo>
                  <a:cubicBezTo>
                    <a:pt x="566731" y="160505"/>
                    <a:pt x="557620" y="155575"/>
                    <a:pt x="548095" y="152400"/>
                  </a:cubicBezTo>
                  <a:lnTo>
                    <a:pt x="533807" y="147638"/>
                  </a:lnTo>
                  <a:cubicBezTo>
                    <a:pt x="529045" y="146051"/>
                    <a:pt x="524501" y="143498"/>
                    <a:pt x="519520" y="142875"/>
                  </a:cubicBezTo>
                  <a:lnTo>
                    <a:pt x="481420" y="138113"/>
                  </a:lnTo>
                  <a:cubicBezTo>
                    <a:pt x="479832" y="131763"/>
                    <a:pt x="479235" y="125079"/>
                    <a:pt x="476657" y="119063"/>
                  </a:cubicBezTo>
                  <a:cubicBezTo>
                    <a:pt x="471684" y="107458"/>
                    <a:pt x="461428" y="99071"/>
                    <a:pt x="452845" y="90488"/>
                  </a:cubicBezTo>
                  <a:cubicBezTo>
                    <a:pt x="451257" y="85725"/>
                    <a:pt x="450327" y="80690"/>
                    <a:pt x="448082" y="76200"/>
                  </a:cubicBezTo>
                  <a:cubicBezTo>
                    <a:pt x="441452" y="62941"/>
                    <a:pt x="434801" y="58157"/>
                    <a:pt x="424270" y="47625"/>
                  </a:cubicBezTo>
                  <a:cubicBezTo>
                    <a:pt x="422682" y="42863"/>
                    <a:pt x="422643" y="37258"/>
                    <a:pt x="419507" y="33338"/>
                  </a:cubicBezTo>
                  <a:cubicBezTo>
                    <a:pt x="415931" y="28869"/>
                    <a:pt x="409617" y="27477"/>
                    <a:pt x="405220" y="23813"/>
                  </a:cubicBezTo>
                  <a:cubicBezTo>
                    <a:pt x="368551" y="-6745"/>
                    <a:pt x="412116" y="23648"/>
                    <a:pt x="376645" y="0"/>
                  </a:cubicBezTo>
                  <a:cubicBezTo>
                    <a:pt x="335697" y="27297"/>
                    <a:pt x="383885" y="-9050"/>
                    <a:pt x="357595" y="23813"/>
                  </a:cubicBezTo>
                  <a:cubicBezTo>
                    <a:pt x="354019" y="28283"/>
                    <a:pt x="347965" y="30011"/>
                    <a:pt x="343307" y="33338"/>
                  </a:cubicBezTo>
                  <a:cubicBezTo>
                    <a:pt x="336848" y="37951"/>
                    <a:pt x="331149" y="43687"/>
                    <a:pt x="324257" y="47625"/>
                  </a:cubicBezTo>
                  <a:cubicBezTo>
                    <a:pt x="319898" y="50116"/>
                    <a:pt x="314460" y="50143"/>
                    <a:pt x="309970" y="52388"/>
                  </a:cubicBezTo>
                  <a:cubicBezTo>
                    <a:pt x="304850" y="54948"/>
                    <a:pt x="300913" y="59588"/>
                    <a:pt x="295682" y="61913"/>
                  </a:cubicBezTo>
                  <a:cubicBezTo>
                    <a:pt x="286507" y="65991"/>
                    <a:pt x="276632" y="68263"/>
                    <a:pt x="267107" y="71438"/>
                  </a:cubicBezTo>
                  <a:lnTo>
                    <a:pt x="224245" y="85725"/>
                  </a:lnTo>
                  <a:lnTo>
                    <a:pt x="209957" y="90488"/>
                  </a:lnTo>
                  <a:cubicBezTo>
                    <a:pt x="205195" y="88900"/>
                    <a:pt x="197915" y="90215"/>
                    <a:pt x="195670" y="85725"/>
                  </a:cubicBezTo>
                  <a:cubicBezTo>
                    <a:pt x="192853" y="80091"/>
                    <a:pt x="208353" y="59556"/>
                    <a:pt x="209957" y="57150"/>
                  </a:cubicBezTo>
                  <a:cubicBezTo>
                    <a:pt x="206303" y="42533"/>
                    <a:pt x="206562" y="16664"/>
                    <a:pt x="176620" y="42863"/>
                  </a:cubicBezTo>
                  <a:cubicBezTo>
                    <a:pt x="169064" y="49475"/>
                    <a:pt x="170270" y="61913"/>
                    <a:pt x="167095" y="71438"/>
                  </a:cubicBezTo>
                  <a:cubicBezTo>
                    <a:pt x="157542" y="100097"/>
                    <a:pt x="153519" y="98188"/>
                    <a:pt x="133757" y="104775"/>
                  </a:cubicBezTo>
                  <a:cubicBezTo>
                    <a:pt x="110547" y="139592"/>
                    <a:pt x="138882" y="95808"/>
                    <a:pt x="114707" y="138113"/>
                  </a:cubicBezTo>
                  <a:cubicBezTo>
                    <a:pt x="111867" y="143083"/>
                    <a:pt x="108357" y="147638"/>
                    <a:pt x="105182" y="152400"/>
                  </a:cubicBezTo>
                  <a:cubicBezTo>
                    <a:pt x="100000" y="167948"/>
                    <a:pt x="97955" y="172116"/>
                    <a:pt x="95657" y="190500"/>
                  </a:cubicBezTo>
                  <a:cubicBezTo>
                    <a:pt x="93482" y="207899"/>
                    <a:pt x="96052" y="226129"/>
                    <a:pt x="90895" y="242888"/>
                  </a:cubicBezTo>
                  <a:cubicBezTo>
                    <a:pt x="89212" y="248359"/>
                    <a:pt x="80885" y="248610"/>
                    <a:pt x="76607" y="252413"/>
                  </a:cubicBezTo>
                  <a:cubicBezTo>
                    <a:pt x="66539" y="261362"/>
                    <a:pt x="48032" y="280988"/>
                    <a:pt x="48032" y="280988"/>
                  </a:cubicBezTo>
                  <a:cubicBezTo>
                    <a:pt x="39523" y="306516"/>
                    <a:pt x="46169" y="284609"/>
                    <a:pt x="38507" y="319088"/>
                  </a:cubicBezTo>
                  <a:cubicBezTo>
                    <a:pt x="37087" y="325478"/>
                    <a:pt x="35543" y="331844"/>
                    <a:pt x="33745" y="338138"/>
                  </a:cubicBezTo>
                  <a:cubicBezTo>
                    <a:pt x="32366" y="342965"/>
                    <a:pt x="30200" y="347555"/>
                    <a:pt x="28982" y="352425"/>
                  </a:cubicBezTo>
                  <a:cubicBezTo>
                    <a:pt x="27019" y="360278"/>
                    <a:pt x="27062" y="368659"/>
                    <a:pt x="24220" y="376238"/>
                  </a:cubicBezTo>
                  <a:cubicBezTo>
                    <a:pt x="22210" y="381597"/>
                    <a:pt x="17255" y="385406"/>
                    <a:pt x="14695" y="390525"/>
                  </a:cubicBezTo>
                  <a:cubicBezTo>
                    <a:pt x="12450" y="395015"/>
                    <a:pt x="11520" y="400050"/>
                    <a:pt x="9932" y="404813"/>
                  </a:cubicBezTo>
                  <a:cubicBezTo>
                    <a:pt x="22633" y="442912"/>
                    <a:pt x="3582" y="398463"/>
                    <a:pt x="28982" y="423863"/>
                  </a:cubicBezTo>
                  <a:cubicBezTo>
                    <a:pt x="32532" y="427413"/>
                    <a:pt x="31500" y="433660"/>
                    <a:pt x="33745" y="438150"/>
                  </a:cubicBezTo>
                  <a:cubicBezTo>
                    <a:pt x="36305" y="443270"/>
                    <a:pt x="40095" y="447675"/>
                    <a:pt x="43270" y="452438"/>
                  </a:cubicBezTo>
                  <a:cubicBezTo>
                    <a:pt x="44857" y="465138"/>
                    <a:pt x="40692" y="480053"/>
                    <a:pt x="48032" y="490538"/>
                  </a:cubicBezTo>
                  <a:cubicBezTo>
                    <a:pt x="53790" y="498763"/>
                    <a:pt x="76607" y="500063"/>
                    <a:pt x="76607" y="500063"/>
                  </a:cubicBezTo>
                  <a:cubicBezTo>
                    <a:pt x="81370" y="498475"/>
                    <a:pt x="86405" y="497545"/>
                    <a:pt x="90895" y="495300"/>
                  </a:cubicBezTo>
                  <a:cubicBezTo>
                    <a:pt x="96014" y="492740"/>
                    <a:pt x="99536" y="486716"/>
                    <a:pt x="105182" y="485775"/>
                  </a:cubicBezTo>
                  <a:cubicBezTo>
                    <a:pt x="110134" y="484950"/>
                    <a:pt x="114707" y="488950"/>
                    <a:pt x="119470" y="490538"/>
                  </a:cubicBezTo>
                  <a:cubicBezTo>
                    <a:pt x="121057" y="495300"/>
                    <a:pt x="121096" y="500905"/>
                    <a:pt x="124232" y="504825"/>
                  </a:cubicBezTo>
                  <a:cubicBezTo>
                    <a:pt x="130946" y="513217"/>
                    <a:pt x="143396" y="515976"/>
                    <a:pt x="152807" y="519113"/>
                  </a:cubicBezTo>
                  <a:cubicBezTo>
                    <a:pt x="151220" y="523875"/>
                    <a:pt x="150830" y="529223"/>
                    <a:pt x="148045" y="533400"/>
                  </a:cubicBezTo>
                  <a:cubicBezTo>
                    <a:pt x="144309" y="539004"/>
                    <a:pt x="138069" y="542514"/>
                    <a:pt x="133757" y="547688"/>
                  </a:cubicBezTo>
                  <a:cubicBezTo>
                    <a:pt x="130093" y="552085"/>
                    <a:pt x="127407" y="557213"/>
                    <a:pt x="124232" y="561975"/>
                  </a:cubicBezTo>
                  <a:lnTo>
                    <a:pt x="114707" y="590550"/>
                  </a:lnTo>
                  <a:cubicBezTo>
                    <a:pt x="105520" y="618112"/>
                    <a:pt x="95751" y="614923"/>
                    <a:pt x="81370" y="633413"/>
                  </a:cubicBezTo>
                  <a:cubicBezTo>
                    <a:pt x="54624" y="667802"/>
                    <a:pt x="75334" y="657651"/>
                    <a:pt x="48032" y="666750"/>
                  </a:cubicBezTo>
                  <a:lnTo>
                    <a:pt x="19457" y="685800"/>
                  </a:lnTo>
                  <a:lnTo>
                    <a:pt x="5170" y="695325"/>
                  </a:lnTo>
                  <a:cubicBezTo>
                    <a:pt x="3582" y="700088"/>
                    <a:pt x="-1457" y="704952"/>
                    <a:pt x="407" y="709613"/>
                  </a:cubicBezTo>
                  <a:cubicBezTo>
                    <a:pt x="2533" y="714928"/>
                    <a:pt x="11119" y="714668"/>
                    <a:pt x="14695" y="719138"/>
                  </a:cubicBezTo>
                  <a:cubicBezTo>
                    <a:pt x="17831" y="723058"/>
                    <a:pt x="17870" y="728663"/>
                    <a:pt x="19457" y="733425"/>
                  </a:cubicBezTo>
                  <a:cubicBezTo>
                    <a:pt x="20045" y="740479"/>
                    <a:pt x="7290" y="814597"/>
                    <a:pt x="43270" y="785813"/>
                  </a:cubicBezTo>
                  <a:cubicBezTo>
                    <a:pt x="46969" y="782853"/>
                    <a:pt x="50898" y="753529"/>
                    <a:pt x="52795" y="752475"/>
                  </a:cubicBezTo>
                  <a:cubicBezTo>
                    <a:pt x="63983" y="746260"/>
                    <a:pt x="78195" y="749300"/>
                    <a:pt x="90895" y="747713"/>
                  </a:cubicBezTo>
                  <a:cubicBezTo>
                    <a:pt x="95657" y="746125"/>
                    <a:pt x="100312" y="744168"/>
                    <a:pt x="105182" y="742950"/>
                  </a:cubicBezTo>
                  <a:cubicBezTo>
                    <a:pt x="113035" y="740987"/>
                    <a:pt x="121416" y="741030"/>
                    <a:pt x="128995" y="738188"/>
                  </a:cubicBezTo>
                  <a:cubicBezTo>
                    <a:pt x="134354" y="736178"/>
                    <a:pt x="137669" y="729786"/>
                    <a:pt x="143282" y="728663"/>
                  </a:cubicBezTo>
                  <a:cubicBezTo>
                    <a:pt x="162027" y="724914"/>
                    <a:pt x="181382" y="725488"/>
                    <a:pt x="200432" y="723900"/>
                  </a:cubicBezTo>
                  <a:cubicBezTo>
                    <a:pt x="209957" y="720725"/>
                    <a:pt x="220653" y="719944"/>
                    <a:pt x="229007" y="714375"/>
                  </a:cubicBezTo>
                  <a:cubicBezTo>
                    <a:pt x="247472" y="702066"/>
                    <a:pt x="237865" y="706660"/>
                    <a:pt x="257582" y="700088"/>
                  </a:cubicBezTo>
                  <a:cubicBezTo>
                    <a:pt x="266173" y="691497"/>
                    <a:pt x="272372" y="681038"/>
                    <a:pt x="286157" y="681038"/>
                  </a:cubicBezTo>
                  <a:cubicBezTo>
                    <a:pt x="291177" y="681038"/>
                    <a:pt x="295682" y="684213"/>
                    <a:pt x="300445" y="685800"/>
                  </a:cubicBezTo>
                  <a:cubicBezTo>
                    <a:pt x="305207" y="688975"/>
                    <a:pt x="309613" y="692765"/>
                    <a:pt x="314732" y="695325"/>
                  </a:cubicBezTo>
                  <a:cubicBezTo>
                    <a:pt x="321567" y="698743"/>
                    <a:pt x="341962" y="703323"/>
                    <a:pt x="348070" y="704850"/>
                  </a:cubicBezTo>
                  <a:cubicBezTo>
                    <a:pt x="362357" y="703263"/>
                    <a:pt x="376986" y="703574"/>
                    <a:pt x="390932" y="700088"/>
                  </a:cubicBezTo>
                  <a:cubicBezTo>
                    <a:pt x="396485" y="698700"/>
                    <a:pt x="400100" y="693123"/>
                    <a:pt x="405220" y="690563"/>
                  </a:cubicBezTo>
                  <a:cubicBezTo>
                    <a:pt x="444656" y="670844"/>
                    <a:pt x="392846" y="703573"/>
                    <a:pt x="433795" y="676275"/>
                  </a:cubicBezTo>
                  <a:cubicBezTo>
                    <a:pt x="446495" y="677863"/>
                    <a:pt x="459478" y="677934"/>
                    <a:pt x="471895" y="681038"/>
                  </a:cubicBezTo>
                  <a:cubicBezTo>
                    <a:pt x="478783" y="682760"/>
                    <a:pt x="484781" y="687041"/>
                    <a:pt x="490945" y="690563"/>
                  </a:cubicBezTo>
                  <a:cubicBezTo>
                    <a:pt x="495915" y="693403"/>
                    <a:pt x="499561" y="699315"/>
                    <a:pt x="505232" y="700088"/>
                  </a:cubicBezTo>
                  <a:cubicBezTo>
                    <a:pt x="535159" y="704169"/>
                    <a:pt x="565571" y="703023"/>
                    <a:pt x="595720" y="704850"/>
                  </a:cubicBezTo>
                  <a:cubicBezTo>
                    <a:pt x="617961" y="706198"/>
                    <a:pt x="640170" y="708025"/>
                    <a:pt x="662395" y="709613"/>
                  </a:cubicBezTo>
                  <a:cubicBezTo>
                    <a:pt x="671920" y="712788"/>
                    <a:pt x="682616" y="713569"/>
                    <a:pt x="690970" y="719138"/>
                  </a:cubicBezTo>
                  <a:cubicBezTo>
                    <a:pt x="709434" y="731448"/>
                    <a:pt x="699827" y="726853"/>
                    <a:pt x="719545" y="733425"/>
                  </a:cubicBezTo>
                  <a:cubicBezTo>
                    <a:pt x="724307" y="736600"/>
                    <a:pt x="728123" y="742542"/>
                    <a:pt x="733832" y="742950"/>
                  </a:cubicBezTo>
                  <a:cubicBezTo>
                    <a:pt x="779145" y="746187"/>
                    <a:pt x="775801" y="745135"/>
                    <a:pt x="800507" y="728663"/>
                  </a:cubicBezTo>
                  <a:cubicBezTo>
                    <a:pt x="816557" y="704587"/>
                    <a:pt x="810255" y="720921"/>
                    <a:pt x="805270" y="681038"/>
                  </a:cubicBezTo>
                  <a:cubicBezTo>
                    <a:pt x="795812" y="605373"/>
                    <a:pt x="806499" y="661525"/>
                    <a:pt x="795745" y="623888"/>
                  </a:cubicBezTo>
                  <a:cubicBezTo>
                    <a:pt x="794953" y="621115"/>
                    <a:pt x="789072" y="594828"/>
                    <a:pt x="786220" y="590550"/>
                  </a:cubicBezTo>
                  <a:cubicBezTo>
                    <a:pt x="782484" y="584946"/>
                    <a:pt x="776695" y="581025"/>
                    <a:pt x="771932" y="576263"/>
                  </a:cubicBezTo>
                  <a:cubicBezTo>
                    <a:pt x="760597" y="542258"/>
                    <a:pt x="767976" y="556042"/>
                    <a:pt x="752882" y="533400"/>
                  </a:cubicBezTo>
                  <a:cubicBezTo>
                    <a:pt x="751295" y="528638"/>
                    <a:pt x="751256" y="523033"/>
                    <a:pt x="748120" y="519113"/>
                  </a:cubicBezTo>
                  <a:cubicBezTo>
                    <a:pt x="741406" y="510721"/>
                    <a:pt x="728956" y="507962"/>
                    <a:pt x="719545" y="504825"/>
                  </a:cubicBezTo>
                  <a:cubicBezTo>
                    <a:pt x="716370" y="500063"/>
                    <a:pt x="712345" y="495768"/>
                    <a:pt x="710020" y="490538"/>
                  </a:cubicBezTo>
                  <a:cubicBezTo>
                    <a:pt x="705605" y="480604"/>
                    <a:pt x="702119" y="456594"/>
                    <a:pt x="690970" y="447675"/>
                  </a:cubicBezTo>
                  <a:cubicBezTo>
                    <a:pt x="687050" y="444539"/>
                    <a:pt x="681445" y="444500"/>
                    <a:pt x="676682" y="442913"/>
                  </a:cubicBezTo>
                  <a:cubicBezTo>
                    <a:pt x="678270" y="438150"/>
                    <a:pt x="676784" y="430490"/>
                    <a:pt x="681445" y="428625"/>
                  </a:cubicBezTo>
                  <a:cubicBezTo>
                    <a:pt x="726406" y="410640"/>
                    <a:pt x="744305" y="451946"/>
                    <a:pt x="719545" y="371475"/>
                  </a:cubicBezTo>
                  <a:cubicBezTo>
                    <a:pt x="717862" y="366004"/>
                    <a:pt x="710020" y="365125"/>
                    <a:pt x="705257" y="361950"/>
                  </a:cubicBezTo>
                  <a:cubicBezTo>
                    <a:pt x="703028" y="344113"/>
                    <a:pt x="700769" y="318505"/>
                    <a:pt x="695732" y="300038"/>
                  </a:cubicBezTo>
                  <a:cubicBezTo>
                    <a:pt x="693090" y="290352"/>
                    <a:pt x="689382" y="280988"/>
                    <a:pt x="686207" y="271463"/>
                  </a:cubicBezTo>
                  <a:lnTo>
                    <a:pt x="681445" y="257175"/>
                  </a:lnTo>
                  <a:cubicBezTo>
                    <a:pt x="679375" y="250965"/>
                    <a:pt x="679260" y="244141"/>
                    <a:pt x="676682" y="238125"/>
                  </a:cubicBezTo>
                  <a:cubicBezTo>
                    <a:pt x="674427" y="232864"/>
                    <a:pt x="670332" y="228600"/>
                    <a:pt x="667157" y="223838"/>
                  </a:cubicBezTo>
                  <a:cubicBezTo>
                    <a:pt x="665570" y="219075"/>
                    <a:pt x="664833" y="213938"/>
                    <a:pt x="662395" y="209550"/>
                  </a:cubicBezTo>
                  <a:cubicBezTo>
                    <a:pt x="656836" y="199543"/>
                    <a:pt x="643345" y="180975"/>
                    <a:pt x="643345" y="180975"/>
                  </a:cubicBezTo>
                  <a:lnTo>
                    <a:pt x="648107" y="166688"/>
                  </a:lnTo>
                  <a:close/>
                </a:path>
              </a:pathLst>
            </a:custGeom>
            <a:solidFill>
              <a:srgbClr val="595959">
                <a:alpha val="40000"/>
              </a:srgbClr>
            </a:solidFill>
            <a:ln w="28575">
              <a:solidFill>
                <a:schemeClr val="tx1">
                  <a:lumMod val="95000"/>
                  <a:lumOff val="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1400" dirty="0" err="1">
                  <a:solidFill>
                    <a:schemeClr val="tx1"/>
                  </a:solidFill>
                  <a:latin typeface="Arial Narrow" pitchFamily="34" charset="0"/>
                </a:rPr>
                <a:t>Berkine</a:t>
              </a:r>
              <a:endParaRPr lang="fr-FR" sz="1400" dirty="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19" name="Forme libre 18"/>
            <p:cNvSpPr/>
            <p:nvPr/>
          </p:nvSpPr>
          <p:spPr>
            <a:xfrm>
              <a:off x="7420316" y="2662282"/>
              <a:ext cx="747872" cy="1090683"/>
            </a:xfrm>
            <a:custGeom>
              <a:avLst/>
              <a:gdLst>
                <a:gd name="connsiteX0" fmla="*/ 62266 w 748066"/>
                <a:gd name="connsiteY0" fmla="*/ 171450 h 1090612"/>
                <a:gd name="connsiteX1" fmla="*/ 86078 w 748066"/>
                <a:gd name="connsiteY1" fmla="*/ 176212 h 1090612"/>
                <a:gd name="connsiteX2" fmla="*/ 114653 w 748066"/>
                <a:gd name="connsiteY2" fmla="*/ 185737 h 1090612"/>
                <a:gd name="connsiteX3" fmla="*/ 147991 w 748066"/>
                <a:gd name="connsiteY3" fmla="*/ 195262 h 1090612"/>
                <a:gd name="connsiteX4" fmla="*/ 152753 w 748066"/>
                <a:gd name="connsiteY4" fmla="*/ 176212 h 1090612"/>
                <a:gd name="connsiteX5" fmla="*/ 162278 w 748066"/>
                <a:gd name="connsiteY5" fmla="*/ 161925 h 1090612"/>
                <a:gd name="connsiteX6" fmla="*/ 171803 w 748066"/>
                <a:gd name="connsiteY6" fmla="*/ 133350 h 1090612"/>
                <a:gd name="connsiteX7" fmla="*/ 195616 w 748066"/>
                <a:gd name="connsiteY7" fmla="*/ 104775 h 1090612"/>
                <a:gd name="connsiteX8" fmla="*/ 200378 w 748066"/>
                <a:gd name="connsiteY8" fmla="*/ 90487 h 1090612"/>
                <a:gd name="connsiteX9" fmla="*/ 248003 w 748066"/>
                <a:gd name="connsiteY9" fmla="*/ 76200 h 1090612"/>
                <a:gd name="connsiteX10" fmla="*/ 395641 w 748066"/>
                <a:gd name="connsiteY10" fmla="*/ 71437 h 1090612"/>
                <a:gd name="connsiteX11" fmla="*/ 409928 w 748066"/>
                <a:gd name="connsiteY11" fmla="*/ 66675 h 1090612"/>
                <a:gd name="connsiteX12" fmla="*/ 428978 w 748066"/>
                <a:gd name="connsiteY12" fmla="*/ 61912 h 1090612"/>
                <a:gd name="connsiteX13" fmla="*/ 443266 w 748066"/>
                <a:gd name="connsiteY13" fmla="*/ 52387 h 1090612"/>
                <a:gd name="connsiteX14" fmla="*/ 486128 w 748066"/>
                <a:gd name="connsiteY14" fmla="*/ 38100 h 1090612"/>
                <a:gd name="connsiteX15" fmla="*/ 528991 w 748066"/>
                <a:gd name="connsiteY15" fmla="*/ 33337 h 1090612"/>
                <a:gd name="connsiteX16" fmla="*/ 581378 w 748066"/>
                <a:gd name="connsiteY16" fmla="*/ 19050 h 1090612"/>
                <a:gd name="connsiteX17" fmla="*/ 600428 w 748066"/>
                <a:gd name="connsiteY17" fmla="*/ 9525 h 1090612"/>
                <a:gd name="connsiteX18" fmla="*/ 667103 w 748066"/>
                <a:gd name="connsiteY18" fmla="*/ 0 h 1090612"/>
                <a:gd name="connsiteX19" fmla="*/ 729016 w 748066"/>
                <a:gd name="connsiteY19" fmla="*/ 4762 h 1090612"/>
                <a:gd name="connsiteX20" fmla="*/ 743303 w 748066"/>
                <a:gd name="connsiteY20" fmla="*/ 9525 h 1090612"/>
                <a:gd name="connsiteX21" fmla="*/ 748066 w 748066"/>
                <a:gd name="connsiteY21" fmla="*/ 23812 h 1090612"/>
                <a:gd name="connsiteX22" fmla="*/ 738541 w 748066"/>
                <a:gd name="connsiteY22" fmla="*/ 57150 h 1090612"/>
                <a:gd name="connsiteX23" fmla="*/ 714728 w 748066"/>
                <a:gd name="connsiteY23" fmla="*/ 100012 h 1090612"/>
                <a:gd name="connsiteX24" fmla="*/ 719491 w 748066"/>
                <a:gd name="connsiteY24" fmla="*/ 123825 h 1090612"/>
                <a:gd name="connsiteX25" fmla="*/ 733778 w 748066"/>
                <a:gd name="connsiteY25" fmla="*/ 138112 h 1090612"/>
                <a:gd name="connsiteX26" fmla="*/ 738541 w 748066"/>
                <a:gd name="connsiteY26" fmla="*/ 152400 h 1090612"/>
                <a:gd name="connsiteX27" fmla="*/ 733778 w 748066"/>
                <a:gd name="connsiteY27" fmla="*/ 190500 h 1090612"/>
                <a:gd name="connsiteX28" fmla="*/ 729016 w 748066"/>
                <a:gd name="connsiteY28" fmla="*/ 204787 h 1090612"/>
                <a:gd name="connsiteX29" fmla="*/ 714728 w 748066"/>
                <a:gd name="connsiteY29" fmla="*/ 214312 h 1090612"/>
                <a:gd name="connsiteX30" fmla="*/ 709966 w 748066"/>
                <a:gd name="connsiteY30" fmla="*/ 228600 h 1090612"/>
                <a:gd name="connsiteX31" fmla="*/ 686153 w 748066"/>
                <a:gd name="connsiteY31" fmla="*/ 257175 h 1090612"/>
                <a:gd name="connsiteX32" fmla="*/ 662341 w 748066"/>
                <a:gd name="connsiteY32" fmla="*/ 285750 h 1090612"/>
                <a:gd name="connsiteX33" fmla="*/ 657578 w 748066"/>
                <a:gd name="connsiteY33" fmla="*/ 300037 h 1090612"/>
                <a:gd name="connsiteX34" fmla="*/ 648053 w 748066"/>
                <a:gd name="connsiteY34" fmla="*/ 314325 h 1090612"/>
                <a:gd name="connsiteX35" fmla="*/ 638528 w 748066"/>
                <a:gd name="connsiteY35" fmla="*/ 366712 h 1090612"/>
                <a:gd name="connsiteX36" fmla="*/ 619478 w 748066"/>
                <a:gd name="connsiteY36" fmla="*/ 395287 h 1090612"/>
                <a:gd name="connsiteX37" fmla="*/ 614716 w 748066"/>
                <a:gd name="connsiteY37" fmla="*/ 409575 h 1090612"/>
                <a:gd name="connsiteX38" fmla="*/ 605191 w 748066"/>
                <a:gd name="connsiteY38" fmla="*/ 433387 h 1090612"/>
                <a:gd name="connsiteX39" fmla="*/ 600428 w 748066"/>
                <a:gd name="connsiteY39" fmla="*/ 452437 h 1090612"/>
                <a:gd name="connsiteX40" fmla="*/ 590903 w 748066"/>
                <a:gd name="connsiteY40" fmla="*/ 481012 h 1090612"/>
                <a:gd name="connsiteX41" fmla="*/ 586141 w 748066"/>
                <a:gd name="connsiteY41" fmla="*/ 495300 h 1090612"/>
                <a:gd name="connsiteX42" fmla="*/ 571853 w 748066"/>
                <a:gd name="connsiteY42" fmla="*/ 504825 h 1090612"/>
                <a:gd name="connsiteX43" fmla="*/ 543278 w 748066"/>
                <a:gd name="connsiteY43" fmla="*/ 538162 h 1090612"/>
                <a:gd name="connsiteX44" fmla="*/ 528991 w 748066"/>
                <a:gd name="connsiteY44" fmla="*/ 547687 h 1090612"/>
                <a:gd name="connsiteX45" fmla="*/ 500416 w 748066"/>
                <a:gd name="connsiteY45" fmla="*/ 557212 h 1090612"/>
                <a:gd name="connsiteX46" fmla="*/ 486128 w 748066"/>
                <a:gd name="connsiteY46" fmla="*/ 566737 h 1090612"/>
                <a:gd name="connsiteX47" fmla="*/ 471841 w 748066"/>
                <a:gd name="connsiteY47" fmla="*/ 595312 h 1090612"/>
                <a:gd name="connsiteX48" fmla="*/ 467078 w 748066"/>
                <a:gd name="connsiteY48" fmla="*/ 638175 h 1090612"/>
                <a:gd name="connsiteX49" fmla="*/ 462316 w 748066"/>
                <a:gd name="connsiteY49" fmla="*/ 652462 h 1090612"/>
                <a:gd name="connsiteX50" fmla="*/ 467078 w 748066"/>
                <a:gd name="connsiteY50" fmla="*/ 671512 h 1090612"/>
                <a:gd name="connsiteX51" fmla="*/ 481366 w 748066"/>
                <a:gd name="connsiteY51" fmla="*/ 714375 h 1090612"/>
                <a:gd name="connsiteX52" fmla="*/ 490891 w 748066"/>
                <a:gd name="connsiteY52" fmla="*/ 728662 h 1090612"/>
                <a:gd name="connsiteX53" fmla="*/ 495653 w 748066"/>
                <a:gd name="connsiteY53" fmla="*/ 742950 h 1090612"/>
                <a:gd name="connsiteX54" fmla="*/ 505178 w 748066"/>
                <a:gd name="connsiteY54" fmla="*/ 757237 h 1090612"/>
                <a:gd name="connsiteX55" fmla="*/ 509941 w 748066"/>
                <a:gd name="connsiteY55" fmla="*/ 781050 h 1090612"/>
                <a:gd name="connsiteX56" fmla="*/ 524228 w 748066"/>
                <a:gd name="connsiteY56" fmla="*/ 795337 h 1090612"/>
                <a:gd name="connsiteX57" fmla="*/ 533753 w 748066"/>
                <a:gd name="connsiteY57" fmla="*/ 809625 h 1090612"/>
                <a:gd name="connsiteX58" fmla="*/ 543278 w 748066"/>
                <a:gd name="connsiteY58" fmla="*/ 842962 h 1090612"/>
                <a:gd name="connsiteX59" fmla="*/ 552803 w 748066"/>
                <a:gd name="connsiteY59" fmla="*/ 871537 h 1090612"/>
                <a:gd name="connsiteX60" fmla="*/ 538516 w 748066"/>
                <a:gd name="connsiteY60" fmla="*/ 947737 h 1090612"/>
                <a:gd name="connsiteX61" fmla="*/ 524228 w 748066"/>
                <a:gd name="connsiteY61" fmla="*/ 962025 h 1090612"/>
                <a:gd name="connsiteX62" fmla="*/ 509941 w 748066"/>
                <a:gd name="connsiteY62" fmla="*/ 971550 h 1090612"/>
                <a:gd name="connsiteX63" fmla="*/ 495653 w 748066"/>
                <a:gd name="connsiteY63" fmla="*/ 985837 h 1090612"/>
                <a:gd name="connsiteX64" fmla="*/ 409928 w 748066"/>
                <a:gd name="connsiteY64" fmla="*/ 990600 h 1090612"/>
                <a:gd name="connsiteX65" fmla="*/ 390878 w 748066"/>
                <a:gd name="connsiteY65" fmla="*/ 995362 h 1090612"/>
                <a:gd name="connsiteX66" fmla="*/ 343253 w 748066"/>
                <a:gd name="connsiteY66" fmla="*/ 1004887 h 1090612"/>
                <a:gd name="connsiteX67" fmla="*/ 314678 w 748066"/>
                <a:gd name="connsiteY67" fmla="*/ 1028700 h 1090612"/>
                <a:gd name="connsiteX68" fmla="*/ 271816 w 748066"/>
                <a:gd name="connsiteY68" fmla="*/ 1052512 h 1090612"/>
                <a:gd name="connsiteX69" fmla="*/ 262291 w 748066"/>
                <a:gd name="connsiteY69" fmla="*/ 1066800 h 1090612"/>
                <a:gd name="connsiteX70" fmla="*/ 233716 w 748066"/>
                <a:gd name="connsiteY70" fmla="*/ 1090612 h 1090612"/>
                <a:gd name="connsiteX71" fmla="*/ 219428 w 748066"/>
                <a:gd name="connsiteY71" fmla="*/ 1081087 h 1090612"/>
                <a:gd name="connsiteX72" fmla="*/ 200378 w 748066"/>
                <a:gd name="connsiteY72" fmla="*/ 1052512 h 1090612"/>
                <a:gd name="connsiteX73" fmla="*/ 176566 w 748066"/>
                <a:gd name="connsiteY73" fmla="*/ 1019175 h 1090612"/>
                <a:gd name="connsiteX74" fmla="*/ 152753 w 748066"/>
                <a:gd name="connsiteY74" fmla="*/ 990600 h 1090612"/>
                <a:gd name="connsiteX75" fmla="*/ 143228 w 748066"/>
                <a:gd name="connsiteY75" fmla="*/ 962025 h 1090612"/>
                <a:gd name="connsiteX76" fmla="*/ 133703 w 748066"/>
                <a:gd name="connsiteY76" fmla="*/ 900112 h 1090612"/>
                <a:gd name="connsiteX77" fmla="*/ 100366 w 748066"/>
                <a:gd name="connsiteY77" fmla="*/ 895350 h 1090612"/>
                <a:gd name="connsiteX78" fmla="*/ 95603 w 748066"/>
                <a:gd name="connsiteY78" fmla="*/ 881062 h 1090612"/>
                <a:gd name="connsiteX79" fmla="*/ 90841 w 748066"/>
                <a:gd name="connsiteY79" fmla="*/ 852487 h 1090612"/>
                <a:gd name="connsiteX80" fmla="*/ 76553 w 748066"/>
                <a:gd name="connsiteY80" fmla="*/ 819150 h 1090612"/>
                <a:gd name="connsiteX81" fmla="*/ 67028 w 748066"/>
                <a:gd name="connsiteY81" fmla="*/ 804862 h 1090612"/>
                <a:gd name="connsiteX82" fmla="*/ 57503 w 748066"/>
                <a:gd name="connsiteY82" fmla="*/ 776287 h 1090612"/>
                <a:gd name="connsiteX83" fmla="*/ 47978 w 748066"/>
                <a:gd name="connsiteY83" fmla="*/ 738187 h 1090612"/>
                <a:gd name="connsiteX84" fmla="*/ 43216 w 748066"/>
                <a:gd name="connsiteY84" fmla="*/ 719137 h 1090612"/>
                <a:gd name="connsiteX85" fmla="*/ 38453 w 748066"/>
                <a:gd name="connsiteY85" fmla="*/ 704850 h 1090612"/>
                <a:gd name="connsiteX86" fmla="*/ 19403 w 748066"/>
                <a:gd name="connsiteY86" fmla="*/ 676275 h 1090612"/>
                <a:gd name="connsiteX87" fmla="*/ 24166 w 748066"/>
                <a:gd name="connsiteY87" fmla="*/ 652462 h 1090612"/>
                <a:gd name="connsiteX88" fmla="*/ 43216 w 748066"/>
                <a:gd name="connsiteY88" fmla="*/ 633412 h 1090612"/>
                <a:gd name="connsiteX89" fmla="*/ 47978 w 748066"/>
                <a:gd name="connsiteY89" fmla="*/ 619125 h 1090612"/>
                <a:gd name="connsiteX90" fmla="*/ 43216 w 748066"/>
                <a:gd name="connsiteY90" fmla="*/ 595312 h 1090612"/>
                <a:gd name="connsiteX91" fmla="*/ 28928 w 748066"/>
                <a:gd name="connsiteY91" fmla="*/ 585787 h 1090612"/>
                <a:gd name="connsiteX92" fmla="*/ 33691 w 748066"/>
                <a:gd name="connsiteY92" fmla="*/ 571500 h 1090612"/>
                <a:gd name="connsiteX93" fmla="*/ 52741 w 748066"/>
                <a:gd name="connsiteY93" fmla="*/ 566737 h 1090612"/>
                <a:gd name="connsiteX94" fmla="*/ 67028 w 748066"/>
                <a:gd name="connsiteY94" fmla="*/ 561975 h 1090612"/>
                <a:gd name="connsiteX95" fmla="*/ 76553 w 748066"/>
                <a:gd name="connsiteY95" fmla="*/ 547687 h 1090612"/>
                <a:gd name="connsiteX96" fmla="*/ 57503 w 748066"/>
                <a:gd name="connsiteY96" fmla="*/ 514350 h 1090612"/>
                <a:gd name="connsiteX97" fmla="*/ 43216 w 748066"/>
                <a:gd name="connsiteY97" fmla="*/ 509587 h 1090612"/>
                <a:gd name="connsiteX98" fmla="*/ 47978 w 748066"/>
                <a:gd name="connsiteY98" fmla="*/ 466725 h 1090612"/>
                <a:gd name="connsiteX99" fmla="*/ 62266 w 748066"/>
                <a:gd name="connsiteY99" fmla="*/ 457200 h 1090612"/>
                <a:gd name="connsiteX100" fmla="*/ 71791 w 748066"/>
                <a:gd name="connsiteY100" fmla="*/ 442912 h 1090612"/>
                <a:gd name="connsiteX101" fmla="*/ 67028 w 748066"/>
                <a:gd name="connsiteY101" fmla="*/ 342900 h 1090612"/>
                <a:gd name="connsiteX102" fmla="*/ 47978 w 748066"/>
                <a:gd name="connsiteY102" fmla="*/ 338137 h 1090612"/>
                <a:gd name="connsiteX103" fmla="*/ 14641 w 748066"/>
                <a:gd name="connsiteY103" fmla="*/ 309562 h 1090612"/>
                <a:gd name="connsiteX104" fmla="*/ 9878 w 748066"/>
                <a:gd name="connsiteY104" fmla="*/ 295275 h 1090612"/>
                <a:gd name="connsiteX105" fmla="*/ 353 w 748066"/>
                <a:gd name="connsiteY105" fmla="*/ 280987 h 1090612"/>
                <a:gd name="connsiteX106" fmla="*/ 5116 w 748066"/>
                <a:gd name="connsiteY106" fmla="*/ 223837 h 1090612"/>
                <a:gd name="connsiteX107" fmla="*/ 14641 w 748066"/>
                <a:gd name="connsiteY107" fmla="*/ 209550 h 1090612"/>
                <a:gd name="connsiteX108" fmla="*/ 38453 w 748066"/>
                <a:gd name="connsiteY108" fmla="*/ 204787 h 1090612"/>
                <a:gd name="connsiteX109" fmla="*/ 52741 w 748066"/>
                <a:gd name="connsiteY109" fmla="*/ 200025 h 1090612"/>
                <a:gd name="connsiteX110" fmla="*/ 62266 w 748066"/>
                <a:gd name="connsiteY110" fmla="*/ 171450 h 1090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</a:cxnLst>
              <a:rect l="l" t="t" r="r" b="b"/>
              <a:pathLst>
                <a:path w="748066" h="1090612">
                  <a:moveTo>
                    <a:pt x="62266" y="171450"/>
                  </a:moveTo>
                  <a:cubicBezTo>
                    <a:pt x="67822" y="167481"/>
                    <a:pt x="78269" y="174082"/>
                    <a:pt x="86078" y="176212"/>
                  </a:cubicBezTo>
                  <a:cubicBezTo>
                    <a:pt x="95764" y="178854"/>
                    <a:pt x="114653" y="185737"/>
                    <a:pt x="114653" y="185737"/>
                  </a:cubicBezTo>
                  <a:cubicBezTo>
                    <a:pt x="123021" y="198289"/>
                    <a:pt x="126552" y="213128"/>
                    <a:pt x="147991" y="195262"/>
                  </a:cubicBezTo>
                  <a:cubicBezTo>
                    <a:pt x="153019" y="191072"/>
                    <a:pt x="150175" y="182228"/>
                    <a:pt x="152753" y="176212"/>
                  </a:cubicBezTo>
                  <a:cubicBezTo>
                    <a:pt x="155008" y="170951"/>
                    <a:pt x="159953" y="167155"/>
                    <a:pt x="162278" y="161925"/>
                  </a:cubicBezTo>
                  <a:cubicBezTo>
                    <a:pt x="166356" y="152750"/>
                    <a:pt x="164703" y="140450"/>
                    <a:pt x="171803" y="133350"/>
                  </a:cubicBezTo>
                  <a:cubicBezTo>
                    <a:pt x="190138" y="115015"/>
                    <a:pt x="182355" y="124666"/>
                    <a:pt x="195616" y="104775"/>
                  </a:cubicBezTo>
                  <a:cubicBezTo>
                    <a:pt x="197203" y="100012"/>
                    <a:pt x="196293" y="93405"/>
                    <a:pt x="200378" y="90487"/>
                  </a:cubicBezTo>
                  <a:cubicBezTo>
                    <a:pt x="202038" y="89301"/>
                    <a:pt x="240807" y="76611"/>
                    <a:pt x="248003" y="76200"/>
                  </a:cubicBezTo>
                  <a:cubicBezTo>
                    <a:pt x="297161" y="73391"/>
                    <a:pt x="346428" y="73025"/>
                    <a:pt x="395641" y="71437"/>
                  </a:cubicBezTo>
                  <a:cubicBezTo>
                    <a:pt x="400403" y="69850"/>
                    <a:pt x="405101" y="68054"/>
                    <a:pt x="409928" y="66675"/>
                  </a:cubicBezTo>
                  <a:cubicBezTo>
                    <a:pt x="416222" y="64877"/>
                    <a:pt x="422962" y="64490"/>
                    <a:pt x="428978" y="61912"/>
                  </a:cubicBezTo>
                  <a:cubicBezTo>
                    <a:pt x="434239" y="59657"/>
                    <a:pt x="438035" y="54712"/>
                    <a:pt x="443266" y="52387"/>
                  </a:cubicBezTo>
                  <a:cubicBezTo>
                    <a:pt x="443273" y="52384"/>
                    <a:pt x="478980" y="40482"/>
                    <a:pt x="486128" y="38100"/>
                  </a:cubicBezTo>
                  <a:cubicBezTo>
                    <a:pt x="499766" y="33554"/>
                    <a:pt x="514703" y="34925"/>
                    <a:pt x="528991" y="33337"/>
                  </a:cubicBezTo>
                  <a:cubicBezTo>
                    <a:pt x="565245" y="21252"/>
                    <a:pt x="547721" y="25781"/>
                    <a:pt x="581378" y="19050"/>
                  </a:cubicBezTo>
                  <a:cubicBezTo>
                    <a:pt x="587728" y="15875"/>
                    <a:pt x="593466" y="10917"/>
                    <a:pt x="600428" y="9525"/>
                  </a:cubicBezTo>
                  <a:cubicBezTo>
                    <a:pt x="704777" y="-11345"/>
                    <a:pt x="622737" y="14788"/>
                    <a:pt x="667103" y="0"/>
                  </a:cubicBezTo>
                  <a:cubicBezTo>
                    <a:pt x="687741" y="1587"/>
                    <a:pt x="708477" y="2195"/>
                    <a:pt x="729016" y="4762"/>
                  </a:cubicBezTo>
                  <a:cubicBezTo>
                    <a:pt x="733997" y="5385"/>
                    <a:pt x="739753" y="5975"/>
                    <a:pt x="743303" y="9525"/>
                  </a:cubicBezTo>
                  <a:cubicBezTo>
                    <a:pt x="746853" y="13075"/>
                    <a:pt x="746478" y="19050"/>
                    <a:pt x="748066" y="23812"/>
                  </a:cubicBezTo>
                  <a:cubicBezTo>
                    <a:pt x="746946" y="28290"/>
                    <a:pt x="741644" y="51564"/>
                    <a:pt x="738541" y="57150"/>
                  </a:cubicBezTo>
                  <a:cubicBezTo>
                    <a:pt x="711245" y="106285"/>
                    <a:pt x="725507" y="67681"/>
                    <a:pt x="714728" y="100012"/>
                  </a:cubicBezTo>
                  <a:cubicBezTo>
                    <a:pt x="716316" y="107950"/>
                    <a:pt x="715871" y="116585"/>
                    <a:pt x="719491" y="123825"/>
                  </a:cubicBezTo>
                  <a:cubicBezTo>
                    <a:pt x="722503" y="129849"/>
                    <a:pt x="730042" y="132508"/>
                    <a:pt x="733778" y="138112"/>
                  </a:cubicBezTo>
                  <a:cubicBezTo>
                    <a:pt x="736563" y="142289"/>
                    <a:pt x="736953" y="147637"/>
                    <a:pt x="738541" y="152400"/>
                  </a:cubicBezTo>
                  <a:cubicBezTo>
                    <a:pt x="736953" y="165100"/>
                    <a:pt x="736068" y="177908"/>
                    <a:pt x="733778" y="190500"/>
                  </a:cubicBezTo>
                  <a:cubicBezTo>
                    <a:pt x="732880" y="195439"/>
                    <a:pt x="732152" y="200867"/>
                    <a:pt x="729016" y="204787"/>
                  </a:cubicBezTo>
                  <a:cubicBezTo>
                    <a:pt x="725440" y="209257"/>
                    <a:pt x="719491" y="211137"/>
                    <a:pt x="714728" y="214312"/>
                  </a:cubicBezTo>
                  <a:cubicBezTo>
                    <a:pt x="713141" y="219075"/>
                    <a:pt x="712211" y="224110"/>
                    <a:pt x="709966" y="228600"/>
                  </a:cubicBezTo>
                  <a:cubicBezTo>
                    <a:pt x="703337" y="241859"/>
                    <a:pt x="696684" y="246644"/>
                    <a:pt x="686153" y="257175"/>
                  </a:cubicBezTo>
                  <a:cubicBezTo>
                    <a:pt x="675235" y="289931"/>
                    <a:pt x="691172" y="251154"/>
                    <a:pt x="662341" y="285750"/>
                  </a:cubicBezTo>
                  <a:cubicBezTo>
                    <a:pt x="659127" y="289606"/>
                    <a:pt x="659823" y="295547"/>
                    <a:pt x="657578" y="300037"/>
                  </a:cubicBezTo>
                  <a:cubicBezTo>
                    <a:pt x="655018" y="305157"/>
                    <a:pt x="651228" y="309562"/>
                    <a:pt x="648053" y="314325"/>
                  </a:cubicBezTo>
                  <a:cubicBezTo>
                    <a:pt x="647014" y="322635"/>
                    <a:pt x="645634" y="353921"/>
                    <a:pt x="638528" y="366712"/>
                  </a:cubicBezTo>
                  <a:cubicBezTo>
                    <a:pt x="632968" y="376719"/>
                    <a:pt x="619478" y="395287"/>
                    <a:pt x="619478" y="395287"/>
                  </a:cubicBezTo>
                  <a:cubicBezTo>
                    <a:pt x="617891" y="400050"/>
                    <a:pt x="616479" y="404874"/>
                    <a:pt x="614716" y="409575"/>
                  </a:cubicBezTo>
                  <a:cubicBezTo>
                    <a:pt x="611714" y="417580"/>
                    <a:pt x="607894" y="425277"/>
                    <a:pt x="605191" y="433387"/>
                  </a:cubicBezTo>
                  <a:cubicBezTo>
                    <a:pt x="603121" y="439597"/>
                    <a:pt x="602309" y="446168"/>
                    <a:pt x="600428" y="452437"/>
                  </a:cubicBezTo>
                  <a:cubicBezTo>
                    <a:pt x="597543" y="462054"/>
                    <a:pt x="594078" y="471487"/>
                    <a:pt x="590903" y="481012"/>
                  </a:cubicBezTo>
                  <a:cubicBezTo>
                    <a:pt x="589316" y="485775"/>
                    <a:pt x="590318" y="492515"/>
                    <a:pt x="586141" y="495300"/>
                  </a:cubicBezTo>
                  <a:lnTo>
                    <a:pt x="571853" y="504825"/>
                  </a:lnTo>
                  <a:cubicBezTo>
                    <a:pt x="561339" y="518844"/>
                    <a:pt x="556548" y="527104"/>
                    <a:pt x="543278" y="538162"/>
                  </a:cubicBezTo>
                  <a:cubicBezTo>
                    <a:pt x="538881" y="541826"/>
                    <a:pt x="534221" y="545362"/>
                    <a:pt x="528991" y="547687"/>
                  </a:cubicBezTo>
                  <a:cubicBezTo>
                    <a:pt x="519816" y="551765"/>
                    <a:pt x="500416" y="557212"/>
                    <a:pt x="500416" y="557212"/>
                  </a:cubicBezTo>
                  <a:cubicBezTo>
                    <a:pt x="495653" y="560387"/>
                    <a:pt x="490175" y="562690"/>
                    <a:pt x="486128" y="566737"/>
                  </a:cubicBezTo>
                  <a:cubicBezTo>
                    <a:pt x="476896" y="575969"/>
                    <a:pt x="475714" y="583692"/>
                    <a:pt x="471841" y="595312"/>
                  </a:cubicBezTo>
                  <a:cubicBezTo>
                    <a:pt x="470253" y="609600"/>
                    <a:pt x="469441" y="623995"/>
                    <a:pt x="467078" y="638175"/>
                  </a:cubicBezTo>
                  <a:cubicBezTo>
                    <a:pt x="466253" y="643127"/>
                    <a:pt x="462316" y="647442"/>
                    <a:pt x="462316" y="652462"/>
                  </a:cubicBezTo>
                  <a:cubicBezTo>
                    <a:pt x="462316" y="659007"/>
                    <a:pt x="465197" y="665243"/>
                    <a:pt x="467078" y="671512"/>
                  </a:cubicBezTo>
                  <a:cubicBezTo>
                    <a:pt x="467085" y="671535"/>
                    <a:pt x="478981" y="707220"/>
                    <a:pt x="481366" y="714375"/>
                  </a:cubicBezTo>
                  <a:cubicBezTo>
                    <a:pt x="483176" y="719805"/>
                    <a:pt x="487716" y="723900"/>
                    <a:pt x="490891" y="728662"/>
                  </a:cubicBezTo>
                  <a:cubicBezTo>
                    <a:pt x="492478" y="733425"/>
                    <a:pt x="493408" y="738460"/>
                    <a:pt x="495653" y="742950"/>
                  </a:cubicBezTo>
                  <a:cubicBezTo>
                    <a:pt x="498213" y="748069"/>
                    <a:pt x="503168" y="751878"/>
                    <a:pt x="505178" y="757237"/>
                  </a:cubicBezTo>
                  <a:cubicBezTo>
                    <a:pt x="508020" y="764816"/>
                    <a:pt x="506321" y="773810"/>
                    <a:pt x="509941" y="781050"/>
                  </a:cubicBezTo>
                  <a:cubicBezTo>
                    <a:pt x="512953" y="787074"/>
                    <a:pt x="519916" y="790163"/>
                    <a:pt x="524228" y="795337"/>
                  </a:cubicBezTo>
                  <a:cubicBezTo>
                    <a:pt x="527892" y="799734"/>
                    <a:pt x="531193" y="804505"/>
                    <a:pt x="533753" y="809625"/>
                  </a:cubicBezTo>
                  <a:cubicBezTo>
                    <a:pt x="537757" y="817634"/>
                    <a:pt x="540987" y="835324"/>
                    <a:pt x="543278" y="842962"/>
                  </a:cubicBezTo>
                  <a:cubicBezTo>
                    <a:pt x="546163" y="852579"/>
                    <a:pt x="552803" y="871537"/>
                    <a:pt x="552803" y="871537"/>
                  </a:cubicBezTo>
                  <a:cubicBezTo>
                    <a:pt x="549533" y="914052"/>
                    <a:pt x="558989" y="923170"/>
                    <a:pt x="538516" y="947737"/>
                  </a:cubicBezTo>
                  <a:cubicBezTo>
                    <a:pt x="534204" y="952911"/>
                    <a:pt x="529402" y="957713"/>
                    <a:pt x="524228" y="962025"/>
                  </a:cubicBezTo>
                  <a:cubicBezTo>
                    <a:pt x="519831" y="965689"/>
                    <a:pt x="514338" y="967886"/>
                    <a:pt x="509941" y="971550"/>
                  </a:cubicBezTo>
                  <a:cubicBezTo>
                    <a:pt x="504767" y="975862"/>
                    <a:pt x="502269" y="984577"/>
                    <a:pt x="495653" y="985837"/>
                  </a:cubicBezTo>
                  <a:cubicBezTo>
                    <a:pt x="467539" y="991192"/>
                    <a:pt x="438503" y="989012"/>
                    <a:pt x="409928" y="990600"/>
                  </a:cubicBezTo>
                  <a:cubicBezTo>
                    <a:pt x="403578" y="992187"/>
                    <a:pt x="397278" y="993991"/>
                    <a:pt x="390878" y="995362"/>
                  </a:cubicBezTo>
                  <a:cubicBezTo>
                    <a:pt x="375048" y="998754"/>
                    <a:pt x="343253" y="1004887"/>
                    <a:pt x="343253" y="1004887"/>
                  </a:cubicBezTo>
                  <a:cubicBezTo>
                    <a:pt x="292194" y="1038927"/>
                    <a:pt x="369690" y="985913"/>
                    <a:pt x="314678" y="1028700"/>
                  </a:cubicBezTo>
                  <a:cubicBezTo>
                    <a:pt x="290114" y="1047806"/>
                    <a:pt x="293373" y="1045327"/>
                    <a:pt x="271816" y="1052512"/>
                  </a:cubicBezTo>
                  <a:cubicBezTo>
                    <a:pt x="268641" y="1057275"/>
                    <a:pt x="265955" y="1062403"/>
                    <a:pt x="262291" y="1066800"/>
                  </a:cubicBezTo>
                  <a:cubicBezTo>
                    <a:pt x="250834" y="1080549"/>
                    <a:pt x="247762" y="1081248"/>
                    <a:pt x="233716" y="1090612"/>
                  </a:cubicBezTo>
                  <a:cubicBezTo>
                    <a:pt x="228953" y="1087437"/>
                    <a:pt x="223197" y="1085395"/>
                    <a:pt x="219428" y="1081087"/>
                  </a:cubicBezTo>
                  <a:cubicBezTo>
                    <a:pt x="211890" y="1072472"/>
                    <a:pt x="200378" y="1052512"/>
                    <a:pt x="200378" y="1052512"/>
                  </a:cubicBezTo>
                  <a:cubicBezTo>
                    <a:pt x="189266" y="1019175"/>
                    <a:pt x="200378" y="1027112"/>
                    <a:pt x="176566" y="1019175"/>
                  </a:cubicBezTo>
                  <a:cubicBezTo>
                    <a:pt x="167595" y="1010204"/>
                    <a:pt x="158057" y="1002534"/>
                    <a:pt x="152753" y="990600"/>
                  </a:cubicBezTo>
                  <a:cubicBezTo>
                    <a:pt x="148675" y="981425"/>
                    <a:pt x="143228" y="962025"/>
                    <a:pt x="143228" y="962025"/>
                  </a:cubicBezTo>
                  <a:cubicBezTo>
                    <a:pt x="140053" y="941387"/>
                    <a:pt x="144994" y="917676"/>
                    <a:pt x="133703" y="900112"/>
                  </a:cubicBezTo>
                  <a:cubicBezTo>
                    <a:pt x="127633" y="890670"/>
                    <a:pt x="110406" y="900370"/>
                    <a:pt x="100366" y="895350"/>
                  </a:cubicBezTo>
                  <a:cubicBezTo>
                    <a:pt x="95876" y="893105"/>
                    <a:pt x="97191" y="885825"/>
                    <a:pt x="95603" y="881062"/>
                  </a:cubicBezTo>
                  <a:cubicBezTo>
                    <a:pt x="94016" y="871537"/>
                    <a:pt x="92936" y="861913"/>
                    <a:pt x="90841" y="852487"/>
                  </a:cubicBezTo>
                  <a:cubicBezTo>
                    <a:pt x="88413" y="841561"/>
                    <a:pt x="81845" y="828412"/>
                    <a:pt x="76553" y="819150"/>
                  </a:cubicBezTo>
                  <a:cubicBezTo>
                    <a:pt x="73713" y="814180"/>
                    <a:pt x="70203" y="809625"/>
                    <a:pt x="67028" y="804862"/>
                  </a:cubicBezTo>
                  <a:cubicBezTo>
                    <a:pt x="63853" y="795337"/>
                    <a:pt x="59938" y="786027"/>
                    <a:pt x="57503" y="776287"/>
                  </a:cubicBezTo>
                  <a:lnTo>
                    <a:pt x="47978" y="738187"/>
                  </a:lnTo>
                  <a:cubicBezTo>
                    <a:pt x="46391" y="731837"/>
                    <a:pt x="45286" y="725346"/>
                    <a:pt x="43216" y="719137"/>
                  </a:cubicBezTo>
                  <a:cubicBezTo>
                    <a:pt x="41628" y="714375"/>
                    <a:pt x="40891" y="709238"/>
                    <a:pt x="38453" y="704850"/>
                  </a:cubicBezTo>
                  <a:cubicBezTo>
                    <a:pt x="32893" y="694843"/>
                    <a:pt x="19403" y="676275"/>
                    <a:pt x="19403" y="676275"/>
                  </a:cubicBezTo>
                  <a:cubicBezTo>
                    <a:pt x="20991" y="668337"/>
                    <a:pt x="20235" y="659538"/>
                    <a:pt x="24166" y="652462"/>
                  </a:cubicBezTo>
                  <a:cubicBezTo>
                    <a:pt x="28527" y="644612"/>
                    <a:pt x="37996" y="640720"/>
                    <a:pt x="43216" y="633412"/>
                  </a:cubicBezTo>
                  <a:cubicBezTo>
                    <a:pt x="46134" y="629327"/>
                    <a:pt x="46391" y="623887"/>
                    <a:pt x="47978" y="619125"/>
                  </a:cubicBezTo>
                  <a:cubicBezTo>
                    <a:pt x="46391" y="611187"/>
                    <a:pt x="47232" y="602340"/>
                    <a:pt x="43216" y="595312"/>
                  </a:cubicBezTo>
                  <a:cubicBezTo>
                    <a:pt x="40376" y="590342"/>
                    <a:pt x="31054" y="591102"/>
                    <a:pt x="28928" y="585787"/>
                  </a:cubicBezTo>
                  <a:cubicBezTo>
                    <a:pt x="27064" y="581126"/>
                    <a:pt x="29771" y="574636"/>
                    <a:pt x="33691" y="571500"/>
                  </a:cubicBezTo>
                  <a:cubicBezTo>
                    <a:pt x="38802" y="567411"/>
                    <a:pt x="46447" y="568535"/>
                    <a:pt x="52741" y="566737"/>
                  </a:cubicBezTo>
                  <a:cubicBezTo>
                    <a:pt x="57568" y="565358"/>
                    <a:pt x="62266" y="563562"/>
                    <a:pt x="67028" y="561975"/>
                  </a:cubicBezTo>
                  <a:cubicBezTo>
                    <a:pt x="70203" y="557212"/>
                    <a:pt x="75743" y="553353"/>
                    <a:pt x="76553" y="547687"/>
                  </a:cubicBezTo>
                  <a:cubicBezTo>
                    <a:pt x="78535" y="533814"/>
                    <a:pt x="67799" y="521214"/>
                    <a:pt x="57503" y="514350"/>
                  </a:cubicBezTo>
                  <a:cubicBezTo>
                    <a:pt x="53326" y="511565"/>
                    <a:pt x="47978" y="511175"/>
                    <a:pt x="43216" y="509587"/>
                  </a:cubicBezTo>
                  <a:cubicBezTo>
                    <a:pt x="44803" y="495300"/>
                    <a:pt x="43065" y="480235"/>
                    <a:pt x="47978" y="466725"/>
                  </a:cubicBezTo>
                  <a:cubicBezTo>
                    <a:pt x="49934" y="461346"/>
                    <a:pt x="58219" y="461247"/>
                    <a:pt x="62266" y="457200"/>
                  </a:cubicBezTo>
                  <a:cubicBezTo>
                    <a:pt x="66313" y="453153"/>
                    <a:pt x="68616" y="447675"/>
                    <a:pt x="71791" y="442912"/>
                  </a:cubicBezTo>
                  <a:cubicBezTo>
                    <a:pt x="70203" y="409575"/>
                    <a:pt x="74425" y="375445"/>
                    <a:pt x="67028" y="342900"/>
                  </a:cubicBezTo>
                  <a:cubicBezTo>
                    <a:pt x="65577" y="336517"/>
                    <a:pt x="53994" y="340715"/>
                    <a:pt x="47978" y="338137"/>
                  </a:cubicBezTo>
                  <a:cubicBezTo>
                    <a:pt x="35286" y="332697"/>
                    <a:pt x="23513" y="318434"/>
                    <a:pt x="14641" y="309562"/>
                  </a:cubicBezTo>
                  <a:cubicBezTo>
                    <a:pt x="13053" y="304800"/>
                    <a:pt x="12123" y="299765"/>
                    <a:pt x="9878" y="295275"/>
                  </a:cubicBezTo>
                  <a:cubicBezTo>
                    <a:pt x="7318" y="290155"/>
                    <a:pt x="734" y="286698"/>
                    <a:pt x="353" y="280987"/>
                  </a:cubicBezTo>
                  <a:cubicBezTo>
                    <a:pt x="-918" y="261913"/>
                    <a:pt x="1367" y="242582"/>
                    <a:pt x="5116" y="223837"/>
                  </a:cubicBezTo>
                  <a:cubicBezTo>
                    <a:pt x="6239" y="218224"/>
                    <a:pt x="9671" y="212390"/>
                    <a:pt x="14641" y="209550"/>
                  </a:cubicBezTo>
                  <a:cubicBezTo>
                    <a:pt x="21669" y="205534"/>
                    <a:pt x="30600" y="206750"/>
                    <a:pt x="38453" y="204787"/>
                  </a:cubicBezTo>
                  <a:cubicBezTo>
                    <a:pt x="43323" y="203569"/>
                    <a:pt x="47978" y="201612"/>
                    <a:pt x="52741" y="200025"/>
                  </a:cubicBezTo>
                  <a:cubicBezTo>
                    <a:pt x="68151" y="184614"/>
                    <a:pt x="56710" y="175419"/>
                    <a:pt x="62266" y="171450"/>
                  </a:cubicBezTo>
                  <a:close/>
                </a:path>
              </a:pathLst>
            </a:custGeom>
            <a:solidFill>
              <a:srgbClr val="595959">
                <a:alpha val="40000"/>
              </a:srgbClr>
            </a:solidFill>
            <a:ln w="28575">
              <a:solidFill>
                <a:schemeClr val="tx1">
                  <a:lumMod val="95000"/>
                  <a:lumOff val="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dirty="0">
                  <a:solidFill>
                    <a:schemeClr val="tx1"/>
                  </a:solidFill>
                  <a:latin typeface="Arial Narrow" pitchFamily="34" charset="0"/>
                </a:rPr>
                <a:t>Oued </a:t>
              </a:r>
              <a:r>
                <a:rPr lang="fr-FR" dirty="0" err="1">
                  <a:solidFill>
                    <a:schemeClr val="tx1"/>
                  </a:solidFill>
                  <a:latin typeface="Arial Narrow" pitchFamily="34" charset="0"/>
                </a:rPr>
                <a:t>Mya</a:t>
              </a:r>
              <a:endParaRPr lang="fr-FR" dirty="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20" name="Ellipse 19"/>
            <p:cNvSpPr/>
            <p:nvPr/>
          </p:nvSpPr>
          <p:spPr>
            <a:xfrm>
              <a:off x="7303793" y="2440599"/>
              <a:ext cx="372876" cy="359127"/>
            </a:xfrm>
            <a:prstGeom prst="ellipse">
              <a:avLst/>
            </a:prstGeom>
            <a:solidFill>
              <a:srgbClr val="595959">
                <a:alpha val="40000"/>
              </a:srgbClr>
            </a:solidFill>
            <a:ln w="28575">
              <a:solidFill>
                <a:schemeClr val="tx1">
                  <a:lumMod val="95000"/>
                  <a:lumOff val="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 err="1">
                  <a:solidFill>
                    <a:schemeClr val="tx1"/>
                  </a:solidFill>
                  <a:latin typeface="Arial Narrow" pitchFamily="34" charset="0"/>
                </a:rPr>
                <a:t>Hasssi</a:t>
              </a:r>
              <a:r>
                <a:rPr lang="fr-FR" sz="700" dirty="0">
                  <a:solidFill>
                    <a:schemeClr val="tx1"/>
                  </a:solidFill>
                  <a:latin typeface="Arial Narrow" pitchFamily="34" charset="0"/>
                </a:rPr>
                <a:t> </a:t>
              </a:r>
              <a:r>
                <a:rPr lang="fr-FR" sz="700" dirty="0" err="1">
                  <a:solidFill>
                    <a:schemeClr val="tx1"/>
                  </a:solidFill>
                  <a:latin typeface="Arial Narrow" pitchFamily="34" charset="0"/>
                </a:rPr>
                <a:t>R’Mel</a:t>
              </a:r>
              <a:endParaRPr lang="fr-FR" sz="700" dirty="0">
                <a:solidFill>
                  <a:schemeClr val="tx1"/>
                </a:solidFill>
                <a:latin typeface="Arial Narrow" pitchFamily="34" charset="0"/>
              </a:endParaRPr>
            </a:p>
          </p:txBody>
        </p:sp>
        <p:sp>
          <p:nvSpPr>
            <p:cNvPr id="21" name="Ellipse 20"/>
            <p:cNvSpPr/>
            <p:nvPr/>
          </p:nvSpPr>
          <p:spPr>
            <a:xfrm>
              <a:off x="8028359" y="2686667"/>
              <a:ext cx="525416" cy="520957"/>
            </a:xfrm>
            <a:prstGeom prst="ellipse">
              <a:avLst/>
            </a:prstGeom>
            <a:solidFill>
              <a:srgbClr val="595959">
                <a:alpha val="40000"/>
              </a:srgbClr>
            </a:solidFill>
            <a:ln w="28575">
              <a:solidFill>
                <a:schemeClr val="tx1">
                  <a:lumMod val="95000"/>
                  <a:lumOff val="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700" dirty="0" err="1">
                  <a:solidFill>
                    <a:schemeClr val="tx1"/>
                  </a:solidFill>
                  <a:latin typeface="Arial Narrow" pitchFamily="34" charset="0"/>
                </a:rPr>
                <a:t>Hasssi</a:t>
              </a:r>
              <a:r>
                <a:rPr lang="fr-FR" sz="700" dirty="0">
                  <a:solidFill>
                    <a:schemeClr val="tx1"/>
                  </a:solidFill>
                  <a:latin typeface="Arial Narrow" pitchFamily="34" charset="0"/>
                </a:rPr>
                <a:t> Messaoud</a:t>
              </a:r>
            </a:p>
          </p:txBody>
        </p:sp>
        <p:sp>
          <p:nvSpPr>
            <p:cNvPr id="22" name="Ellipse 21"/>
            <p:cNvSpPr/>
            <p:nvPr/>
          </p:nvSpPr>
          <p:spPr>
            <a:xfrm>
              <a:off x="9409696" y="3043578"/>
              <a:ext cx="281775" cy="259369"/>
            </a:xfrm>
            <a:prstGeom prst="ellipse">
              <a:avLst/>
            </a:prstGeom>
            <a:solidFill>
              <a:srgbClr val="595959">
                <a:alpha val="40000"/>
              </a:srgbClr>
            </a:solidFill>
            <a:ln w="28575">
              <a:solidFill>
                <a:schemeClr val="tx1">
                  <a:lumMod val="95000"/>
                  <a:lumOff val="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000" dirty="0">
                  <a:solidFill>
                    <a:schemeClr val="tx1"/>
                  </a:solidFill>
                  <a:latin typeface="Arial Narrow" pitchFamily="34" charset="0"/>
                </a:rPr>
                <a:t>1</a:t>
              </a:r>
            </a:p>
          </p:txBody>
        </p:sp>
        <p:sp>
          <p:nvSpPr>
            <p:cNvPr id="23" name="Forme libre 22"/>
            <p:cNvSpPr/>
            <p:nvPr/>
          </p:nvSpPr>
          <p:spPr>
            <a:xfrm>
              <a:off x="4396007" y="3449258"/>
              <a:ext cx="1696578" cy="782543"/>
            </a:xfrm>
            <a:custGeom>
              <a:avLst/>
              <a:gdLst>
                <a:gd name="connsiteX0" fmla="*/ 36464 w 1281812"/>
                <a:gd name="connsiteY0" fmla="*/ 196343 h 782569"/>
                <a:gd name="connsiteX1" fmla="*/ 33659 w 1281812"/>
                <a:gd name="connsiteY1" fmla="*/ 269271 h 782569"/>
                <a:gd name="connsiteX2" fmla="*/ 30854 w 1281812"/>
                <a:gd name="connsiteY2" fmla="*/ 280491 h 782569"/>
                <a:gd name="connsiteX3" fmla="*/ 28049 w 1281812"/>
                <a:gd name="connsiteY3" fmla="*/ 297320 h 782569"/>
                <a:gd name="connsiteX4" fmla="*/ 25244 w 1281812"/>
                <a:gd name="connsiteY4" fmla="*/ 356223 h 782569"/>
                <a:gd name="connsiteX5" fmla="*/ 22439 w 1281812"/>
                <a:gd name="connsiteY5" fmla="*/ 367443 h 782569"/>
                <a:gd name="connsiteX6" fmla="*/ 19634 w 1281812"/>
                <a:gd name="connsiteY6" fmla="*/ 384272 h 782569"/>
                <a:gd name="connsiteX7" fmla="*/ 14025 w 1281812"/>
                <a:gd name="connsiteY7" fmla="*/ 440370 h 782569"/>
                <a:gd name="connsiteX8" fmla="*/ 8415 w 1281812"/>
                <a:gd name="connsiteY8" fmla="*/ 457200 h 782569"/>
                <a:gd name="connsiteX9" fmla="*/ 5610 w 1281812"/>
                <a:gd name="connsiteY9" fmla="*/ 524518 h 782569"/>
                <a:gd name="connsiteX10" fmla="*/ 0 w 1281812"/>
                <a:gd name="connsiteY10" fmla="*/ 546957 h 782569"/>
                <a:gd name="connsiteX11" fmla="*/ 8415 w 1281812"/>
                <a:gd name="connsiteY11" fmla="*/ 552567 h 782569"/>
                <a:gd name="connsiteX12" fmla="*/ 30854 w 1281812"/>
                <a:gd name="connsiteY12" fmla="*/ 555372 h 782569"/>
                <a:gd name="connsiteX13" fmla="*/ 36464 w 1281812"/>
                <a:gd name="connsiteY13" fmla="*/ 572201 h 782569"/>
                <a:gd name="connsiteX14" fmla="*/ 61708 w 1281812"/>
                <a:gd name="connsiteY14" fmla="*/ 591835 h 782569"/>
                <a:gd name="connsiteX15" fmla="*/ 78537 w 1281812"/>
                <a:gd name="connsiteY15" fmla="*/ 605860 h 782569"/>
                <a:gd name="connsiteX16" fmla="*/ 86952 w 1281812"/>
                <a:gd name="connsiteY16" fmla="*/ 614275 h 782569"/>
                <a:gd name="connsiteX17" fmla="*/ 95367 w 1281812"/>
                <a:gd name="connsiteY17" fmla="*/ 625494 h 782569"/>
                <a:gd name="connsiteX18" fmla="*/ 103782 w 1281812"/>
                <a:gd name="connsiteY18" fmla="*/ 628299 h 782569"/>
                <a:gd name="connsiteX19" fmla="*/ 112196 w 1281812"/>
                <a:gd name="connsiteY19" fmla="*/ 636714 h 782569"/>
                <a:gd name="connsiteX20" fmla="*/ 120611 w 1281812"/>
                <a:gd name="connsiteY20" fmla="*/ 639519 h 782569"/>
                <a:gd name="connsiteX21" fmla="*/ 137440 w 1281812"/>
                <a:gd name="connsiteY21" fmla="*/ 659153 h 782569"/>
                <a:gd name="connsiteX22" fmla="*/ 145855 w 1281812"/>
                <a:gd name="connsiteY22" fmla="*/ 661958 h 782569"/>
                <a:gd name="connsiteX23" fmla="*/ 162685 w 1281812"/>
                <a:gd name="connsiteY23" fmla="*/ 675983 h 782569"/>
                <a:gd name="connsiteX24" fmla="*/ 171099 w 1281812"/>
                <a:gd name="connsiteY24" fmla="*/ 678788 h 782569"/>
                <a:gd name="connsiteX25" fmla="*/ 196344 w 1281812"/>
                <a:gd name="connsiteY25" fmla="*/ 695617 h 782569"/>
                <a:gd name="connsiteX26" fmla="*/ 204758 w 1281812"/>
                <a:gd name="connsiteY26" fmla="*/ 704032 h 782569"/>
                <a:gd name="connsiteX27" fmla="*/ 213173 w 1281812"/>
                <a:gd name="connsiteY27" fmla="*/ 709642 h 782569"/>
                <a:gd name="connsiteX28" fmla="*/ 221588 w 1281812"/>
                <a:gd name="connsiteY28" fmla="*/ 718056 h 782569"/>
                <a:gd name="connsiteX29" fmla="*/ 232807 w 1281812"/>
                <a:gd name="connsiteY29" fmla="*/ 723666 h 782569"/>
                <a:gd name="connsiteX30" fmla="*/ 241222 w 1281812"/>
                <a:gd name="connsiteY30" fmla="*/ 732081 h 782569"/>
                <a:gd name="connsiteX31" fmla="*/ 258051 w 1281812"/>
                <a:gd name="connsiteY31" fmla="*/ 743300 h 782569"/>
                <a:gd name="connsiteX32" fmla="*/ 266466 w 1281812"/>
                <a:gd name="connsiteY32" fmla="*/ 748910 h 782569"/>
                <a:gd name="connsiteX33" fmla="*/ 283296 w 1281812"/>
                <a:gd name="connsiteY33" fmla="*/ 762935 h 782569"/>
                <a:gd name="connsiteX34" fmla="*/ 300125 w 1281812"/>
                <a:gd name="connsiteY34" fmla="*/ 776959 h 782569"/>
                <a:gd name="connsiteX35" fmla="*/ 316955 w 1281812"/>
                <a:gd name="connsiteY35" fmla="*/ 782569 h 782569"/>
                <a:gd name="connsiteX36" fmla="*/ 328174 w 1281812"/>
                <a:gd name="connsiteY36" fmla="*/ 779764 h 782569"/>
                <a:gd name="connsiteX37" fmla="*/ 342199 w 1281812"/>
                <a:gd name="connsiteY37" fmla="*/ 762935 h 782569"/>
                <a:gd name="connsiteX38" fmla="*/ 359028 w 1281812"/>
                <a:gd name="connsiteY38" fmla="*/ 751715 h 782569"/>
                <a:gd name="connsiteX39" fmla="*/ 375858 w 1281812"/>
                <a:gd name="connsiteY39" fmla="*/ 746105 h 782569"/>
                <a:gd name="connsiteX40" fmla="*/ 398297 w 1281812"/>
                <a:gd name="connsiteY40" fmla="*/ 740496 h 782569"/>
                <a:gd name="connsiteX41" fmla="*/ 434761 w 1281812"/>
                <a:gd name="connsiteY41" fmla="*/ 732081 h 782569"/>
                <a:gd name="connsiteX42" fmla="*/ 451590 w 1281812"/>
                <a:gd name="connsiteY42" fmla="*/ 726471 h 782569"/>
                <a:gd name="connsiteX43" fmla="*/ 521713 w 1281812"/>
                <a:gd name="connsiteY43" fmla="*/ 734886 h 782569"/>
                <a:gd name="connsiteX44" fmla="*/ 664763 w 1281812"/>
                <a:gd name="connsiteY44" fmla="*/ 729276 h 782569"/>
                <a:gd name="connsiteX45" fmla="*/ 678788 w 1281812"/>
                <a:gd name="connsiteY45" fmla="*/ 726471 h 782569"/>
                <a:gd name="connsiteX46" fmla="*/ 687202 w 1281812"/>
                <a:gd name="connsiteY46" fmla="*/ 723666 h 782569"/>
                <a:gd name="connsiteX47" fmla="*/ 712447 w 1281812"/>
                <a:gd name="connsiteY47" fmla="*/ 720861 h 782569"/>
                <a:gd name="connsiteX48" fmla="*/ 726471 w 1281812"/>
                <a:gd name="connsiteY48" fmla="*/ 718056 h 782569"/>
                <a:gd name="connsiteX49" fmla="*/ 737691 w 1281812"/>
                <a:gd name="connsiteY49" fmla="*/ 715251 h 782569"/>
                <a:gd name="connsiteX50" fmla="*/ 762935 w 1281812"/>
                <a:gd name="connsiteY50" fmla="*/ 712446 h 782569"/>
                <a:gd name="connsiteX51" fmla="*/ 779764 w 1281812"/>
                <a:gd name="connsiteY51" fmla="*/ 709642 h 782569"/>
                <a:gd name="connsiteX52" fmla="*/ 799399 w 1281812"/>
                <a:gd name="connsiteY52" fmla="*/ 706837 h 782569"/>
                <a:gd name="connsiteX53" fmla="*/ 819033 w 1281812"/>
                <a:gd name="connsiteY53" fmla="*/ 701227 h 782569"/>
                <a:gd name="connsiteX54" fmla="*/ 835863 w 1281812"/>
                <a:gd name="connsiteY54" fmla="*/ 698422 h 782569"/>
                <a:gd name="connsiteX55" fmla="*/ 877936 w 1281812"/>
                <a:gd name="connsiteY55" fmla="*/ 684397 h 782569"/>
                <a:gd name="connsiteX56" fmla="*/ 891961 w 1281812"/>
                <a:gd name="connsiteY56" fmla="*/ 681592 h 782569"/>
                <a:gd name="connsiteX57" fmla="*/ 900375 w 1281812"/>
                <a:gd name="connsiteY57" fmla="*/ 678788 h 782569"/>
                <a:gd name="connsiteX58" fmla="*/ 911595 w 1281812"/>
                <a:gd name="connsiteY58" fmla="*/ 675983 h 782569"/>
                <a:gd name="connsiteX59" fmla="*/ 936839 w 1281812"/>
                <a:gd name="connsiteY59" fmla="*/ 667568 h 782569"/>
                <a:gd name="connsiteX60" fmla="*/ 956474 w 1281812"/>
                <a:gd name="connsiteY60" fmla="*/ 664763 h 782569"/>
                <a:gd name="connsiteX61" fmla="*/ 976108 w 1281812"/>
                <a:gd name="connsiteY61" fmla="*/ 650738 h 782569"/>
                <a:gd name="connsiteX62" fmla="*/ 984523 w 1281812"/>
                <a:gd name="connsiteY62" fmla="*/ 631104 h 782569"/>
                <a:gd name="connsiteX63" fmla="*/ 990132 w 1281812"/>
                <a:gd name="connsiteY63" fmla="*/ 617080 h 782569"/>
                <a:gd name="connsiteX64" fmla="*/ 992937 w 1281812"/>
                <a:gd name="connsiteY64" fmla="*/ 605860 h 782569"/>
                <a:gd name="connsiteX65" fmla="*/ 998547 w 1281812"/>
                <a:gd name="connsiteY65" fmla="*/ 597445 h 782569"/>
                <a:gd name="connsiteX66" fmla="*/ 1001352 w 1281812"/>
                <a:gd name="connsiteY66" fmla="*/ 589030 h 782569"/>
                <a:gd name="connsiteX67" fmla="*/ 1009767 w 1281812"/>
                <a:gd name="connsiteY67" fmla="*/ 580616 h 782569"/>
                <a:gd name="connsiteX68" fmla="*/ 1020986 w 1281812"/>
                <a:gd name="connsiteY68" fmla="*/ 563786 h 782569"/>
                <a:gd name="connsiteX69" fmla="*/ 1037816 w 1281812"/>
                <a:gd name="connsiteY69" fmla="*/ 546957 h 782569"/>
                <a:gd name="connsiteX70" fmla="*/ 1046231 w 1281812"/>
                <a:gd name="connsiteY70" fmla="*/ 538542 h 782569"/>
                <a:gd name="connsiteX71" fmla="*/ 1057450 w 1281812"/>
                <a:gd name="connsiteY71" fmla="*/ 521713 h 782569"/>
                <a:gd name="connsiteX72" fmla="*/ 1063060 w 1281812"/>
                <a:gd name="connsiteY72" fmla="*/ 513298 h 782569"/>
                <a:gd name="connsiteX73" fmla="*/ 1071475 w 1281812"/>
                <a:gd name="connsiteY73" fmla="*/ 504883 h 782569"/>
                <a:gd name="connsiteX74" fmla="*/ 1096719 w 1281812"/>
                <a:gd name="connsiteY74" fmla="*/ 490859 h 782569"/>
                <a:gd name="connsiteX75" fmla="*/ 1105134 w 1281812"/>
                <a:gd name="connsiteY75" fmla="*/ 485249 h 782569"/>
                <a:gd name="connsiteX76" fmla="*/ 1113548 w 1281812"/>
                <a:gd name="connsiteY76" fmla="*/ 482444 h 782569"/>
                <a:gd name="connsiteX77" fmla="*/ 1138793 w 1281812"/>
                <a:gd name="connsiteY77" fmla="*/ 462810 h 782569"/>
                <a:gd name="connsiteX78" fmla="*/ 1144402 w 1281812"/>
                <a:gd name="connsiteY78" fmla="*/ 454395 h 782569"/>
                <a:gd name="connsiteX79" fmla="*/ 1150012 w 1281812"/>
                <a:gd name="connsiteY79" fmla="*/ 437565 h 782569"/>
                <a:gd name="connsiteX80" fmla="*/ 1155622 w 1281812"/>
                <a:gd name="connsiteY80" fmla="*/ 420736 h 782569"/>
                <a:gd name="connsiteX81" fmla="*/ 1164037 w 1281812"/>
                <a:gd name="connsiteY81" fmla="*/ 403907 h 782569"/>
                <a:gd name="connsiteX82" fmla="*/ 1180866 w 1281812"/>
                <a:gd name="connsiteY82" fmla="*/ 392687 h 782569"/>
                <a:gd name="connsiteX83" fmla="*/ 1197696 w 1281812"/>
                <a:gd name="connsiteY83" fmla="*/ 381467 h 782569"/>
                <a:gd name="connsiteX84" fmla="*/ 1208915 w 1281812"/>
                <a:gd name="connsiteY84" fmla="*/ 373053 h 782569"/>
                <a:gd name="connsiteX85" fmla="*/ 1225745 w 1281812"/>
                <a:gd name="connsiteY85" fmla="*/ 361833 h 782569"/>
                <a:gd name="connsiteX86" fmla="*/ 1239769 w 1281812"/>
                <a:gd name="connsiteY86" fmla="*/ 350613 h 782569"/>
                <a:gd name="connsiteX87" fmla="*/ 1245379 w 1281812"/>
                <a:gd name="connsiteY87" fmla="*/ 342199 h 782569"/>
                <a:gd name="connsiteX88" fmla="*/ 1262209 w 1281812"/>
                <a:gd name="connsiteY88" fmla="*/ 325369 h 782569"/>
                <a:gd name="connsiteX89" fmla="*/ 1276233 w 1281812"/>
                <a:gd name="connsiteY89" fmla="*/ 311345 h 782569"/>
                <a:gd name="connsiteX90" fmla="*/ 1276233 w 1281812"/>
                <a:gd name="connsiteY90" fmla="*/ 255246 h 782569"/>
                <a:gd name="connsiteX91" fmla="*/ 1267818 w 1281812"/>
                <a:gd name="connsiteY91" fmla="*/ 252442 h 782569"/>
                <a:gd name="connsiteX92" fmla="*/ 1234159 w 1281812"/>
                <a:gd name="connsiteY92" fmla="*/ 252442 h 782569"/>
                <a:gd name="connsiteX93" fmla="*/ 1236964 w 1281812"/>
                <a:gd name="connsiteY93" fmla="*/ 230002 h 782569"/>
                <a:gd name="connsiteX94" fmla="*/ 1222940 w 1281812"/>
                <a:gd name="connsiteY94" fmla="*/ 210368 h 782569"/>
                <a:gd name="connsiteX95" fmla="*/ 1217330 w 1281812"/>
                <a:gd name="connsiteY95" fmla="*/ 201953 h 782569"/>
                <a:gd name="connsiteX96" fmla="*/ 1200501 w 1281812"/>
                <a:gd name="connsiteY96" fmla="*/ 190734 h 782569"/>
                <a:gd name="connsiteX97" fmla="*/ 1197696 w 1281812"/>
                <a:gd name="connsiteY97" fmla="*/ 182319 h 782569"/>
                <a:gd name="connsiteX98" fmla="*/ 1183671 w 1281812"/>
                <a:gd name="connsiteY98" fmla="*/ 165489 h 782569"/>
                <a:gd name="connsiteX99" fmla="*/ 1175256 w 1281812"/>
                <a:gd name="connsiteY99" fmla="*/ 159880 h 782569"/>
                <a:gd name="connsiteX100" fmla="*/ 1158427 w 1281812"/>
                <a:gd name="connsiteY100" fmla="*/ 148660 h 782569"/>
                <a:gd name="connsiteX101" fmla="*/ 1150012 w 1281812"/>
                <a:gd name="connsiteY101" fmla="*/ 140245 h 782569"/>
                <a:gd name="connsiteX102" fmla="*/ 1144402 w 1281812"/>
                <a:gd name="connsiteY102" fmla="*/ 131830 h 782569"/>
                <a:gd name="connsiteX103" fmla="*/ 1127573 w 1281812"/>
                <a:gd name="connsiteY103" fmla="*/ 126221 h 782569"/>
                <a:gd name="connsiteX104" fmla="*/ 1119158 w 1281812"/>
                <a:gd name="connsiteY104" fmla="*/ 120611 h 782569"/>
                <a:gd name="connsiteX105" fmla="*/ 1116353 w 1281812"/>
                <a:gd name="connsiteY105" fmla="*/ 112196 h 782569"/>
                <a:gd name="connsiteX106" fmla="*/ 1096719 w 1281812"/>
                <a:gd name="connsiteY106" fmla="*/ 86952 h 782569"/>
                <a:gd name="connsiteX107" fmla="*/ 1065865 w 1281812"/>
                <a:gd name="connsiteY107" fmla="*/ 81342 h 782569"/>
                <a:gd name="connsiteX108" fmla="*/ 1046231 w 1281812"/>
                <a:gd name="connsiteY108" fmla="*/ 75732 h 782569"/>
                <a:gd name="connsiteX109" fmla="*/ 962083 w 1281812"/>
                <a:gd name="connsiteY109" fmla="*/ 70123 h 782569"/>
                <a:gd name="connsiteX110" fmla="*/ 939644 w 1281812"/>
                <a:gd name="connsiteY110" fmla="*/ 64513 h 782569"/>
                <a:gd name="connsiteX111" fmla="*/ 931229 w 1281812"/>
                <a:gd name="connsiteY111" fmla="*/ 61708 h 782569"/>
                <a:gd name="connsiteX112" fmla="*/ 875131 w 1281812"/>
                <a:gd name="connsiteY112" fmla="*/ 56098 h 782569"/>
                <a:gd name="connsiteX113" fmla="*/ 847082 w 1281812"/>
                <a:gd name="connsiteY113" fmla="*/ 50488 h 782569"/>
                <a:gd name="connsiteX114" fmla="*/ 776959 w 1281812"/>
                <a:gd name="connsiteY114" fmla="*/ 44878 h 782569"/>
                <a:gd name="connsiteX115" fmla="*/ 673178 w 1281812"/>
                <a:gd name="connsiteY115" fmla="*/ 47683 h 782569"/>
                <a:gd name="connsiteX116" fmla="*/ 645129 w 1281812"/>
                <a:gd name="connsiteY116" fmla="*/ 58903 h 782569"/>
                <a:gd name="connsiteX117" fmla="*/ 628299 w 1281812"/>
                <a:gd name="connsiteY117" fmla="*/ 64513 h 782569"/>
                <a:gd name="connsiteX118" fmla="*/ 614275 w 1281812"/>
                <a:gd name="connsiteY118" fmla="*/ 67318 h 782569"/>
                <a:gd name="connsiteX119" fmla="*/ 591836 w 1281812"/>
                <a:gd name="connsiteY119" fmla="*/ 72927 h 782569"/>
                <a:gd name="connsiteX120" fmla="*/ 558177 w 1281812"/>
                <a:gd name="connsiteY120" fmla="*/ 75732 h 782569"/>
                <a:gd name="connsiteX121" fmla="*/ 549762 w 1281812"/>
                <a:gd name="connsiteY121" fmla="*/ 78537 h 782569"/>
                <a:gd name="connsiteX122" fmla="*/ 479639 w 1281812"/>
                <a:gd name="connsiteY122" fmla="*/ 78537 h 782569"/>
                <a:gd name="connsiteX123" fmla="*/ 471225 w 1281812"/>
                <a:gd name="connsiteY123" fmla="*/ 75732 h 782569"/>
                <a:gd name="connsiteX124" fmla="*/ 460005 w 1281812"/>
                <a:gd name="connsiteY124" fmla="*/ 58903 h 782569"/>
                <a:gd name="connsiteX125" fmla="*/ 454395 w 1281812"/>
                <a:gd name="connsiteY125" fmla="*/ 47683 h 782569"/>
                <a:gd name="connsiteX126" fmla="*/ 440371 w 1281812"/>
                <a:gd name="connsiteY126" fmla="*/ 30854 h 782569"/>
                <a:gd name="connsiteX127" fmla="*/ 423541 w 1281812"/>
                <a:gd name="connsiteY127" fmla="*/ 19634 h 782569"/>
                <a:gd name="connsiteX128" fmla="*/ 415126 w 1281812"/>
                <a:gd name="connsiteY128" fmla="*/ 16829 h 782569"/>
                <a:gd name="connsiteX129" fmla="*/ 406712 w 1281812"/>
                <a:gd name="connsiteY129" fmla="*/ 11219 h 782569"/>
                <a:gd name="connsiteX130" fmla="*/ 401102 w 1281812"/>
                <a:gd name="connsiteY130" fmla="*/ 2805 h 782569"/>
                <a:gd name="connsiteX131" fmla="*/ 392687 w 1281812"/>
                <a:gd name="connsiteY131" fmla="*/ 0 h 782569"/>
                <a:gd name="connsiteX132" fmla="*/ 364638 w 1281812"/>
                <a:gd name="connsiteY132" fmla="*/ 2805 h 782569"/>
                <a:gd name="connsiteX133" fmla="*/ 347809 w 1281812"/>
                <a:gd name="connsiteY133" fmla="*/ 8415 h 782569"/>
                <a:gd name="connsiteX134" fmla="*/ 339394 w 1281812"/>
                <a:gd name="connsiteY134" fmla="*/ 28049 h 782569"/>
                <a:gd name="connsiteX135" fmla="*/ 330979 w 1281812"/>
                <a:gd name="connsiteY135" fmla="*/ 30854 h 782569"/>
                <a:gd name="connsiteX136" fmla="*/ 314150 w 1281812"/>
                <a:gd name="connsiteY136" fmla="*/ 25244 h 782569"/>
                <a:gd name="connsiteX137" fmla="*/ 305735 w 1281812"/>
                <a:gd name="connsiteY137" fmla="*/ 22439 h 782569"/>
                <a:gd name="connsiteX138" fmla="*/ 286101 w 1281812"/>
                <a:gd name="connsiteY138" fmla="*/ 14024 h 782569"/>
                <a:gd name="connsiteX139" fmla="*/ 274881 w 1281812"/>
                <a:gd name="connsiteY139" fmla="*/ 16829 h 782569"/>
                <a:gd name="connsiteX140" fmla="*/ 260856 w 1281812"/>
                <a:gd name="connsiteY140" fmla="*/ 42073 h 782569"/>
                <a:gd name="connsiteX141" fmla="*/ 258051 w 1281812"/>
                <a:gd name="connsiteY141" fmla="*/ 64513 h 782569"/>
                <a:gd name="connsiteX142" fmla="*/ 241222 w 1281812"/>
                <a:gd name="connsiteY142" fmla="*/ 70123 h 782569"/>
                <a:gd name="connsiteX143" fmla="*/ 221588 w 1281812"/>
                <a:gd name="connsiteY143" fmla="*/ 75732 h 782569"/>
                <a:gd name="connsiteX144" fmla="*/ 204758 w 1281812"/>
                <a:gd name="connsiteY144" fmla="*/ 81342 h 782569"/>
                <a:gd name="connsiteX145" fmla="*/ 196344 w 1281812"/>
                <a:gd name="connsiteY145" fmla="*/ 84147 h 782569"/>
                <a:gd name="connsiteX146" fmla="*/ 187929 w 1281812"/>
                <a:gd name="connsiteY146" fmla="*/ 92562 h 782569"/>
                <a:gd name="connsiteX147" fmla="*/ 171099 w 1281812"/>
                <a:gd name="connsiteY147" fmla="*/ 103781 h 782569"/>
                <a:gd name="connsiteX148" fmla="*/ 162685 w 1281812"/>
                <a:gd name="connsiteY148" fmla="*/ 109391 h 782569"/>
                <a:gd name="connsiteX149" fmla="*/ 154270 w 1281812"/>
                <a:gd name="connsiteY149" fmla="*/ 115001 h 782569"/>
                <a:gd name="connsiteX150" fmla="*/ 145855 w 1281812"/>
                <a:gd name="connsiteY150" fmla="*/ 120611 h 782569"/>
                <a:gd name="connsiteX151" fmla="*/ 129026 w 1281812"/>
                <a:gd name="connsiteY151" fmla="*/ 134635 h 782569"/>
                <a:gd name="connsiteX152" fmla="*/ 115001 w 1281812"/>
                <a:gd name="connsiteY152" fmla="*/ 145855 h 782569"/>
                <a:gd name="connsiteX153" fmla="*/ 98172 w 1281812"/>
                <a:gd name="connsiteY153" fmla="*/ 162684 h 782569"/>
                <a:gd name="connsiteX154" fmla="*/ 81342 w 1281812"/>
                <a:gd name="connsiteY154" fmla="*/ 173904 h 782569"/>
                <a:gd name="connsiteX155" fmla="*/ 72928 w 1281812"/>
                <a:gd name="connsiteY155" fmla="*/ 179514 h 782569"/>
                <a:gd name="connsiteX156" fmla="*/ 64513 w 1281812"/>
                <a:gd name="connsiteY156" fmla="*/ 182319 h 782569"/>
                <a:gd name="connsiteX157" fmla="*/ 36464 w 1281812"/>
                <a:gd name="connsiteY157" fmla="*/ 190734 h 782569"/>
                <a:gd name="connsiteX158" fmla="*/ 36464 w 1281812"/>
                <a:gd name="connsiteY158" fmla="*/ 196343 h 7825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</a:cxnLst>
              <a:rect l="l" t="t" r="r" b="b"/>
              <a:pathLst>
                <a:path w="1281812" h="782569">
                  <a:moveTo>
                    <a:pt x="36464" y="196343"/>
                  </a:moveTo>
                  <a:cubicBezTo>
                    <a:pt x="35529" y="220652"/>
                    <a:pt x="35277" y="244998"/>
                    <a:pt x="33659" y="269271"/>
                  </a:cubicBezTo>
                  <a:cubicBezTo>
                    <a:pt x="33403" y="273118"/>
                    <a:pt x="31610" y="276711"/>
                    <a:pt x="30854" y="280491"/>
                  </a:cubicBezTo>
                  <a:cubicBezTo>
                    <a:pt x="29739" y="286068"/>
                    <a:pt x="28984" y="291710"/>
                    <a:pt x="28049" y="297320"/>
                  </a:cubicBezTo>
                  <a:cubicBezTo>
                    <a:pt x="27114" y="316954"/>
                    <a:pt x="26812" y="336629"/>
                    <a:pt x="25244" y="356223"/>
                  </a:cubicBezTo>
                  <a:cubicBezTo>
                    <a:pt x="24937" y="360066"/>
                    <a:pt x="23195" y="363663"/>
                    <a:pt x="22439" y="367443"/>
                  </a:cubicBezTo>
                  <a:cubicBezTo>
                    <a:pt x="21324" y="373020"/>
                    <a:pt x="20569" y="378662"/>
                    <a:pt x="19634" y="384272"/>
                  </a:cubicBezTo>
                  <a:cubicBezTo>
                    <a:pt x="18715" y="397137"/>
                    <a:pt x="17993" y="424497"/>
                    <a:pt x="14025" y="440370"/>
                  </a:cubicBezTo>
                  <a:cubicBezTo>
                    <a:pt x="12591" y="446107"/>
                    <a:pt x="8415" y="457200"/>
                    <a:pt x="8415" y="457200"/>
                  </a:cubicBezTo>
                  <a:cubicBezTo>
                    <a:pt x="7480" y="479639"/>
                    <a:pt x="7706" y="502157"/>
                    <a:pt x="5610" y="524518"/>
                  </a:cubicBezTo>
                  <a:cubicBezTo>
                    <a:pt x="4890" y="532194"/>
                    <a:pt x="0" y="546957"/>
                    <a:pt x="0" y="546957"/>
                  </a:cubicBezTo>
                  <a:cubicBezTo>
                    <a:pt x="2805" y="548827"/>
                    <a:pt x="5163" y="551680"/>
                    <a:pt x="8415" y="552567"/>
                  </a:cubicBezTo>
                  <a:cubicBezTo>
                    <a:pt x="15687" y="554550"/>
                    <a:pt x="24679" y="551049"/>
                    <a:pt x="30854" y="555372"/>
                  </a:cubicBezTo>
                  <a:cubicBezTo>
                    <a:pt x="35698" y="558763"/>
                    <a:pt x="34594" y="566591"/>
                    <a:pt x="36464" y="572201"/>
                  </a:cubicBezTo>
                  <a:cubicBezTo>
                    <a:pt x="41194" y="586391"/>
                    <a:pt x="51055" y="588284"/>
                    <a:pt x="61708" y="591835"/>
                  </a:cubicBezTo>
                  <a:cubicBezTo>
                    <a:pt x="86294" y="616421"/>
                    <a:pt x="55107" y="586333"/>
                    <a:pt x="78537" y="605860"/>
                  </a:cubicBezTo>
                  <a:cubicBezTo>
                    <a:pt x="81584" y="608400"/>
                    <a:pt x="84370" y="611263"/>
                    <a:pt x="86952" y="614275"/>
                  </a:cubicBezTo>
                  <a:cubicBezTo>
                    <a:pt x="89994" y="617824"/>
                    <a:pt x="91776" y="622501"/>
                    <a:pt x="95367" y="625494"/>
                  </a:cubicBezTo>
                  <a:cubicBezTo>
                    <a:pt x="97638" y="627387"/>
                    <a:pt x="100977" y="627364"/>
                    <a:pt x="103782" y="628299"/>
                  </a:cubicBezTo>
                  <a:cubicBezTo>
                    <a:pt x="106587" y="631104"/>
                    <a:pt x="108896" y="634514"/>
                    <a:pt x="112196" y="636714"/>
                  </a:cubicBezTo>
                  <a:cubicBezTo>
                    <a:pt x="114656" y="638354"/>
                    <a:pt x="118340" y="637626"/>
                    <a:pt x="120611" y="639519"/>
                  </a:cubicBezTo>
                  <a:cubicBezTo>
                    <a:pt x="136161" y="652476"/>
                    <a:pt x="121686" y="648650"/>
                    <a:pt x="137440" y="659153"/>
                  </a:cubicBezTo>
                  <a:cubicBezTo>
                    <a:pt x="139900" y="660793"/>
                    <a:pt x="143050" y="661023"/>
                    <a:pt x="145855" y="661958"/>
                  </a:cubicBezTo>
                  <a:cubicBezTo>
                    <a:pt x="152059" y="668162"/>
                    <a:pt x="154874" y="672077"/>
                    <a:pt x="162685" y="675983"/>
                  </a:cubicBezTo>
                  <a:cubicBezTo>
                    <a:pt x="165329" y="677305"/>
                    <a:pt x="168515" y="677352"/>
                    <a:pt x="171099" y="678788"/>
                  </a:cubicBezTo>
                  <a:cubicBezTo>
                    <a:pt x="171109" y="678794"/>
                    <a:pt x="192132" y="692809"/>
                    <a:pt x="196344" y="695617"/>
                  </a:cubicBezTo>
                  <a:cubicBezTo>
                    <a:pt x="199644" y="697817"/>
                    <a:pt x="201711" y="701493"/>
                    <a:pt x="204758" y="704032"/>
                  </a:cubicBezTo>
                  <a:cubicBezTo>
                    <a:pt x="207348" y="706190"/>
                    <a:pt x="210583" y="707484"/>
                    <a:pt x="213173" y="709642"/>
                  </a:cubicBezTo>
                  <a:cubicBezTo>
                    <a:pt x="216220" y="712181"/>
                    <a:pt x="218360" y="715750"/>
                    <a:pt x="221588" y="718056"/>
                  </a:cubicBezTo>
                  <a:cubicBezTo>
                    <a:pt x="224990" y="720486"/>
                    <a:pt x="229405" y="721236"/>
                    <a:pt x="232807" y="723666"/>
                  </a:cubicBezTo>
                  <a:cubicBezTo>
                    <a:pt x="236035" y="725972"/>
                    <a:pt x="238091" y="729646"/>
                    <a:pt x="241222" y="732081"/>
                  </a:cubicBezTo>
                  <a:cubicBezTo>
                    <a:pt x="246544" y="736220"/>
                    <a:pt x="252441" y="739560"/>
                    <a:pt x="258051" y="743300"/>
                  </a:cubicBezTo>
                  <a:lnTo>
                    <a:pt x="266466" y="748910"/>
                  </a:lnTo>
                  <a:cubicBezTo>
                    <a:pt x="286816" y="776043"/>
                    <a:pt x="264020" y="750083"/>
                    <a:pt x="283296" y="762935"/>
                  </a:cubicBezTo>
                  <a:cubicBezTo>
                    <a:pt x="296512" y="771746"/>
                    <a:pt x="286354" y="770839"/>
                    <a:pt x="300125" y="776959"/>
                  </a:cubicBezTo>
                  <a:cubicBezTo>
                    <a:pt x="305529" y="779361"/>
                    <a:pt x="316955" y="782569"/>
                    <a:pt x="316955" y="782569"/>
                  </a:cubicBezTo>
                  <a:cubicBezTo>
                    <a:pt x="320695" y="781634"/>
                    <a:pt x="324827" y="781676"/>
                    <a:pt x="328174" y="779764"/>
                  </a:cubicBezTo>
                  <a:cubicBezTo>
                    <a:pt x="342649" y="771493"/>
                    <a:pt x="331264" y="772503"/>
                    <a:pt x="342199" y="762935"/>
                  </a:cubicBezTo>
                  <a:cubicBezTo>
                    <a:pt x="347273" y="758495"/>
                    <a:pt x="353418" y="755455"/>
                    <a:pt x="359028" y="751715"/>
                  </a:cubicBezTo>
                  <a:cubicBezTo>
                    <a:pt x="363948" y="748435"/>
                    <a:pt x="370248" y="747975"/>
                    <a:pt x="375858" y="746105"/>
                  </a:cubicBezTo>
                  <a:cubicBezTo>
                    <a:pt x="401395" y="737592"/>
                    <a:pt x="361054" y="750652"/>
                    <a:pt x="398297" y="740496"/>
                  </a:cubicBezTo>
                  <a:cubicBezTo>
                    <a:pt x="432188" y="731254"/>
                    <a:pt x="397208" y="737446"/>
                    <a:pt x="434761" y="732081"/>
                  </a:cubicBezTo>
                  <a:cubicBezTo>
                    <a:pt x="440371" y="730211"/>
                    <a:pt x="445697" y="725980"/>
                    <a:pt x="451590" y="726471"/>
                  </a:cubicBezTo>
                  <a:cubicBezTo>
                    <a:pt x="497504" y="730297"/>
                    <a:pt x="474121" y="727564"/>
                    <a:pt x="521713" y="734886"/>
                  </a:cubicBezTo>
                  <a:cubicBezTo>
                    <a:pt x="563447" y="733868"/>
                    <a:pt x="618815" y="735403"/>
                    <a:pt x="664763" y="729276"/>
                  </a:cubicBezTo>
                  <a:cubicBezTo>
                    <a:pt x="669489" y="728646"/>
                    <a:pt x="674163" y="727627"/>
                    <a:pt x="678788" y="726471"/>
                  </a:cubicBezTo>
                  <a:cubicBezTo>
                    <a:pt x="681656" y="725754"/>
                    <a:pt x="684286" y="724152"/>
                    <a:pt x="687202" y="723666"/>
                  </a:cubicBezTo>
                  <a:cubicBezTo>
                    <a:pt x="695554" y="722274"/>
                    <a:pt x="704065" y="722058"/>
                    <a:pt x="712447" y="720861"/>
                  </a:cubicBezTo>
                  <a:cubicBezTo>
                    <a:pt x="717166" y="720187"/>
                    <a:pt x="721817" y="719090"/>
                    <a:pt x="726471" y="718056"/>
                  </a:cubicBezTo>
                  <a:cubicBezTo>
                    <a:pt x="730234" y="717220"/>
                    <a:pt x="733881" y="715837"/>
                    <a:pt x="737691" y="715251"/>
                  </a:cubicBezTo>
                  <a:cubicBezTo>
                    <a:pt x="746059" y="713964"/>
                    <a:pt x="754543" y="713565"/>
                    <a:pt x="762935" y="712446"/>
                  </a:cubicBezTo>
                  <a:cubicBezTo>
                    <a:pt x="768572" y="711694"/>
                    <a:pt x="774143" y="710507"/>
                    <a:pt x="779764" y="709642"/>
                  </a:cubicBezTo>
                  <a:cubicBezTo>
                    <a:pt x="786299" y="708637"/>
                    <a:pt x="792894" y="708020"/>
                    <a:pt x="799399" y="706837"/>
                  </a:cubicBezTo>
                  <a:cubicBezTo>
                    <a:pt x="832992" y="700729"/>
                    <a:pt x="792000" y="707234"/>
                    <a:pt x="819033" y="701227"/>
                  </a:cubicBezTo>
                  <a:cubicBezTo>
                    <a:pt x="824585" y="699993"/>
                    <a:pt x="830253" y="699357"/>
                    <a:pt x="835863" y="698422"/>
                  </a:cubicBezTo>
                  <a:lnTo>
                    <a:pt x="877936" y="684397"/>
                  </a:lnTo>
                  <a:cubicBezTo>
                    <a:pt x="882459" y="682889"/>
                    <a:pt x="887336" y="682748"/>
                    <a:pt x="891961" y="681592"/>
                  </a:cubicBezTo>
                  <a:cubicBezTo>
                    <a:pt x="894829" y="680875"/>
                    <a:pt x="897532" y="679600"/>
                    <a:pt x="900375" y="678788"/>
                  </a:cubicBezTo>
                  <a:cubicBezTo>
                    <a:pt x="904082" y="677729"/>
                    <a:pt x="907902" y="677091"/>
                    <a:pt x="911595" y="675983"/>
                  </a:cubicBezTo>
                  <a:cubicBezTo>
                    <a:pt x="911618" y="675976"/>
                    <a:pt x="932620" y="668975"/>
                    <a:pt x="936839" y="667568"/>
                  </a:cubicBezTo>
                  <a:cubicBezTo>
                    <a:pt x="943111" y="665477"/>
                    <a:pt x="949929" y="665698"/>
                    <a:pt x="956474" y="664763"/>
                  </a:cubicBezTo>
                  <a:cubicBezTo>
                    <a:pt x="960414" y="662136"/>
                    <a:pt x="973790" y="653442"/>
                    <a:pt x="976108" y="650738"/>
                  </a:cubicBezTo>
                  <a:cubicBezTo>
                    <a:pt x="980486" y="645630"/>
                    <a:pt x="982202" y="637294"/>
                    <a:pt x="984523" y="631104"/>
                  </a:cubicBezTo>
                  <a:cubicBezTo>
                    <a:pt x="986291" y="626390"/>
                    <a:pt x="988540" y="621856"/>
                    <a:pt x="990132" y="617080"/>
                  </a:cubicBezTo>
                  <a:cubicBezTo>
                    <a:pt x="991351" y="613423"/>
                    <a:pt x="991418" y="609403"/>
                    <a:pt x="992937" y="605860"/>
                  </a:cubicBezTo>
                  <a:cubicBezTo>
                    <a:pt x="994265" y="602761"/>
                    <a:pt x="997039" y="600460"/>
                    <a:pt x="998547" y="597445"/>
                  </a:cubicBezTo>
                  <a:cubicBezTo>
                    <a:pt x="999869" y="594800"/>
                    <a:pt x="999712" y="591490"/>
                    <a:pt x="1001352" y="589030"/>
                  </a:cubicBezTo>
                  <a:cubicBezTo>
                    <a:pt x="1003552" y="585730"/>
                    <a:pt x="1007332" y="583747"/>
                    <a:pt x="1009767" y="580616"/>
                  </a:cubicBezTo>
                  <a:cubicBezTo>
                    <a:pt x="1013906" y="575294"/>
                    <a:pt x="1017246" y="569396"/>
                    <a:pt x="1020986" y="563786"/>
                  </a:cubicBezTo>
                  <a:cubicBezTo>
                    <a:pt x="1025386" y="557185"/>
                    <a:pt x="1032206" y="552567"/>
                    <a:pt x="1037816" y="546957"/>
                  </a:cubicBezTo>
                  <a:lnTo>
                    <a:pt x="1046231" y="538542"/>
                  </a:lnTo>
                  <a:cubicBezTo>
                    <a:pt x="1050998" y="533775"/>
                    <a:pt x="1053710" y="527323"/>
                    <a:pt x="1057450" y="521713"/>
                  </a:cubicBezTo>
                  <a:lnTo>
                    <a:pt x="1063060" y="513298"/>
                  </a:lnTo>
                  <a:cubicBezTo>
                    <a:pt x="1065260" y="509997"/>
                    <a:pt x="1068344" y="507318"/>
                    <a:pt x="1071475" y="504883"/>
                  </a:cubicBezTo>
                  <a:cubicBezTo>
                    <a:pt x="1085941" y="493632"/>
                    <a:pt x="1084023" y="495091"/>
                    <a:pt x="1096719" y="490859"/>
                  </a:cubicBezTo>
                  <a:cubicBezTo>
                    <a:pt x="1099524" y="488989"/>
                    <a:pt x="1102119" y="486757"/>
                    <a:pt x="1105134" y="485249"/>
                  </a:cubicBezTo>
                  <a:cubicBezTo>
                    <a:pt x="1107778" y="483927"/>
                    <a:pt x="1110964" y="483880"/>
                    <a:pt x="1113548" y="482444"/>
                  </a:cubicBezTo>
                  <a:cubicBezTo>
                    <a:pt x="1123249" y="477054"/>
                    <a:pt x="1131746" y="471267"/>
                    <a:pt x="1138793" y="462810"/>
                  </a:cubicBezTo>
                  <a:cubicBezTo>
                    <a:pt x="1140951" y="460220"/>
                    <a:pt x="1143033" y="457476"/>
                    <a:pt x="1144402" y="454395"/>
                  </a:cubicBezTo>
                  <a:cubicBezTo>
                    <a:pt x="1146804" y="448991"/>
                    <a:pt x="1148142" y="443175"/>
                    <a:pt x="1150012" y="437565"/>
                  </a:cubicBezTo>
                  <a:lnTo>
                    <a:pt x="1155622" y="420736"/>
                  </a:lnTo>
                  <a:cubicBezTo>
                    <a:pt x="1157623" y="414733"/>
                    <a:pt x="1158919" y="408386"/>
                    <a:pt x="1164037" y="403907"/>
                  </a:cubicBezTo>
                  <a:cubicBezTo>
                    <a:pt x="1169111" y="399467"/>
                    <a:pt x="1175256" y="396427"/>
                    <a:pt x="1180866" y="392687"/>
                  </a:cubicBezTo>
                  <a:cubicBezTo>
                    <a:pt x="1201875" y="378680"/>
                    <a:pt x="1177689" y="388136"/>
                    <a:pt x="1197696" y="381467"/>
                  </a:cubicBezTo>
                  <a:cubicBezTo>
                    <a:pt x="1201436" y="378662"/>
                    <a:pt x="1205085" y="375734"/>
                    <a:pt x="1208915" y="373053"/>
                  </a:cubicBezTo>
                  <a:cubicBezTo>
                    <a:pt x="1214439" y="369187"/>
                    <a:pt x="1225745" y="361833"/>
                    <a:pt x="1225745" y="361833"/>
                  </a:cubicBezTo>
                  <a:cubicBezTo>
                    <a:pt x="1241821" y="337719"/>
                    <a:pt x="1220416" y="366095"/>
                    <a:pt x="1239769" y="350613"/>
                  </a:cubicBezTo>
                  <a:cubicBezTo>
                    <a:pt x="1242401" y="348507"/>
                    <a:pt x="1243139" y="344718"/>
                    <a:pt x="1245379" y="342199"/>
                  </a:cubicBezTo>
                  <a:cubicBezTo>
                    <a:pt x="1250650" y="336269"/>
                    <a:pt x="1256599" y="330979"/>
                    <a:pt x="1262209" y="325369"/>
                  </a:cubicBezTo>
                  <a:cubicBezTo>
                    <a:pt x="1280908" y="306670"/>
                    <a:pt x="1253793" y="326302"/>
                    <a:pt x="1276233" y="311345"/>
                  </a:cubicBezTo>
                  <a:cubicBezTo>
                    <a:pt x="1283151" y="290591"/>
                    <a:pt x="1284176" y="290988"/>
                    <a:pt x="1276233" y="255246"/>
                  </a:cubicBezTo>
                  <a:cubicBezTo>
                    <a:pt x="1275592" y="252360"/>
                    <a:pt x="1270623" y="253377"/>
                    <a:pt x="1267818" y="252442"/>
                  </a:cubicBezTo>
                  <a:cubicBezTo>
                    <a:pt x="1258214" y="255643"/>
                    <a:pt x="1242747" y="262103"/>
                    <a:pt x="1234159" y="252442"/>
                  </a:cubicBezTo>
                  <a:cubicBezTo>
                    <a:pt x="1229151" y="246808"/>
                    <a:pt x="1236029" y="237482"/>
                    <a:pt x="1236964" y="230002"/>
                  </a:cubicBezTo>
                  <a:cubicBezTo>
                    <a:pt x="1226585" y="209243"/>
                    <a:pt x="1237154" y="227424"/>
                    <a:pt x="1222940" y="210368"/>
                  </a:cubicBezTo>
                  <a:cubicBezTo>
                    <a:pt x="1220782" y="207778"/>
                    <a:pt x="1219867" y="204173"/>
                    <a:pt x="1217330" y="201953"/>
                  </a:cubicBezTo>
                  <a:cubicBezTo>
                    <a:pt x="1212256" y="197513"/>
                    <a:pt x="1200501" y="190734"/>
                    <a:pt x="1200501" y="190734"/>
                  </a:cubicBezTo>
                  <a:cubicBezTo>
                    <a:pt x="1199566" y="187929"/>
                    <a:pt x="1199018" y="184964"/>
                    <a:pt x="1197696" y="182319"/>
                  </a:cubicBezTo>
                  <a:cubicBezTo>
                    <a:pt x="1194544" y="176015"/>
                    <a:pt x="1188988" y="169920"/>
                    <a:pt x="1183671" y="165489"/>
                  </a:cubicBezTo>
                  <a:cubicBezTo>
                    <a:pt x="1181081" y="163331"/>
                    <a:pt x="1177846" y="162038"/>
                    <a:pt x="1175256" y="159880"/>
                  </a:cubicBezTo>
                  <a:cubicBezTo>
                    <a:pt x="1161247" y="148206"/>
                    <a:pt x="1173217" y="153590"/>
                    <a:pt x="1158427" y="148660"/>
                  </a:cubicBezTo>
                  <a:cubicBezTo>
                    <a:pt x="1155622" y="145855"/>
                    <a:pt x="1152552" y="143292"/>
                    <a:pt x="1150012" y="140245"/>
                  </a:cubicBezTo>
                  <a:cubicBezTo>
                    <a:pt x="1147854" y="137655"/>
                    <a:pt x="1147261" y="133617"/>
                    <a:pt x="1144402" y="131830"/>
                  </a:cubicBezTo>
                  <a:cubicBezTo>
                    <a:pt x="1139388" y="128696"/>
                    <a:pt x="1127573" y="126221"/>
                    <a:pt x="1127573" y="126221"/>
                  </a:cubicBezTo>
                  <a:cubicBezTo>
                    <a:pt x="1124768" y="124351"/>
                    <a:pt x="1121264" y="123243"/>
                    <a:pt x="1119158" y="120611"/>
                  </a:cubicBezTo>
                  <a:cubicBezTo>
                    <a:pt x="1117311" y="118302"/>
                    <a:pt x="1117789" y="114781"/>
                    <a:pt x="1116353" y="112196"/>
                  </a:cubicBezTo>
                  <a:cubicBezTo>
                    <a:pt x="1114647" y="109125"/>
                    <a:pt x="1103009" y="90097"/>
                    <a:pt x="1096719" y="86952"/>
                  </a:cubicBezTo>
                  <a:cubicBezTo>
                    <a:pt x="1094678" y="85931"/>
                    <a:pt x="1066450" y="81472"/>
                    <a:pt x="1065865" y="81342"/>
                  </a:cubicBezTo>
                  <a:cubicBezTo>
                    <a:pt x="1052888" y="78458"/>
                    <a:pt x="1061498" y="77768"/>
                    <a:pt x="1046231" y="75732"/>
                  </a:cubicBezTo>
                  <a:cubicBezTo>
                    <a:pt x="1023188" y="72659"/>
                    <a:pt x="981717" y="71156"/>
                    <a:pt x="962083" y="70123"/>
                  </a:cubicBezTo>
                  <a:cubicBezTo>
                    <a:pt x="942852" y="63712"/>
                    <a:pt x="966718" y="71281"/>
                    <a:pt x="939644" y="64513"/>
                  </a:cubicBezTo>
                  <a:cubicBezTo>
                    <a:pt x="936776" y="63796"/>
                    <a:pt x="934145" y="62194"/>
                    <a:pt x="931229" y="61708"/>
                  </a:cubicBezTo>
                  <a:cubicBezTo>
                    <a:pt x="921760" y="60130"/>
                    <a:pt x="882656" y="56782"/>
                    <a:pt x="875131" y="56098"/>
                  </a:cubicBezTo>
                  <a:cubicBezTo>
                    <a:pt x="862512" y="51891"/>
                    <a:pt x="865020" y="52170"/>
                    <a:pt x="847082" y="50488"/>
                  </a:cubicBezTo>
                  <a:cubicBezTo>
                    <a:pt x="823735" y="48299"/>
                    <a:pt x="800333" y="46748"/>
                    <a:pt x="776959" y="44878"/>
                  </a:cubicBezTo>
                  <a:cubicBezTo>
                    <a:pt x="742365" y="45813"/>
                    <a:pt x="707700" y="45274"/>
                    <a:pt x="673178" y="47683"/>
                  </a:cubicBezTo>
                  <a:cubicBezTo>
                    <a:pt x="661907" y="48469"/>
                    <a:pt x="654902" y="54994"/>
                    <a:pt x="645129" y="58903"/>
                  </a:cubicBezTo>
                  <a:cubicBezTo>
                    <a:pt x="639639" y="61099"/>
                    <a:pt x="633909" y="62643"/>
                    <a:pt x="628299" y="64513"/>
                  </a:cubicBezTo>
                  <a:cubicBezTo>
                    <a:pt x="623776" y="66021"/>
                    <a:pt x="618900" y="66162"/>
                    <a:pt x="614275" y="67318"/>
                  </a:cubicBezTo>
                  <a:cubicBezTo>
                    <a:pt x="599721" y="70957"/>
                    <a:pt x="611366" y="70630"/>
                    <a:pt x="591836" y="72927"/>
                  </a:cubicBezTo>
                  <a:cubicBezTo>
                    <a:pt x="580655" y="74242"/>
                    <a:pt x="569397" y="74797"/>
                    <a:pt x="558177" y="75732"/>
                  </a:cubicBezTo>
                  <a:cubicBezTo>
                    <a:pt x="555372" y="76667"/>
                    <a:pt x="552661" y="77957"/>
                    <a:pt x="549762" y="78537"/>
                  </a:cubicBezTo>
                  <a:cubicBezTo>
                    <a:pt x="521563" y="84177"/>
                    <a:pt x="516024" y="80558"/>
                    <a:pt x="479639" y="78537"/>
                  </a:cubicBezTo>
                  <a:cubicBezTo>
                    <a:pt x="476834" y="77602"/>
                    <a:pt x="473685" y="77372"/>
                    <a:pt x="471225" y="75732"/>
                  </a:cubicBezTo>
                  <a:cubicBezTo>
                    <a:pt x="460641" y="68676"/>
                    <a:pt x="464122" y="68510"/>
                    <a:pt x="460005" y="58903"/>
                  </a:cubicBezTo>
                  <a:cubicBezTo>
                    <a:pt x="458358" y="55060"/>
                    <a:pt x="456470" y="51313"/>
                    <a:pt x="454395" y="47683"/>
                  </a:cubicBezTo>
                  <a:cubicBezTo>
                    <a:pt x="450692" y="41204"/>
                    <a:pt x="446335" y="35493"/>
                    <a:pt x="440371" y="30854"/>
                  </a:cubicBezTo>
                  <a:cubicBezTo>
                    <a:pt x="435049" y="26714"/>
                    <a:pt x="429151" y="23374"/>
                    <a:pt x="423541" y="19634"/>
                  </a:cubicBezTo>
                  <a:cubicBezTo>
                    <a:pt x="421081" y="17994"/>
                    <a:pt x="417931" y="17764"/>
                    <a:pt x="415126" y="16829"/>
                  </a:cubicBezTo>
                  <a:cubicBezTo>
                    <a:pt x="412321" y="14959"/>
                    <a:pt x="409096" y="13603"/>
                    <a:pt x="406712" y="11219"/>
                  </a:cubicBezTo>
                  <a:cubicBezTo>
                    <a:pt x="404328" y="8835"/>
                    <a:pt x="403734" y="4911"/>
                    <a:pt x="401102" y="2805"/>
                  </a:cubicBezTo>
                  <a:cubicBezTo>
                    <a:pt x="398793" y="958"/>
                    <a:pt x="395492" y="935"/>
                    <a:pt x="392687" y="0"/>
                  </a:cubicBezTo>
                  <a:cubicBezTo>
                    <a:pt x="383337" y="935"/>
                    <a:pt x="373873" y="1073"/>
                    <a:pt x="364638" y="2805"/>
                  </a:cubicBezTo>
                  <a:cubicBezTo>
                    <a:pt x="358826" y="3895"/>
                    <a:pt x="347809" y="8415"/>
                    <a:pt x="347809" y="8415"/>
                  </a:cubicBezTo>
                  <a:cubicBezTo>
                    <a:pt x="346133" y="13444"/>
                    <a:pt x="342859" y="24584"/>
                    <a:pt x="339394" y="28049"/>
                  </a:cubicBezTo>
                  <a:cubicBezTo>
                    <a:pt x="337303" y="30140"/>
                    <a:pt x="333784" y="29919"/>
                    <a:pt x="330979" y="30854"/>
                  </a:cubicBezTo>
                  <a:lnTo>
                    <a:pt x="314150" y="25244"/>
                  </a:lnTo>
                  <a:lnTo>
                    <a:pt x="305735" y="22439"/>
                  </a:lnTo>
                  <a:cubicBezTo>
                    <a:pt x="298865" y="17859"/>
                    <a:pt x="295156" y="14024"/>
                    <a:pt x="286101" y="14024"/>
                  </a:cubicBezTo>
                  <a:cubicBezTo>
                    <a:pt x="282246" y="14024"/>
                    <a:pt x="278621" y="15894"/>
                    <a:pt x="274881" y="16829"/>
                  </a:cubicBezTo>
                  <a:cubicBezTo>
                    <a:pt x="262021" y="36119"/>
                    <a:pt x="265793" y="27263"/>
                    <a:pt x="260856" y="42073"/>
                  </a:cubicBezTo>
                  <a:cubicBezTo>
                    <a:pt x="259921" y="49553"/>
                    <a:pt x="262374" y="58337"/>
                    <a:pt x="258051" y="64513"/>
                  </a:cubicBezTo>
                  <a:cubicBezTo>
                    <a:pt x="254660" y="69357"/>
                    <a:pt x="246832" y="68253"/>
                    <a:pt x="241222" y="70123"/>
                  </a:cubicBezTo>
                  <a:cubicBezTo>
                    <a:pt x="212962" y="79542"/>
                    <a:pt x="256781" y="65174"/>
                    <a:pt x="221588" y="75732"/>
                  </a:cubicBezTo>
                  <a:cubicBezTo>
                    <a:pt x="215924" y="77431"/>
                    <a:pt x="210368" y="79472"/>
                    <a:pt x="204758" y="81342"/>
                  </a:cubicBezTo>
                  <a:lnTo>
                    <a:pt x="196344" y="84147"/>
                  </a:lnTo>
                  <a:cubicBezTo>
                    <a:pt x="193539" y="86952"/>
                    <a:pt x="191060" y="90127"/>
                    <a:pt x="187929" y="92562"/>
                  </a:cubicBezTo>
                  <a:cubicBezTo>
                    <a:pt x="182607" y="96701"/>
                    <a:pt x="176709" y="100041"/>
                    <a:pt x="171099" y="103781"/>
                  </a:cubicBezTo>
                  <a:lnTo>
                    <a:pt x="162685" y="109391"/>
                  </a:lnTo>
                  <a:lnTo>
                    <a:pt x="154270" y="115001"/>
                  </a:lnTo>
                  <a:cubicBezTo>
                    <a:pt x="151465" y="116871"/>
                    <a:pt x="148239" y="118227"/>
                    <a:pt x="145855" y="120611"/>
                  </a:cubicBezTo>
                  <a:cubicBezTo>
                    <a:pt x="135057" y="131409"/>
                    <a:pt x="140741" y="126826"/>
                    <a:pt x="129026" y="134635"/>
                  </a:cubicBezTo>
                  <a:cubicBezTo>
                    <a:pt x="113628" y="157732"/>
                    <a:pt x="133761" y="131264"/>
                    <a:pt x="115001" y="145855"/>
                  </a:cubicBezTo>
                  <a:cubicBezTo>
                    <a:pt x="108739" y="150726"/>
                    <a:pt x="103782" y="157074"/>
                    <a:pt x="98172" y="162684"/>
                  </a:cubicBezTo>
                  <a:cubicBezTo>
                    <a:pt x="93404" y="167452"/>
                    <a:pt x="86952" y="170164"/>
                    <a:pt x="81342" y="173904"/>
                  </a:cubicBezTo>
                  <a:lnTo>
                    <a:pt x="72928" y="179514"/>
                  </a:lnTo>
                  <a:cubicBezTo>
                    <a:pt x="70468" y="181154"/>
                    <a:pt x="67356" y="181507"/>
                    <a:pt x="64513" y="182319"/>
                  </a:cubicBezTo>
                  <a:cubicBezTo>
                    <a:pt x="59173" y="183845"/>
                    <a:pt x="39132" y="188067"/>
                    <a:pt x="36464" y="190734"/>
                  </a:cubicBezTo>
                  <a:lnTo>
                    <a:pt x="36464" y="196343"/>
                  </a:lnTo>
                  <a:close/>
                </a:path>
              </a:pathLst>
            </a:custGeom>
            <a:noFill/>
            <a:ln w="28575">
              <a:noFill/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000" dirty="0">
                  <a:solidFill>
                    <a:srgbClr val="FF0000"/>
                  </a:solidFill>
                  <a:latin typeface="Arial Narrow" pitchFamily="34" charset="0"/>
                </a:rPr>
                <a:t>Tindouf</a:t>
              </a:r>
            </a:p>
          </p:txBody>
        </p:sp>
        <p:sp>
          <p:nvSpPr>
            <p:cNvPr id="24" name="Ellipse 23"/>
            <p:cNvSpPr/>
            <p:nvPr/>
          </p:nvSpPr>
          <p:spPr>
            <a:xfrm>
              <a:off x="9409696" y="3409355"/>
              <a:ext cx="281775" cy="259370"/>
            </a:xfrm>
            <a:prstGeom prst="ellipse">
              <a:avLst/>
            </a:prstGeom>
            <a:noFill/>
            <a:ln w="28575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000" dirty="0">
                  <a:solidFill>
                    <a:srgbClr val="FF0000"/>
                  </a:solidFill>
                  <a:latin typeface="Arial Narrow" pitchFamily="34" charset="0"/>
                </a:rPr>
                <a:t>2</a:t>
              </a:r>
            </a:p>
          </p:txBody>
        </p:sp>
        <p:sp>
          <p:nvSpPr>
            <p:cNvPr id="34860" name="ZoneTexte 24"/>
            <p:cNvSpPr txBox="1">
              <a:spLocks noChangeArrowheads="1"/>
            </p:cNvSpPr>
            <p:nvPr/>
          </p:nvSpPr>
          <p:spPr bwMode="auto">
            <a:xfrm>
              <a:off x="5764140" y="2791523"/>
              <a:ext cx="1192876" cy="3868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fr-FR" sz="1200">
                  <a:solidFill>
                    <a:srgbClr val="FF0000"/>
                  </a:solidFill>
                </a:rPr>
                <a:t>Bechar</a:t>
              </a:r>
              <a:endParaRPr lang="fr-FR" altLang="fr-FR">
                <a:solidFill>
                  <a:srgbClr val="FF0000"/>
                </a:solidFill>
              </a:endParaRPr>
            </a:p>
          </p:txBody>
        </p:sp>
        <p:sp>
          <p:nvSpPr>
            <p:cNvPr id="34861" name="ZoneTexte 25"/>
            <p:cNvSpPr txBox="1">
              <a:spLocks noChangeArrowheads="1"/>
            </p:cNvSpPr>
            <p:nvPr/>
          </p:nvSpPr>
          <p:spPr bwMode="auto">
            <a:xfrm>
              <a:off x="7509474" y="4042313"/>
              <a:ext cx="1789028" cy="515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fr-FR">
                  <a:solidFill>
                    <a:srgbClr val="FF0000"/>
                  </a:solidFill>
                </a:rPr>
                <a:t>Mouydir</a:t>
              </a:r>
            </a:p>
          </p:txBody>
        </p:sp>
        <p:sp>
          <p:nvSpPr>
            <p:cNvPr id="34862" name="Text Box 22"/>
            <p:cNvSpPr txBox="1">
              <a:spLocks noChangeArrowheads="1"/>
            </p:cNvSpPr>
            <p:nvPr/>
          </p:nvSpPr>
          <p:spPr bwMode="auto">
            <a:xfrm rot="19496033">
              <a:off x="8268691" y="4784344"/>
              <a:ext cx="2245176" cy="5157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fr-FR" dirty="0" err="1">
                  <a:solidFill>
                    <a:srgbClr val="FF0000"/>
                  </a:solidFill>
                </a:rPr>
                <a:t>Tamesna</a:t>
              </a:r>
              <a:endParaRPr lang="fr-FR" altLang="fr-FR" dirty="0">
                <a:solidFill>
                  <a:srgbClr val="FF0000"/>
                </a:solidFill>
              </a:endParaRPr>
            </a:p>
          </p:txBody>
        </p:sp>
        <p:sp>
          <p:nvSpPr>
            <p:cNvPr id="28" name="Text Box 23"/>
            <p:cNvSpPr txBox="1">
              <a:spLocks noChangeArrowheads="1"/>
            </p:cNvSpPr>
            <p:nvPr/>
          </p:nvSpPr>
          <p:spPr bwMode="auto">
            <a:xfrm rot="20961284">
              <a:off x="6227537" y="1083724"/>
              <a:ext cx="2499965" cy="1392516"/>
            </a:xfrm>
            <a:prstGeom prst="rect">
              <a:avLst/>
            </a:prstGeom>
            <a:solidFill>
              <a:srgbClr val="CCFFFF">
                <a:alpha val="50000"/>
              </a:srgbClr>
            </a:solidFill>
            <a:ln w="28575">
              <a:solidFill>
                <a:srgbClr val="0033CC"/>
              </a:solidFill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>
              <a:lvl1pPr eaLnBrk="0" hangingPunct="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fontAlgn="auto" hangingPunct="1">
                <a:spcBef>
                  <a:spcPct val="50000"/>
                </a:spcBef>
                <a:spcAft>
                  <a:spcPct val="30000"/>
                </a:spcAft>
                <a:defRPr/>
              </a:pPr>
              <a:r>
                <a:rPr lang="fr-FR" sz="1050" kern="0" dirty="0">
                  <a:solidFill>
                    <a:srgbClr val="0000FF"/>
                  </a:solidFill>
                </a:rPr>
                <a:t>Offshore</a:t>
              </a:r>
            </a:p>
            <a:p>
              <a:pPr algn="ctr" eaLnBrk="1" fontAlgn="auto" hangingPunct="1">
                <a:spcBef>
                  <a:spcPct val="50000"/>
                </a:spcBef>
                <a:spcAft>
                  <a:spcPct val="30000"/>
                </a:spcAft>
                <a:defRPr/>
              </a:pPr>
              <a:r>
                <a:rPr lang="fr-FR" sz="1050" kern="0" dirty="0">
                  <a:solidFill>
                    <a:srgbClr val="0000FF"/>
                  </a:solidFill>
                </a:rPr>
                <a:t>Domaine Tellien</a:t>
              </a:r>
            </a:p>
            <a:p>
              <a:pPr algn="ctr" eaLnBrk="1" fontAlgn="auto" hangingPunct="1">
                <a:spcBef>
                  <a:spcPct val="50000"/>
                </a:spcBef>
                <a:spcAft>
                  <a:spcPct val="30000"/>
                </a:spcAft>
                <a:defRPr/>
              </a:pPr>
              <a:r>
                <a:rPr lang="fr-FR" sz="1050" kern="0" dirty="0">
                  <a:solidFill>
                    <a:srgbClr val="0000FF"/>
                  </a:solidFill>
                </a:rPr>
                <a:t>Atlas et hauts Plateaux</a:t>
              </a:r>
            </a:p>
          </p:txBody>
        </p:sp>
        <p:sp>
          <p:nvSpPr>
            <p:cNvPr id="29" name="Ellipse 28"/>
            <p:cNvSpPr/>
            <p:nvPr/>
          </p:nvSpPr>
          <p:spPr>
            <a:xfrm>
              <a:off x="9407577" y="3755181"/>
              <a:ext cx="281776" cy="261586"/>
            </a:xfrm>
            <a:prstGeom prst="ellipse">
              <a:avLst/>
            </a:prstGeom>
            <a:solidFill>
              <a:srgbClr val="0070C0">
                <a:alpha val="40000"/>
              </a:srgbClr>
            </a:solidFill>
            <a:ln w="28575">
              <a:solidFill>
                <a:srgbClr val="0070C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fr-FR" sz="2000" dirty="0">
                  <a:solidFill>
                    <a:srgbClr val="0070C0"/>
                  </a:solidFill>
                  <a:latin typeface="Arial Narrow" pitchFamily="34" charset="0"/>
                </a:rPr>
                <a:t>3</a:t>
              </a:r>
            </a:p>
          </p:txBody>
        </p:sp>
        <p:sp>
          <p:nvSpPr>
            <p:cNvPr id="30" name="Rectangle 29"/>
            <p:cNvSpPr/>
            <p:nvPr/>
          </p:nvSpPr>
          <p:spPr>
            <a:xfrm rot="19505417">
              <a:off x="8769875" y="4892418"/>
              <a:ext cx="1038121" cy="412331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000">
                <a:solidFill>
                  <a:srgbClr val="FF0000"/>
                </a:solidFill>
                <a:latin typeface="Arial Narrow" pitchFamily="34" charset="0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 rot="20333266">
              <a:off x="7471163" y="5579636"/>
              <a:ext cx="1366507" cy="538690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000">
                <a:solidFill>
                  <a:srgbClr val="FF0000"/>
                </a:solidFill>
                <a:latin typeface="Arial Narrow" pitchFamily="34" charset="0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 rot="2155746">
              <a:off x="5638562" y="4801527"/>
              <a:ext cx="1847432" cy="616280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000">
                <a:solidFill>
                  <a:srgbClr val="FF0000"/>
                </a:solidFill>
                <a:latin typeface="Arial Narrow" pitchFamily="34" charset="0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4634339" y="3495812"/>
              <a:ext cx="1222440" cy="629581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000">
                <a:solidFill>
                  <a:srgbClr val="FF0000"/>
                </a:solidFill>
                <a:latin typeface="Arial Narrow" pitchFamily="34" charset="0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848304" y="2813027"/>
              <a:ext cx="531773" cy="254935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000">
                <a:solidFill>
                  <a:srgbClr val="FF0000"/>
                </a:solidFill>
                <a:latin typeface="Arial Narrow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 rot="16651999">
              <a:off x="7296650" y="3927645"/>
              <a:ext cx="1039696" cy="411011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2000">
                <a:solidFill>
                  <a:srgbClr val="FF0000"/>
                </a:solidFill>
                <a:latin typeface="Arial Narrow" pitchFamily="34" charset="0"/>
              </a:endParaRPr>
            </a:p>
          </p:txBody>
        </p:sp>
      </p:grpSp>
      <p:sp>
        <p:nvSpPr>
          <p:cNvPr id="34825" name="ZoneTexte 38"/>
          <p:cNvSpPr txBox="1">
            <a:spLocks noChangeArrowheads="1"/>
          </p:cNvSpPr>
          <p:nvPr/>
        </p:nvSpPr>
        <p:spPr bwMode="auto">
          <a:xfrm>
            <a:off x="978694" y="992188"/>
            <a:ext cx="1364456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REAGE</a:t>
            </a:r>
          </a:p>
          <a:p>
            <a:pPr algn="ctr" eaLnBrk="1" hangingPunct="1"/>
            <a:endParaRPr lang="fr-FR" altLang="fr-FR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826" name="ZoneTexte 39"/>
          <p:cNvSpPr txBox="1">
            <a:spLocks noChangeArrowheads="1"/>
          </p:cNvSpPr>
          <p:nvPr/>
        </p:nvSpPr>
        <p:spPr bwMode="auto">
          <a:xfrm>
            <a:off x="3670696" y="992193"/>
            <a:ext cx="20534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TIVE </a:t>
            </a:r>
            <a:r>
              <a:rPr lang="fr-FR" altLang="fr-FR" b="1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IMITERS</a:t>
            </a:r>
            <a:endParaRPr lang="fr-FR" altLang="fr-FR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" name="ZoneTexte 40"/>
          <p:cNvSpPr txBox="1"/>
          <p:nvPr/>
        </p:nvSpPr>
        <p:spPr>
          <a:xfrm>
            <a:off x="2107934" y="1774163"/>
            <a:ext cx="11115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Sonatrach Exploration </a:t>
            </a:r>
            <a:r>
              <a:rPr lang="en-US" sz="12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Contracts</a:t>
            </a:r>
          </a:p>
        </p:txBody>
      </p:sp>
      <p:sp>
        <p:nvSpPr>
          <p:cNvPr id="42" name="ZoneTexte 41"/>
          <p:cNvSpPr txBox="1"/>
          <p:nvPr/>
        </p:nvSpPr>
        <p:spPr>
          <a:xfrm>
            <a:off x="2297735" y="4619409"/>
            <a:ext cx="105012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b="1" dirty="0">
                <a:solidFill>
                  <a:srgbClr val="C00000"/>
                </a:solidFill>
                <a:latin typeface="+mn-lt"/>
              </a:rPr>
              <a:t>Partnership Exploration Contracts</a:t>
            </a:r>
          </a:p>
        </p:txBody>
      </p:sp>
      <p:sp>
        <p:nvSpPr>
          <p:cNvPr id="43" name="ZoneTexte 42"/>
          <p:cNvSpPr txBox="1"/>
          <p:nvPr/>
        </p:nvSpPr>
        <p:spPr>
          <a:xfrm>
            <a:off x="921798" y="4981446"/>
            <a:ext cx="118613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1200" b="1" dirty="0">
                <a:solidFill>
                  <a:srgbClr val="92D050"/>
                </a:solidFill>
                <a:latin typeface="+mn-lt"/>
              </a:rPr>
              <a:t>Prospection</a:t>
            </a:r>
          </a:p>
        </p:txBody>
      </p:sp>
      <p:sp>
        <p:nvSpPr>
          <p:cNvPr id="34830" name="ZoneTexte 43"/>
          <p:cNvSpPr txBox="1">
            <a:spLocks noChangeArrowheads="1"/>
          </p:cNvSpPr>
          <p:nvPr/>
        </p:nvSpPr>
        <p:spPr bwMode="auto">
          <a:xfrm>
            <a:off x="287831" y="1585039"/>
            <a:ext cx="1381725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sz="1600" dirty="0">
                <a:solidFill>
                  <a:srgbClr val="7030A0"/>
                </a:solidFill>
              </a:rPr>
              <a:t>Free </a:t>
            </a:r>
            <a:r>
              <a:rPr lang="fr-FR" altLang="fr-FR" sz="1600" dirty="0" err="1">
                <a:solidFill>
                  <a:srgbClr val="7030A0"/>
                </a:solidFill>
              </a:rPr>
              <a:t>Unexplored</a:t>
            </a:r>
            <a:r>
              <a:rPr lang="fr-FR" altLang="fr-FR" sz="1600" dirty="0">
                <a:solidFill>
                  <a:srgbClr val="7030A0"/>
                </a:solidFill>
              </a:rPr>
              <a:t> </a:t>
            </a:r>
            <a:r>
              <a:rPr lang="fr-FR" altLang="fr-FR" sz="1600" dirty="0" err="1">
                <a:solidFill>
                  <a:srgbClr val="7030A0"/>
                </a:solidFill>
              </a:rPr>
              <a:t>Acreage</a:t>
            </a:r>
            <a:endParaRPr lang="fr-FR" altLang="fr-FR" sz="1600" dirty="0">
              <a:solidFill>
                <a:srgbClr val="7030A0"/>
              </a:solidFill>
            </a:endParaRPr>
          </a:p>
        </p:txBody>
      </p:sp>
      <p:sp>
        <p:nvSpPr>
          <p:cNvPr id="34831" name="ZoneTexte 44"/>
          <p:cNvSpPr txBox="1">
            <a:spLocks noChangeArrowheads="1"/>
          </p:cNvSpPr>
          <p:nvPr/>
        </p:nvSpPr>
        <p:spPr bwMode="auto">
          <a:xfrm>
            <a:off x="6056715" y="992188"/>
            <a:ext cx="2817019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fr-FR" altLang="fr-FR" b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LORATION OBJECTIVES</a:t>
            </a:r>
          </a:p>
          <a:p>
            <a:pPr algn="ctr" eaLnBrk="1" hangingPunct="1"/>
            <a:endParaRPr lang="fr-FR" altLang="fr-FR" b="1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4834" name="ZoneTexte 45"/>
          <p:cNvSpPr txBox="1">
            <a:spLocks noChangeArrowheads="1"/>
          </p:cNvSpPr>
          <p:nvPr/>
        </p:nvSpPr>
        <p:spPr bwMode="auto">
          <a:xfrm>
            <a:off x="3325982" y="2769042"/>
            <a:ext cx="1294603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714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1" hangingPunct="1">
              <a:spcBef>
                <a:spcPts val="1800"/>
              </a:spcBef>
            </a:pPr>
            <a:r>
              <a:rPr lang="fr-FR" altLang="fr-FR" sz="1050" b="1" dirty="0"/>
              <a:t>12 Prospect </a:t>
            </a:r>
            <a:r>
              <a:rPr lang="fr-FR" altLang="fr-FR" sz="1050" b="1" dirty="0" err="1"/>
              <a:t>authorizations</a:t>
            </a:r>
            <a:endParaRPr lang="fr-FR" altLang="fr-FR" sz="1050" b="1" dirty="0"/>
          </a:p>
          <a:p>
            <a:pPr marL="0" indent="0" eaLnBrk="1" hangingPunct="1">
              <a:spcBef>
                <a:spcPts val="1800"/>
              </a:spcBef>
            </a:pPr>
            <a:r>
              <a:rPr lang="fr-FR" altLang="fr-FR" sz="1050" b="1" dirty="0"/>
              <a:t>78 </a:t>
            </a:r>
            <a:r>
              <a:rPr lang="fr-FR" altLang="fr-FR" sz="1050" b="1" dirty="0" err="1"/>
              <a:t>Perimiter</a:t>
            </a:r>
            <a:r>
              <a:rPr lang="fr-FR" altLang="fr-FR" sz="1050" b="1" dirty="0"/>
              <a:t> Exploration </a:t>
            </a:r>
            <a:r>
              <a:rPr lang="fr-FR" altLang="fr-FR" sz="1050" b="1" dirty="0" smtClean="0"/>
              <a:t>Phase</a:t>
            </a:r>
          </a:p>
          <a:p>
            <a:pPr marL="0" indent="0" eaLnBrk="1" hangingPunct="1">
              <a:spcBef>
                <a:spcPts val="1800"/>
              </a:spcBef>
            </a:pPr>
            <a:r>
              <a:rPr lang="fr-FR" altLang="fr-FR" sz="1050" b="1" dirty="0" smtClean="0"/>
              <a:t>171 </a:t>
            </a:r>
            <a:r>
              <a:rPr lang="fr-FR" altLang="fr-FR" sz="1050" b="1" dirty="0" err="1"/>
              <a:t>Perimiter</a:t>
            </a:r>
            <a:r>
              <a:rPr lang="fr-FR" altLang="fr-FR" sz="1050" b="1" dirty="0"/>
              <a:t> Exploitation Phase</a:t>
            </a:r>
          </a:p>
        </p:txBody>
      </p:sp>
      <p:sp>
        <p:nvSpPr>
          <p:cNvPr id="34835" name="ZoneTexte 48"/>
          <p:cNvSpPr txBox="1">
            <a:spLocks noChangeArrowheads="1"/>
          </p:cNvSpPr>
          <p:nvPr/>
        </p:nvSpPr>
        <p:spPr bwMode="auto">
          <a:xfrm>
            <a:off x="4593846" y="2763562"/>
            <a:ext cx="3834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400" b="1" dirty="0"/>
              <a:t>12</a:t>
            </a:r>
          </a:p>
        </p:txBody>
      </p:sp>
      <p:sp>
        <p:nvSpPr>
          <p:cNvPr id="34836" name="ZoneTexte 50"/>
          <p:cNvSpPr txBox="1">
            <a:spLocks noChangeArrowheads="1"/>
          </p:cNvSpPr>
          <p:nvPr/>
        </p:nvSpPr>
        <p:spPr bwMode="auto">
          <a:xfrm>
            <a:off x="4593846" y="3438527"/>
            <a:ext cx="3834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400" b="1" dirty="0"/>
              <a:t>69</a:t>
            </a:r>
          </a:p>
        </p:txBody>
      </p:sp>
      <p:sp>
        <p:nvSpPr>
          <p:cNvPr id="34837" name="ZoneTexte 51"/>
          <p:cNvSpPr txBox="1">
            <a:spLocks noChangeArrowheads="1"/>
          </p:cNvSpPr>
          <p:nvPr/>
        </p:nvSpPr>
        <p:spPr bwMode="auto">
          <a:xfrm>
            <a:off x="4544153" y="4237138"/>
            <a:ext cx="48282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400" b="1"/>
              <a:t>122</a:t>
            </a:r>
          </a:p>
        </p:txBody>
      </p:sp>
      <p:sp>
        <p:nvSpPr>
          <p:cNvPr id="34838" name="ZoneTexte 53"/>
          <p:cNvSpPr txBox="1">
            <a:spLocks noChangeArrowheads="1"/>
          </p:cNvSpPr>
          <p:nvPr/>
        </p:nvSpPr>
        <p:spPr bwMode="auto">
          <a:xfrm>
            <a:off x="5335852" y="3438527"/>
            <a:ext cx="28405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400" b="1" dirty="0"/>
              <a:t>9</a:t>
            </a:r>
          </a:p>
        </p:txBody>
      </p:sp>
      <p:sp>
        <p:nvSpPr>
          <p:cNvPr id="34839" name="ZoneTexte 54"/>
          <p:cNvSpPr txBox="1">
            <a:spLocks noChangeArrowheads="1"/>
          </p:cNvSpPr>
          <p:nvPr/>
        </p:nvSpPr>
        <p:spPr bwMode="auto">
          <a:xfrm>
            <a:off x="5286159" y="4270386"/>
            <a:ext cx="3834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fr-FR" sz="1400" b="1" dirty="0"/>
              <a:t>49</a:t>
            </a:r>
          </a:p>
        </p:txBody>
      </p:sp>
      <p:grpSp>
        <p:nvGrpSpPr>
          <p:cNvPr id="10" name="Groupe 9"/>
          <p:cNvGrpSpPr/>
          <p:nvPr/>
        </p:nvGrpSpPr>
        <p:grpSpPr>
          <a:xfrm>
            <a:off x="3347864" y="1755775"/>
            <a:ext cx="2551102" cy="3085675"/>
            <a:chOff x="3347864" y="1755775"/>
            <a:chExt cx="2255217" cy="3085675"/>
          </a:xfrm>
        </p:grpSpPr>
        <p:pic>
          <p:nvPicPr>
            <p:cNvPr id="34832" name="Image 4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7946" y="1822450"/>
              <a:ext cx="359569" cy="43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4833" name="Groupe 49"/>
            <p:cNvGrpSpPr>
              <a:grpSpLocks/>
            </p:cNvGrpSpPr>
            <p:nvPr/>
          </p:nvGrpSpPr>
          <p:grpSpPr bwMode="auto">
            <a:xfrm>
              <a:off x="5061349" y="1755775"/>
              <a:ext cx="411956" cy="615950"/>
              <a:chOff x="7129541" y="1755025"/>
              <a:chExt cx="548950" cy="616129"/>
            </a:xfrm>
          </p:grpSpPr>
          <p:pic>
            <p:nvPicPr>
              <p:cNvPr id="34847" name="Picture 2" descr="RÃ©sultat de recherche d'images pour &quot;PARTNERSHIP&quot;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29541" y="1822204"/>
                <a:ext cx="548950" cy="5489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848" name="Image 47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61600" y="1755025"/>
                <a:ext cx="243953" cy="2228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56" name="Connecteur droit 55"/>
            <p:cNvCxnSpPr/>
            <p:nvPr/>
          </p:nvCxnSpPr>
          <p:spPr>
            <a:xfrm>
              <a:off x="3347864" y="3243263"/>
              <a:ext cx="225521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onnecteur droit 57"/>
            <p:cNvCxnSpPr/>
            <p:nvPr/>
          </p:nvCxnSpPr>
          <p:spPr>
            <a:xfrm flipV="1">
              <a:off x="3347864" y="3933056"/>
              <a:ext cx="2255217" cy="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Connecteur droit 58"/>
            <p:cNvCxnSpPr/>
            <p:nvPr/>
          </p:nvCxnSpPr>
          <p:spPr>
            <a:xfrm>
              <a:off x="3347864" y="4824413"/>
              <a:ext cx="2255217" cy="1703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necteur droit 59"/>
            <p:cNvCxnSpPr/>
            <p:nvPr/>
          </p:nvCxnSpPr>
          <p:spPr>
            <a:xfrm>
              <a:off x="3347864" y="2576513"/>
              <a:ext cx="2255217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onnecteur droit 60"/>
            <p:cNvCxnSpPr/>
            <p:nvPr/>
          </p:nvCxnSpPr>
          <p:spPr>
            <a:xfrm>
              <a:off x="4966097" y="1895475"/>
              <a:ext cx="0" cy="29289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Connecteur droit 62"/>
            <p:cNvCxnSpPr/>
            <p:nvPr/>
          </p:nvCxnSpPr>
          <p:spPr>
            <a:xfrm>
              <a:off x="4362450" y="1895475"/>
              <a:ext cx="0" cy="29289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Connecteur droit 63"/>
            <p:cNvCxnSpPr/>
            <p:nvPr/>
          </p:nvCxnSpPr>
          <p:spPr>
            <a:xfrm>
              <a:off x="5573316" y="1895475"/>
              <a:ext cx="0" cy="292893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Espace réservé du numéro de diapositive 3"/>
          <p:cNvSpPr txBox="1">
            <a:spLocks/>
          </p:cNvSpPr>
          <p:nvPr/>
        </p:nvSpPr>
        <p:spPr>
          <a:xfrm>
            <a:off x="6786563" y="641351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750" kern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4330D31-4995-49B9-86BD-656E33C59AFD}" type="slidenum">
              <a:rPr lang="fr-FR" smtClean="0"/>
              <a:pPr>
                <a:defRPr/>
              </a:pPr>
              <a:t>4</a:t>
            </a:fld>
            <a:endParaRPr lang="fr-FR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831" y="1405870"/>
            <a:ext cx="3011487" cy="452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652038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30188"/>
            <a:ext cx="9092076" cy="561975"/>
          </a:xfrm>
          <a:ln>
            <a:miter lim="800000"/>
            <a:headEnd/>
            <a:tailEnd/>
          </a:ln>
        </p:spPr>
        <p:txBody>
          <a:bodyPr vert="horz" lIns="63862" tIns="31931" rIns="63862" bIns="31931" rtlCol="0" anchor="ctr">
            <a:noAutofit/>
          </a:bodyPr>
          <a:lstStyle/>
          <a:p>
            <a:pPr defTabSz="639366" eaLnBrk="0" hangingPunct="0"/>
            <a:r>
              <a:rPr lang="fr-FR" sz="1900" dirty="0">
                <a:ea typeface="+mn-ea"/>
                <a:cs typeface="+mn-cs"/>
              </a:rPr>
              <a:t>SONATRACH, A</a:t>
            </a:r>
            <a:r>
              <a:rPr lang="en-US" sz="1900" dirty="0">
                <a:ea typeface="+mn-ea"/>
                <a:cs typeface="+mn-cs"/>
              </a:rPr>
              <a:t>n integrated Oil &amp; Gas company over the whole value </a:t>
            </a:r>
            <a:r>
              <a:rPr lang="en-US" sz="1900" dirty="0" smtClean="0">
                <a:ea typeface="+mn-ea"/>
                <a:cs typeface="+mn-cs"/>
              </a:rPr>
              <a:t>chain</a:t>
            </a:r>
            <a:endParaRPr lang="fr-FR" sz="1900" dirty="0">
              <a:ea typeface="+mn-ea"/>
              <a:cs typeface="+mn-cs"/>
            </a:endParaRPr>
          </a:p>
        </p:txBody>
      </p:sp>
      <p:grpSp>
        <p:nvGrpSpPr>
          <p:cNvPr id="4" name="Group 7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218788" y="1053760"/>
            <a:ext cx="6397229" cy="748853"/>
            <a:chOff x="269" y="1489"/>
            <a:chExt cx="5688" cy="381"/>
          </a:xfrm>
          <a:solidFill>
            <a:srgbClr val="F0812D"/>
          </a:solidFill>
        </p:grpSpPr>
        <p:sp>
          <p:nvSpPr>
            <p:cNvPr id="5" name="AutoShape 8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446" y="1489"/>
              <a:ext cx="1511" cy="381"/>
            </a:xfrm>
            <a:prstGeom prst="chevron">
              <a:avLst>
                <a:gd name="adj" fmla="val 29671"/>
              </a:avLst>
            </a:prstGeom>
            <a:grpFill/>
            <a:ln w="2857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2880" anchor="ctr"/>
            <a:lstStyle/>
            <a:p>
              <a:pPr algn="ctr" eaLnBrk="0" hangingPunct="0"/>
              <a:r>
                <a:rPr lang="en-US" sz="1200" b="1" dirty="0">
                  <a:solidFill>
                    <a:schemeClr val="bg1"/>
                  </a:solidFill>
                </a:rPr>
                <a:t>Marketing</a:t>
              </a:r>
            </a:p>
          </p:txBody>
        </p:sp>
        <p:sp>
          <p:nvSpPr>
            <p:cNvPr id="6" name="AutoShape 9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054" y="1489"/>
              <a:ext cx="1511" cy="381"/>
            </a:xfrm>
            <a:prstGeom prst="chevron">
              <a:avLst>
                <a:gd name="adj" fmla="val 29671"/>
              </a:avLst>
            </a:prstGeom>
            <a:grpFill/>
            <a:ln w="2857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2880" anchor="ctr"/>
            <a:lstStyle/>
            <a:p>
              <a:pPr algn="ctr" eaLnBrk="0" hangingPunct="0"/>
              <a:r>
                <a:rPr lang="fr-FR" sz="1200" b="1" dirty="0" err="1">
                  <a:solidFill>
                    <a:schemeClr val="bg1"/>
                  </a:solidFill>
                </a:rPr>
                <a:t>Downstream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AutoShape 1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662" y="1489"/>
              <a:ext cx="1511" cy="381"/>
            </a:xfrm>
            <a:prstGeom prst="chevron">
              <a:avLst>
                <a:gd name="adj" fmla="val 29671"/>
              </a:avLst>
            </a:prstGeom>
            <a:grpFill/>
            <a:ln w="2857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2880" anchor="ctr"/>
            <a:lstStyle/>
            <a:p>
              <a:pPr algn="ctr" eaLnBrk="0" hangingPunct="0"/>
              <a:r>
                <a:rPr lang="fr-FR" sz="1050" b="1" dirty="0" smtClean="0">
                  <a:solidFill>
                    <a:schemeClr val="bg1"/>
                  </a:solidFill>
                </a:rPr>
                <a:t>Pipeline Transportation</a:t>
              </a:r>
              <a:endParaRPr lang="en-US" sz="105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AutoShape 1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69" y="1489"/>
              <a:ext cx="1511" cy="381"/>
            </a:xfrm>
            <a:prstGeom prst="chevron">
              <a:avLst>
                <a:gd name="adj" fmla="val 29671"/>
              </a:avLst>
            </a:prstGeom>
            <a:grpFill/>
            <a:ln w="28575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82880" anchor="ctr"/>
            <a:lstStyle/>
            <a:p>
              <a:pPr algn="ctr" eaLnBrk="0" hangingPunct="0"/>
              <a:r>
                <a:rPr lang="en-US" sz="1100" b="1" dirty="0">
                  <a:solidFill>
                    <a:schemeClr val="bg1"/>
                  </a:solidFill>
                </a:rPr>
                <a:t>Exploration &amp; Production</a:t>
              </a:r>
            </a:p>
          </p:txBody>
        </p:sp>
      </p:grpSp>
      <p:sp>
        <p:nvSpPr>
          <p:cNvPr id="9" name="Rectangle 8"/>
          <p:cNvSpPr/>
          <p:nvPr/>
        </p:nvSpPr>
        <p:spPr>
          <a:xfrm>
            <a:off x="146036" y="3976228"/>
            <a:ext cx="2796662" cy="1920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en-US" sz="1200" dirty="0">
                <a:latin typeface="Arial Narrow" pitchFamily="34" charset="0"/>
              </a:rPr>
              <a:t>Drilling (ENTP &amp; ENAFOR)</a:t>
            </a:r>
          </a:p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en-US" sz="1200" dirty="0">
                <a:latin typeface="Arial Narrow" pitchFamily="34" charset="0"/>
              </a:rPr>
              <a:t>Well Services (ENSP)</a:t>
            </a:r>
          </a:p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en-US" sz="1200" dirty="0">
                <a:latin typeface="Arial Narrow" pitchFamily="34" charset="0"/>
              </a:rPr>
              <a:t>Geophysics (ENAGEO)</a:t>
            </a:r>
          </a:p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en-US" sz="1200" dirty="0">
                <a:latin typeface="Arial Narrow" pitchFamily="34" charset="0"/>
              </a:rPr>
              <a:t>Construction (ENGTP, ENGCB, …)</a:t>
            </a:r>
          </a:p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en-US" sz="1200" dirty="0">
                <a:latin typeface="Arial Narrow" pitchFamily="34" charset="0"/>
              </a:rPr>
              <a:t>Distribution (NAFTAL)</a:t>
            </a:r>
          </a:p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en-US" sz="1200" dirty="0">
                <a:latin typeface="Arial Narrow" pitchFamily="34" charset="0"/>
              </a:rPr>
              <a:t>Shipping (HYPROC)</a:t>
            </a:r>
          </a:p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en-US" sz="1200" dirty="0">
                <a:latin typeface="Arial Narrow" pitchFamily="34" charset="0"/>
              </a:rPr>
              <a:t>Electricity and Seawater </a:t>
            </a:r>
            <a:r>
              <a:rPr lang="fr-FR" sz="1200" dirty="0" err="1">
                <a:latin typeface="Arial Narrow" pitchFamily="34" charset="0"/>
              </a:rPr>
              <a:t>Desalination</a:t>
            </a:r>
            <a:r>
              <a:rPr lang="fr-FR" sz="1200" dirty="0">
                <a:latin typeface="Arial Narrow" pitchFamily="34" charset="0"/>
              </a:rPr>
              <a:t> </a:t>
            </a:r>
            <a:r>
              <a:rPr lang="en-US" sz="1200" dirty="0">
                <a:latin typeface="Arial Narrow" pitchFamily="34" charset="0"/>
              </a:rPr>
              <a:t>(AEC)</a:t>
            </a:r>
          </a:p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en-US" sz="1200" dirty="0">
                <a:latin typeface="Arial Narrow" pitchFamily="34" charset="0"/>
              </a:rPr>
              <a:t>Fertilizers (ASMIDAL, AOA, </a:t>
            </a:r>
            <a:r>
              <a:rPr lang="en-US" sz="1200" dirty="0" err="1">
                <a:latin typeface="Arial Narrow" pitchFamily="34" charset="0"/>
              </a:rPr>
              <a:t>Fertial</a:t>
            </a:r>
            <a:r>
              <a:rPr lang="en-US" sz="1200" dirty="0">
                <a:latin typeface="Arial Narrow" pitchFamily="34" charset="0"/>
              </a:rPr>
              <a:t>, OCI,.)</a:t>
            </a:r>
          </a:p>
        </p:txBody>
      </p:sp>
      <p:sp>
        <p:nvSpPr>
          <p:cNvPr id="10" name="Rectangle 9"/>
          <p:cNvSpPr/>
          <p:nvPr/>
        </p:nvSpPr>
        <p:spPr>
          <a:xfrm>
            <a:off x="5063771" y="4161841"/>
            <a:ext cx="1540532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en-US" sz="1400" dirty="0">
                <a:latin typeface="Arial Narrow" pitchFamily="34" charset="0"/>
              </a:rPr>
              <a:t>Upstream</a:t>
            </a:r>
          </a:p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en-US" sz="1400" dirty="0">
                <a:latin typeface="Arial Narrow" pitchFamily="34" charset="0"/>
              </a:rPr>
              <a:t>Transportation</a:t>
            </a:r>
          </a:p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en-US" sz="1400" dirty="0">
                <a:latin typeface="Arial Narrow" pitchFamily="34" charset="0"/>
              </a:rPr>
              <a:t>Downstream</a:t>
            </a:r>
          </a:p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fr-FR" sz="1400" dirty="0">
                <a:latin typeface="Arial Narrow" pitchFamily="34" charset="0"/>
              </a:rPr>
              <a:t>Marketing</a:t>
            </a:r>
          </a:p>
          <a:p>
            <a:pPr marL="285750" indent="-285750" eaLnBrk="0" hangingPunct="0">
              <a:lnSpc>
                <a:spcPct val="110000"/>
              </a:lnSpc>
              <a:buClr>
                <a:schemeClr val="tx2"/>
              </a:buClr>
              <a:buFontTx/>
              <a:buChar char="•"/>
            </a:pPr>
            <a:r>
              <a:rPr lang="fr-FR" sz="1400" dirty="0">
                <a:latin typeface="Arial Narrow" pitchFamily="34" charset="0"/>
              </a:rPr>
              <a:t>Shipping</a:t>
            </a:r>
          </a:p>
        </p:txBody>
      </p:sp>
      <p:sp>
        <p:nvSpPr>
          <p:cNvPr id="11" name="ZoneTexte 10"/>
          <p:cNvSpPr txBox="1"/>
          <p:nvPr/>
        </p:nvSpPr>
        <p:spPr>
          <a:xfrm>
            <a:off x="4509103" y="3562555"/>
            <a:ext cx="232123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International </a:t>
            </a:r>
            <a:r>
              <a:rPr lang="fr-FR" sz="14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mpanies</a:t>
            </a:r>
            <a:endParaRPr lang="fr-FR" sz="14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fr-FR" sz="1200" dirty="0">
                <a:solidFill>
                  <a:schemeClr val="accent1"/>
                </a:solidFill>
                <a:latin typeface="Arial Narrow" pitchFamily="34" charset="0"/>
              </a:rPr>
              <a:t>29 </a:t>
            </a:r>
            <a:r>
              <a:rPr lang="fr-FR" sz="1200" dirty="0" err="1">
                <a:solidFill>
                  <a:schemeClr val="accent1"/>
                </a:solidFill>
                <a:latin typeface="Arial Narrow" pitchFamily="34" charset="0"/>
              </a:rPr>
              <a:t>subsidiary</a:t>
            </a:r>
            <a:r>
              <a:rPr lang="fr-FR" sz="1200" dirty="0">
                <a:solidFill>
                  <a:schemeClr val="accent1"/>
                </a:solidFill>
                <a:latin typeface="Arial Narrow" pitchFamily="34" charset="0"/>
              </a:rPr>
              <a:t> and 26 </a:t>
            </a:r>
            <a:r>
              <a:rPr lang="fr-FR" sz="1200" dirty="0" err="1">
                <a:solidFill>
                  <a:schemeClr val="accent1"/>
                </a:solidFill>
                <a:latin typeface="Arial Narrow" pitchFamily="34" charset="0"/>
              </a:rPr>
              <a:t>shareholding</a:t>
            </a:r>
            <a:r>
              <a:rPr lang="fr-FR" sz="1200" dirty="0">
                <a:solidFill>
                  <a:schemeClr val="accent1"/>
                </a:solidFill>
                <a:latin typeface="Arial Narrow" pitchFamily="34" charset="0"/>
              </a:rPr>
              <a:t>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75192" y="1861072"/>
            <a:ext cx="1516072" cy="1238064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3" name="ZoneTexte 12"/>
          <p:cNvSpPr txBox="1"/>
          <p:nvPr/>
        </p:nvSpPr>
        <p:spPr>
          <a:xfrm>
            <a:off x="201655" y="3550757"/>
            <a:ext cx="241702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Domestic</a:t>
            </a:r>
            <a:r>
              <a:rPr lang="fr-FR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fr-FR" sz="1400" b="1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mpanies</a:t>
            </a:r>
            <a:endParaRPr lang="fr-FR" sz="1400" b="1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fr-FR" sz="1200" dirty="0" smtClean="0">
                <a:solidFill>
                  <a:schemeClr val="accent1"/>
                </a:solidFill>
                <a:latin typeface="Arial Narrow" pitchFamily="34" charset="0"/>
              </a:rPr>
              <a:t>32 </a:t>
            </a:r>
            <a:r>
              <a:rPr lang="fr-FR" sz="1200" dirty="0" err="1" smtClean="0">
                <a:solidFill>
                  <a:schemeClr val="accent1"/>
                </a:solidFill>
                <a:latin typeface="Arial Narrow" pitchFamily="34" charset="0"/>
              </a:rPr>
              <a:t>subsidiary</a:t>
            </a:r>
            <a:r>
              <a:rPr lang="fr-FR" sz="1200" dirty="0" smtClean="0">
                <a:solidFill>
                  <a:schemeClr val="accent1"/>
                </a:solidFill>
                <a:latin typeface="Arial Narrow" pitchFamily="34" charset="0"/>
              </a:rPr>
              <a:t> and 19 </a:t>
            </a:r>
            <a:r>
              <a:rPr lang="fr-FR" sz="1200" dirty="0" err="1" smtClean="0">
                <a:solidFill>
                  <a:schemeClr val="accent1"/>
                </a:solidFill>
                <a:latin typeface="Arial Narrow" pitchFamily="34" charset="0"/>
              </a:rPr>
              <a:t>shareholding</a:t>
            </a:r>
            <a:endParaRPr lang="fr-FR" sz="1200" dirty="0">
              <a:solidFill>
                <a:schemeClr val="accent1"/>
              </a:solidFill>
              <a:latin typeface="Arial Narrow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855859" y="1861072"/>
            <a:ext cx="1516072" cy="1238064"/>
          </a:xfrm>
          <a:prstGeom prst="rect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5" name="Rectangle 14"/>
          <p:cNvSpPr/>
          <p:nvPr/>
        </p:nvSpPr>
        <p:spPr>
          <a:xfrm>
            <a:off x="3436523" y="1861072"/>
            <a:ext cx="1516072" cy="1238064"/>
          </a:xfrm>
          <a:prstGeom prst="rect">
            <a:avLst/>
          </a:pr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6" name="Rectangle 15"/>
          <p:cNvSpPr/>
          <p:nvPr/>
        </p:nvSpPr>
        <p:spPr>
          <a:xfrm>
            <a:off x="5017184" y="1861072"/>
            <a:ext cx="1516072" cy="1238064"/>
          </a:xfrm>
          <a:prstGeom prst="rect">
            <a:avLst/>
          </a:pr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17" name="Picture 107" descr="http://www.entp-dz.com/images/img_entp_033.jpg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26876" y="3896864"/>
            <a:ext cx="378655" cy="54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14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85114" y="3896864"/>
            <a:ext cx="288500" cy="5469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116" descr="http://www.made-in-algeria.com/_medias_files/et_files/100118_ensp.jp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6786" y="3903250"/>
            <a:ext cx="374246" cy="5405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18" descr="http://www.google.dz/url?sa=i&amp;source=images&amp;cd=&amp;docid=pn-tcec17X4ARM&amp;tbnid=USajyk8zYbndZM:&amp;ved=0CAUQjBwwAA&amp;url=http%3A%2F%2Fwww.algeofleet.com%2FIMG%2Fenageo.jpg&amp;ei=RK5_Ut_DO6S44wTyxIDQBQ&amp;psig=AFQjCNEqFLDjaFmidIG09HzXkDlk5DxxbA&amp;ust=1384185797015133"/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39765" y="4513671"/>
            <a:ext cx="366749" cy="619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1" descr="http://www.aig.dz/images/logo-gtp.gif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5291" y="4537142"/>
            <a:ext cx="377291" cy="544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23" descr="http://www.tps-algerie.com/pages/images/photos/engcb.jpg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5646" y="4548027"/>
            <a:ext cx="365398" cy="603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5" descr="https://encrypted-tbn1.gstatic.com/images?q=tbn:ANd9GcQi2BJKdOU2WtdtU5oK7hW_5IlmTHK42sxpA5d0LIGEIqfvcIff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42698" y="5181187"/>
            <a:ext cx="559306" cy="391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27" descr="http://www.aig.dz/images/logo-hyproc.gif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46807" y="5253176"/>
            <a:ext cx="392774" cy="624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9" descr="http://www.reme.info/typo3temp/pics/61bb9f7796.jpg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3603" y="5713526"/>
            <a:ext cx="408053" cy="327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37" descr="http://www.asmidal-dz.com/images/logo.gif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2252" y="5204452"/>
            <a:ext cx="570498" cy="344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65" descr="C:\Users\son0365\Desktop\téléchargement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0203" y="5690332"/>
            <a:ext cx="526831" cy="373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Rectangle 29"/>
          <p:cNvSpPr/>
          <p:nvPr/>
        </p:nvSpPr>
        <p:spPr>
          <a:xfrm>
            <a:off x="97677" y="3203675"/>
            <a:ext cx="6481055" cy="338554"/>
          </a:xfrm>
          <a:prstGeom prst="rect">
            <a:avLst/>
          </a:prstGeom>
          <a:gradFill>
            <a:gsLst>
              <a:gs pos="57000">
                <a:schemeClr val="bg1"/>
              </a:gs>
              <a:gs pos="100000">
                <a:schemeClr val="accent6"/>
              </a:gs>
            </a:gsLst>
            <a:lin ang="0" scaled="1"/>
          </a:gradFill>
        </p:spPr>
        <p:txBody>
          <a:bodyPr wrap="square">
            <a:spAutoFit/>
          </a:bodyPr>
          <a:lstStyle/>
          <a:p>
            <a:pPr algn="r"/>
            <a:r>
              <a:rPr lang="fr-FR" sz="1600" dirty="0" smtClean="0"/>
              <a:t>… </a:t>
            </a:r>
            <a:r>
              <a:rPr lang="fr-FR" sz="1600" dirty="0" err="1"/>
              <a:t>with</a:t>
            </a:r>
            <a:r>
              <a:rPr lang="fr-FR" sz="1600" dirty="0"/>
              <a:t> a large portfolio of +100 </a:t>
            </a:r>
            <a:r>
              <a:rPr lang="fr-FR" sz="1600" dirty="0" err="1"/>
              <a:t>domestic</a:t>
            </a:r>
            <a:r>
              <a:rPr lang="fr-FR" sz="1600" dirty="0"/>
              <a:t> and international </a:t>
            </a:r>
            <a:r>
              <a:rPr lang="fr-FR" sz="1600" dirty="0" err="1"/>
              <a:t>companies</a:t>
            </a:r>
            <a:r>
              <a:rPr lang="fr-FR" sz="1600" dirty="0"/>
              <a:t> </a:t>
            </a:r>
          </a:p>
        </p:txBody>
      </p:sp>
      <p:sp>
        <p:nvSpPr>
          <p:cNvPr id="31" name="ZoneTexte 30"/>
          <p:cNvSpPr txBox="1"/>
          <p:nvPr/>
        </p:nvSpPr>
        <p:spPr>
          <a:xfrm>
            <a:off x="6942962" y="2640525"/>
            <a:ext cx="2149114" cy="206210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fr-FR" sz="1600" b="1" dirty="0" smtClean="0">
                <a:solidFill>
                  <a:schemeClr val="accent6">
                    <a:lumMod val="75000"/>
                  </a:schemeClr>
                </a:solidFill>
              </a:rPr>
              <a:t>SONATRACH</a:t>
            </a:r>
          </a:p>
          <a:p>
            <a:pPr algn="ctr">
              <a:lnSpc>
                <a:spcPct val="200000"/>
              </a:lnSpc>
            </a:pPr>
            <a:r>
              <a:rPr lang="fr-FR" sz="1600" dirty="0" smtClean="0">
                <a:solidFill>
                  <a:schemeClr val="accent6">
                    <a:lumMod val="75000"/>
                  </a:schemeClr>
                </a:solidFill>
              </a:rPr>
              <a:t>44,000</a:t>
            </a:r>
          </a:p>
          <a:p>
            <a:pPr algn="r">
              <a:lnSpc>
                <a:spcPct val="200000"/>
              </a:lnSpc>
            </a:pPr>
            <a:r>
              <a:rPr lang="fr-FR" sz="1600" b="1" dirty="0">
                <a:solidFill>
                  <a:schemeClr val="accent6">
                    <a:lumMod val="75000"/>
                  </a:schemeClr>
                </a:solidFill>
              </a:rPr>
              <a:t>SONATRACH Group</a:t>
            </a:r>
          </a:p>
          <a:p>
            <a:pPr algn="ctr">
              <a:lnSpc>
                <a:spcPct val="200000"/>
              </a:lnSpc>
            </a:pPr>
            <a:r>
              <a:rPr lang="fr-FR" sz="1600" dirty="0" smtClean="0">
                <a:solidFill>
                  <a:schemeClr val="accent6">
                    <a:lumMod val="75000"/>
                  </a:schemeClr>
                </a:solidFill>
              </a:rPr>
              <a:t>150,000</a:t>
            </a:r>
            <a:endParaRPr lang="fr-FR" sz="16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2" name="Organigramme : Extraire 31"/>
          <p:cNvSpPr/>
          <p:nvPr/>
        </p:nvSpPr>
        <p:spPr>
          <a:xfrm rot="16200000" flipH="1">
            <a:off x="5321829" y="3449403"/>
            <a:ext cx="3115340" cy="98324"/>
          </a:xfrm>
          <a:prstGeom prst="flowChartExtra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 err="1" smtClean="0">
              <a:solidFill>
                <a:schemeClr val="tx2"/>
              </a:solidFill>
            </a:endParaRPr>
          </a:p>
        </p:txBody>
      </p:sp>
      <p:pic>
        <p:nvPicPr>
          <p:cNvPr id="33" name="Picture 18" descr="https://d30y9cdsu7xlg0.cloudfront.net/png/186485-200.png"/>
          <p:cNvPicPr>
            <a:picLocks noChangeAspect="1" noChangeArrowheads="1"/>
          </p:cNvPicPr>
          <p:nvPr/>
        </p:nvPicPr>
        <p:blipFill>
          <a:blip r:embed="rId22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5644" y="1343141"/>
            <a:ext cx="1148112" cy="1530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Espace réservé du numéro de diapositive 2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330D31-4995-49B9-86BD-656E33C59AFD}" type="slidenum">
              <a:rPr lang="fr-FR" smtClean="0"/>
              <a:pPr>
                <a:defRPr/>
              </a:pPr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3552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re 1"/>
          <p:cNvSpPr txBox="1">
            <a:spLocks noGrp="1"/>
          </p:cNvSpPr>
          <p:nvPr>
            <p:ph type="title"/>
          </p:nvPr>
        </p:nvSpPr>
        <p:spPr bwMode="auto">
          <a:ln>
            <a:miter lim="800000"/>
            <a:headEnd/>
            <a:tailEnd/>
          </a:ln>
        </p:spPr>
        <p:txBody>
          <a:bodyPr lIns="63862" tIns="31931" rIns="63862" bIns="31931">
            <a:noAutofit/>
          </a:bodyPr>
          <a:lstStyle/>
          <a:p>
            <a:pPr defTabSz="639366" eaLnBrk="0" hangingPunct="0">
              <a:defRPr/>
            </a:pPr>
            <a:r>
              <a:rPr lang="fr-FR" sz="2000" dirty="0" smtClean="0">
                <a:ea typeface="+mn-ea"/>
                <a:cs typeface="+mn-cs"/>
              </a:rPr>
              <a:t>SONATRACH, </a:t>
            </a:r>
            <a:r>
              <a:rPr lang="fr-FR" sz="2000" dirty="0" err="1" smtClean="0">
                <a:ea typeface="+mn-ea"/>
                <a:cs typeface="+mn-cs"/>
              </a:rPr>
              <a:t>with</a:t>
            </a:r>
            <a:r>
              <a:rPr lang="fr-FR" sz="2000" dirty="0" smtClean="0">
                <a:ea typeface="+mn-ea"/>
                <a:cs typeface="+mn-cs"/>
              </a:rPr>
              <a:t> International P</a:t>
            </a:r>
            <a:r>
              <a:rPr lang="en-US" sz="2000" dirty="0" err="1" smtClean="0">
                <a:ea typeface="+mn-ea"/>
                <a:cs typeface="+mn-cs"/>
              </a:rPr>
              <a:t>resence</a:t>
            </a:r>
            <a:r>
              <a:rPr lang="fr-FR" sz="2000" dirty="0" smtClean="0">
                <a:ea typeface="+mn-ea"/>
                <a:cs typeface="+mn-cs"/>
              </a:rPr>
              <a:t> </a:t>
            </a:r>
            <a:endParaRPr lang="fr-FR" sz="2000" dirty="0">
              <a:ea typeface="+mn-ea"/>
              <a:cs typeface="+mn-cs"/>
            </a:endParaRPr>
          </a:p>
        </p:txBody>
      </p:sp>
      <p:grpSp>
        <p:nvGrpSpPr>
          <p:cNvPr id="2" name="Groupe 1"/>
          <p:cNvGrpSpPr/>
          <p:nvPr/>
        </p:nvGrpSpPr>
        <p:grpSpPr>
          <a:xfrm>
            <a:off x="710009" y="1926800"/>
            <a:ext cx="7927369" cy="4454561"/>
            <a:chOff x="946671" y="1926795"/>
            <a:chExt cx="10569825" cy="4454561"/>
          </a:xfrm>
        </p:grpSpPr>
        <p:sp>
          <p:nvSpPr>
            <p:cNvPr id="1149" name="Freeform 3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3837733" y="4320778"/>
              <a:ext cx="48118" cy="28575"/>
            </a:xfrm>
            <a:custGeom>
              <a:avLst/>
              <a:gdLst>
                <a:gd name="T0" fmla="*/ 0 w 26"/>
                <a:gd name="T1" fmla="*/ 0 h 34"/>
                <a:gd name="T2" fmla="*/ 2147483647 w 26"/>
                <a:gd name="T3" fmla="*/ 2147483647 h 34"/>
                <a:gd name="T4" fmla="*/ 2147483647 w 26"/>
                <a:gd name="T5" fmla="*/ 2147483647 h 34"/>
                <a:gd name="T6" fmla="*/ 0 w 26"/>
                <a:gd name="T7" fmla="*/ 0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" h="34">
                  <a:moveTo>
                    <a:pt x="0" y="0"/>
                  </a:moveTo>
                  <a:lnTo>
                    <a:pt x="6" y="34"/>
                  </a:lnTo>
                  <a:lnTo>
                    <a:pt x="26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50" name="Freeform 4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3837733" y="4320778"/>
              <a:ext cx="48118" cy="28575"/>
            </a:xfrm>
            <a:custGeom>
              <a:avLst/>
              <a:gdLst>
                <a:gd name="T0" fmla="*/ 0 w 26"/>
                <a:gd name="T1" fmla="*/ 0 h 34"/>
                <a:gd name="T2" fmla="*/ 2147483647 w 26"/>
                <a:gd name="T3" fmla="*/ 2147483647 h 34"/>
                <a:gd name="T4" fmla="*/ 2147483647 w 26"/>
                <a:gd name="T5" fmla="*/ 2147483647 h 34"/>
                <a:gd name="T6" fmla="*/ 0 w 26"/>
                <a:gd name="T7" fmla="*/ 0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" h="34">
                  <a:moveTo>
                    <a:pt x="0" y="0"/>
                  </a:moveTo>
                  <a:lnTo>
                    <a:pt x="6" y="34"/>
                  </a:lnTo>
                  <a:lnTo>
                    <a:pt x="26" y="23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51" name="Freeform 5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3837733" y="4320778"/>
              <a:ext cx="48118" cy="28575"/>
            </a:xfrm>
            <a:custGeom>
              <a:avLst/>
              <a:gdLst>
                <a:gd name="T0" fmla="*/ 0 w 26"/>
                <a:gd name="T1" fmla="*/ 0 h 34"/>
                <a:gd name="T2" fmla="*/ 2147483647 w 26"/>
                <a:gd name="T3" fmla="*/ 2147483647 h 34"/>
                <a:gd name="T4" fmla="*/ 2147483647 w 26"/>
                <a:gd name="T5" fmla="*/ 2147483647 h 34"/>
                <a:gd name="T6" fmla="*/ 0 w 26"/>
                <a:gd name="T7" fmla="*/ 0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" h="34">
                  <a:moveTo>
                    <a:pt x="0" y="0"/>
                  </a:moveTo>
                  <a:lnTo>
                    <a:pt x="6" y="34"/>
                  </a:lnTo>
                  <a:lnTo>
                    <a:pt x="26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52" name="Freeform 6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3837733" y="4320778"/>
              <a:ext cx="48118" cy="28575"/>
            </a:xfrm>
            <a:custGeom>
              <a:avLst/>
              <a:gdLst>
                <a:gd name="T0" fmla="*/ 0 w 26"/>
                <a:gd name="T1" fmla="*/ 0 h 34"/>
                <a:gd name="T2" fmla="*/ 2147483647 w 26"/>
                <a:gd name="T3" fmla="*/ 2147483647 h 34"/>
                <a:gd name="T4" fmla="*/ 2147483647 w 26"/>
                <a:gd name="T5" fmla="*/ 2147483647 h 34"/>
                <a:gd name="T6" fmla="*/ 0 w 26"/>
                <a:gd name="T7" fmla="*/ 0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6" h="34">
                  <a:moveTo>
                    <a:pt x="0" y="0"/>
                  </a:moveTo>
                  <a:lnTo>
                    <a:pt x="6" y="34"/>
                  </a:lnTo>
                  <a:lnTo>
                    <a:pt x="26" y="23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65" name="Freeform 7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7765318" y="3774645"/>
              <a:ext cx="392960" cy="254000"/>
            </a:xfrm>
            <a:custGeom>
              <a:avLst/>
              <a:gdLst>
                <a:gd name="T0" fmla="*/ 0 w 213"/>
                <a:gd name="T1" fmla="*/ 2147483647 h 321"/>
                <a:gd name="T2" fmla="*/ 0 w 213"/>
                <a:gd name="T3" fmla="*/ 2147483647 h 321"/>
                <a:gd name="T4" fmla="*/ 2147483647 w 213"/>
                <a:gd name="T5" fmla="*/ 2147483647 h 321"/>
                <a:gd name="T6" fmla="*/ 0 w 213"/>
                <a:gd name="T7" fmla="*/ 2147483647 h 321"/>
                <a:gd name="T8" fmla="*/ 2147483647 w 213"/>
                <a:gd name="T9" fmla="*/ 2147483647 h 321"/>
                <a:gd name="T10" fmla="*/ 2147483647 w 213"/>
                <a:gd name="T11" fmla="*/ 2147483647 h 321"/>
                <a:gd name="T12" fmla="*/ 2147483647 w 213"/>
                <a:gd name="T13" fmla="*/ 2147483647 h 321"/>
                <a:gd name="T14" fmla="*/ 2147483647 w 213"/>
                <a:gd name="T15" fmla="*/ 2147483647 h 321"/>
                <a:gd name="T16" fmla="*/ 2147483647 w 213"/>
                <a:gd name="T17" fmla="*/ 2147483647 h 321"/>
                <a:gd name="T18" fmla="*/ 2147483647 w 213"/>
                <a:gd name="T19" fmla="*/ 2147483647 h 321"/>
                <a:gd name="T20" fmla="*/ 2147483647 w 213"/>
                <a:gd name="T21" fmla="*/ 2147483647 h 321"/>
                <a:gd name="T22" fmla="*/ 2147483647 w 213"/>
                <a:gd name="T23" fmla="*/ 2147483647 h 321"/>
                <a:gd name="T24" fmla="*/ 2147483647 w 213"/>
                <a:gd name="T25" fmla="*/ 2147483647 h 321"/>
                <a:gd name="T26" fmla="*/ 2147483647 w 213"/>
                <a:gd name="T27" fmla="*/ 2147483647 h 321"/>
                <a:gd name="T28" fmla="*/ 2147483647 w 213"/>
                <a:gd name="T29" fmla="*/ 2147483647 h 321"/>
                <a:gd name="T30" fmla="*/ 2147483647 w 213"/>
                <a:gd name="T31" fmla="*/ 2147483647 h 321"/>
                <a:gd name="T32" fmla="*/ 2147483647 w 213"/>
                <a:gd name="T33" fmla="*/ 2147483647 h 321"/>
                <a:gd name="T34" fmla="*/ 2147483647 w 213"/>
                <a:gd name="T35" fmla="*/ 2147483647 h 321"/>
                <a:gd name="T36" fmla="*/ 2147483647 w 213"/>
                <a:gd name="T37" fmla="*/ 0 h 321"/>
                <a:gd name="T38" fmla="*/ 2147483647 w 213"/>
                <a:gd name="T39" fmla="*/ 2147483647 h 321"/>
                <a:gd name="T40" fmla="*/ 2147483647 w 213"/>
                <a:gd name="T41" fmla="*/ 2147483647 h 321"/>
                <a:gd name="T42" fmla="*/ 2147483647 w 213"/>
                <a:gd name="T43" fmla="*/ 2147483647 h 321"/>
                <a:gd name="T44" fmla="*/ 2147483647 w 213"/>
                <a:gd name="T45" fmla="*/ 2147483647 h 321"/>
                <a:gd name="T46" fmla="*/ 0 w 213"/>
                <a:gd name="T47" fmla="*/ 2147483647 h 3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3" h="321">
                  <a:moveTo>
                    <a:pt x="0" y="156"/>
                  </a:moveTo>
                  <a:lnTo>
                    <a:pt x="0" y="246"/>
                  </a:lnTo>
                  <a:lnTo>
                    <a:pt x="13" y="267"/>
                  </a:lnTo>
                  <a:lnTo>
                    <a:pt x="0" y="311"/>
                  </a:lnTo>
                  <a:lnTo>
                    <a:pt x="24" y="321"/>
                  </a:lnTo>
                  <a:lnTo>
                    <a:pt x="82" y="311"/>
                  </a:lnTo>
                  <a:lnTo>
                    <a:pt x="93" y="256"/>
                  </a:lnTo>
                  <a:lnTo>
                    <a:pt x="132" y="233"/>
                  </a:lnTo>
                  <a:lnTo>
                    <a:pt x="138" y="200"/>
                  </a:lnTo>
                  <a:lnTo>
                    <a:pt x="150" y="188"/>
                  </a:lnTo>
                  <a:lnTo>
                    <a:pt x="144" y="167"/>
                  </a:lnTo>
                  <a:lnTo>
                    <a:pt x="157" y="167"/>
                  </a:lnTo>
                  <a:lnTo>
                    <a:pt x="169" y="123"/>
                  </a:lnTo>
                  <a:lnTo>
                    <a:pt x="163" y="89"/>
                  </a:lnTo>
                  <a:lnTo>
                    <a:pt x="213" y="54"/>
                  </a:lnTo>
                  <a:lnTo>
                    <a:pt x="213" y="44"/>
                  </a:lnTo>
                  <a:lnTo>
                    <a:pt x="194" y="44"/>
                  </a:lnTo>
                  <a:lnTo>
                    <a:pt x="169" y="67"/>
                  </a:lnTo>
                  <a:lnTo>
                    <a:pt x="157" y="0"/>
                  </a:lnTo>
                  <a:lnTo>
                    <a:pt x="132" y="44"/>
                  </a:lnTo>
                  <a:lnTo>
                    <a:pt x="69" y="44"/>
                  </a:lnTo>
                  <a:lnTo>
                    <a:pt x="31" y="123"/>
                  </a:lnTo>
                  <a:lnTo>
                    <a:pt x="5" y="100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66" name="Freeform 8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7765318" y="3774645"/>
              <a:ext cx="392960" cy="254000"/>
            </a:xfrm>
            <a:custGeom>
              <a:avLst/>
              <a:gdLst>
                <a:gd name="T0" fmla="*/ 0 w 213"/>
                <a:gd name="T1" fmla="*/ 2147483647 h 321"/>
                <a:gd name="T2" fmla="*/ 0 w 213"/>
                <a:gd name="T3" fmla="*/ 2147483647 h 321"/>
                <a:gd name="T4" fmla="*/ 2147483647 w 213"/>
                <a:gd name="T5" fmla="*/ 2147483647 h 321"/>
                <a:gd name="T6" fmla="*/ 0 w 213"/>
                <a:gd name="T7" fmla="*/ 2147483647 h 321"/>
                <a:gd name="T8" fmla="*/ 2147483647 w 213"/>
                <a:gd name="T9" fmla="*/ 2147483647 h 321"/>
                <a:gd name="T10" fmla="*/ 2147483647 w 213"/>
                <a:gd name="T11" fmla="*/ 2147483647 h 321"/>
                <a:gd name="T12" fmla="*/ 2147483647 w 213"/>
                <a:gd name="T13" fmla="*/ 2147483647 h 321"/>
                <a:gd name="T14" fmla="*/ 2147483647 w 213"/>
                <a:gd name="T15" fmla="*/ 2147483647 h 321"/>
                <a:gd name="T16" fmla="*/ 2147483647 w 213"/>
                <a:gd name="T17" fmla="*/ 2147483647 h 321"/>
                <a:gd name="T18" fmla="*/ 2147483647 w 213"/>
                <a:gd name="T19" fmla="*/ 2147483647 h 321"/>
                <a:gd name="T20" fmla="*/ 2147483647 w 213"/>
                <a:gd name="T21" fmla="*/ 2147483647 h 321"/>
                <a:gd name="T22" fmla="*/ 2147483647 w 213"/>
                <a:gd name="T23" fmla="*/ 2147483647 h 321"/>
                <a:gd name="T24" fmla="*/ 2147483647 w 213"/>
                <a:gd name="T25" fmla="*/ 2147483647 h 321"/>
                <a:gd name="T26" fmla="*/ 2147483647 w 213"/>
                <a:gd name="T27" fmla="*/ 2147483647 h 321"/>
                <a:gd name="T28" fmla="*/ 2147483647 w 213"/>
                <a:gd name="T29" fmla="*/ 2147483647 h 321"/>
                <a:gd name="T30" fmla="*/ 2147483647 w 213"/>
                <a:gd name="T31" fmla="*/ 2147483647 h 321"/>
                <a:gd name="T32" fmla="*/ 2147483647 w 213"/>
                <a:gd name="T33" fmla="*/ 2147483647 h 321"/>
                <a:gd name="T34" fmla="*/ 2147483647 w 213"/>
                <a:gd name="T35" fmla="*/ 2147483647 h 321"/>
                <a:gd name="T36" fmla="*/ 2147483647 w 213"/>
                <a:gd name="T37" fmla="*/ 0 h 321"/>
                <a:gd name="T38" fmla="*/ 2147483647 w 213"/>
                <a:gd name="T39" fmla="*/ 2147483647 h 321"/>
                <a:gd name="T40" fmla="*/ 2147483647 w 213"/>
                <a:gd name="T41" fmla="*/ 2147483647 h 321"/>
                <a:gd name="T42" fmla="*/ 2147483647 w 213"/>
                <a:gd name="T43" fmla="*/ 2147483647 h 321"/>
                <a:gd name="T44" fmla="*/ 2147483647 w 213"/>
                <a:gd name="T45" fmla="*/ 2147483647 h 321"/>
                <a:gd name="T46" fmla="*/ 0 w 213"/>
                <a:gd name="T47" fmla="*/ 2147483647 h 3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3" h="321">
                  <a:moveTo>
                    <a:pt x="0" y="156"/>
                  </a:moveTo>
                  <a:lnTo>
                    <a:pt x="0" y="246"/>
                  </a:lnTo>
                  <a:lnTo>
                    <a:pt x="13" y="267"/>
                  </a:lnTo>
                  <a:lnTo>
                    <a:pt x="0" y="311"/>
                  </a:lnTo>
                  <a:lnTo>
                    <a:pt x="24" y="321"/>
                  </a:lnTo>
                  <a:lnTo>
                    <a:pt x="82" y="311"/>
                  </a:lnTo>
                  <a:lnTo>
                    <a:pt x="93" y="256"/>
                  </a:lnTo>
                  <a:lnTo>
                    <a:pt x="132" y="233"/>
                  </a:lnTo>
                  <a:lnTo>
                    <a:pt x="138" y="200"/>
                  </a:lnTo>
                  <a:lnTo>
                    <a:pt x="150" y="188"/>
                  </a:lnTo>
                  <a:lnTo>
                    <a:pt x="144" y="167"/>
                  </a:lnTo>
                  <a:lnTo>
                    <a:pt x="157" y="167"/>
                  </a:lnTo>
                  <a:lnTo>
                    <a:pt x="169" y="123"/>
                  </a:lnTo>
                  <a:lnTo>
                    <a:pt x="163" y="89"/>
                  </a:lnTo>
                  <a:lnTo>
                    <a:pt x="213" y="54"/>
                  </a:lnTo>
                  <a:lnTo>
                    <a:pt x="213" y="44"/>
                  </a:lnTo>
                  <a:lnTo>
                    <a:pt x="194" y="44"/>
                  </a:lnTo>
                  <a:lnTo>
                    <a:pt x="169" y="67"/>
                  </a:lnTo>
                  <a:lnTo>
                    <a:pt x="157" y="0"/>
                  </a:lnTo>
                  <a:lnTo>
                    <a:pt x="132" y="44"/>
                  </a:lnTo>
                  <a:lnTo>
                    <a:pt x="69" y="44"/>
                  </a:lnTo>
                  <a:lnTo>
                    <a:pt x="31" y="123"/>
                  </a:lnTo>
                  <a:lnTo>
                    <a:pt x="5" y="100"/>
                  </a:lnTo>
                  <a:lnTo>
                    <a:pt x="0" y="1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67" name="Freeform 9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7765318" y="3774645"/>
              <a:ext cx="392960" cy="254000"/>
            </a:xfrm>
            <a:custGeom>
              <a:avLst/>
              <a:gdLst>
                <a:gd name="T0" fmla="*/ 0 w 213"/>
                <a:gd name="T1" fmla="*/ 2147483647 h 321"/>
                <a:gd name="T2" fmla="*/ 0 w 213"/>
                <a:gd name="T3" fmla="*/ 2147483647 h 321"/>
                <a:gd name="T4" fmla="*/ 2147483647 w 213"/>
                <a:gd name="T5" fmla="*/ 2147483647 h 321"/>
                <a:gd name="T6" fmla="*/ 0 w 213"/>
                <a:gd name="T7" fmla="*/ 2147483647 h 321"/>
                <a:gd name="T8" fmla="*/ 2147483647 w 213"/>
                <a:gd name="T9" fmla="*/ 2147483647 h 321"/>
                <a:gd name="T10" fmla="*/ 2147483647 w 213"/>
                <a:gd name="T11" fmla="*/ 2147483647 h 321"/>
                <a:gd name="T12" fmla="*/ 2147483647 w 213"/>
                <a:gd name="T13" fmla="*/ 2147483647 h 321"/>
                <a:gd name="T14" fmla="*/ 2147483647 w 213"/>
                <a:gd name="T15" fmla="*/ 2147483647 h 321"/>
                <a:gd name="T16" fmla="*/ 2147483647 w 213"/>
                <a:gd name="T17" fmla="*/ 2147483647 h 321"/>
                <a:gd name="T18" fmla="*/ 2147483647 w 213"/>
                <a:gd name="T19" fmla="*/ 2147483647 h 321"/>
                <a:gd name="T20" fmla="*/ 2147483647 w 213"/>
                <a:gd name="T21" fmla="*/ 2147483647 h 321"/>
                <a:gd name="T22" fmla="*/ 2147483647 w 213"/>
                <a:gd name="T23" fmla="*/ 2147483647 h 321"/>
                <a:gd name="T24" fmla="*/ 2147483647 w 213"/>
                <a:gd name="T25" fmla="*/ 2147483647 h 321"/>
                <a:gd name="T26" fmla="*/ 2147483647 w 213"/>
                <a:gd name="T27" fmla="*/ 2147483647 h 321"/>
                <a:gd name="T28" fmla="*/ 2147483647 w 213"/>
                <a:gd name="T29" fmla="*/ 2147483647 h 321"/>
                <a:gd name="T30" fmla="*/ 2147483647 w 213"/>
                <a:gd name="T31" fmla="*/ 2147483647 h 321"/>
                <a:gd name="T32" fmla="*/ 2147483647 w 213"/>
                <a:gd name="T33" fmla="*/ 2147483647 h 321"/>
                <a:gd name="T34" fmla="*/ 2147483647 w 213"/>
                <a:gd name="T35" fmla="*/ 2147483647 h 321"/>
                <a:gd name="T36" fmla="*/ 2147483647 w 213"/>
                <a:gd name="T37" fmla="*/ 0 h 321"/>
                <a:gd name="T38" fmla="*/ 2147483647 w 213"/>
                <a:gd name="T39" fmla="*/ 2147483647 h 321"/>
                <a:gd name="T40" fmla="*/ 2147483647 w 213"/>
                <a:gd name="T41" fmla="*/ 2147483647 h 321"/>
                <a:gd name="T42" fmla="*/ 2147483647 w 213"/>
                <a:gd name="T43" fmla="*/ 2147483647 h 321"/>
                <a:gd name="T44" fmla="*/ 2147483647 w 213"/>
                <a:gd name="T45" fmla="*/ 2147483647 h 321"/>
                <a:gd name="T46" fmla="*/ 0 w 213"/>
                <a:gd name="T47" fmla="*/ 2147483647 h 3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3" h="321">
                  <a:moveTo>
                    <a:pt x="0" y="156"/>
                  </a:moveTo>
                  <a:lnTo>
                    <a:pt x="0" y="246"/>
                  </a:lnTo>
                  <a:lnTo>
                    <a:pt x="13" y="267"/>
                  </a:lnTo>
                  <a:lnTo>
                    <a:pt x="0" y="311"/>
                  </a:lnTo>
                  <a:lnTo>
                    <a:pt x="24" y="321"/>
                  </a:lnTo>
                  <a:lnTo>
                    <a:pt x="82" y="311"/>
                  </a:lnTo>
                  <a:lnTo>
                    <a:pt x="93" y="256"/>
                  </a:lnTo>
                  <a:lnTo>
                    <a:pt x="132" y="233"/>
                  </a:lnTo>
                  <a:lnTo>
                    <a:pt x="138" y="200"/>
                  </a:lnTo>
                  <a:lnTo>
                    <a:pt x="150" y="188"/>
                  </a:lnTo>
                  <a:lnTo>
                    <a:pt x="144" y="167"/>
                  </a:lnTo>
                  <a:lnTo>
                    <a:pt x="157" y="167"/>
                  </a:lnTo>
                  <a:lnTo>
                    <a:pt x="169" y="123"/>
                  </a:lnTo>
                  <a:lnTo>
                    <a:pt x="163" y="89"/>
                  </a:lnTo>
                  <a:lnTo>
                    <a:pt x="213" y="54"/>
                  </a:lnTo>
                  <a:lnTo>
                    <a:pt x="213" y="44"/>
                  </a:lnTo>
                  <a:lnTo>
                    <a:pt x="194" y="44"/>
                  </a:lnTo>
                  <a:lnTo>
                    <a:pt x="169" y="67"/>
                  </a:lnTo>
                  <a:lnTo>
                    <a:pt x="157" y="0"/>
                  </a:lnTo>
                  <a:lnTo>
                    <a:pt x="132" y="44"/>
                  </a:lnTo>
                  <a:lnTo>
                    <a:pt x="69" y="44"/>
                  </a:lnTo>
                  <a:lnTo>
                    <a:pt x="31" y="123"/>
                  </a:lnTo>
                  <a:lnTo>
                    <a:pt x="5" y="100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68" name="Freeform 10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7765318" y="3774645"/>
              <a:ext cx="392960" cy="254000"/>
            </a:xfrm>
            <a:custGeom>
              <a:avLst/>
              <a:gdLst>
                <a:gd name="T0" fmla="*/ 0 w 213"/>
                <a:gd name="T1" fmla="*/ 2147483647 h 321"/>
                <a:gd name="T2" fmla="*/ 0 w 213"/>
                <a:gd name="T3" fmla="*/ 2147483647 h 321"/>
                <a:gd name="T4" fmla="*/ 2147483647 w 213"/>
                <a:gd name="T5" fmla="*/ 2147483647 h 321"/>
                <a:gd name="T6" fmla="*/ 0 w 213"/>
                <a:gd name="T7" fmla="*/ 2147483647 h 321"/>
                <a:gd name="T8" fmla="*/ 2147483647 w 213"/>
                <a:gd name="T9" fmla="*/ 2147483647 h 321"/>
                <a:gd name="T10" fmla="*/ 2147483647 w 213"/>
                <a:gd name="T11" fmla="*/ 2147483647 h 321"/>
                <a:gd name="T12" fmla="*/ 2147483647 w 213"/>
                <a:gd name="T13" fmla="*/ 2147483647 h 321"/>
                <a:gd name="T14" fmla="*/ 2147483647 w 213"/>
                <a:gd name="T15" fmla="*/ 2147483647 h 321"/>
                <a:gd name="T16" fmla="*/ 2147483647 w 213"/>
                <a:gd name="T17" fmla="*/ 2147483647 h 321"/>
                <a:gd name="T18" fmla="*/ 2147483647 w 213"/>
                <a:gd name="T19" fmla="*/ 2147483647 h 321"/>
                <a:gd name="T20" fmla="*/ 2147483647 w 213"/>
                <a:gd name="T21" fmla="*/ 2147483647 h 321"/>
                <a:gd name="T22" fmla="*/ 2147483647 w 213"/>
                <a:gd name="T23" fmla="*/ 2147483647 h 321"/>
                <a:gd name="T24" fmla="*/ 2147483647 w 213"/>
                <a:gd name="T25" fmla="*/ 2147483647 h 321"/>
                <a:gd name="T26" fmla="*/ 2147483647 w 213"/>
                <a:gd name="T27" fmla="*/ 2147483647 h 321"/>
                <a:gd name="T28" fmla="*/ 2147483647 w 213"/>
                <a:gd name="T29" fmla="*/ 2147483647 h 321"/>
                <a:gd name="T30" fmla="*/ 2147483647 w 213"/>
                <a:gd name="T31" fmla="*/ 2147483647 h 321"/>
                <a:gd name="T32" fmla="*/ 2147483647 w 213"/>
                <a:gd name="T33" fmla="*/ 2147483647 h 321"/>
                <a:gd name="T34" fmla="*/ 2147483647 w 213"/>
                <a:gd name="T35" fmla="*/ 2147483647 h 321"/>
                <a:gd name="T36" fmla="*/ 2147483647 w 213"/>
                <a:gd name="T37" fmla="*/ 0 h 321"/>
                <a:gd name="T38" fmla="*/ 2147483647 w 213"/>
                <a:gd name="T39" fmla="*/ 2147483647 h 321"/>
                <a:gd name="T40" fmla="*/ 2147483647 w 213"/>
                <a:gd name="T41" fmla="*/ 2147483647 h 321"/>
                <a:gd name="T42" fmla="*/ 2147483647 w 213"/>
                <a:gd name="T43" fmla="*/ 2147483647 h 321"/>
                <a:gd name="T44" fmla="*/ 2147483647 w 213"/>
                <a:gd name="T45" fmla="*/ 2147483647 h 321"/>
                <a:gd name="T46" fmla="*/ 0 w 213"/>
                <a:gd name="T47" fmla="*/ 2147483647 h 3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213" h="321">
                  <a:moveTo>
                    <a:pt x="0" y="156"/>
                  </a:moveTo>
                  <a:lnTo>
                    <a:pt x="0" y="246"/>
                  </a:lnTo>
                  <a:lnTo>
                    <a:pt x="13" y="267"/>
                  </a:lnTo>
                  <a:lnTo>
                    <a:pt x="0" y="311"/>
                  </a:lnTo>
                  <a:lnTo>
                    <a:pt x="24" y="321"/>
                  </a:lnTo>
                  <a:lnTo>
                    <a:pt x="82" y="311"/>
                  </a:lnTo>
                  <a:lnTo>
                    <a:pt x="93" y="256"/>
                  </a:lnTo>
                  <a:lnTo>
                    <a:pt x="132" y="233"/>
                  </a:lnTo>
                  <a:lnTo>
                    <a:pt x="138" y="200"/>
                  </a:lnTo>
                  <a:lnTo>
                    <a:pt x="150" y="188"/>
                  </a:lnTo>
                  <a:lnTo>
                    <a:pt x="144" y="167"/>
                  </a:lnTo>
                  <a:lnTo>
                    <a:pt x="157" y="167"/>
                  </a:lnTo>
                  <a:lnTo>
                    <a:pt x="169" y="123"/>
                  </a:lnTo>
                  <a:lnTo>
                    <a:pt x="163" y="89"/>
                  </a:lnTo>
                  <a:lnTo>
                    <a:pt x="213" y="54"/>
                  </a:lnTo>
                  <a:lnTo>
                    <a:pt x="213" y="44"/>
                  </a:lnTo>
                  <a:lnTo>
                    <a:pt x="194" y="44"/>
                  </a:lnTo>
                  <a:lnTo>
                    <a:pt x="169" y="67"/>
                  </a:lnTo>
                  <a:lnTo>
                    <a:pt x="157" y="0"/>
                  </a:lnTo>
                  <a:lnTo>
                    <a:pt x="132" y="44"/>
                  </a:lnTo>
                  <a:lnTo>
                    <a:pt x="69" y="44"/>
                  </a:lnTo>
                  <a:lnTo>
                    <a:pt x="31" y="123"/>
                  </a:lnTo>
                  <a:lnTo>
                    <a:pt x="5" y="100"/>
                  </a:lnTo>
                  <a:lnTo>
                    <a:pt x="0" y="1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77" name="Freeform 11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6572401" y="3649246"/>
              <a:ext cx="46112" cy="90487"/>
            </a:xfrm>
            <a:custGeom>
              <a:avLst/>
              <a:gdLst>
                <a:gd name="T0" fmla="*/ 0 w 24"/>
                <a:gd name="T1" fmla="*/ 2147483647 h 113"/>
                <a:gd name="T2" fmla="*/ 0 w 24"/>
                <a:gd name="T3" fmla="*/ 2147483647 h 113"/>
                <a:gd name="T4" fmla="*/ 2147483647 w 24"/>
                <a:gd name="T5" fmla="*/ 0 h 113"/>
                <a:gd name="T6" fmla="*/ 2147483647 w 24"/>
                <a:gd name="T7" fmla="*/ 2147483647 h 113"/>
                <a:gd name="T8" fmla="*/ 2147483647 w 24"/>
                <a:gd name="T9" fmla="*/ 2147483647 h 113"/>
                <a:gd name="T10" fmla="*/ 0 w 24"/>
                <a:gd name="T11" fmla="*/ 2147483647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113">
                  <a:moveTo>
                    <a:pt x="0" y="90"/>
                  </a:moveTo>
                  <a:lnTo>
                    <a:pt x="0" y="34"/>
                  </a:lnTo>
                  <a:lnTo>
                    <a:pt x="13" y="0"/>
                  </a:lnTo>
                  <a:lnTo>
                    <a:pt x="24" y="69"/>
                  </a:lnTo>
                  <a:lnTo>
                    <a:pt x="13" y="113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79" name="Freeform 12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6572401" y="3649246"/>
              <a:ext cx="46112" cy="90487"/>
            </a:xfrm>
            <a:custGeom>
              <a:avLst/>
              <a:gdLst>
                <a:gd name="T0" fmla="*/ 0 w 24"/>
                <a:gd name="T1" fmla="*/ 2147483647 h 113"/>
                <a:gd name="T2" fmla="*/ 0 w 24"/>
                <a:gd name="T3" fmla="*/ 2147483647 h 113"/>
                <a:gd name="T4" fmla="*/ 2147483647 w 24"/>
                <a:gd name="T5" fmla="*/ 0 h 113"/>
                <a:gd name="T6" fmla="*/ 2147483647 w 24"/>
                <a:gd name="T7" fmla="*/ 2147483647 h 113"/>
                <a:gd name="T8" fmla="*/ 2147483647 w 24"/>
                <a:gd name="T9" fmla="*/ 2147483647 h 113"/>
                <a:gd name="T10" fmla="*/ 0 w 24"/>
                <a:gd name="T11" fmla="*/ 2147483647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113">
                  <a:moveTo>
                    <a:pt x="0" y="90"/>
                  </a:moveTo>
                  <a:lnTo>
                    <a:pt x="0" y="34"/>
                  </a:lnTo>
                  <a:lnTo>
                    <a:pt x="13" y="0"/>
                  </a:lnTo>
                  <a:lnTo>
                    <a:pt x="24" y="69"/>
                  </a:lnTo>
                  <a:lnTo>
                    <a:pt x="13" y="113"/>
                  </a:lnTo>
                  <a:lnTo>
                    <a:pt x="0" y="9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93" name="Freeform 13"/>
            <p:cNvSpPr>
              <a:spLocks/>
            </p:cNvSpPr>
            <p:nvPr>
              <p:custDataLst>
                <p:tags r:id="rId22"/>
              </p:custDataLst>
            </p:nvPr>
          </p:nvSpPr>
          <p:spPr bwMode="auto">
            <a:xfrm>
              <a:off x="6572401" y="3649246"/>
              <a:ext cx="46112" cy="90487"/>
            </a:xfrm>
            <a:custGeom>
              <a:avLst/>
              <a:gdLst>
                <a:gd name="T0" fmla="*/ 0 w 24"/>
                <a:gd name="T1" fmla="*/ 2147483647 h 113"/>
                <a:gd name="T2" fmla="*/ 0 w 24"/>
                <a:gd name="T3" fmla="*/ 2147483647 h 113"/>
                <a:gd name="T4" fmla="*/ 2147483647 w 24"/>
                <a:gd name="T5" fmla="*/ 0 h 113"/>
                <a:gd name="T6" fmla="*/ 2147483647 w 24"/>
                <a:gd name="T7" fmla="*/ 2147483647 h 113"/>
                <a:gd name="T8" fmla="*/ 2147483647 w 24"/>
                <a:gd name="T9" fmla="*/ 2147483647 h 113"/>
                <a:gd name="T10" fmla="*/ 0 w 24"/>
                <a:gd name="T11" fmla="*/ 2147483647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113">
                  <a:moveTo>
                    <a:pt x="0" y="90"/>
                  </a:moveTo>
                  <a:lnTo>
                    <a:pt x="0" y="34"/>
                  </a:lnTo>
                  <a:lnTo>
                    <a:pt x="13" y="0"/>
                  </a:lnTo>
                  <a:lnTo>
                    <a:pt x="24" y="69"/>
                  </a:lnTo>
                  <a:lnTo>
                    <a:pt x="13" y="113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94" name="Freeform 14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6572401" y="3649246"/>
              <a:ext cx="46112" cy="90487"/>
            </a:xfrm>
            <a:custGeom>
              <a:avLst/>
              <a:gdLst>
                <a:gd name="T0" fmla="*/ 0 w 24"/>
                <a:gd name="T1" fmla="*/ 2147483647 h 113"/>
                <a:gd name="T2" fmla="*/ 0 w 24"/>
                <a:gd name="T3" fmla="*/ 2147483647 h 113"/>
                <a:gd name="T4" fmla="*/ 2147483647 w 24"/>
                <a:gd name="T5" fmla="*/ 0 h 113"/>
                <a:gd name="T6" fmla="*/ 2147483647 w 24"/>
                <a:gd name="T7" fmla="*/ 2147483647 h 113"/>
                <a:gd name="T8" fmla="*/ 2147483647 w 24"/>
                <a:gd name="T9" fmla="*/ 2147483647 h 113"/>
                <a:gd name="T10" fmla="*/ 0 w 24"/>
                <a:gd name="T11" fmla="*/ 2147483647 h 1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4" h="113">
                  <a:moveTo>
                    <a:pt x="0" y="90"/>
                  </a:moveTo>
                  <a:lnTo>
                    <a:pt x="0" y="34"/>
                  </a:lnTo>
                  <a:lnTo>
                    <a:pt x="13" y="0"/>
                  </a:lnTo>
                  <a:lnTo>
                    <a:pt x="24" y="69"/>
                  </a:lnTo>
                  <a:lnTo>
                    <a:pt x="13" y="113"/>
                  </a:lnTo>
                  <a:lnTo>
                    <a:pt x="0" y="9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95" name="Freeform 15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5762422" y="3817518"/>
              <a:ext cx="591444" cy="496887"/>
            </a:xfrm>
            <a:custGeom>
              <a:avLst/>
              <a:gdLst>
                <a:gd name="T0" fmla="*/ 0 w 319"/>
                <a:gd name="T1" fmla="*/ 2147483647 h 624"/>
                <a:gd name="T2" fmla="*/ 2147483647 w 319"/>
                <a:gd name="T3" fmla="*/ 2147483647 h 624"/>
                <a:gd name="T4" fmla="*/ 2147483647 w 319"/>
                <a:gd name="T5" fmla="*/ 2147483647 h 624"/>
                <a:gd name="T6" fmla="*/ 2147483647 w 319"/>
                <a:gd name="T7" fmla="*/ 2147483647 h 624"/>
                <a:gd name="T8" fmla="*/ 2147483647 w 319"/>
                <a:gd name="T9" fmla="*/ 2147483647 h 624"/>
                <a:gd name="T10" fmla="*/ 2147483647 w 319"/>
                <a:gd name="T11" fmla="*/ 2147483647 h 624"/>
                <a:gd name="T12" fmla="*/ 2147483647 w 319"/>
                <a:gd name="T13" fmla="*/ 2147483647 h 624"/>
                <a:gd name="T14" fmla="*/ 2147483647 w 319"/>
                <a:gd name="T15" fmla="*/ 2147483647 h 624"/>
                <a:gd name="T16" fmla="*/ 2147483647 w 319"/>
                <a:gd name="T17" fmla="*/ 2147483647 h 624"/>
                <a:gd name="T18" fmla="*/ 2147483647 w 319"/>
                <a:gd name="T19" fmla="*/ 2147483647 h 624"/>
                <a:gd name="T20" fmla="*/ 2147483647 w 319"/>
                <a:gd name="T21" fmla="*/ 2147483647 h 624"/>
                <a:gd name="T22" fmla="*/ 2147483647 w 319"/>
                <a:gd name="T23" fmla="*/ 2147483647 h 624"/>
                <a:gd name="T24" fmla="*/ 2147483647 w 319"/>
                <a:gd name="T25" fmla="*/ 2147483647 h 624"/>
                <a:gd name="T26" fmla="*/ 2147483647 w 319"/>
                <a:gd name="T27" fmla="*/ 0 h 624"/>
                <a:gd name="T28" fmla="*/ 2147483647 w 319"/>
                <a:gd name="T29" fmla="*/ 2147483647 h 624"/>
                <a:gd name="T30" fmla="*/ 2147483647 w 319"/>
                <a:gd name="T31" fmla="*/ 2147483647 h 624"/>
                <a:gd name="T32" fmla="*/ 2147483647 w 319"/>
                <a:gd name="T33" fmla="*/ 2147483647 h 624"/>
                <a:gd name="T34" fmla="*/ 2147483647 w 319"/>
                <a:gd name="T35" fmla="*/ 2147483647 h 624"/>
                <a:gd name="T36" fmla="*/ 2147483647 w 319"/>
                <a:gd name="T37" fmla="*/ 2147483647 h 624"/>
                <a:gd name="T38" fmla="*/ 2147483647 w 319"/>
                <a:gd name="T39" fmla="*/ 2147483647 h 624"/>
                <a:gd name="T40" fmla="*/ 2147483647 w 319"/>
                <a:gd name="T41" fmla="*/ 2147483647 h 624"/>
                <a:gd name="T42" fmla="*/ 0 w 319"/>
                <a:gd name="T43" fmla="*/ 2147483647 h 62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19" h="624">
                  <a:moveTo>
                    <a:pt x="0" y="334"/>
                  </a:moveTo>
                  <a:lnTo>
                    <a:pt x="6" y="344"/>
                  </a:lnTo>
                  <a:lnTo>
                    <a:pt x="62" y="422"/>
                  </a:lnTo>
                  <a:lnTo>
                    <a:pt x="187" y="590"/>
                  </a:lnTo>
                  <a:lnTo>
                    <a:pt x="187" y="624"/>
                  </a:lnTo>
                  <a:lnTo>
                    <a:pt x="200" y="613"/>
                  </a:lnTo>
                  <a:lnTo>
                    <a:pt x="225" y="601"/>
                  </a:lnTo>
                  <a:lnTo>
                    <a:pt x="319" y="467"/>
                  </a:lnTo>
                  <a:lnTo>
                    <a:pt x="282" y="378"/>
                  </a:lnTo>
                  <a:lnTo>
                    <a:pt x="282" y="234"/>
                  </a:lnTo>
                  <a:lnTo>
                    <a:pt x="274" y="177"/>
                  </a:lnTo>
                  <a:lnTo>
                    <a:pt x="250" y="111"/>
                  </a:lnTo>
                  <a:lnTo>
                    <a:pt x="263" y="88"/>
                  </a:lnTo>
                  <a:lnTo>
                    <a:pt x="269" y="0"/>
                  </a:lnTo>
                  <a:lnTo>
                    <a:pt x="163" y="11"/>
                  </a:lnTo>
                  <a:lnTo>
                    <a:pt x="99" y="67"/>
                  </a:lnTo>
                  <a:lnTo>
                    <a:pt x="118" y="167"/>
                  </a:lnTo>
                  <a:lnTo>
                    <a:pt x="94" y="177"/>
                  </a:lnTo>
                  <a:lnTo>
                    <a:pt x="81" y="190"/>
                  </a:lnTo>
                  <a:lnTo>
                    <a:pt x="81" y="211"/>
                  </a:lnTo>
                  <a:lnTo>
                    <a:pt x="12" y="278"/>
                  </a:lnTo>
                  <a:lnTo>
                    <a:pt x="0" y="33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196" name="Freeform 16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5762422" y="3817518"/>
              <a:ext cx="591444" cy="496887"/>
            </a:xfrm>
            <a:custGeom>
              <a:avLst/>
              <a:gdLst>
                <a:gd name="T0" fmla="*/ 0 w 319"/>
                <a:gd name="T1" fmla="*/ 2147483647 h 624"/>
                <a:gd name="T2" fmla="*/ 2147483647 w 319"/>
                <a:gd name="T3" fmla="*/ 2147483647 h 624"/>
                <a:gd name="T4" fmla="*/ 2147483647 w 319"/>
                <a:gd name="T5" fmla="*/ 2147483647 h 624"/>
                <a:gd name="T6" fmla="*/ 2147483647 w 319"/>
                <a:gd name="T7" fmla="*/ 2147483647 h 624"/>
                <a:gd name="T8" fmla="*/ 2147483647 w 319"/>
                <a:gd name="T9" fmla="*/ 2147483647 h 624"/>
                <a:gd name="T10" fmla="*/ 2147483647 w 319"/>
                <a:gd name="T11" fmla="*/ 2147483647 h 624"/>
                <a:gd name="T12" fmla="*/ 2147483647 w 319"/>
                <a:gd name="T13" fmla="*/ 2147483647 h 624"/>
                <a:gd name="T14" fmla="*/ 2147483647 w 319"/>
                <a:gd name="T15" fmla="*/ 2147483647 h 624"/>
                <a:gd name="T16" fmla="*/ 2147483647 w 319"/>
                <a:gd name="T17" fmla="*/ 2147483647 h 624"/>
                <a:gd name="T18" fmla="*/ 2147483647 w 319"/>
                <a:gd name="T19" fmla="*/ 2147483647 h 624"/>
                <a:gd name="T20" fmla="*/ 2147483647 w 319"/>
                <a:gd name="T21" fmla="*/ 2147483647 h 624"/>
                <a:gd name="T22" fmla="*/ 2147483647 w 319"/>
                <a:gd name="T23" fmla="*/ 2147483647 h 624"/>
                <a:gd name="T24" fmla="*/ 2147483647 w 319"/>
                <a:gd name="T25" fmla="*/ 2147483647 h 624"/>
                <a:gd name="T26" fmla="*/ 2147483647 w 319"/>
                <a:gd name="T27" fmla="*/ 0 h 624"/>
                <a:gd name="T28" fmla="*/ 2147483647 w 319"/>
                <a:gd name="T29" fmla="*/ 2147483647 h 624"/>
                <a:gd name="T30" fmla="*/ 2147483647 w 319"/>
                <a:gd name="T31" fmla="*/ 2147483647 h 624"/>
                <a:gd name="T32" fmla="*/ 2147483647 w 319"/>
                <a:gd name="T33" fmla="*/ 2147483647 h 624"/>
                <a:gd name="T34" fmla="*/ 2147483647 w 319"/>
                <a:gd name="T35" fmla="*/ 2147483647 h 624"/>
                <a:gd name="T36" fmla="*/ 2147483647 w 319"/>
                <a:gd name="T37" fmla="*/ 2147483647 h 624"/>
                <a:gd name="T38" fmla="*/ 2147483647 w 319"/>
                <a:gd name="T39" fmla="*/ 2147483647 h 624"/>
                <a:gd name="T40" fmla="*/ 2147483647 w 319"/>
                <a:gd name="T41" fmla="*/ 2147483647 h 624"/>
                <a:gd name="T42" fmla="*/ 0 w 319"/>
                <a:gd name="T43" fmla="*/ 2147483647 h 62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19" h="624">
                  <a:moveTo>
                    <a:pt x="0" y="334"/>
                  </a:moveTo>
                  <a:lnTo>
                    <a:pt x="6" y="344"/>
                  </a:lnTo>
                  <a:lnTo>
                    <a:pt x="62" y="422"/>
                  </a:lnTo>
                  <a:lnTo>
                    <a:pt x="187" y="590"/>
                  </a:lnTo>
                  <a:lnTo>
                    <a:pt x="187" y="624"/>
                  </a:lnTo>
                  <a:lnTo>
                    <a:pt x="200" y="613"/>
                  </a:lnTo>
                  <a:lnTo>
                    <a:pt x="225" y="601"/>
                  </a:lnTo>
                  <a:lnTo>
                    <a:pt x="319" y="467"/>
                  </a:lnTo>
                  <a:lnTo>
                    <a:pt x="282" y="378"/>
                  </a:lnTo>
                  <a:lnTo>
                    <a:pt x="282" y="234"/>
                  </a:lnTo>
                  <a:lnTo>
                    <a:pt x="274" y="177"/>
                  </a:lnTo>
                  <a:lnTo>
                    <a:pt x="250" y="111"/>
                  </a:lnTo>
                  <a:lnTo>
                    <a:pt x="263" y="88"/>
                  </a:lnTo>
                  <a:lnTo>
                    <a:pt x="269" y="0"/>
                  </a:lnTo>
                  <a:lnTo>
                    <a:pt x="163" y="11"/>
                  </a:lnTo>
                  <a:lnTo>
                    <a:pt x="99" y="67"/>
                  </a:lnTo>
                  <a:lnTo>
                    <a:pt x="118" y="167"/>
                  </a:lnTo>
                  <a:lnTo>
                    <a:pt x="94" y="177"/>
                  </a:lnTo>
                  <a:lnTo>
                    <a:pt x="81" y="190"/>
                  </a:lnTo>
                  <a:lnTo>
                    <a:pt x="81" y="211"/>
                  </a:lnTo>
                  <a:lnTo>
                    <a:pt x="12" y="278"/>
                  </a:lnTo>
                  <a:lnTo>
                    <a:pt x="0" y="334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09" name="Freeform 17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5762422" y="3817518"/>
              <a:ext cx="591444" cy="496887"/>
            </a:xfrm>
            <a:custGeom>
              <a:avLst/>
              <a:gdLst>
                <a:gd name="T0" fmla="*/ 0 w 319"/>
                <a:gd name="T1" fmla="*/ 2147483647 h 624"/>
                <a:gd name="T2" fmla="*/ 2147483647 w 319"/>
                <a:gd name="T3" fmla="*/ 2147483647 h 624"/>
                <a:gd name="T4" fmla="*/ 2147483647 w 319"/>
                <a:gd name="T5" fmla="*/ 2147483647 h 624"/>
                <a:gd name="T6" fmla="*/ 2147483647 w 319"/>
                <a:gd name="T7" fmla="*/ 2147483647 h 624"/>
                <a:gd name="T8" fmla="*/ 2147483647 w 319"/>
                <a:gd name="T9" fmla="*/ 2147483647 h 624"/>
                <a:gd name="T10" fmla="*/ 2147483647 w 319"/>
                <a:gd name="T11" fmla="*/ 2147483647 h 624"/>
                <a:gd name="T12" fmla="*/ 2147483647 w 319"/>
                <a:gd name="T13" fmla="*/ 2147483647 h 624"/>
                <a:gd name="T14" fmla="*/ 2147483647 w 319"/>
                <a:gd name="T15" fmla="*/ 2147483647 h 624"/>
                <a:gd name="T16" fmla="*/ 2147483647 w 319"/>
                <a:gd name="T17" fmla="*/ 2147483647 h 624"/>
                <a:gd name="T18" fmla="*/ 2147483647 w 319"/>
                <a:gd name="T19" fmla="*/ 2147483647 h 624"/>
                <a:gd name="T20" fmla="*/ 2147483647 w 319"/>
                <a:gd name="T21" fmla="*/ 2147483647 h 624"/>
                <a:gd name="T22" fmla="*/ 2147483647 w 319"/>
                <a:gd name="T23" fmla="*/ 2147483647 h 624"/>
                <a:gd name="T24" fmla="*/ 2147483647 w 319"/>
                <a:gd name="T25" fmla="*/ 2147483647 h 624"/>
                <a:gd name="T26" fmla="*/ 2147483647 w 319"/>
                <a:gd name="T27" fmla="*/ 0 h 624"/>
                <a:gd name="T28" fmla="*/ 2147483647 w 319"/>
                <a:gd name="T29" fmla="*/ 2147483647 h 624"/>
                <a:gd name="T30" fmla="*/ 2147483647 w 319"/>
                <a:gd name="T31" fmla="*/ 2147483647 h 624"/>
                <a:gd name="T32" fmla="*/ 2147483647 w 319"/>
                <a:gd name="T33" fmla="*/ 2147483647 h 624"/>
                <a:gd name="T34" fmla="*/ 2147483647 w 319"/>
                <a:gd name="T35" fmla="*/ 2147483647 h 624"/>
                <a:gd name="T36" fmla="*/ 2147483647 w 319"/>
                <a:gd name="T37" fmla="*/ 2147483647 h 624"/>
                <a:gd name="T38" fmla="*/ 2147483647 w 319"/>
                <a:gd name="T39" fmla="*/ 2147483647 h 624"/>
                <a:gd name="T40" fmla="*/ 2147483647 w 319"/>
                <a:gd name="T41" fmla="*/ 2147483647 h 624"/>
                <a:gd name="T42" fmla="*/ 0 w 319"/>
                <a:gd name="T43" fmla="*/ 2147483647 h 62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19" h="624">
                  <a:moveTo>
                    <a:pt x="0" y="334"/>
                  </a:moveTo>
                  <a:lnTo>
                    <a:pt x="6" y="344"/>
                  </a:lnTo>
                  <a:lnTo>
                    <a:pt x="62" y="422"/>
                  </a:lnTo>
                  <a:lnTo>
                    <a:pt x="187" y="590"/>
                  </a:lnTo>
                  <a:lnTo>
                    <a:pt x="187" y="624"/>
                  </a:lnTo>
                  <a:lnTo>
                    <a:pt x="200" y="613"/>
                  </a:lnTo>
                  <a:lnTo>
                    <a:pt x="225" y="601"/>
                  </a:lnTo>
                  <a:lnTo>
                    <a:pt x="319" y="467"/>
                  </a:lnTo>
                  <a:lnTo>
                    <a:pt x="282" y="378"/>
                  </a:lnTo>
                  <a:lnTo>
                    <a:pt x="282" y="234"/>
                  </a:lnTo>
                  <a:lnTo>
                    <a:pt x="274" y="177"/>
                  </a:lnTo>
                  <a:lnTo>
                    <a:pt x="250" y="111"/>
                  </a:lnTo>
                  <a:lnTo>
                    <a:pt x="263" y="88"/>
                  </a:lnTo>
                  <a:lnTo>
                    <a:pt x="269" y="0"/>
                  </a:lnTo>
                  <a:lnTo>
                    <a:pt x="163" y="11"/>
                  </a:lnTo>
                  <a:lnTo>
                    <a:pt x="99" y="67"/>
                  </a:lnTo>
                  <a:lnTo>
                    <a:pt x="118" y="167"/>
                  </a:lnTo>
                  <a:lnTo>
                    <a:pt x="94" y="177"/>
                  </a:lnTo>
                  <a:lnTo>
                    <a:pt x="81" y="190"/>
                  </a:lnTo>
                  <a:lnTo>
                    <a:pt x="81" y="211"/>
                  </a:lnTo>
                  <a:lnTo>
                    <a:pt x="12" y="278"/>
                  </a:lnTo>
                  <a:lnTo>
                    <a:pt x="0" y="33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10" name="Freeform 18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5762422" y="3817518"/>
              <a:ext cx="591444" cy="496887"/>
            </a:xfrm>
            <a:custGeom>
              <a:avLst/>
              <a:gdLst>
                <a:gd name="T0" fmla="*/ 0 w 319"/>
                <a:gd name="T1" fmla="*/ 2147483647 h 624"/>
                <a:gd name="T2" fmla="*/ 2147483647 w 319"/>
                <a:gd name="T3" fmla="*/ 2147483647 h 624"/>
                <a:gd name="T4" fmla="*/ 2147483647 w 319"/>
                <a:gd name="T5" fmla="*/ 2147483647 h 624"/>
                <a:gd name="T6" fmla="*/ 2147483647 w 319"/>
                <a:gd name="T7" fmla="*/ 2147483647 h 624"/>
                <a:gd name="T8" fmla="*/ 2147483647 w 319"/>
                <a:gd name="T9" fmla="*/ 2147483647 h 624"/>
                <a:gd name="T10" fmla="*/ 2147483647 w 319"/>
                <a:gd name="T11" fmla="*/ 2147483647 h 624"/>
                <a:gd name="T12" fmla="*/ 2147483647 w 319"/>
                <a:gd name="T13" fmla="*/ 2147483647 h 624"/>
                <a:gd name="T14" fmla="*/ 2147483647 w 319"/>
                <a:gd name="T15" fmla="*/ 2147483647 h 624"/>
                <a:gd name="T16" fmla="*/ 2147483647 w 319"/>
                <a:gd name="T17" fmla="*/ 2147483647 h 624"/>
                <a:gd name="T18" fmla="*/ 2147483647 w 319"/>
                <a:gd name="T19" fmla="*/ 2147483647 h 624"/>
                <a:gd name="T20" fmla="*/ 2147483647 w 319"/>
                <a:gd name="T21" fmla="*/ 2147483647 h 624"/>
                <a:gd name="T22" fmla="*/ 2147483647 w 319"/>
                <a:gd name="T23" fmla="*/ 2147483647 h 624"/>
                <a:gd name="T24" fmla="*/ 2147483647 w 319"/>
                <a:gd name="T25" fmla="*/ 2147483647 h 624"/>
                <a:gd name="T26" fmla="*/ 2147483647 w 319"/>
                <a:gd name="T27" fmla="*/ 0 h 624"/>
                <a:gd name="T28" fmla="*/ 2147483647 w 319"/>
                <a:gd name="T29" fmla="*/ 2147483647 h 624"/>
                <a:gd name="T30" fmla="*/ 2147483647 w 319"/>
                <a:gd name="T31" fmla="*/ 2147483647 h 624"/>
                <a:gd name="T32" fmla="*/ 2147483647 w 319"/>
                <a:gd name="T33" fmla="*/ 2147483647 h 624"/>
                <a:gd name="T34" fmla="*/ 2147483647 w 319"/>
                <a:gd name="T35" fmla="*/ 2147483647 h 624"/>
                <a:gd name="T36" fmla="*/ 2147483647 w 319"/>
                <a:gd name="T37" fmla="*/ 2147483647 h 624"/>
                <a:gd name="T38" fmla="*/ 2147483647 w 319"/>
                <a:gd name="T39" fmla="*/ 2147483647 h 624"/>
                <a:gd name="T40" fmla="*/ 2147483647 w 319"/>
                <a:gd name="T41" fmla="*/ 2147483647 h 624"/>
                <a:gd name="T42" fmla="*/ 0 w 319"/>
                <a:gd name="T43" fmla="*/ 2147483647 h 624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319" h="624">
                  <a:moveTo>
                    <a:pt x="0" y="334"/>
                  </a:moveTo>
                  <a:lnTo>
                    <a:pt x="6" y="344"/>
                  </a:lnTo>
                  <a:lnTo>
                    <a:pt x="62" y="422"/>
                  </a:lnTo>
                  <a:lnTo>
                    <a:pt x="187" y="590"/>
                  </a:lnTo>
                  <a:lnTo>
                    <a:pt x="187" y="624"/>
                  </a:lnTo>
                  <a:lnTo>
                    <a:pt x="200" y="613"/>
                  </a:lnTo>
                  <a:lnTo>
                    <a:pt x="225" y="601"/>
                  </a:lnTo>
                  <a:lnTo>
                    <a:pt x="319" y="467"/>
                  </a:lnTo>
                  <a:lnTo>
                    <a:pt x="282" y="378"/>
                  </a:lnTo>
                  <a:lnTo>
                    <a:pt x="282" y="234"/>
                  </a:lnTo>
                  <a:lnTo>
                    <a:pt x="274" y="177"/>
                  </a:lnTo>
                  <a:lnTo>
                    <a:pt x="250" y="111"/>
                  </a:lnTo>
                  <a:lnTo>
                    <a:pt x="263" y="88"/>
                  </a:lnTo>
                  <a:lnTo>
                    <a:pt x="269" y="0"/>
                  </a:lnTo>
                  <a:lnTo>
                    <a:pt x="163" y="11"/>
                  </a:lnTo>
                  <a:lnTo>
                    <a:pt x="99" y="67"/>
                  </a:lnTo>
                  <a:lnTo>
                    <a:pt x="118" y="167"/>
                  </a:lnTo>
                  <a:lnTo>
                    <a:pt x="94" y="177"/>
                  </a:lnTo>
                  <a:lnTo>
                    <a:pt x="81" y="190"/>
                  </a:lnTo>
                  <a:lnTo>
                    <a:pt x="81" y="211"/>
                  </a:lnTo>
                  <a:lnTo>
                    <a:pt x="12" y="278"/>
                  </a:lnTo>
                  <a:lnTo>
                    <a:pt x="0" y="334"/>
                  </a:lnTo>
                </a:path>
              </a:pathLst>
            </a:custGeom>
            <a:solidFill>
              <a:srgbClr val="F0812D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11" name="Freeform 19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3663297" y="5354208"/>
              <a:ext cx="571396" cy="895350"/>
            </a:xfrm>
            <a:custGeom>
              <a:avLst/>
              <a:gdLst>
                <a:gd name="T0" fmla="*/ 0 w 308"/>
                <a:gd name="T1" fmla="*/ 2147483647 h 1127"/>
                <a:gd name="T2" fmla="*/ 2147483647 w 308"/>
                <a:gd name="T3" fmla="*/ 2147483647 h 1127"/>
                <a:gd name="T4" fmla="*/ 2147483647 w 308"/>
                <a:gd name="T5" fmla="*/ 2147483647 h 1127"/>
                <a:gd name="T6" fmla="*/ 2147483647 w 308"/>
                <a:gd name="T7" fmla="*/ 2147483647 h 1127"/>
                <a:gd name="T8" fmla="*/ 2147483647 w 308"/>
                <a:gd name="T9" fmla="*/ 2147483647 h 1127"/>
                <a:gd name="T10" fmla="*/ 2147483647 w 308"/>
                <a:gd name="T11" fmla="*/ 2147483647 h 1127"/>
                <a:gd name="T12" fmla="*/ 2147483647 w 308"/>
                <a:gd name="T13" fmla="*/ 2147483647 h 1127"/>
                <a:gd name="T14" fmla="*/ 2147483647 w 308"/>
                <a:gd name="T15" fmla="*/ 2147483647 h 1127"/>
                <a:gd name="T16" fmla="*/ 2147483647 w 308"/>
                <a:gd name="T17" fmla="*/ 2147483647 h 1127"/>
                <a:gd name="T18" fmla="*/ 2147483647 w 308"/>
                <a:gd name="T19" fmla="*/ 2147483647 h 1127"/>
                <a:gd name="T20" fmla="*/ 2147483647 w 308"/>
                <a:gd name="T21" fmla="*/ 2147483647 h 1127"/>
                <a:gd name="T22" fmla="*/ 2147483647 w 308"/>
                <a:gd name="T23" fmla="*/ 2147483647 h 1127"/>
                <a:gd name="T24" fmla="*/ 2147483647 w 308"/>
                <a:gd name="T25" fmla="*/ 2147483647 h 1127"/>
                <a:gd name="T26" fmla="*/ 2147483647 w 308"/>
                <a:gd name="T27" fmla="*/ 2147483647 h 1127"/>
                <a:gd name="T28" fmla="*/ 2147483647 w 308"/>
                <a:gd name="T29" fmla="*/ 2147483647 h 1127"/>
                <a:gd name="T30" fmla="*/ 2147483647 w 308"/>
                <a:gd name="T31" fmla="*/ 2147483647 h 1127"/>
                <a:gd name="T32" fmla="*/ 2147483647 w 308"/>
                <a:gd name="T33" fmla="*/ 2147483647 h 1127"/>
                <a:gd name="T34" fmla="*/ 2147483647 w 308"/>
                <a:gd name="T35" fmla="*/ 2147483647 h 1127"/>
                <a:gd name="T36" fmla="*/ 2147483647 w 308"/>
                <a:gd name="T37" fmla="*/ 2147483647 h 1127"/>
                <a:gd name="T38" fmla="*/ 2147483647 w 308"/>
                <a:gd name="T39" fmla="*/ 2147483647 h 1127"/>
                <a:gd name="T40" fmla="*/ 2147483647 w 308"/>
                <a:gd name="T41" fmla="*/ 2147483647 h 1127"/>
                <a:gd name="T42" fmla="*/ 2147483647 w 308"/>
                <a:gd name="T43" fmla="*/ 2147483647 h 1127"/>
                <a:gd name="T44" fmla="*/ 2147483647 w 308"/>
                <a:gd name="T45" fmla="*/ 2147483647 h 1127"/>
                <a:gd name="T46" fmla="*/ 2147483647 w 308"/>
                <a:gd name="T47" fmla="*/ 2147483647 h 1127"/>
                <a:gd name="T48" fmla="*/ 2147483647 w 308"/>
                <a:gd name="T49" fmla="*/ 2147483647 h 1127"/>
                <a:gd name="T50" fmla="*/ 2147483647 w 308"/>
                <a:gd name="T51" fmla="*/ 2147483647 h 1127"/>
                <a:gd name="T52" fmla="*/ 2147483647 w 308"/>
                <a:gd name="T53" fmla="*/ 2147483647 h 1127"/>
                <a:gd name="T54" fmla="*/ 2147483647 w 308"/>
                <a:gd name="T55" fmla="*/ 2147483647 h 1127"/>
                <a:gd name="T56" fmla="*/ 2147483647 w 308"/>
                <a:gd name="T57" fmla="*/ 2147483647 h 1127"/>
                <a:gd name="T58" fmla="*/ 2147483647 w 308"/>
                <a:gd name="T59" fmla="*/ 2147483647 h 1127"/>
                <a:gd name="T60" fmla="*/ 2147483647 w 308"/>
                <a:gd name="T61" fmla="*/ 2147483647 h 1127"/>
                <a:gd name="T62" fmla="*/ 2147483647 w 308"/>
                <a:gd name="T63" fmla="*/ 2147483647 h 1127"/>
                <a:gd name="T64" fmla="*/ 2147483647 w 308"/>
                <a:gd name="T65" fmla="*/ 2147483647 h 1127"/>
                <a:gd name="T66" fmla="*/ 2147483647 w 308"/>
                <a:gd name="T67" fmla="*/ 2147483647 h 1127"/>
                <a:gd name="T68" fmla="*/ 2147483647 w 308"/>
                <a:gd name="T69" fmla="*/ 0 h 1127"/>
                <a:gd name="T70" fmla="*/ 2147483647 w 308"/>
                <a:gd name="T71" fmla="*/ 2147483647 h 1127"/>
                <a:gd name="T72" fmla="*/ 2147483647 w 308"/>
                <a:gd name="T73" fmla="*/ 2147483647 h 1127"/>
                <a:gd name="T74" fmla="*/ 2147483647 w 308"/>
                <a:gd name="T75" fmla="*/ 2147483647 h 1127"/>
                <a:gd name="T76" fmla="*/ 2147483647 w 308"/>
                <a:gd name="T77" fmla="*/ 2147483647 h 1127"/>
                <a:gd name="T78" fmla="*/ 2147483647 w 308"/>
                <a:gd name="T79" fmla="*/ 2147483647 h 1127"/>
                <a:gd name="T80" fmla="*/ 2147483647 w 308"/>
                <a:gd name="T81" fmla="*/ 2147483647 h 1127"/>
                <a:gd name="T82" fmla="*/ 2147483647 w 308"/>
                <a:gd name="T83" fmla="*/ 2147483647 h 1127"/>
                <a:gd name="T84" fmla="*/ 2147483647 w 308"/>
                <a:gd name="T85" fmla="*/ 2147483647 h 1127"/>
                <a:gd name="T86" fmla="*/ 2147483647 w 308"/>
                <a:gd name="T87" fmla="*/ 2147483647 h 1127"/>
                <a:gd name="T88" fmla="*/ 2147483647 w 308"/>
                <a:gd name="T89" fmla="*/ 2147483647 h 1127"/>
                <a:gd name="T90" fmla="*/ 2147483647 w 308"/>
                <a:gd name="T91" fmla="*/ 2147483647 h 1127"/>
                <a:gd name="T92" fmla="*/ 2147483647 w 308"/>
                <a:gd name="T93" fmla="*/ 2147483647 h 1127"/>
                <a:gd name="T94" fmla="*/ 0 w 308"/>
                <a:gd name="T95" fmla="*/ 2147483647 h 11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08" h="1127">
                  <a:moveTo>
                    <a:pt x="0" y="1048"/>
                  </a:moveTo>
                  <a:lnTo>
                    <a:pt x="8" y="1070"/>
                  </a:lnTo>
                  <a:lnTo>
                    <a:pt x="20" y="1070"/>
                  </a:lnTo>
                  <a:lnTo>
                    <a:pt x="26" y="1127"/>
                  </a:lnTo>
                  <a:lnTo>
                    <a:pt x="82" y="1127"/>
                  </a:lnTo>
                  <a:lnTo>
                    <a:pt x="63" y="1104"/>
                  </a:lnTo>
                  <a:lnTo>
                    <a:pt x="76" y="1025"/>
                  </a:lnTo>
                  <a:lnTo>
                    <a:pt x="89" y="1048"/>
                  </a:lnTo>
                  <a:lnTo>
                    <a:pt x="119" y="937"/>
                  </a:lnTo>
                  <a:lnTo>
                    <a:pt x="95" y="870"/>
                  </a:lnTo>
                  <a:lnTo>
                    <a:pt x="127" y="837"/>
                  </a:lnTo>
                  <a:lnTo>
                    <a:pt x="132" y="782"/>
                  </a:lnTo>
                  <a:lnTo>
                    <a:pt x="145" y="758"/>
                  </a:lnTo>
                  <a:lnTo>
                    <a:pt x="132" y="747"/>
                  </a:lnTo>
                  <a:lnTo>
                    <a:pt x="158" y="747"/>
                  </a:lnTo>
                  <a:lnTo>
                    <a:pt x="151" y="724"/>
                  </a:lnTo>
                  <a:lnTo>
                    <a:pt x="138" y="735"/>
                  </a:lnTo>
                  <a:lnTo>
                    <a:pt x="132" y="714"/>
                  </a:lnTo>
                  <a:lnTo>
                    <a:pt x="132" y="680"/>
                  </a:lnTo>
                  <a:lnTo>
                    <a:pt x="169" y="680"/>
                  </a:lnTo>
                  <a:lnTo>
                    <a:pt x="177" y="601"/>
                  </a:lnTo>
                  <a:lnTo>
                    <a:pt x="245" y="580"/>
                  </a:lnTo>
                  <a:lnTo>
                    <a:pt x="264" y="524"/>
                  </a:lnTo>
                  <a:lnTo>
                    <a:pt x="239" y="424"/>
                  </a:lnTo>
                  <a:lnTo>
                    <a:pt x="252" y="290"/>
                  </a:lnTo>
                  <a:lnTo>
                    <a:pt x="308" y="180"/>
                  </a:lnTo>
                  <a:lnTo>
                    <a:pt x="308" y="134"/>
                  </a:lnTo>
                  <a:lnTo>
                    <a:pt x="294" y="134"/>
                  </a:lnTo>
                  <a:lnTo>
                    <a:pt x="276" y="190"/>
                  </a:lnTo>
                  <a:lnTo>
                    <a:pt x="239" y="180"/>
                  </a:lnTo>
                  <a:lnTo>
                    <a:pt x="245" y="123"/>
                  </a:lnTo>
                  <a:lnTo>
                    <a:pt x="169" y="23"/>
                  </a:lnTo>
                  <a:lnTo>
                    <a:pt x="145" y="13"/>
                  </a:lnTo>
                  <a:lnTo>
                    <a:pt x="145" y="34"/>
                  </a:lnTo>
                  <a:lnTo>
                    <a:pt x="114" y="0"/>
                  </a:lnTo>
                  <a:lnTo>
                    <a:pt x="100" y="34"/>
                  </a:lnTo>
                  <a:lnTo>
                    <a:pt x="95" y="79"/>
                  </a:lnTo>
                  <a:lnTo>
                    <a:pt x="82" y="88"/>
                  </a:lnTo>
                  <a:lnTo>
                    <a:pt x="82" y="167"/>
                  </a:lnTo>
                  <a:lnTo>
                    <a:pt x="63" y="211"/>
                  </a:lnTo>
                  <a:lnTo>
                    <a:pt x="44" y="324"/>
                  </a:lnTo>
                  <a:lnTo>
                    <a:pt x="58" y="434"/>
                  </a:lnTo>
                  <a:lnTo>
                    <a:pt x="39" y="513"/>
                  </a:lnTo>
                  <a:lnTo>
                    <a:pt x="26" y="735"/>
                  </a:lnTo>
                  <a:lnTo>
                    <a:pt x="32" y="826"/>
                  </a:lnTo>
                  <a:lnTo>
                    <a:pt x="26" y="826"/>
                  </a:lnTo>
                  <a:lnTo>
                    <a:pt x="26" y="891"/>
                  </a:lnTo>
                  <a:lnTo>
                    <a:pt x="0" y="104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420" name="Group 20"/>
            <p:cNvGrpSpPr>
              <a:grpSpLocks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3663297" y="5354208"/>
              <a:ext cx="571396" cy="895350"/>
              <a:chOff x="1799" y="3003"/>
              <a:chExt cx="308" cy="564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45" name="Freeform 21"/>
              <p:cNvSpPr>
                <a:spLocks/>
              </p:cNvSpPr>
              <p:nvPr/>
            </p:nvSpPr>
            <p:spPr bwMode="auto">
              <a:xfrm>
                <a:off x="1799" y="3003"/>
                <a:ext cx="308" cy="564"/>
              </a:xfrm>
              <a:custGeom>
                <a:avLst/>
                <a:gdLst>
                  <a:gd name="T0" fmla="*/ 0 w 308"/>
                  <a:gd name="T1" fmla="*/ 1 h 1127"/>
                  <a:gd name="T2" fmla="*/ 8 w 308"/>
                  <a:gd name="T3" fmla="*/ 1 h 1127"/>
                  <a:gd name="T4" fmla="*/ 20 w 308"/>
                  <a:gd name="T5" fmla="*/ 1 h 1127"/>
                  <a:gd name="T6" fmla="*/ 26 w 308"/>
                  <a:gd name="T7" fmla="*/ 1 h 1127"/>
                  <a:gd name="T8" fmla="*/ 82 w 308"/>
                  <a:gd name="T9" fmla="*/ 1 h 1127"/>
                  <a:gd name="T10" fmla="*/ 63 w 308"/>
                  <a:gd name="T11" fmla="*/ 1 h 1127"/>
                  <a:gd name="T12" fmla="*/ 76 w 308"/>
                  <a:gd name="T13" fmla="*/ 1 h 1127"/>
                  <a:gd name="T14" fmla="*/ 89 w 308"/>
                  <a:gd name="T15" fmla="*/ 1 h 1127"/>
                  <a:gd name="T16" fmla="*/ 119 w 308"/>
                  <a:gd name="T17" fmla="*/ 1 h 1127"/>
                  <a:gd name="T18" fmla="*/ 95 w 308"/>
                  <a:gd name="T19" fmla="*/ 1 h 1127"/>
                  <a:gd name="T20" fmla="*/ 127 w 308"/>
                  <a:gd name="T21" fmla="*/ 1 h 1127"/>
                  <a:gd name="T22" fmla="*/ 132 w 308"/>
                  <a:gd name="T23" fmla="*/ 1 h 1127"/>
                  <a:gd name="T24" fmla="*/ 145 w 308"/>
                  <a:gd name="T25" fmla="*/ 1 h 1127"/>
                  <a:gd name="T26" fmla="*/ 132 w 308"/>
                  <a:gd name="T27" fmla="*/ 1 h 1127"/>
                  <a:gd name="T28" fmla="*/ 158 w 308"/>
                  <a:gd name="T29" fmla="*/ 1 h 1127"/>
                  <a:gd name="T30" fmla="*/ 151 w 308"/>
                  <a:gd name="T31" fmla="*/ 1 h 1127"/>
                  <a:gd name="T32" fmla="*/ 138 w 308"/>
                  <a:gd name="T33" fmla="*/ 1 h 1127"/>
                  <a:gd name="T34" fmla="*/ 132 w 308"/>
                  <a:gd name="T35" fmla="*/ 1 h 1127"/>
                  <a:gd name="T36" fmla="*/ 132 w 308"/>
                  <a:gd name="T37" fmla="*/ 1 h 1127"/>
                  <a:gd name="T38" fmla="*/ 169 w 308"/>
                  <a:gd name="T39" fmla="*/ 1 h 1127"/>
                  <a:gd name="T40" fmla="*/ 177 w 308"/>
                  <a:gd name="T41" fmla="*/ 1 h 1127"/>
                  <a:gd name="T42" fmla="*/ 245 w 308"/>
                  <a:gd name="T43" fmla="*/ 1 h 1127"/>
                  <a:gd name="T44" fmla="*/ 264 w 308"/>
                  <a:gd name="T45" fmla="*/ 1 h 1127"/>
                  <a:gd name="T46" fmla="*/ 239 w 308"/>
                  <a:gd name="T47" fmla="*/ 1 h 1127"/>
                  <a:gd name="T48" fmla="*/ 252 w 308"/>
                  <a:gd name="T49" fmla="*/ 1 h 1127"/>
                  <a:gd name="T50" fmla="*/ 308 w 308"/>
                  <a:gd name="T51" fmla="*/ 1 h 1127"/>
                  <a:gd name="T52" fmla="*/ 308 w 308"/>
                  <a:gd name="T53" fmla="*/ 1 h 1127"/>
                  <a:gd name="T54" fmla="*/ 294 w 308"/>
                  <a:gd name="T55" fmla="*/ 1 h 1127"/>
                  <a:gd name="T56" fmla="*/ 276 w 308"/>
                  <a:gd name="T57" fmla="*/ 1 h 1127"/>
                  <a:gd name="T58" fmla="*/ 239 w 308"/>
                  <a:gd name="T59" fmla="*/ 1 h 1127"/>
                  <a:gd name="T60" fmla="*/ 245 w 308"/>
                  <a:gd name="T61" fmla="*/ 1 h 1127"/>
                  <a:gd name="T62" fmla="*/ 169 w 308"/>
                  <a:gd name="T63" fmla="*/ 1 h 1127"/>
                  <a:gd name="T64" fmla="*/ 145 w 308"/>
                  <a:gd name="T65" fmla="*/ 1 h 1127"/>
                  <a:gd name="T66" fmla="*/ 145 w 308"/>
                  <a:gd name="T67" fmla="*/ 1 h 1127"/>
                  <a:gd name="T68" fmla="*/ 114 w 308"/>
                  <a:gd name="T69" fmla="*/ 0 h 1127"/>
                  <a:gd name="T70" fmla="*/ 100 w 308"/>
                  <a:gd name="T71" fmla="*/ 1 h 1127"/>
                  <a:gd name="T72" fmla="*/ 95 w 308"/>
                  <a:gd name="T73" fmla="*/ 1 h 1127"/>
                  <a:gd name="T74" fmla="*/ 82 w 308"/>
                  <a:gd name="T75" fmla="*/ 1 h 1127"/>
                  <a:gd name="T76" fmla="*/ 82 w 308"/>
                  <a:gd name="T77" fmla="*/ 1 h 1127"/>
                  <a:gd name="T78" fmla="*/ 63 w 308"/>
                  <a:gd name="T79" fmla="*/ 1 h 1127"/>
                  <a:gd name="T80" fmla="*/ 44 w 308"/>
                  <a:gd name="T81" fmla="*/ 1 h 1127"/>
                  <a:gd name="T82" fmla="*/ 58 w 308"/>
                  <a:gd name="T83" fmla="*/ 1 h 1127"/>
                  <a:gd name="T84" fmla="*/ 39 w 308"/>
                  <a:gd name="T85" fmla="*/ 1 h 1127"/>
                  <a:gd name="T86" fmla="*/ 26 w 308"/>
                  <a:gd name="T87" fmla="*/ 1 h 1127"/>
                  <a:gd name="T88" fmla="*/ 32 w 308"/>
                  <a:gd name="T89" fmla="*/ 1 h 1127"/>
                  <a:gd name="T90" fmla="*/ 26 w 308"/>
                  <a:gd name="T91" fmla="*/ 1 h 1127"/>
                  <a:gd name="T92" fmla="*/ 26 w 308"/>
                  <a:gd name="T93" fmla="*/ 1 h 1127"/>
                  <a:gd name="T94" fmla="*/ 0 w 308"/>
                  <a:gd name="T95" fmla="*/ 1 h 11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08" h="1127">
                    <a:moveTo>
                      <a:pt x="0" y="1048"/>
                    </a:moveTo>
                    <a:lnTo>
                      <a:pt x="8" y="1070"/>
                    </a:lnTo>
                    <a:lnTo>
                      <a:pt x="20" y="1070"/>
                    </a:lnTo>
                    <a:lnTo>
                      <a:pt x="26" y="1127"/>
                    </a:lnTo>
                    <a:lnTo>
                      <a:pt x="82" y="1127"/>
                    </a:lnTo>
                    <a:lnTo>
                      <a:pt x="63" y="1104"/>
                    </a:lnTo>
                    <a:lnTo>
                      <a:pt x="76" y="1025"/>
                    </a:lnTo>
                    <a:lnTo>
                      <a:pt x="89" y="1048"/>
                    </a:lnTo>
                    <a:lnTo>
                      <a:pt x="119" y="937"/>
                    </a:lnTo>
                    <a:lnTo>
                      <a:pt x="95" y="870"/>
                    </a:lnTo>
                    <a:lnTo>
                      <a:pt x="127" y="837"/>
                    </a:lnTo>
                    <a:lnTo>
                      <a:pt x="132" y="782"/>
                    </a:lnTo>
                    <a:lnTo>
                      <a:pt x="145" y="758"/>
                    </a:lnTo>
                    <a:lnTo>
                      <a:pt x="132" y="747"/>
                    </a:lnTo>
                    <a:lnTo>
                      <a:pt x="158" y="747"/>
                    </a:lnTo>
                    <a:lnTo>
                      <a:pt x="151" y="724"/>
                    </a:lnTo>
                    <a:lnTo>
                      <a:pt x="138" y="735"/>
                    </a:lnTo>
                    <a:lnTo>
                      <a:pt x="132" y="714"/>
                    </a:lnTo>
                    <a:lnTo>
                      <a:pt x="132" y="680"/>
                    </a:lnTo>
                    <a:lnTo>
                      <a:pt x="169" y="680"/>
                    </a:lnTo>
                    <a:lnTo>
                      <a:pt x="177" y="601"/>
                    </a:lnTo>
                    <a:lnTo>
                      <a:pt x="245" y="580"/>
                    </a:lnTo>
                    <a:lnTo>
                      <a:pt x="264" y="524"/>
                    </a:lnTo>
                    <a:lnTo>
                      <a:pt x="239" y="424"/>
                    </a:lnTo>
                    <a:lnTo>
                      <a:pt x="252" y="290"/>
                    </a:lnTo>
                    <a:lnTo>
                      <a:pt x="308" y="180"/>
                    </a:lnTo>
                    <a:lnTo>
                      <a:pt x="308" y="134"/>
                    </a:lnTo>
                    <a:lnTo>
                      <a:pt x="294" y="134"/>
                    </a:lnTo>
                    <a:lnTo>
                      <a:pt x="276" y="190"/>
                    </a:lnTo>
                    <a:lnTo>
                      <a:pt x="239" y="180"/>
                    </a:lnTo>
                    <a:lnTo>
                      <a:pt x="245" y="123"/>
                    </a:lnTo>
                    <a:lnTo>
                      <a:pt x="169" y="23"/>
                    </a:lnTo>
                    <a:lnTo>
                      <a:pt x="145" y="13"/>
                    </a:lnTo>
                    <a:lnTo>
                      <a:pt x="145" y="34"/>
                    </a:lnTo>
                    <a:lnTo>
                      <a:pt x="114" y="0"/>
                    </a:lnTo>
                    <a:lnTo>
                      <a:pt x="100" y="34"/>
                    </a:lnTo>
                    <a:lnTo>
                      <a:pt x="95" y="79"/>
                    </a:lnTo>
                    <a:lnTo>
                      <a:pt x="82" y="88"/>
                    </a:lnTo>
                    <a:lnTo>
                      <a:pt x="82" y="167"/>
                    </a:lnTo>
                    <a:lnTo>
                      <a:pt x="63" y="211"/>
                    </a:lnTo>
                    <a:lnTo>
                      <a:pt x="44" y="324"/>
                    </a:lnTo>
                    <a:lnTo>
                      <a:pt x="58" y="434"/>
                    </a:lnTo>
                    <a:lnTo>
                      <a:pt x="39" y="513"/>
                    </a:lnTo>
                    <a:lnTo>
                      <a:pt x="26" y="735"/>
                    </a:lnTo>
                    <a:lnTo>
                      <a:pt x="32" y="826"/>
                    </a:lnTo>
                    <a:lnTo>
                      <a:pt x="26" y="826"/>
                    </a:lnTo>
                    <a:lnTo>
                      <a:pt x="26" y="891"/>
                    </a:lnTo>
                    <a:lnTo>
                      <a:pt x="0" y="104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46" name="Freeform 22"/>
              <p:cNvSpPr>
                <a:spLocks/>
              </p:cNvSpPr>
              <p:nvPr/>
            </p:nvSpPr>
            <p:spPr bwMode="auto">
              <a:xfrm>
                <a:off x="1799" y="3003"/>
                <a:ext cx="308" cy="564"/>
              </a:xfrm>
              <a:custGeom>
                <a:avLst/>
                <a:gdLst>
                  <a:gd name="T0" fmla="*/ 0 w 308"/>
                  <a:gd name="T1" fmla="*/ 1 h 1127"/>
                  <a:gd name="T2" fmla="*/ 8 w 308"/>
                  <a:gd name="T3" fmla="*/ 1 h 1127"/>
                  <a:gd name="T4" fmla="*/ 20 w 308"/>
                  <a:gd name="T5" fmla="*/ 1 h 1127"/>
                  <a:gd name="T6" fmla="*/ 26 w 308"/>
                  <a:gd name="T7" fmla="*/ 1 h 1127"/>
                  <a:gd name="T8" fmla="*/ 82 w 308"/>
                  <a:gd name="T9" fmla="*/ 1 h 1127"/>
                  <a:gd name="T10" fmla="*/ 63 w 308"/>
                  <a:gd name="T11" fmla="*/ 1 h 1127"/>
                  <a:gd name="T12" fmla="*/ 76 w 308"/>
                  <a:gd name="T13" fmla="*/ 1 h 1127"/>
                  <a:gd name="T14" fmla="*/ 89 w 308"/>
                  <a:gd name="T15" fmla="*/ 1 h 1127"/>
                  <a:gd name="T16" fmla="*/ 119 w 308"/>
                  <a:gd name="T17" fmla="*/ 1 h 1127"/>
                  <a:gd name="T18" fmla="*/ 95 w 308"/>
                  <a:gd name="T19" fmla="*/ 1 h 1127"/>
                  <a:gd name="T20" fmla="*/ 127 w 308"/>
                  <a:gd name="T21" fmla="*/ 1 h 1127"/>
                  <a:gd name="T22" fmla="*/ 132 w 308"/>
                  <a:gd name="T23" fmla="*/ 1 h 1127"/>
                  <a:gd name="T24" fmla="*/ 145 w 308"/>
                  <a:gd name="T25" fmla="*/ 1 h 1127"/>
                  <a:gd name="T26" fmla="*/ 132 w 308"/>
                  <a:gd name="T27" fmla="*/ 1 h 1127"/>
                  <a:gd name="T28" fmla="*/ 158 w 308"/>
                  <a:gd name="T29" fmla="*/ 1 h 1127"/>
                  <a:gd name="T30" fmla="*/ 151 w 308"/>
                  <a:gd name="T31" fmla="*/ 1 h 1127"/>
                  <a:gd name="T32" fmla="*/ 138 w 308"/>
                  <a:gd name="T33" fmla="*/ 1 h 1127"/>
                  <a:gd name="T34" fmla="*/ 132 w 308"/>
                  <a:gd name="T35" fmla="*/ 1 h 1127"/>
                  <a:gd name="T36" fmla="*/ 132 w 308"/>
                  <a:gd name="T37" fmla="*/ 1 h 1127"/>
                  <a:gd name="T38" fmla="*/ 169 w 308"/>
                  <a:gd name="T39" fmla="*/ 1 h 1127"/>
                  <a:gd name="T40" fmla="*/ 177 w 308"/>
                  <a:gd name="T41" fmla="*/ 1 h 1127"/>
                  <a:gd name="T42" fmla="*/ 245 w 308"/>
                  <a:gd name="T43" fmla="*/ 1 h 1127"/>
                  <a:gd name="T44" fmla="*/ 264 w 308"/>
                  <a:gd name="T45" fmla="*/ 1 h 1127"/>
                  <a:gd name="T46" fmla="*/ 239 w 308"/>
                  <a:gd name="T47" fmla="*/ 1 h 1127"/>
                  <a:gd name="T48" fmla="*/ 252 w 308"/>
                  <a:gd name="T49" fmla="*/ 1 h 1127"/>
                  <a:gd name="T50" fmla="*/ 308 w 308"/>
                  <a:gd name="T51" fmla="*/ 1 h 1127"/>
                  <a:gd name="T52" fmla="*/ 308 w 308"/>
                  <a:gd name="T53" fmla="*/ 1 h 1127"/>
                  <a:gd name="T54" fmla="*/ 294 w 308"/>
                  <a:gd name="T55" fmla="*/ 1 h 1127"/>
                  <a:gd name="T56" fmla="*/ 276 w 308"/>
                  <a:gd name="T57" fmla="*/ 1 h 1127"/>
                  <a:gd name="T58" fmla="*/ 239 w 308"/>
                  <a:gd name="T59" fmla="*/ 1 h 1127"/>
                  <a:gd name="T60" fmla="*/ 245 w 308"/>
                  <a:gd name="T61" fmla="*/ 1 h 1127"/>
                  <a:gd name="T62" fmla="*/ 169 w 308"/>
                  <a:gd name="T63" fmla="*/ 1 h 1127"/>
                  <a:gd name="T64" fmla="*/ 145 w 308"/>
                  <a:gd name="T65" fmla="*/ 1 h 1127"/>
                  <a:gd name="T66" fmla="*/ 145 w 308"/>
                  <a:gd name="T67" fmla="*/ 1 h 1127"/>
                  <a:gd name="T68" fmla="*/ 114 w 308"/>
                  <a:gd name="T69" fmla="*/ 0 h 1127"/>
                  <a:gd name="T70" fmla="*/ 100 w 308"/>
                  <a:gd name="T71" fmla="*/ 1 h 1127"/>
                  <a:gd name="T72" fmla="*/ 95 w 308"/>
                  <a:gd name="T73" fmla="*/ 1 h 1127"/>
                  <a:gd name="T74" fmla="*/ 82 w 308"/>
                  <a:gd name="T75" fmla="*/ 1 h 1127"/>
                  <a:gd name="T76" fmla="*/ 82 w 308"/>
                  <a:gd name="T77" fmla="*/ 1 h 1127"/>
                  <a:gd name="T78" fmla="*/ 63 w 308"/>
                  <a:gd name="T79" fmla="*/ 1 h 1127"/>
                  <a:gd name="T80" fmla="*/ 44 w 308"/>
                  <a:gd name="T81" fmla="*/ 1 h 1127"/>
                  <a:gd name="T82" fmla="*/ 58 w 308"/>
                  <a:gd name="T83" fmla="*/ 1 h 1127"/>
                  <a:gd name="T84" fmla="*/ 39 w 308"/>
                  <a:gd name="T85" fmla="*/ 1 h 1127"/>
                  <a:gd name="T86" fmla="*/ 26 w 308"/>
                  <a:gd name="T87" fmla="*/ 1 h 1127"/>
                  <a:gd name="T88" fmla="*/ 32 w 308"/>
                  <a:gd name="T89" fmla="*/ 1 h 1127"/>
                  <a:gd name="T90" fmla="*/ 26 w 308"/>
                  <a:gd name="T91" fmla="*/ 1 h 1127"/>
                  <a:gd name="T92" fmla="*/ 26 w 308"/>
                  <a:gd name="T93" fmla="*/ 1 h 1127"/>
                  <a:gd name="T94" fmla="*/ 0 w 308"/>
                  <a:gd name="T95" fmla="*/ 1 h 11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08" h="1127">
                    <a:moveTo>
                      <a:pt x="0" y="1048"/>
                    </a:moveTo>
                    <a:lnTo>
                      <a:pt x="8" y="1070"/>
                    </a:lnTo>
                    <a:lnTo>
                      <a:pt x="20" y="1070"/>
                    </a:lnTo>
                    <a:lnTo>
                      <a:pt x="26" y="1127"/>
                    </a:lnTo>
                    <a:lnTo>
                      <a:pt x="82" y="1127"/>
                    </a:lnTo>
                    <a:lnTo>
                      <a:pt x="63" y="1104"/>
                    </a:lnTo>
                    <a:lnTo>
                      <a:pt x="76" y="1025"/>
                    </a:lnTo>
                    <a:lnTo>
                      <a:pt x="89" y="1048"/>
                    </a:lnTo>
                    <a:lnTo>
                      <a:pt x="119" y="937"/>
                    </a:lnTo>
                    <a:lnTo>
                      <a:pt x="95" y="870"/>
                    </a:lnTo>
                    <a:lnTo>
                      <a:pt x="127" y="837"/>
                    </a:lnTo>
                    <a:lnTo>
                      <a:pt x="132" y="782"/>
                    </a:lnTo>
                    <a:lnTo>
                      <a:pt x="145" y="758"/>
                    </a:lnTo>
                    <a:lnTo>
                      <a:pt x="132" y="747"/>
                    </a:lnTo>
                    <a:lnTo>
                      <a:pt x="158" y="747"/>
                    </a:lnTo>
                    <a:lnTo>
                      <a:pt x="151" y="724"/>
                    </a:lnTo>
                    <a:lnTo>
                      <a:pt x="138" y="735"/>
                    </a:lnTo>
                    <a:lnTo>
                      <a:pt x="132" y="714"/>
                    </a:lnTo>
                    <a:lnTo>
                      <a:pt x="132" y="680"/>
                    </a:lnTo>
                    <a:lnTo>
                      <a:pt x="169" y="680"/>
                    </a:lnTo>
                    <a:lnTo>
                      <a:pt x="177" y="601"/>
                    </a:lnTo>
                    <a:lnTo>
                      <a:pt x="245" y="580"/>
                    </a:lnTo>
                    <a:lnTo>
                      <a:pt x="264" y="524"/>
                    </a:lnTo>
                    <a:lnTo>
                      <a:pt x="239" y="424"/>
                    </a:lnTo>
                    <a:lnTo>
                      <a:pt x="252" y="290"/>
                    </a:lnTo>
                    <a:lnTo>
                      <a:pt x="308" y="180"/>
                    </a:lnTo>
                    <a:lnTo>
                      <a:pt x="308" y="134"/>
                    </a:lnTo>
                    <a:lnTo>
                      <a:pt x="294" y="134"/>
                    </a:lnTo>
                    <a:lnTo>
                      <a:pt x="276" y="190"/>
                    </a:lnTo>
                    <a:lnTo>
                      <a:pt x="239" y="180"/>
                    </a:lnTo>
                    <a:lnTo>
                      <a:pt x="245" y="123"/>
                    </a:lnTo>
                    <a:lnTo>
                      <a:pt x="169" y="23"/>
                    </a:lnTo>
                    <a:lnTo>
                      <a:pt x="145" y="13"/>
                    </a:lnTo>
                    <a:lnTo>
                      <a:pt x="145" y="34"/>
                    </a:lnTo>
                    <a:lnTo>
                      <a:pt x="114" y="0"/>
                    </a:lnTo>
                    <a:lnTo>
                      <a:pt x="100" y="34"/>
                    </a:lnTo>
                    <a:lnTo>
                      <a:pt x="95" y="79"/>
                    </a:lnTo>
                    <a:lnTo>
                      <a:pt x="82" y="88"/>
                    </a:lnTo>
                    <a:lnTo>
                      <a:pt x="82" y="167"/>
                    </a:lnTo>
                    <a:lnTo>
                      <a:pt x="63" y="211"/>
                    </a:lnTo>
                    <a:lnTo>
                      <a:pt x="44" y="324"/>
                    </a:lnTo>
                    <a:lnTo>
                      <a:pt x="58" y="434"/>
                    </a:lnTo>
                    <a:lnTo>
                      <a:pt x="39" y="513"/>
                    </a:lnTo>
                    <a:lnTo>
                      <a:pt x="26" y="735"/>
                    </a:lnTo>
                    <a:lnTo>
                      <a:pt x="32" y="826"/>
                    </a:lnTo>
                    <a:lnTo>
                      <a:pt x="26" y="826"/>
                    </a:lnTo>
                    <a:lnTo>
                      <a:pt x="26" y="891"/>
                    </a:lnTo>
                    <a:lnTo>
                      <a:pt x="0" y="1048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422" name="Freeform 23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3663297" y="5354208"/>
              <a:ext cx="571396" cy="895350"/>
            </a:xfrm>
            <a:custGeom>
              <a:avLst/>
              <a:gdLst>
                <a:gd name="T0" fmla="*/ 0 w 308"/>
                <a:gd name="T1" fmla="*/ 2147483647 h 1127"/>
                <a:gd name="T2" fmla="*/ 2147483647 w 308"/>
                <a:gd name="T3" fmla="*/ 2147483647 h 1127"/>
                <a:gd name="T4" fmla="*/ 2147483647 w 308"/>
                <a:gd name="T5" fmla="*/ 2147483647 h 1127"/>
                <a:gd name="T6" fmla="*/ 2147483647 w 308"/>
                <a:gd name="T7" fmla="*/ 2147483647 h 1127"/>
                <a:gd name="T8" fmla="*/ 2147483647 w 308"/>
                <a:gd name="T9" fmla="*/ 2147483647 h 1127"/>
                <a:gd name="T10" fmla="*/ 2147483647 w 308"/>
                <a:gd name="T11" fmla="*/ 2147483647 h 1127"/>
                <a:gd name="T12" fmla="*/ 2147483647 w 308"/>
                <a:gd name="T13" fmla="*/ 2147483647 h 1127"/>
                <a:gd name="T14" fmla="*/ 2147483647 w 308"/>
                <a:gd name="T15" fmla="*/ 2147483647 h 1127"/>
                <a:gd name="T16" fmla="*/ 2147483647 w 308"/>
                <a:gd name="T17" fmla="*/ 2147483647 h 1127"/>
                <a:gd name="T18" fmla="*/ 2147483647 w 308"/>
                <a:gd name="T19" fmla="*/ 2147483647 h 1127"/>
                <a:gd name="T20" fmla="*/ 2147483647 w 308"/>
                <a:gd name="T21" fmla="*/ 2147483647 h 1127"/>
                <a:gd name="T22" fmla="*/ 2147483647 w 308"/>
                <a:gd name="T23" fmla="*/ 2147483647 h 1127"/>
                <a:gd name="T24" fmla="*/ 2147483647 w 308"/>
                <a:gd name="T25" fmla="*/ 2147483647 h 1127"/>
                <a:gd name="T26" fmla="*/ 2147483647 w 308"/>
                <a:gd name="T27" fmla="*/ 2147483647 h 1127"/>
                <a:gd name="T28" fmla="*/ 2147483647 w 308"/>
                <a:gd name="T29" fmla="*/ 2147483647 h 1127"/>
                <a:gd name="T30" fmla="*/ 2147483647 w 308"/>
                <a:gd name="T31" fmla="*/ 2147483647 h 1127"/>
                <a:gd name="T32" fmla="*/ 2147483647 w 308"/>
                <a:gd name="T33" fmla="*/ 2147483647 h 1127"/>
                <a:gd name="T34" fmla="*/ 2147483647 w 308"/>
                <a:gd name="T35" fmla="*/ 2147483647 h 1127"/>
                <a:gd name="T36" fmla="*/ 2147483647 w 308"/>
                <a:gd name="T37" fmla="*/ 2147483647 h 1127"/>
                <a:gd name="T38" fmla="*/ 2147483647 w 308"/>
                <a:gd name="T39" fmla="*/ 2147483647 h 1127"/>
                <a:gd name="T40" fmla="*/ 2147483647 w 308"/>
                <a:gd name="T41" fmla="*/ 2147483647 h 1127"/>
                <a:gd name="T42" fmla="*/ 2147483647 w 308"/>
                <a:gd name="T43" fmla="*/ 2147483647 h 1127"/>
                <a:gd name="T44" fmla="*/ 2147483647 w 308"/>
                <a:gd name="T45" fmla="*/ 2147483647 h 1127"/>
                <a:gd name="T46" fmla="*/ 2147483647 w 308"/>
                <a:gd name="T47" fmla="*/ 2147483647 h 1127"/>
                <a:gd name="T48" fmla="*/ 2147483647 w 308"/>
                <a:gd name="T49" fmla="*/ 2147483647 h 1127"/>
                <a:gd name="T50" fmla="*/ 2147483647 w 308"/>
                <a:gd name="T51" fmla="*/ 2147483647 h 1127"/>
                <a:gd name="T52" fmla="*/ 2147483647 w 308"/>
                <a:gd name="T53" fmla="*/ 2147483647 h 1127"/>
                <a:gd name="T54" fmla="*/ 2147483647 w 308"/>
                <a:gd name="T55" fmla="*/ 2147483647 h 1127"/>
                <a:gd name="T56" fmla="*/ 2147483647 w 308"/>
                <a:gd name="T57" fmla="*/ 2147483647 h 1127"/>
                <a:gd name="T58" fmla="*/ 2147483647 w 308"/>
                <a:gd name="T59" fmla="*/ 2147483647 h 1127"/>
                <a:gd name="T60" fmla="*/ 2147483647 w 308"/>
                <a:gd name="T61" fmla="*/ 2147483647 h 1127"/>
                <a:gd name="T62" fmla="*/ 2147483647 w 308"/>
                <a:gd name="T63" fmla="*/ 2147483647 h 1127"/>
                <a:gd name="T64" fmla="*/ 2147483647 w 308"/>
                <a:gd name="T65" fmla="*/ 2147483647 h 1127"/>
                <a:gd name="T66" fmla="*/ 2147483647 w 308"/>
                <a:gd name="T67" fmla="*/ 2147483647 h 1127"/>
                <a:gd name="T68" fmla="*/ 2147483647 w 308"/>
                <a:gd name="T69" fmla="*/ 0 h 1127"/>
                <a:gd name="T70" fmla="*/ 2147483647 w 308"/>
                <a:gd name="T71" fmla="*/ 2147483647 h 1127"/>
                <a:gd name="T72" fmla="*/ 2147483647 w 308"/>
                <a:gd name="T73" fmla="*/ 2147483647 h 1127"/>
                <a:gd name="T74" fmla="*/ 2147483647 w 308"/>
                <a:gd name="T75" fmla="*/ 2147483647 h 1127"/>
                <a:gd name="T76" fmla="*/ 2147483647 w 308"/>
                <a:gd name="T77" fmla="*/ 2147483647 h 1127"/>
                <a:gd name="T78" fmla="*/ 2147483647 w 308"/>
                <a:gd name="T79" fmla="*/ 2147483647 h 1127"/>
                <a:gd name="T80" fmla="*/ 2147483647 w 308"/>
                <a:gd name="T81" fmla="*/ 2147483647 h 1127"/>
                <a:gd name="T82" fmla="*/ 2147483647 w 308"/>
                <a:gd name="T83" fmla="*/ 2147483647 h 1127"/>
                <a:gd name="T84" fmla="*/ 2147483647 w 308"/>
                <a:gd name="T85" fmla="*/ 2147483647 h 1127"/>
                <a:gd name="T86" fmla="*/ 2147483647 w 308"/>
                <a:gd name="T87" fmla="*/ 2147483647 h 1127"/>
                <a:gd name="T88" fmla="*/ 2147483647 w 308"/>
                <a:gd name="T89" fmla="*/ 2147483647 h 1127"/>
                <a:gd name="T90" fmla="*/ 2147483647 w 308"/>
                <a:gd name="T91" fmla="*/ 2147483647 h 1127"/>
                <a:gd name="T92" fmla="*/ 2147483647 w 308"/>
                <a:gd name="T93" fmla="*/ 2147483647 h 1127"/>
                <a:gd name="T94" fmla="*/ 0 w 308"/>
                <a:gd name="T95" fmla="*/ 2147483647 h 11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08" h="1127">
                  <a:moveTo>
                    <a:pt x="0" y="1048"/>
                  </a:moveTo>
                  <a:lnTo>
                    <a:pt x="8" y="1070"/>
                  </a:lnTo>
                  <a:lnTo>
                    <a:pt x="20" y="1070"/>
                  </a:lnTo>
                  <a:lnTo>
                    <a:pt x="26" y="1127"/>
                  </a:lnTo>
                  <a:lnTo>
                    <a:pt x="82" y="1127"/>
                  </a:lnTo>
                  <a:lnTo>
                    <a:pt x="63" y="1104"/>
                  </a:lnTo>
                  <a:lnTo>
                    <a:pt x="76" y="1025"/>
                  </a:lnTo>
                  <a:lnTo>
                    <a:pt x="89" y="1048"/>
                  </a:lnTo>
                  <a:lnTo>
                    <a:pt x="119" y="937"/>
                  </a:lnTo>
                  <a:lnTo>
                    <a:pt x="95" y="870"/>
                  </a:lnTo>
                  <a:lnTo>
                    <a:pt x="127" y="837"/>
                  </a:lnTo>
                  <a:lnTo>
                    <a:pt x="132" y="782"/>
                  </a:lnTo>
                  <a:lnTo>
                    <a:pt x="145" y="758"/>
                  </a:lnTo>
                  <a:lnTo>
                    <a:pt x="132" y="747"/>
                  </a:lnTo>
                  <a:lnTo>
                    <a:pt x="158" y="747"/>
                  </a:lnTo>
                  <a:lnTo>
                    <a:pt x="151" y="724"/>
                  </a:lnTo>
                  <a:lnTo>
                    <a:pt x="138" y="735"/>
                  </a:lnTo>
                  <a:lnTo>
                    <a:pt x="132" y="714"/>
                  </a:lnTo>
                  <a:lnTo>
                    <a:pt x="132" y="680"/>
                  </a:lnTo>
                  <a:lnTo>
                    <a:pt x="169" y="680"/>
                  </a:lnTo>
                  <a:lnTo>
                    <a:pt x="177" y="601"/>
                  </a:lnTo>
                  <a:lnTo>
                    <a:pt x="245" y="580"/>
                  </a:lnTo>
                  <a:lnTo>
                    <a:pt x="264" y="524"/>
                  </a:lnTo>
                  <a:lnTo>
                    <a:pt x="239" y="424"/>
                  </a:lnTo>
                  <a:lnTo>
                    <a:pt x="252" y="290"/>
                  </a:lnTo>
                  <a:lnTo>
                    <a:pt x="308" y="180"/>
                  </a:lnTo>
                  <a:lnTo>
                    <a:pt x="308" y="134"/>
                  </a:lnTo>
                  <a:lnTo>
                    <a:pt x="294" y="134"/>
                  </a:lnTo>
                  <a:lnTo>
                    <a:pt x="276" y="190"/>
                  </a:lnTo>
                  <a:lnTo>
                    <a:pt x="239" y="180"/>
                  </a:lnTo>
                  <a:lnTo>
                    <a:pt x="245" y="123"/>
                  </a:lnTo>
                  <a:lnTo>
                    <a:pt x="169" y="23"/>
                  </a:lnTo>
                  <a:lnTo>
                    <a:pt x="145" y="13"/>
                  </a:lnTo>
                  <a:lnTo>
                    <a:pt x="145" y="34"/>
                  </a:lnTo>
                  <a:lnTo>
                    <a:pt x="114" y="0"/>
                  </a:lnTo>
                  <a:lnTo>
                    <a:pt x="100" y="34"/>
                  </a:lnTo>
                  <a:lnTo>
                    <a:pt x="95" y="79"/>
                  </a:lnTo>
                  <a:lnTo>
                    <a:pt x="82" y="88"/>
                  </a:lnTo>
                  <a:lnTo>
                    <a:pt x="82" y="167"/>
                  </a:lnTo>
                  <a:lnTo>
                    <a:pt x="63" y="211"/>
                  </a:lnTo>
                  <a:lnTo>
                    <a:pt x="44" y="324"/>
                  </a:lnTo>
                  <a:lnTo>
                    <a:pt x="58" y="434"/>
                  </a:lnTo>
                  <a:lnTo>
                    <a:pt x="39" y="513"/>
                  </a:lnTo>
                  <a:lnTo>
                    <a:pt x="26" y="735"/>
                  </a:lnTo>
                  <a:lnTo>
                    <a:pt x="32" y="826"/>
                  </a:lnTo>
                  <a:lnTo>
                    <a:pt x="26" y="826"/>
                  </a:lnTo>
                  <a:lnTo>
                    <a:pt x="26" y="891"/>
                  </a:lnTo>
                  <a:lnTo>
                    <a:pt x="0" y="104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477" name="Group 24"/>
            <p:cNvGrpSpPr>
              <a:grpSpLocks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3663297" y="5354208"/>
              <a:ext cx="571396" cy="895350"/>
              <a:chOff x="1799" y="3003"/>
              <a:chExt cx="308" cy="564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43" name="Freeform 25"/>
              <p:cNvSpPr>
                <a:spLocks/>
              </p:cNvSpPr>
              <p:nvPr/>
            </p:nvSpPr>
            <p:spPr bwMode="auto">
              <a:xfrm>
                <a:off x="1799" y="3003"/>
                <a:ext cx="308" cy="564"/>
              </a:xfrm>
              <a:custGeom>
                <a:avLst/>
                <a:gdLst>
                  <a:gd name="T0" fmla="*/ 0 w 308"/>
                  <a:gd name="T1" fmla="*/ 1 h 1127"/>
                  <a:gd name="T2" fmla="*/ 8 w 308"/>
                  <a:gd name="T3" fmla="*/ 1 h 1127"/>
                  <a:gd name="T4" fmla="*/ 20 w 308"/>
                  <a:gd name="T5" fmla="*/ 1 h 1127"/>
                  <a:gd name="T6" fmla="*/ 26 w 308"/>
                  <a:gd name="T7" fmla="*/ 1 h 1127"/>
                  <a:gd name="T8" fmla="*/ 82 w 308"/>
                  <a:gd name="T9" fmla="*/ 1 h 1127"/>
                  <a:gd name="T10" fmla="*/ 63 w 308"/>
                  <a:gd name="T11" fmla="*/ 1 h 1127"/>
                  <a:gd name="T12" fmla="*/ 76 w 308"/>
                  <a:gd name="T13" fmla="*/ 1 h 1127"/>
                  <a:gd name="T14" fmla="*/ 89 w 308"/>
                  <a:gd name="T15" fmla="*/ 1 h 1127"/>
                  <a:gd name="T16" fmla="*/ 119 w 308"/>
                  <a:gd name="T17" fmla="*/ 1 h 1127"/>
                  <a:gd name="T18" fmla="*/ 95 w 308"/>
                  <a:gd name="T19" fmla="*/ 1 h 1127"/>
                  <a:gd name="T20" fmla="*/ 127 w 308"/>
                  <a:gd name="T21" fmla="*/ 1 h 1127"/>
                  <a:gd name="T22" fmla="*/ 132 w 308"/>
                  <a:gd name="T23" fmla="*/ 1 h 1127"/>
                  <a:gd name="T24" fmla="*/ 145 w 308"/>
                  <a:gd name="T25" fmla="*/ 1 h 1127"/>
                  <a:gd name="T26" fmla="*/ 132 w 308"/>
                  <a:gd name="T27" fmla="*/ 1 h 1127"/>
                  <a:gd name="T28" fmla="*/ 158 w 308"/>
                  <a:gd name="T29" fmla="*/ 1 h 1127"/>
                  <a:gd name="T30" fmla="*/ 151 w 308"/>
                  <a:gd name="T31" fmla="*/ 1 h 1127"/>
                  <a:gd name="T32" fmla="*/ 138 w 308"/>
                  <a:gd name="T33" fmla="*/ 1 h 1127"/>
                  <a:gd name="T34" fmla="*/ 132 w 308"/>
                  <a:gd name="T35" fmla="*/ 1 h 1127"/>
                  <a:gd name="T36" fmla="*/ 132 w 308"/>
                  <a:gd name="T37" fmla="*/ 1 h 1127"/>
                  <a:gd name="T38" fmla="*/ 169 w 308"/>
                  <a:gd name="T39" fmla="*/ 1 h 1127"/>
                  <a:gd name="T40" fmla="*/ 177 w 308"/>
                  <a:gd name="T41" fmla="*/ 1 h 1127"/>
                  <a:gd name="T42" fmla="*/ 245 w 308"/>
                  <a:gd name="T43" fmla="*/ 1 h 1127"/>
                  <a:gd name="T44" fmla="*/ 264 w 308"/>
                  <a:gd name="T45" fmla="*/ 1 h 1127"/>
                  <a:gd name="T46" fmla="*/ 239 w 308"/>
                  <a:gd name="T47" fmla="*/ 1 h 1127"/>
                  <a:gd name="T48" fmla="*/ 252 w 308"/>
                  <a:gd name="T49" fmla="*/ 1 h 1127"/>
                  <a:gd name="T50" fmla="*/ 308 w 308"/>
                  <a:gd name="T51" fmla="*/ 1 h 1127"/>
                  <a:gd name="T52" fmla="*/ 308 w 308"/>
                  <a:gd name="T53" fmla="*/ 1 h 1127"/>
                  <a:gd name="T54" fmla="*/ 294 w 308"/>
                  <a:gd name="T55" fmla="*/ 1 h 1127"/>
                  <a:gd name="T56" fmla="*/ 276 w 308"/>
                  <a:gd name="T57" fmla="*/ 1 h 1127"/>
                  <a:gd name="T58" fmla="*/ 239 w 308"/>
                  <a:gd name="T59" fmla="*/ 1 h 1127"/>
                  <a:gd name="T60" fmla="*/ 245 w 308"/>
                  <a:gd name="T61" fmla="*/ 1 h 1127"/>
                  <a:gd name="T62" fmla="*/ 169 w 308"/>
                  <a:gd name="T63" fmla="*/ 1 h 1127"/>
                  <a:gd name="T64" fmla="*/ 145 w 308"/>
                  <a:gd name="T65" fmla="*/ 1 h 1127"/>
                  <a:gd name="T66" fmla="*/ 145 w 308"/>
                  <a:gd name="T67" fmla="*/ 1 h 1127"/>
                  <a:gd name="T68" fmla="*/ 114 w 308"/>
                  <a:gd name="T69" fmla="*/ 0 h 1127"/>
                  <a:gd name="T70" fmla="*/ 100 w 308"/>
                  <a:gd name="T71" fmla="*/ 1 h 1127"/>
                  <a:gd name="T72" fmla="*/ 95 w 308"/>
                  <a:gd name="T73" fmla="*/ 1 h 1127"/>
                  <a:gd name="T74" fmla="*/ 82 w 308"/>
                  <a:gd name="T75" fmla="*/ 1 h 1127"/>
                  <a:gd name="T76" fmla="*/ 82 w 308"/>
                  <a:gd name="T77" fmla="*/ 1 h 1127"/>
                  <a:gd name="T78" fmla="*/ 63 w 308"/>
                  <a:gd name="T79" fmla="*/ 1 h 1127"/>
                  <a:gd name="T80" fmla="*/ 44 w 308"/>
                  <a:gd name="T81" fmla="*/ 1 h 1127"/>
                  <a:gd name="T82" fmla="*/ 58 w 308"/>
                  <a:gd name="T83" fmla="*/ 1 h 1127"/>
                  <a:gd name="T84" fmla="*/ 39 w 308"/>
                  <a:gd name="T85" fmla="*/ 1 h 1127"/>
                  <a:gd name="T86" fmla="*/ 26 w 308"/>
                  <a:gd name="T87" fmla="*/ 1 h 1127"/>
                  <a:gd name="T88" fmla="*/ 32 w 308"/>
                  <a:gd name="T89" fmla="*/ 1 h 1127"/>
                  <a:gd name="T90" fmla="*/ 26 w 308"/>
                  <a:gd name="T91" fmla="*/ 1 h 1127"/>
                  <a:gd name="T92" fmla="*/ 26 w 308"/>
                  <a:gd name="T93" fmla="*/ 1 h 1127"/>
                  <a:gd name="T94" fmla="*/ 0 w 308"/>
                  <a:gd name="T95" fmla="*/ 1 h 11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08" h="1127">
                    <a:moveTo>
                      <a:pt x="0" y="1048"/>
                    </a:moveTo>
                    <a:lnTo>
                      <a:pt x="8" y="1070"/>
                    </a:lnTo>
                    <a:lnTo>
                      <a:pt x="20" y="1070"/>
                    </a:lnTo>
                    <a:lnTo>
                      <a:pt x="26" y="1127"/>
                    </a:lnTo>
                    <a:lnTo>
                      <a:pt x="82" y="1127"/>
                    </a:lnTo>
                    <a:lnTo>
                      <a:pt x="63" y="1104"/>
                    </a:lnTo>
                    <a:lnTo>
                      <a:pt x="76" y="1025"/>
                    </a:lnTo>
                    <a:lnTo>
                      <a:pt x="89" y="1048"/>
                    </a:lnTo>
                    <a:lnTo>
                      <a:pt x="119" y="937"/>
                    </a:lnTo>
                    <a:lnTo>
                      <a:pt x="95" y="870"/>
                    </a:lnTo>
                    <a:lnTo>
                      <a:pt x="127" y="837"/>
                    </a:lnTo>
                    <a:lnTo>
                      <a:pt x="132" y="782"/>
                    </a:lnTo>
                    <a:lnTo>
                      <a:pt x="145" y="758"/>
                    </a:lnTo>
                    <a:lnTo>
                      <a:pt x="132" y="747"/>
                    </a:lnTo>
                    <a:lnTo>
                      <a:pt x="158" y="747"/>
                    </a:lnTo>
                    <a:lnTo>
                      <a:pt x="151" y="724"/>
                    </a:lnTo>
                    <a:lnTo>
                      <a:pt x="138" y="735"/>
                    </a:lnTo>
                    <a:lnTo>
                      <a:pt x="132" y="714"/>
                    </a:lnTo>
                    <a:lnTo>
                      <a:pt x="132" y="680"/>
                    </a:lnTo>
                    <a:lnTo>
                      <a:pt x="169" y="680"/>
                    </a:lnTo>
                    <a:lnTo>
                      <a:pt x="177" y="601"/>
                    </a:lnTo>
                    <a:lnTo>
                      <a:pt x="245" y="580"/>
                    </a:lnTo>
                    <a:lnTo>
                      <a:pt x="264" y="524"/>
                    </a:lnTo>
                    <a:lnTo>
                      <a:pt x="239" y="424"/>
                    </a:lnTo>
                    <a:lnTo>
                      <a:pt x="252" y="290"/>
                    </a:lnTo>
                    <a:lnTo>
                      <a:pt x="308" y="180"/>
                    </a:lnTo>
                    <a:lnTo>
                      <a:pt x="308" y="134"/>
                    </a:lnTo>
                    <a:lnTo>
                      <a:pt x="294" y="134"/>
                    </a:lnTo>
                    <a:lnTo>
                      <a:pt x="276" y="190"/>
                    </a:lnTo>
                    <a:lnTo>
                      <a:pt x="239" y="180"/>
                    </a:lnTo>
                    <a:lnTo>
                      <a:pt x="245" y="123"/>
                    </a:lnTo>
                    <a:lnTo>
                      <a:pt x="169" y="23"/>
                    </a:lnTo>
                    <a:lnTo>
                      <a:pt x="145" y="13"/>
                    </a:lnTo>
                    <a:lnTo>
                      <a:pt x="145" y="34"/>
                    </a:lnTo>
                    <a:lnTo>
                      <a:pt x="114" y="0"/>
                    </a:lnTo>
                    <a:lnTo>
                      <a:pt x="100" y="34"/>
                    </a:lnTo>
                    <a:lnTo>
                      <a:pt x="95" y="79"/>
                    </a:lnTo>
                    <a:lnTo>
                      <a:pt x="82" y="88"/>
                    </a:lnTo>
                    <a:lnTo>
                      <a:pt x="82" y="167"/>
                    </a:lnTo>
                    <a:lnTo>
                      <a:pt x="63" y="211"/>
                    </a:lnTo>
                    <a:lnTo>
                      <a:pt x="44" y="324"/>
                    </a:lnTo>
                    <a:lnTo>
                      <a:pt x="58" y="434"/>
                    </a:lnTo>
                    <a:lnTo>
                      <a:pt x="39" y="513"/>
                    </a:lnTo>
                    <a:lnTo>
                      <a:pt x="26" y="735"/>
                    </a:lnTo>
                    <a:lnTo>
                      <a:pt x="32" y="826"/>
                    </a:lnTo>
                    <a:lnTo>
                      <a:pt x="26" y="826"/>
                    </a:lnTo>
                    <a:lnTo>
                      <a:pt x="26" y="891"/>
                    </a:lnTo>
                    <a:lnTo>
                      <a:pt x="0" y="1048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44" name="Freeform 26"/>
              <p:cNvSpPr>
                <a:spLocks/>
              </p:cNvSpPr>
              <p:nvPr/>
            </p:nvSpPr>
            <p:spPr bwMode="auto">
              <a:xfrm>
                <a:off x="1799" y="3003"/>
                <a:ext cx="308" cy="564"/>
              </a:xfrm>
              <a:custGeom>
                <a:avLst/>
                <a:gdLst>
                  <a:gd name="T0" fmla="*/ 0 w 308"/>
                  <a:gd name="T1" fmla="*/ 1 h 1127"/>
                  <a:gd name="T2" fmla="*/ 8 w 308"/>
                  <a:gd name="T3" fmla="*/ 1 h 1127"/>
                  <a:gd name="T4" fmla="*/ 20 w 308"/>
                  <a:gd name="T5" fmla="*/ 1 h 1127"/>
                  <a:gd name="T6" fmla="*/ 26 w 308"/>
                  <a:gd name="T7" fmla="*/ 1 h 1127"/>
                  <a:gd name="T8" fmla="*/ 82 w 308"/>
                  <a:gd name="T9" fmla="*/ 1 h 1127"/>
                  <a:gd name="T10" fmla="*/ 63 w 308"/>
                  <a:gd name="T11" fmla="*/ 1 h 1127"/>
                  <a:gd name="T12" fmla="*/ 76 w 308"/>
                  <a:gd name="T13" fmla="*/ 1 h 1127"/>
                  <a:gd name="T14" fmla="*/ 89 w 308"/>
                  <a:gd name="T15" fmla="*/ 1 h 1127"/>
                  <a:gd name="T16" fmla="*/ 119 w 308"/>
                  <a:gd name="T17" fmla="*/ 1 h 1127"/>
                  <a:gd name="T18" fmla="*/ 95 w 308"/>
                  <a:gd name="T19" fmla="*/ 1 h 1127"/>
                  <a:gd name="T20" fmla="*/ 127 w 308"/>
                  <a:gd name="T21" fmla="*/ 1 h 1127"/>
                  <a:gd name="T22" fmla="*/ 132 w 308"/>
                  <a:gd name="T23" fmla="*/ 1 h 1127"/>
                  <a:gd name="T24" fmla="*/ 145 w 308"/>
                  <a:gd name="T25" fmla="*/ 1 h 1127"/>
                  <a:gd name="T26" fmla="*/ 132 w 308"/>
                  <a:gd name="T27" fmla="*/ 1 h 1127"/>
                  <a:gd name="T28" fmla="*/ 158 w 308"/>
                  <a:gd name="T29" fmla="*/ 1 h 1127"/>
                  <a:gd name="T30" fmla="*/ 151 w 308"/>
                  <a:gd name="T31" fmla="*/ 1 h 1127"/>
                  <a:gd name="T32" fmla="*/ 138 w 308"/>
                  <a:gd name="T33" fmla="*/ 1 h 1127"/>
                  <a:gd name="T34" fmla="*/ 132 w 308"/>
                  <a:gd name="T35" fmla="*/ 1 h 1127"/>
                  <a:gd name="T36" fmla="*/ 132 w 308"/>
                  <a:gd name="T37" fmla="*/ 1 h 1127"/>
                  <a:gd name="T38" fmla="*/ 169 w 308"/>
                  <a:gd name="T39" fmla="*/ 1 h 1127"/>
                  <a:gd name="T40" fmla="*/ 177 w 308"/>
                  <a:gd name="T41" fmla="*/ 1 h 1127"/>
                  <a:gd name="T42" fmla="*/ 245 w 308"/>
                  <a:gd name="T43" fmla="*/ 1 h 1127"/>
                  <a:gd name="T44" fmla="*/ 264 w 308"/>
                  <a:gd name="T45" fmla="*/ 1 h 1127"/>
                  <a:gd name="T46" fmla="*/ 239 w 308"/>
                  <a:gd name="T47" fmla="*/ 1 h 1127"/>
                  <a:gd name="T48" fmla="*/ 252 w 308"/>
                  <a:gd name="T49" fmla="*/ 1 h 1127"/>
                  <a:gd name="T50" fmla="*/ 308 w 308"/>
                  <a:gd name="T51" fmla="*/ 1 h 1127"/>
                  <a:gd name="T52" fmla="*/ 308 w 308"/>
                  <a:gd name="T53" fmla="*/ 1 h 1127"/>
                  <a:gd name="T54" fmla="*/ 294 w 308"/>
                  <a:gd name="T55" fmla="*/ 1 h 1127"/>
                  <a:gd name="T56" fmla="*/ 276 w 308"/>
                  <a:gd name="T57" fmla="*/ 1 h 1127"/>
                  <a:gd name="T58" fmla="*/ 239 w 308"/>
                  <a:gd name="T59" fmla="*/ 1 h 1127"/>
                  <a:gd name="T60" fmla="*/ 245 w 308"/>
                  <a:gd name="T61" fmla="*/ 1 h 1127"/>
                  <a:gd name="T62" fmla="*/ 169 w 308"/>
                  <a:gd name="T63" fmla="*/ 1 h 1127"/>
                  <a:gd name="T64" fmla="*/ 145 w 308"/>
                  <a:gd name="T65" fmla="*/ 1 h 1127"/>
                  <a:gd name="T66" fmla="*/ 145 w 308"/>
                  <a:gd name="T67" fmla="*/ 1 h 1127"/>
                  <a:gd name="T68" fmla="*/ 114 w 308"/>
                  <a:gd name="T69" fmla="*/ 0 h 1127"/>
                  <a:gd name="T70" fmla="*/ 100 w 308"/>
                  <a:gd name="T71" fmla="*/ 1 h 1127"/>
                  <a:gd name="T72" fmla="*/ 95 w 308"/>
                  <a:gd name="T73" fmla="*/ 1 h 1127"/>
                  <a:gd name="T74" fmla="*/ 82 w 308"/>
                  <a:gd name="T75" fmla="*/ 1 h 1127"/>
                  <a:gd name="T76" fmla="*/ 82 w 308"/>
                  <a:gd name="T77" fmla="*/ 1 h 1127"/>
                  <a:gd name="T78" fmla="*/ 63 w 308"/>
                  <a:gd name="T79" fmla="*/ 1 h 1127"/>
                  <a:gd name="T80" fmla="*/ 44 w 308"/>
                  <a:gd name="T81" fmla="*/ 1 h 1127"/>
                  <a:gd name="T82" fmla="*/ 58 w 308"/>
                  <a:gd name="T83" fmla="*/ 1 h 1127"/>
                  <a:gd name="T84" fmla="*/ 39 w 308"/>
                  <a:gd name="T85" fmla="*/ 1 h 1127"/>
                  <a:gd name="T86" fmla="*/ 26 w 308"/>
                  <a:gd name="T87" fmla="*/ 1 h 1127"/>
                  <a:gd name="T88" fmla="*/ 32 w 308"/>
                  <a:gd name="T89" fmla="*/ 1 h 1127"/>
                  <a:gd name="T90" fmla="*/ 26 w 308"/>
                  <a:gd name="T91" fmla="*/ 1 h 1127"/>
                  <a:gd name="T92" fmla="*/ 26 w 308"/>
                  <a:gd name="T93" fmla="*/ 1 h 1127"/>
                  <a:gd name="T94" fmla="*/ 0 w 308"/>
                  <a:gd name="T95" fmla="*/ 1 h 11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08" h="1127">
                    <a:moveTo>
                      <a:pt x="0" y="1048"/>
                    </a:moveTo>
                    <a:lnTo>
                      <a:pt x="8" y="1070"/>
                    </a:lnTo>
                    <a:lnTo>
                      <a:pt x="20" y="1070"/>
                    </a:lnTo>
                    <a:lnTo>
                      <a:pt x="26" y="1127"/>
                    </a:lnTo>
                    <a:lnTo>
                      <a:pt x="82" y="1127"/>
                    </a:lnTo>
                    <a:lnTo>
                      <a:pt x="63" y="1104"/>
                    </a:lnTo>
                    <a:lnTo>
                      <a:pt x="76" y="1025"/>
                    </a:lnTo>
                    <a:lnTo>
                      <a:pt x="89" y="1048"/>
                    </a:lnTo>
                    <a:lnTo>
                      <a:pt x="119" y="937"/>
                    </a:lnTo>
                    <a:lnTo>
                      <a:pt x="95" y="870"/>
                    </a:lnTo>
                    <a:lnTo>
                      <a:pt x="127" y="837"/>
                    </a:lnTo>
                    <a:lnTo>
                      <a:pt x="132" y="782"/>
                    </a:lnTo>
                    <a:lnTo>
                      <a:pt x="145" y="758"/>
                    </a:lnTo>
                    <a:lnTo>
                      <a:pt x="132" y="747"/>
                    </a:lnTo>
                    <a:lnTo>
                      <a:pt x="158" y="747"/>
                    </a:lnTo>
                    <a:lnTo>
                      <a:pt x="151" y="724"/>
                    </a:lnTo>
                    <a:lnTo>
                      <a:pt x="138" y="735"/>
                    </a:lnTo>
                    <a:lnTo>
                      <a:pt x="132" y="714"/>
                    </a:lnTo>
                    <a:lnTo>
                      <a:pt x="132" y="680"/>
                    </a:lnTo>
                    <a:lnTo>
                      <a:pt x="169" y="680"/>
                    </a:lnTo>
                    <a:lnTo>
                      <a:pt x="177" y="601"/>
                    </a:lnTo>
                    <a:lnTo>
                      <a:pt x="245" y="580"/>
                    </a:lnTo>
                    <a:lnTo>
                      <a:pt x="264" y="524"/>
                    </a:lnTo>
                    <a:lnTo>
                      <a:pt x="239" y="424"/>
                    </a:lnTo>
                    <a:lnTo>
                      <a:pt x="252" y="290"/>
                    </a:lnTo>
                    <a:lnTo>
                      <a:pt x="308" y="180"/>
                    </a:lnTo>
                    <a:lnTo>
                      <a:pt x="308" y="134"/>
                    </a:lnTo>
                    <a:lnTo>
                      <a:pt x="294" y="134"/>
                    </a:lnTo>
                    <a:lnTo>
                      <a:pt x="276" y="190"/>
                    </a:lnTo>
                    <a:lnTo>
                      <a:pt x="239" y="180"/>
                    </a:lnTo>
                    <a:lnTo>
                      <a:pt x="245" y="123"/>
                    </a:lnTo>
                    <a:lnTo>
                      <a:pt x="169" y="23"/>
                    </a:lnTo>
                    <a:lnTo>
                      <a:pt x="145" y="13"/>
                    </a:lnTo>
                    <a:lnTo>
                      <a:pt x="145" y="34"/>
                    </a:lnTo>
                    <a:lnTo>
                      <a:pt x="114" y="0"/>
                    </a:lnTo>
                    <a:lnTo>
                      <a:pt x="100" y="34"/>
                    </a:lnTo>
                    <a:lnTo>
                      <a:pt x="95" y="79"/>
                    </a:lnTo>
                    <a:lnTo>
                      <a:pt x="82" y="88"/>
                    </a:lnTo>
                    <a:lnTo>
                      <a:pt x="82" y="167"/>
                    </a:lnTo>
                    <a:lnTo>
                      <a:pt x="63" y="211"/>
                    </a:lnTo>
                    <a:lnTo>
                      <a:pt x="44" y="324"/>
                    </a:lnTo>
                    <a:lnTo>
                      <a:pt x="58" y="434"/>
                    </a:lnTo>
                    <a:lnTo>
                      <a:pt x="39" y="513"/>
                    </a:lnTo>
                    <a:lnTo>
                      <a:pt x="26" y="735"/>
                    </a:lnTo>
                    <a:lnTo>
                      <a:pt x="32" y="826"/>
                    </a:lnTo>
                    <a:lnTo>
                      <a:pt x="26" y="826"/>
                    </a:lnTo>
                    <a:lnTo>
                      <a:pt x="26" y="891"/>
                    </a:lnTo>
                    <a:lnTo>
                      <a:pt x="0" y="1048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478" name="Freeform 27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3803638" y="6267020"/>
              <a:ext cx="96235" cy="77788"/>
            </a:xfrm>
            <a:custGeom>
              <a:avLst/>
              <a:gdLst>
                <a:gd name="T0" fmla="*/ 0 w 51"/>
                <a:gd name="T1" fmla="*/ 0 h 98"/>
                <a:gd name="T2" fmla="*/ 0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0 w 51"/>
                <a:gd name="T9" fmla="*/ 0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98">
                  <a:moveTo>
                    <a:pt x="0" y="0"/>
                  </a:moveTo>
                  <a:lnTo>
                    <a:pt x="0" y="98"/>
                  </a:lnTo>
                  <a:lnTo>
                    <a:pt x="51" y="89"/>
                  </a:lnTo>
                  <a:lnTo>
                    <a:pt x="13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79" name="Freeform 28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3803638" y="6267020"/>
              <a:ext cx="96235" cy="77788"/>
            </a:xfrm>
            <a:custGeom>
              <a:avLst/>
              <a:gdLst>
                <a:gd name="T0" fmla="*/ 0 w 51"/>
                <a:gd name="T1" fmla="*/ 0 h 98"/>
                <a:gd name="T2" fmla="*/ 0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0 w 51"/>
                <a:gd name="T9" fmla="*/ 0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98">
                  <a:moveTo>
                    <a:pt x="0" y="0"/>
                  </a:moveTo>
                  <a:lnTo>
                    <a:pt x="0" y="98"/>
                  </a:lnTo>
                  <a:lnTo>
                    <a:pt x="51" y="89"/>
                  </a:lnTo>
                  <a:lnTo>
                    <a:pt x="13" y="45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480" name="Freeform 29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3803638" y="6267020"/>
              <a:ext cx="96235" cy="77788"/>
            </a:xfrm>
            <a:custGeom>
              <a:avLst/>
              <a:gdLst>
                <a:gd name="T0" fmla="*/ 0 w 51"/>
                <a:gd name="T1" fmla="*/ 0 h 98"/>
                <a:gd name="T2" fmla="*/ 0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0 w 51"/>
                <a:gd name="T9" fmla="*/ 0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98">
                  <a:moveTo>
                    <a:pt x="0" y="0"/>
                  </a:moveTo>
                  <a:lnTo>
                    <a:pt x="0" y="98"/>
                  </a:lnTo>
                  <a:lnTo>
                    <a:pt x="51" y="89"/>
                  </a:lnTo>
                  <a:lnTo>
                    <a:pt x="13" y="4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505" name="Freeform 30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3803638" y="6267020"/>
              <a:ext cx="96235" cy="77788"/>
            </a:xfrm>
            <a:custGeom>
              <a:avLst/>
              <a:gdLst>
                <a:gd name="T0" fmla="*/ 0 w 51"/>
                <a:gd name="T1" fmla="*/ 0 h 98"/>
                <a:gd name="T2" fmla="*/ 0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0 w 51"/>
                <a:gd name="T9" fmla="*/ 0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98">
                  <a:moveTo>
                    <a:pt x="0" y="0"/>
                  </a:moveTo>
                  <a:lnTo>
                    <a:pt x="0" y="98"/>
                  </a:lnTo>
                  <a:lnTo>
                    <a:pt x="51" y="89"/>
                  </a:lnTo>
                  <a:lnTo>
                    <a:pt x="13" y="45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507" name="Freeform 31"/>
            <p:cNvSpPr>
              <a:spLocks/>
            </p:cNvSpPr>
            <p:nvPr>
              <p:custDataLst>
                <p:tags r:id="rId36"/>
              </p:custDataLst>
            </p:nvPr>
          </p:nvSpPr>
          <p:spPr bwMode="auto">
            <a:xfrm>
              <a:off x="9268984" y="5073220"/>
              <a:ext cx="1170859" cy="769938"/>
            </a:xfrm>
            <a:custGeom>
              <a:avLst/>
              <a:gdLst>
                <a:gd name="T0" fmla="*/ 2147483647 w 632"/>
                <a:gd name="T1" fmla="*/ 2147483647 h 969"/>
                <a:gd name="T2" fmla="*/ 2147483647 w 632"/>
                <a:gd name="T3" fmla="*/ 2147483647 h 969"/>
                <a:gd name="T4" fmla="*/ 2147483647 w 632"/>
                <a:gd name="T5" fmla="*/ 2147483647 h 969"/>
                <a:gd name="T6" fmla="*/ 2147483647 w 632"/>
                <a:gd name="T7" fmla="*/ 2147483647 h 969"/>
                <a:gd name="T8" fmla="*/ 2147483647 w 632"/>
                <a:gd name="T9" fmla="*/ 2147483647 h 969"/>
                <a:gd name="T10" fmla="*/ 2147483647 w 632"/>
                <a:gd name="T11" fmla="*/ 2147483647 h 969"/>
                <a:gd name="T12" fmla="*/ 2147483647 w 632"/>
                <a:gd name="T13" fmla="*/ 2147483647 h 969"/>
                <a:gd name="T14" fmla="*/ 2147483647 w 632"/>
                <a:gd name="T15" fmla="*/ 2147483647 h 969"/>
                <a:gd name="T16" fmla="*/ 2147483647 w 632"/>
                <a:gd name="T17" fmla="*/ 2147483647 h 969"/>
                <a:gd name="T18" fmla="*/ 2147483647 w 632"/>
                <a:gd name="T19" fmla="*/ 2147483647 h 969"/>
                <a:gd name="T20" fmla="*/ 2147483647 w 632"/>
                <a:gd name="T21" fmla="*/ 2147483647 h 969"/>
                <a:gd name="T22" fmla="*/ 2147483647 w 632"/>
                <a:gd name="T23" fmla="*/ 2147483647 h 969"/>
                <a:gd name="T24" fmla="*/ 2147483647 w 632"/>
                <a:gd name="T25" fmla="*/ 2147483647 h 969"/>
                <a:gd name="T26" fmla="*/ 2147483647 w 632"/>
                <a:gd name="T27" fmla="*/ 2147483647 h 969"/>
                <a:gd name="T28" fmla="*/ 2147483647 w 632"/>
                <a:gd name="T29" fmla="*/ 2147483647 h 969"/>
                <a:gd name="T30" fmla="*/ 2147483647 w 632"/>
                <a:gd name="T31" fmla="*/ 2147483647 h 969"/>
                <a:gd name="T32" fmla="*/ 2147483647 w 632"/>
                <a:gd name="T33" fmla="*/ 2147483647 h 969"/>
                <a:gd name="T34" fmla="*/ 2147483647 w 632"/>
                <a:gd name="T35" fmla="*/ 2147483647 h 969"/>
                <a:gd name="T36" fmla="*/ 2147483647 w 632"/>
                <a:gd name="T37" fmla="*/ 2147483647 h 969"/>
                <a:gd name="T38" fmla="*/ 2147483647 w 632"/>
                <a:gd name="T39" fmla="*/ 2147483647 h 969"/>
                <a:gd name="T40" fmla="*/ 2147483647 w 632"/>
                <a:gd name="T41" fmla="*/ 2147483647 h 969"/>
                <a:gd name="T42" fmla="*/ 2147483647 w 632"/>
                <a:gd name="T43" fmla="*/ 2147483647 h 969"/>
                <a:gd name="T44" fmla="*/ 2147483647 w 632"/>
                <a:gd name="T45" fmla="*/ 2147483647 h 969"/>
                <a:gd name="T46" fmla="*/ 2147483647 w 632"/>
                <a:gd name="T47" fmla="*/ 2147483647 h 969"/>
                <a:gd name="T48" fmla="*/ 2147483647 w 632"/>
                <a:gd name="T49" fmla="*/ 2147483647 h 969"/>
                <a:gd name="T50" fmla="*/ 2147483647 w 632"/>
                <a:gd name="T51" fmla="*/ 2147483647 h 969"/>
                <a:gd name="T52" fmla="*/ 2147483647 w 632"/>
                <a:gd name="T53" fmla="*/ 2147483647 h 969"/>
                <a:gd name="T54" fmla="*/ 2147483647 w 632"/>
                <a:gd name="T55" fmla="*/ 2147483647 h 969"/>
                <a:gd name="T56" fmla="*/ 2147483647 w 632"/>
                <a:gd name="T57" fmla="*/ 2147483647 h 969"/>
                <a:gd name="T58" fmla="*/ 2147483647 w 632"/>
                <a:gd name="T59" fmla="*/ 2147483647 h 969"/>
                <a:gd name="T60" fmla="*/ 2147483647 w 632"/>
                <a:gd name="T61" fmla="*/ 2147483647 h 969"/>
                <a:gd name="T62" fmla="*/ 2147483647 w 632"/>
                <a:gd name="T63" fmla="*/ 2147483647 h 969"/>
                <a:gd name="T64" fmla="*/ 2147483647 w 632"/>
                <a:gd name="T65" fmla="*/ 2147483647 h 9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632" h="969">
                  <a:moveTo>
                    <a:pt x="0" y="501"/>
                  </a:moveTo>
                  <a:lnTo>
                    <a:pt x="14" y="512"/>
                  </a:lnTo>
                  <a:lnTo>
                    <a:pt x="6" y="489"/>
                  </a:lnTo>
                  <a:lnTo>
                    <a:pt x="19" y="501"/>
                  </a:lnTo>
                  <a:lnTo>
                    <a:pt x="6" y="443"/>
                  </a:lnTo>
                  <a:lnTo>
                    <a:pt x="14" y="368"/>
                  </a:lnTo>
                  <a:lnTo>
                    <a:pt x="19" y="389"/>
                  </a:lnTo>
                  <a:lnTo>
                    <a:pt x="57" y="322"/>
                  </a:lnTo>
                  <a:lnTo>
                    <a:pt x="120" y="278"/>
                  </a:lnTo>
                  <a:lnTo>
                    <a:pt x="144" y="234"/>
                  </a:lnTo>
                  <a:lnTo>
                    <a:pt x="144" y="199"/>
                  </a:lnTo>
                  <a:lnTo>
                    <a:pt x="151" y="176"/>
                  </a:lnTo>
                  <a:lnTo>
                    <a:pt x="163" y="211"/>
                  </a:lnTo>
                  <a:lnTo>
                    <a:pt x="163" y="176"/>
                  </a:lnTo>
                  <a:lnTo>
                    <a:pt x="175" y="188"/>
                  </a:lnTo>
                  <a:lnTo>
                    <a:pt x="175" y="155"/>
                  </a:lnTo>
                  <a:lnTo>
                    <a:pt x="201" y="99"/>
                  </a:lnTo>
                  <a:lnTo>
                    <a:pt x="226" y="111"/>
                  </a:lnTo>
                  <a:lnTo>
                    <a:pt x="232" y="155"/>
                  </a:lnTo>
                  <a:lnTo>
                    <a:pt x="239" y="132"/>
                  </a:lnTo>
                  <a:lnTo>
                    <a:pt x="258" y="144"/>
                  </a:lnTo>
                  <a:lnTo>
                    <a:pt x="250" y="111"/>
                  </a:lnTo>
                  <a:lnTo>
                    <a:pt x="270" y="67"/>
                  </a:lnTo>
                  <a:lnTo>
                    <a:pt x="308" y="44"/>
                  </a:lnTo>
                  <a:lnTo>
                    <a:pt x="295" y="9"/>
                  </a:lnTo>
                  <a:lnTo>
                    <a:pt x="364" y="53"/>
                  </a:lnTo>
                  <a:lnTo>
                    <a:pt x="350" y="132"/>
                  </a:lnTo>
                  <a:lnTo>
                    <a:pt x="419" y="222"/>
                  </a:lnTo>
                  <a:lnTo>
                    <a:pt x="438" y="188"/>
                  </a:lnTo>
                  <a:lnTo>
                    <a:pt x="445" y="44"/>
                  </a:lnTo>
                  <a:lnTo>
                    <a:pt x="464" y="0"/>
                  </a:lnTo>
                  <a:lnTo>
                    <a:pt x="476" y="111"/>
                  </a:lnTo>
                  <a:lnTo>
                    <a:pt x="502" y="132"/>
                  </a:lnTo>
                  <a:lnTo>
                    <a:pt x="520" y="266"/>
                  </a:lnTo>
                  <a:lnTo>
                    <a:pt x="558" y="311"/>
                  </a:lnTo>
                  <a:lnTo>
                    <a:pt x="570" y="389"/>
                  </a:lnTo>
                  <a:lnTo>
                    <a:pt x="583" y="378"/>
                  </a:lnTo>
                  <a:lnTo>
                    <a:pt x="589" y="422"/>
                  </a:lnTo>
                  <a:lnTo>
                    <a:pt x="620" y="478"/>
                  </a:lnTo>
                  <a:lnTo>
                    <a:pt x="632" y="580"/>
                  </a:lnTo>
                  <a:lnTo>
                    <a:pt x="620" y="679"/>
                  </a:lnTo>
                  <a:lnTo>
                    <a:pt x="594" y="768"/>
                  </a:lnTo>
                  <a:lnTo>
                    <a:pt x="576" y="912"/>
                  </a:lnTo>
                  <a:lnTo>
                    <a:pt x="539" y="925"/>
                  </a:lnTo>
                  <a:lnTo>
                    <a:pt x="520" y="946"/>
                  </a:lnTo>
                  <a:lnTo>
                    <a:pt x="520" y="969"/>
                  </a:lnTo>
                  <a:lnTo>
                    <a:pt x="495" y="912"/>
                  </a:lnTo>
                  <a:lnTo>
                    <a:pt x="476" y="958"/>
                  </a:lnTo>
                  <a:lnTo>
                    <a:pt x="445" y="935"/>
                  </a:lnTo>
                  <a:lnTo>
                    <a:pt x="419" y="902"/>
                  </a:lnTo>
                  <a:lnTo>
                    <a:pt x="407" y="823"/>
                  </a:lnTo>
                  <a:lnTo>
                    <a:pt x="388" y="835"/>
                  </a:lnTo>
                  <a:lnTo>
                    <a:pt x="388" y="789"/>
                  </a:lnTo>
                  <a:lnTo>
                    <a:pt x="383" y="823"/>
                  </a:lnTo>
                  <a:lnTo>
                    <a:pt x="369" y="823"/>
                  </a:lnTo>
                  <a:lnTo>
                    <a:pt x="383" y="724"/>
                  </a:lnTo>
                  <a:lnTo>
                    <a:pt x="358" y="812"/>
                  </a:lnTo>
                  <a:lnTo>
                    <a:pt x="345" y="802"/>
                  </a:lnTo>
                  <a:lnTo>
                    <a:pt x="332" y="724"/>
                  </a:lnTo>
                  <a:lnTo>
                    <a:pt x="282" y="689"/>
                  </a:lnTo>
                  <a:lnTo>
                    <a:pt x="201" y="724"/>
                  </a:lnTo>
                  <a:lnTo>
                    <a:pt x="163" y="768"/>
                  </a:lnTo>
                  <a:lnTo>
                    <a:pt x="107" y="779"/>
                  </a:lnTo>
                  <a:lnTo>
                    <a:pt x="75" y="823"/>
                  </a:lnTo>
                  <a:lnTo>
                    <a:pt x="32" y="789"/>
                  </a:lnTo>
                  <a:lnTo>
                    <a:pt x="45" y="689"/>
                  </a:lnTo>
                  <a:lnTo>
                    <a:pt x="0" y="501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512" name="Group 32"/>
            <p:cNvGrpSpPr>
              <a:grpSpLocks/>
            </p:cNvGrpSpPr>
            <p:nvPr>
              <p:custDataLst>
                <p:tags r:id="rId37"/>
              </p:custDataLst>
            </p:nvPr>
          </p:nvGrpSpPr>
          <p:grpSpPr bwMode="auto">
            <a:xfrm>
              <a:off x="9268984" y="5073220"/>
              <a:ext cx="1170859" cy="769938"/>
              <a:chOff x="4702" y="2826"/>
              <a:chExt cx="632" cy="485"/>
            </a:xfrm>
            <a:solidFill>
              <a:srgbClr val="CCFFCC"/>
            </a:solidFill>
          </p:grpSpPr>
          <p:sp>
            <p:nvSpPr>
              <p:cNvPr id="3341" name="Freeform 33"/>
              <p:cNvSpPr>
                <a:spLocks/>
              </p:cNvSpPr>
              <p:nvPr/>
            </p:nvSpPr>
            <p:spPr bwMode="auto">
              <a:xfrm>
                <a:off x="4702" y="2826"/>
                <a:ext cx="632" cy="485"/>
              </a:xfrm>
              <a:custGeom>
                <a:avLst/>
                <a:gdLst>
                  <a:gd name="T0" fmla="*/ 14 w 632"/>
                  <a:gd name="T1" fmla="*/ 1 h 969"/>
                  <a:gd name="T2" fmla="*/ 19 w 632"/>
                  <a:gd name="T3" fmla="*/ 1 h 969"/>
                  <a:gd name="T4" fmla="*/ 14 w 632"/>
                  <a:gd name="T5" fmla="*/ 1 h 969"/>
                  <a:gd name="T6" fmla="*/ 57 w 632"/>
                  <a:gd name="T7" fmla="*/ 1 h 969"/>
                  <a:gd name="T8" fmla="*/ 144 w 632"/>
                  <a:gd name="T9" fmla="*/ 1 h 969"/>
                  <a:gd name="T10" fmla="*/ 151 w 632"/>
                  <a:gd name="T11" fmla="*/ 1 h 969"/>
                  <a:gd name="T12" fmla="*/ 163 w 632"/>
                  <a:gd name="T13" fmla="*/ 1 h 969"/>
                  <a:gd name="T14" fmla="*/ 175 w 632"/>
                  <a:gd name="T15" fmla="*/ 1 h 969"/>
                  <a:gd name="T16" fmla="*/ 226 w 632"/>
                  <a:gd name="T17" fmla="*/ 1 h 969"/>
                  <a:gd name="T18" fmla="*/ 239 w 632"/>
                  <a:gd name="T19" fmla="*/ 1 h 969"/>
                  <a:gd name="T20" fmla="*/ 250 w 632"/>
                  <a:gd name="T21" fmla="*/ 1 h 969"/>
                  <a:gd name="T22" fmla="*/ 308 w 632"/>
                  <a:gd name="T23" fmla="*/ 1 h 969"/>
                  <a:gd name="T24" fmla="*/ 364 w 632"/>
                  <a:gd name="T25" fmla="*/ 1 h 969"/>
                  <a:gd name="T26" fmla="*/ 419 w 632"/>
                  <a:gd name="T27" fmla="*/ 1 h 969"/>
                  <a:gd name="T28" fmla="*/ 445 w 632"/>
                  <a:gd name="T29" fmla="*/ 1 h 969"/>
                  <a:gd name="T30" fmla="*/ 476 w 632"/>
                  <a:gd name="T31" fmla="*/ 1 h 969"/>
                  <a:gd name="T32" fmla="*/ 520 w 632"/>
                  <a:gd name="T33" fmla="*/ 1 h 969"/>
                  <a:gd name="T34" fmla="*/ 570 w 632"/>
                  <a:gd name="T35" fmla="*/ 1 h 969"/>
                  <a:gd name="T36" fmla="*/ 589 w 632"/>
                  <a:gd name="T37" fmla="*/ 1 h 969"/>
                  <a:gd name="T38" fmla="*/ 632 w 632"/>
                  <a:gd name="T39" fmla="*/ 1 h 969"/>
                  <a:gd name="T40" fmla="*/ 594 w 632"/>
                  <a:gd name="T41" fmla="*/ 1 h 969"/>
                  <a:gd name="T42" fmla="*/ 539 w 632"/>
                  <a:gd name="T43" fmla="*/ 1 h 969"/>
                  <a:gd name="T44" fmla="*/ 520 w 632"/>
                  <a:gd name="T45" fmla="*/ 1 h 969"/>
                  <a:gd name="T46" fmla="*/ 476 w 632"/>
                  <a:gd name="T47" fmla="*/ 1 h 969"/>
                  <a:gd name="T48" fmla="*/ 419 w 632"/>
                  <a:gd name="T49" fmla="*/ 1 h 969"/>
                  <a:gd name="T50" fmla="*/ 388 w 632"/>
                  <a:gd name="T51" fmla="*/ 1 h 969"/>
                  <a:gd name="T52" fmla="*/ 383 w 632"/>
                  <a:gd name="T53" fmla="*/ 1 h 969"/>
                  <a:gd name="T54" fmla="*/ 383 w 632"/>
                  <a:gd name="T55" fmla="*/ 1 h 969"/>
                  <a:gd name="T56" fmla="*/ 345 w 632"/>
                  <a:gd name="T57" fmla="*/ 1 h 969"/>
                  <a:gd name="T58" fmla="*/ 282 w 632"/>
                  <a:gd name="T59" fmla="*/ 1 h 969"/>
                  <a:gd name="T60" fmla="*/ 163 w 632"/>
                  <a:gd name="T61" fmla="*/ 1 h 969"/>
                  <a:gd name="T62" fmla="*/ 75 w 632"/>
                  <a:gd name="T63" fmla="*/ 1 h 969"/>
                  <a:gd name="T64" fmla="*/ 45 w 632"/>
                  <a:gd name="T65" fmla="*/ 1 h 96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32" h="969">
                    <a:moveTo>
                      <a:pt x="0" y="501"/>
                    </a:moveTo>
                    <a:lnTo>
                      <a:pt x="14" y="512"/>
                    </a:lnTo>
                    <a:lnTo>
                      <a:pt x="6" y="489"/>
                    </a:lnTo>
                    <a:lnTo>
                      <a:pt x="19" y="501"/>
                    </a:lnTo>
                    <a:lnTo>
                      <a:pt x="6" y="443"/>
                    </a:lnTo>
                    <a:lnTo>
                      <a:pt x="14" y="368"/>
                    </a:lnTo>
                    <a:lnTo>
                      <a:pt x="19" y="389"/>
                    </a:lnTo>
                    <a:lnTo>
                      <a:pt x="57" y="322"/>
                    </a:lnTo>
                    <a:lnTo>
                      <a:pt x="120" y="278"/>
                    </a:lnTo>
                    <a:lnTo>
                      <a:pt x="144" y="234"/>
                    </a:lnTo>
                    <a:lnTo>
                      <a:pt x="144" y="199"/>
                    </a:lnTo>
                    <a:lnTo>
                      <a:pt x="151" y="176"/>
                    </a:lnTo>
                    <a:lnTo>
                      <a:pt x="163" y="211"/>
                    </a:lnTo>
                    <a:lnTo>
                      <a:pt x="163" y="176"/>
                    </a:lnTo>
                    <a:lnTo>
                      <a:pt x="175" y="188"/>
                    </a:lnTo>
                    <a:lnTo>
                      <a:pt x="175" y="155"/>
                    </a:lnTo>
                    <a:lnTo>
                      <a:pt x="201" y="99"/>
                    </a:lnTo>
                    <a:lnTo>
                      <a:pt x="226" y="111"/>
                    </a:lnTo>
                    <a:lnTo>
                      <a:pt x="232" y="155"/>
                    </a:lnTo>
                    <a:lnTo>
                      <a:pt x="239" y="132"/>
                    </a:lnTo>
                    <a:lnTo>
                      <a:pt x="258" y="144"/>
                    </a:lnTo>
                    <a:lnTo>
                      <a:pt x="250" y="111"/>
                    </a:lnTo>
                    <a:lnTo>
                      <a:pt x="270" y="67"/>
                    </a:lnTo>
                    <a:lnTo>
                      <a:pt x="308" y="44"/>
                    </a:lnTo>
                    <a:lnTo>
                      <a:pt x="295" y="9"/>
                    </a:lnTo>
                    <a:lnTo>
                      <a:pt x="364" y="53"/>
                    </a:lnTo>
                    <a:lnTo>
                      <a:pt x="350" y="132"/>
                    </a:lnTo>
                    <a:lnTo>
                      <a:pt x="419" y="222"/>
                    </a:lnTo>
                    <a:lnTo>
                      <a:pt x="438" y="188"/>
                    </a:lnTo>
                    <a:lnTo>
                      <a:pt x="445" y="44"/>
                    </a:lnTo>
                    <a:lnTo>
                      <a:pt x="464" y="0"/>
                    </a:lnTo>
                    <a:lnTo>
                      <a:pt x="476" y="111"/>
                    </a:lnTo>
                    <a:lnTo>
                      <a:pt x="502" y="132"/>
                    </a:lnTo>
                    <a:lnTo>
                      <a:pt x="520" y="266"/>
                    </a:lnTo>
                    <a:lnTo>
                      <a:pt x="558" y="311"/>
                    </a:lnTo>
                    <a:lnTo>
                      <a:pt x="570" y="389"/>
                    </a:lnTo>
                    <a:lnTo>
                      <a:pt x="583" y="378"/>
                    </a:lnTo>
                    <a:lnTo>
                      <a:pt x="589" y="422"/>
                    </a:lnTo>
                    <a:lnTo>
                      <a:pt x="620" y="478"/>
                    </a:lnTo>
                    <a:lnTo>
                      <a:pt x="632" y="580"/>
                    </a:lnTo>
                    <a:lnTo>
                      <a:pt x="620" y="679"/>
                    </a:lnTo>
                    <a:lnTo>
                      <a:pt x="594" y="768"/>
                    </a:lnTo>
                    <a:lnTo>
                      <a:pt x="576" y="912"/>
                    </a:lnTo>
                    <a:lnTo>
                      <a:pt x="539" y="925"/>
                    </a:lnTo>
                    <a:lnTo>
                      <a:pt x="520" y="946"/>
                    </a:lnTo>
                    <a:lnTo>
                      <a:pt x="520" y="969"/>
                    </a:lnTo>
                    <a:lnTo>
                      <a:pt x="495" y="912"/>
                    </a:lnTo>
                    <a:lnTo>
                      <a:pt x="476" y="958"/>
                    </a:lnTo>
                    <a:lnTo>
                      <a:pt x="445" y="935"/>
                    </a:lnTo>
                    <a:lnTo>
                      <a:pt x="419" y="902"/>
                    </a:lnTo>
                    <a:lnTo>
                      <a:pt x="407" y="823"/>
                    </a:lnTo>
                    <a:lnTo>
                      <a:pt x="388" y="835"/>
                    </a:lnTo>
                    <a:lnTo>
                      <a:pt x="388" y="789"/>
                    </a:lnTo>
                    <a:lnTo>
                      <a:pt x="383" y="823"/>
                    </a:lnTo>
                    <a:lnTo>
                      <a:pt x="369" y="823"/>
                    </a:lnTo>
                    <a:lnTo>
                      <a:pt x="383" y="724"/>
                    </a:lnTo>
                    <a:lnTo>
                      <a:pt x="358" y="812"/>
                    </a:lnTo>
                    <a:lnTo>
                      <a:pt x="345" y="802"/>
                    </a:lnTo>
                    <a:lnTo>
                      <a:pt x="332" y="724"/>
                    </a:lnTo>
                    <a:lnTo>
                      <a:pt x="282" y="689"/>
                    </a:lnTo>
                    <a:lnTo>
                      <a:pt x="201" y="724"/>
                    </a:lnTo>
                    <a:lnTo>
                      <a:pt x="163" y="768"/>
                    </a:lnTo>
                    <a:lnTo>
                      <a:pt x="107" y="779"/>
                    </a:lnTo>
                    <a:lnTo>
                      <a:pt x="75" y="823"/>
                    </a:lnTo>
                    <a:lnTo>
                      <a:pt x="32" y="789"/>
                    </a:lnTo>
                    <a:lnTo>
                      <a:pt x="45" y="689"/>
                    </a:lnTo>
                    <a:lnTo>
                      <a:pt x="0" y="501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42" name="Freeform 34"/>
              <p:cNvSpPr>
                <a:spLocks/>
              </p:cNvSpPr>
              <p:nvPr/>
            </p:nvSpPr>
            <p:spPr bwMode="auto">
              <a:xfrm>
                <a:off x="4702" y="2826"/>
                <a:ext cx="632" cy="485"/>
              </a:xfrm>
              <a:custGeom>
                <a:avLst/>
                <a:gdLst>
                  <a:gd name="T0" fmla="*/ 14 w 632"/>
                  <a:gd name="T1" fmla="*/ 1 h 969"/>
                  <a:gd name="T2" fmla="*/ 19 w 632"/>
                  <a:gd name="T3" fmla="*/ 1 h 969"/>
                  <a:gd name="T4" fmla="*/ 14 w 632"/>
                  <a:gd name="T5" fmla="*/ 1 h 969"/>
                  <a:gd name="T6" fmla="*/ 57 w 632"/>
                  <a:gd name="T7" fmla="*/ 1 h 969"/>
                  <a:gd name="T8" fmla="*/ 144 w 632"/>
                  <a:gd name="T9" fmla="*/ 1 h 969"/>
                  <a:gd name="T10" fmla="*/ 151 w 632"/>
                  <a:gd name="T11" fmla="*/ 1 h 969"/>
                  <a:gd name="T12" fmla="*/ 163 w 632"/>
                  <a:gd name="T13" fmla="*/ 1 h 969"/>
                  <a:gd name="T14" fmla="*/ 175 w 632"/>
                  <a:gd name="T15" fmla="*/ 1 h 969"/>
                  <a:gd name="T16" fmla="*/ 226 w 632"/>
                  <a:gd name="T17" fmla="*/ 1 h 969"/>
                  <a:gd name="T18" fmla="*/ 239 w 632"/>
                  <a:gd name="T19" fmla="*/ 1 h 969"/>
                  <a:gd name="T20" fmla="*/ 250 w 632"/>
                  <a:gd name="T21" fmla="*/ 1 h 969"/>
                  <a:gd name="T22" fmla="*/ 308 w 632"/>
                  <a:gd name="T23" fmla="*/ 1 h 969"/>
                  <a:gd name="T24" fmla="*/ 364 w 632"/>
                  <a:gd name="T25" fmla="*/ 1 h 969"/>
                  <a:gd name="T26" fmla="*/ 419 w 632"/>
                  <a:gd name="T27" fmla="*/ 1 h 969"/>
                  <a:gd name="T28" fmla="*/ 445 w 632"/>
                  <a:gd name="T29" fmla="*/ 1 h 969"/>
                  <a:gd name="T30" fmla="*/ 476 w 632"/>
                  <a:gd name="T31" fmla="*/ 1 h 969"/>
                  <a:gd name="T32" fmla="*/ 520 w 632"/>
                  <a:gd name="T33" fmla="*/ 1 h 969"/>
                  <a:gd name="T34" fmla="*/ 570 w 632"/>
                  <a:gd name="T35" fmla="*/ 1 h 969"/>
                  <a:gd name="T36" fmla="*/ 589 w 632"/>
                  <a:gd name="T37" fmla="*/ 1 h 969"/>
                  <a:gd name="T38" fmla="*/ 632 w 632"/>
                  <a:gd name="T39" fmla="*/ 1 h 969"/>
                  <a:gd name="T40" fmla="*/ 594 w 632"/>
                  <a:gd name="T41" fmla="*/ 1 h 969"/>
                  <a:gd name="T42" fmla="*/ 539 w 632"/>
                  <a:gd name="T43" fmla="*/ 1 h 969"/>
                  <a:gd name="T44" fmla="*/ 520 w 632"/>
                  <a:gd name="T45" fmla="*/ 1 h 969"/>
                  <a:gd name="T46" fmla="*/ 476 w 632"/>
                  <a:gd name="T47" fmla="*/ 1 h 969"/>
                  <a:gd name="T48" fmla="*/ 419 w 632"/>
                  <a:gd name="T49" fmla="*/ 1 h 969"/>
                  <a:gd name="T50" fmla="*/ 388 w 632"/>
                  <a:gd name="T51" fmla="*/ 1 h 969"/>
                  <a:gd name="T52" fmla="*/ 383 w 632"/>
                  <a:gd name="T53" fmla="*/ 1 h 969"/>
                  <a:gd name="T54" fmla="*/ 383 w 632"/>
                  <a:gd name="T55" fmla="*/ 1 h 969"/>
                  <a:gd name="T56" fmla="*/ 345 w 632"/>
                  <a:gd name="T57" fmla="*/ 1 h 969"/>
                  <a:gd name="T58" fmla="*/ 282 w 632"/>
                  <a:gd name="T59" fmla="*/ 1 h 969"/>
                  <a:gd name="T60" fmla="*/ 163 w 632"/>
                  <a:gd name="T61" fmla="*/ 1 h 969"/>
                  <a:gd name="T62" fmla="*/ 75 w 632"/>
                  <a:gd name="T63" fmla="*/ 1 h 969"/>
                  <a:gd name="T64" fmla="*/ 45 w 632"/>
                  <a:gd name="T65" fmla="*/ 1 h 96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32" h="969">
                    <a:moveTo>
                      <a:pt x="0" y="501"/>
                    </a:moveTo>
                    <a:lnTo>
                      <a:pt x="14" y="512"/>
                    </a:lnTo>
                    <a:lnTo>
                      <a:pt x="6" y="489"/>
                    </a:lnTo>
                    <a:lnTo>
                      <a:pt x="19" y="501"/>
                    </a:lnTo>
                    <a:lnTo>
                      <a:pt x="6" y="443"/>
                    </a:lnTo>
                    <a:lnTo>
                      <a:pt x="14" y="368"/>
                    </a:lnTo>
                    <a:lnTo>
                      <a:pt x="19" y="389"/>
                    </a:lnTo>
                    <a:lnTo>
                      <a:pt x="57" y="322"/>
                    </a:lnTo>
                    <a:lnTo>
                      <a:pt x="120" y="278"/>
                    </a:lnTo>
                    <a:lnTo>
                      <a:pt x="144" y="234"/>
                    </a:lnTo>
                    <a:lnTo>
                      <a:pt x="144" y="199"/>
                    </a:lnTo>
                    <a:lnTo>
                      <a:pt x="151" y="176"/>
                    </a:lnTo>
                    <a:lnTo>
                      <a:pt x="163" y="211"/>
                    </a:lnTo>
                    <a:lnTo>
                      <a:pt x="163" y="176"/>
                    </a:lnTo>
                    <a:lnTo>
                      <a:pt x="175" y="188"/>
                    </a:lnTo>
                    <a:lnTo>
                      <a:pt x="175" y="155"/>
                    </a:lnTo>
                    <a:lnTo>
                      <a:pt x="201" y="99"/>
                    </a:lnTo>
                    <a:lnTo>
                      <a:pt x="226" y="111"/>
                    </a:lnTo>
                    <a:lnTo>
                      <a:pt x="232" y="155"/>
                    </a:lnTo>
                    <a:lnTo>
                      <a:pt x="239" y="132"/>
                    </a:lnTo>
                    <a:lnTo>
                      <a:pt x="258" y="144"/>
                    </a:lnTo>
                    <a:lnTo>
                      <a:pt x="250" y="111"/>
                    </a:lnTo>
                    <a:lnTo>
                      <a:pt x="270" y="67"/>
                    </a:lnTo>
                    <a:lnTo>
                      <a:pt x="308" y="44"/>
                    </a:lnTo>
                    <a:lnTo>
                      <a:pt x="295" y="9"/>
                    </a:lnTo>
                    <a:lnTo>
                      <a:pt x="364" y="53"/>
                    </a:lnTo>
                    <a:lnTo>
                      <a:pt x="350" y="132"/>
                    </a:lnTo>
                    <a:lnTo>
                      <a:pt x="419" y="222"/>
                    </a:lnTo>
                    <a:lnTo>
                      <a:pt x="438" y="188"/>
                    </a:lnTo>
                    <a:lnTo>
                      <a:pt x="445" y="44"/>
                    </a:lnTo>
                    <a:lnTo>
                      <a:pt x="464" y="0"/>
                    </a:lnTo>
                    <a:lnTo>
                      <a:pt x="476" y="111"/>
                    </a:lnTo>
                    <a:lnTo>
                      <a:pt x="502" y="132"/>
                    </a:lnTo>
                    <a:lnTo>
                      <a:pt x="520" y="266"/>
                    </a:lnTo>
                    <a:lnTo>
                      <a:pt x="558" y="311"/>
                    </a:lnTo>
                    <a:lnTo>
                      <a:pt x="570" y="389"/>
                    </a:lnTo>
                    <a:lnTo>
                      <a:pt x="583" y="378"/>
                    </a:lnTo>
                    <a:lnTo>
                      <a:pt x="589" y="422"/>
                    </a:lnTo>
                    <a:lnTo>
                      <a:pt x="620" y="478"/>
                    </a:lnTo>
                    <a:lnTo>
                      <a:pt x="632" y="580"/>
                    </a:lnTo>
                    <a:lnTo>
                      <a:pt x="620" y="679"/>
                    </a:lnTo>
                    <a:lnTo>
                      <a:pt x="594" y="768"/>
                    </a:lnTo>
                    <a:lnTo>
                      <a:pt x="576" y="912"/>
                    </a:lnTo>
                    <a:lnTo>
                      <a:pt x="539" y="925"/>
                    </a:lnTo>
                    <a:lnTo>
                      <a:pt x="520" y="946"/>
                    </a:lnTo>
                    <a:lnTo>
                      <a:pt x="520" y="969"/>
                    </a:lnTo>
                    <a:lnTo>
                      <a:pt x="495" y="912"/>
                    </a:lnTo>
                    <a:lnTo>
                      <a:pt x="476" y="958"/>
                    </a:lnTo>
                    <a:lnTo>
                      <a:pt x="445" y="935"/>
                    </a:lnTo>
                    <a:lnTo>
                      <a:pt x="419" y="902"/>
                    </a:lnTo>
                    <a:lnTo>
                      <a:pt x="407" y="823"/>
                    </a:lnTo>
                    <a:lnTo>
                      <a:pt x="388" y="835"/>
                    </a:lnTo>
                    <a:lnTo>
                      <a:pt x="388" y="789"/>
                    </a:lnTo>
                    <a:lnTo>
                      <a:pt x="383" y="823"/>
                    </a:lnTo>
                    <a:lnTo>
                      <a:pt x="369" y="823"/>
                    </a:lnTo>
                    <a:lnTo>
                      <a:pt x="383" y="724"/>
                    </a:lnTo>
                    <a:lnTo>
                      <a:pt x="358" y="812"/>
                    </a:lnTo>
                    <a:lnTo>
                      <a:pt x="345" y="802"/>
                    </a:lnTo>
                    <a:lnTo>
                      <a:pt x="332" y="724"/>
                    </a:lnTo>
                    <a:lnTo>
                      <a:pt x="282" y="689"/>
                    </a:lnTo>
                    <a:lnTo>
                      <a:pt x="201" y="724"/>
                    </a:lnTo>
                    <a:lnTo>
                      <a:pt x="163" y="768"/>
                    </a:lnTo>
                    <a:lnTo>
                      <a:pt x="107" y="779"/>
                    </a:lnTo>
                    <a:lnTo>
                      <a:pt x="75" y="823"/>
                    </a:lnTo>
                    <a:lnTo>
                      <a:pt x="32" y="789"/>
                    </a:lnTo>
                    <a:lnTo>
                      <a:pt x="45" y="689"/>
                    </a:lnTo>
                    <a:lnTo>
                      <a:pt x="0" y="50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514" name="Freeform 35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9268984" y="5073220"/>
              <a:ext cx="1170859" cy="769938"/>
            </a:xfrm>
            <a:custGeom>
              <a:avLst/>
              <a:gdLst>
                <a:gd name="T0" fmla="*/ 2147483647 w 632"/>
                <a:gd name="T1" fmla="*/ 2147483647 h 969"/>
                <a:gd name="T2" fmla="*/ 2147483647 w 632"/>
                <a:gd name="T3" fmla="*/ 2147483647 h 969"/>
                <a:gd name="T4" fmla="*/ 2147483647 w 632"/>
                <a:gd name="T5" fmla="*/ 2147483647 h 969"/>
                <a:gd name="T6" fmla="*/ 2147483647 w 632"/>
                <a:gd name="T7" fmla="*/ 2147483647 h 969"/>
                <a:gd name="T8" fmla="*/ 2147483647 w 632"/>
                <a:gd name="T9" fmla="*/ 2147483647 h 969"/>
                <a:gd name="T10" fmla="*/ 2147483647 w 632"/>
                <a:gd name="T11" fmla="*/ 2147483647 h 969"/>
                <a:gd name="T12" fmla="*/ 2147483647 w 632"/>
                <a:gd name="T13" fmla="*/ 2147483647 h 969"/>
                <a:gd name="T14" fmla="*/ 2147483647 w 632"/>
                <a:gd name="T15" fmla="*/ 2147483647 h 969"/>
                <a:gd name="T16" fmla="*/ 2147483647 w 632"/>
                <a:gd name="T17" fmla="*/ 2147483647 h 969"/>
                <a:gd name="T18" fmla="*/ 2147483647 w 632"/>
                <a:gd name="T19" fmla="*/ 2147483647 h 969"/>
                <a:gd name="T20" fmla="*/ 2147483647 w 632"/>
                <a:gd name="T21" fmla="*/ 2147483647 h 969"/>
                <a:gd name="T22" fmla="*/ 2147483647 w 632"/>
                <a:gd name="T23" fmla="*/ 2147483647 h 969"/>
                <a:gd name="T24" fmla="*/ 2147483647 w 632"/>
                <a:gd name="T25" fmla="*/ 2147483647 h 969"/>
                <a:gd name="T26" fmla="*/ 2147483647 w 632"/>
                <a:gd name="T27" fmla="*/ 2147483647 h 969"/>
                <a:gd name="T28" fmla="*/ 2147483647 w 632"/>
                <a:gd name="T29" fmla="*/ 2147483647 h 969"/>
                <a:gd name="T30" fmla="*/ 2147483647 w 632"/>
                <a:gd name="T31" fmla="*/ 2147483647 h 969"/>
                <a:gd name="T32" fmla="*/ 2147483647 w 632"/>
                <a:gd name="T33" fmla="*/ 2147483647 h 969"/>
                <a:gd name="T34" fmla="*/ 2147483647 w 632"/>
                <a:gd name="T35" fmla="*/ 2147483647 h 969"/>
                <a:gd name="T36" fmla="*/ 2147483647 w 632"/>
                <a:gd name="T37" fmla="*/ 2147483647 h 969"/>
                <a:gd name="T38" fmla="*/ 2147483647 w 632"/>
                <a:gd name="T39" fmla="*/ 2147483647 h 969"/>
                <a:gd name="T40" fmla="*/ 2147483647 w 632"/>
                <a:gd name="T41" fmla="*/ 2147483647 h 969"/>
                <a:gd name="T42" fmla="*/ 2147483647 w 632"/>
                <a:gd name="T43" fmla="*/ 2147483647 h 969"/>
                <a:gd name="T44" fmla="*/ 2147483647 w 632"/>
                <a:gd name="T45" fmla="*/ 2147483647 h 969"/>
                <a:gd name="T46" fmla="*/ 2147483647 w 632"/>
                <a:gd name="T47" fmla="*/ 2147483647 h 969"/>
                <a:gd name="T48" fmla="*/ 2147483647 w 632"/>
                <a:gd name="T49" fmla="*/ 2147483647 h 969"/>
                <a:gd name="T50" fmla="*/ 2147483647 w 632"/>
                <a:gd name="T51" fmla="*/ 2147483647 h 969"/>
                <a:gd name="T52" fmla="*/ 2147483647 w 632"/>
                <a:gd name="T53" fmla="*/ 2147483647 h 969"/>
                <a:gd name="T54" fmla="*/ 2147483647 w 632"/>
                <a:gd name="T55" fmla="*/ 2147483647 h 969"/>
                <a:gd name="T56" fmla="*/ 2147483647 w 632"/>
                <a:gd name="T57" fmla="*/ 2147483647 h 969"/>
                <a:gd name="T58" fmla="*/ 2147483647 w 632"/>
                <a:gd name="T59" fmla="*/ 2147483647 h 969"/>
                <a:gd name="T60" fmla="*/ 2147483647 w 632"/>
                <a:gd name="T61" fmla="*/ 2147483647 h 969"/>
                <a:gd name="T62" fmla="*/ 2147483647 w 632"/>
                <a:gd name="T63" fmla="*/ 2147483647 h 969"/>
                <a:gd name="T64" fmla="*/ 2147483647 w 632"/>
                <a:gd name="T65" fmla="*/ 2147483647 h 9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632" h="969">
                  <a:moveTo>
                    <a:pt x="0" y="501"/>
                  </a:moveTo>
                  <a:lnTo>
                    <a:pt x="14" y="512"/>
                  </a:lnTo>
                  <a:lnTo>
                    <a:pt x="6" y="489"/>
                  </a:lnTo>
                  <a:lnTo>
                    <a:pt x="19" y="501"/>
                  </a:lnTo>
                  <a:lnTo>
                    <a:pt x="6" y="443"/>
                  </a:lnTo>
                  <a:lnTo>
                    <a:pt x="14" y="368"/>
                  </a:lnTo>
                  <a:lnTo>
                    <a:pt x="19" y="389"/>
                  </a:lnTo>
                  <a:lnTo>
                    <a:pt x="57" y="322"/>
                  </a:lnTo>
                  <a:lnTo>
                    <a:pt x="120" y="278"/>
                  </a:lnTo>
                  <a:lnTo>
                    <a:pt x="144" y="234"/>
                  </a:lnTo>
                  <a:lnTo>
                    <a:pt x="144" y="199"/>
                  </a:lnTo>
                  <a:lnTo>
                    <a:pt x="151" y="176"/>
                  </a:lnTo>
                  <a:lnTo>
                    <a:pt x="163" y="211"/>
                  </a:lnTo>
                  <a:lnTo>
                    <a:pt x="163" y="176"/>
                  </a:lnTo>
                  <a:lnTo>
                    <a:pt x="175" y="188"/>
                  </a:lnTo>
                  <a:lnTo>
                    <a:pt x="175" y="155"/>
                  </a:lnTo>
                  <a:lnTo>
                    <a:pt x="201" y="99"/>
                  </a:lnTo>
                  <a:lnTo>
                    <a:pt x="226" y="111"/>
                  </a:lnTo>
                  <a:lnTo>
                    <a:pt x="232" y="155"/>
                  </a:lnTo>
                  <a:lnTo>
                    <a:pt x="239" y="132"/>
                  </a:lnTo>
                  <a:lnTo>
                    <a:pt x="258" y="144"/>
                  </a:lnTo>
                  <a:lnTo>
                    <a:pt x="250" y="111"/>
                  </a:lnTo>
                  <a:lnTo>
                    <a:pt x="270" y="67"/>
                  </a:lnTo>
                  <a:lnTo>
                    <a:pt x="308" y="44"/>
                  </a:lnTo>
                  <a:lnTo>
                    <a:pt x="295" y="9"/>
                  </a:lnTo>
                  <a:lnTo>
                    <a:pt x="364" y="53"/>
                  </a:lnTo>
                  <a:lnTo>
                    <a:pt x="350" y="132"/>
                  </a:lnTo>
                  <a:lnTo>
                    <a:pt x="419" y="222"/>
                  </a:lnTo>
                  <a:lnTo>
                    <a:pt x="438" y="188"/>
                  </a:lnTo>
                  <a:lnTo>
                    <a:pt x="445" y="44"/>
                  </a:lnTo>
                  <a:lnTo>
                    <a:pt x="464" y="0"/>
                  </a:lnTo>
                  <a:lnTo>
                    <a:pt x="476" y="111"/>
                  </a:lnTo>
                  <a:lnTo>
                    <a:pt x="502" y="132"/>
                  </a:lnTo>
                  <a:lnTo>
                    <a:pt x="520" y="266"/>
                  </a:lnTo>
                  <a:lnTo>
                    <a:pt x="558" y="311"/>
                  </a:lnTo>
                  <a:lnTo>
                    <a:pt x="570" y="389"/>
                  </a:lnTo>
                  <a:lnTo>
                    <a:pt x="583" y="378"/>
                  </a:lnTo>
                  <a:lnTo>
                    <a:pt x="589" y="422"/>
                  </a:lnTo>
                  <a:lnTo>
                    <a:pt x="620" y="478"/>
                  </a:lnTo>
                  <a:lnTo>
                    <a:pt x="632" y="580"/>
                  </a:lnTo>
                  <a:lnTo>
                    <a:pt x="620" y="679"/>
                  </a:lnTo>
                  <a:lnTo>
                    <a:pt x="594" y="768"/>
                  </a:lnTo>
                  <a:lnTo>
                    <a:pt x="576" y="912"/>
                  </a:lnTo>
                  <a:lnTo>
                    <a:pt x="539" y="925"/>
                  </a:lnTo>
                  <a:lnTo>
                    <a:pt x="520" y="946"/>
                  </a:lnTo>
                  <a:lnTo>
                    <a:pt x="520" y="969"/>
                  </a:lnTo>
                  <a:lnTo>
                    <a:pt x="495" y="912"/>
                  </a:lnTo>
                  <a:lnTo>
                    <a:pt x="476" y="958"/>
                  </a:lnTo>
                  <a:lnTo>
                    <a:pt x="445" y="935"/>
                  </a:lnTo>
                  <a:lnTo>
                    <a:pt x="419" y="902"/>
                  </a:lnTo>
                  <a:lnTo>
                    <a:pt x="407" y="823"/>
                  </a:lnTo>
                  <a:lnTo>
                    <a:pt x="388" y="835"/>
                  </a:lnTo>
                  <a:lnTo>
                    <a:pt x="388" y="789"/>
                  </a:lnTo>
                  <a:lnTo>
                    <a:pt x="383" y="823"/>
                  </a:lnTo>
                  <a:lnTo>
                    <a:pt x="369" y="823"/>
                  </a:lnTo>
                  <a:lnTo>
                    <a:pt x="383" y="724"/>
                  </a:lnTo>
                  <a:lnTo>
                    <a:pt x="358" y="812"/>
                  </a:lnTo>
                  <a:lnTo>
                    <a:pt x="345" y="802"/>
                  </a:lnTo>
                  <a:lnTo>
                    <a:pt x="332" y="724"/>
                  </a:lnTo>
                  <a:lnTo>
                    <a:pt x="282" y="689"/>
                  </a:lnTo>
                  <a:lnTo>
                    <a:pt x="201" y="724"/>
                  </a:lnTo>
                  <a:lnTo>
                    <a:pt x="163" y="768"/>
                  </a:lnTo>
                  <a:lnTo>
                    <a:pt x="107" y="779"/>
                  </a:lnTo>
                  <a:lnTo>
                    <a:pt x="75" y="823"/>
                  </a:lnTo>
                  <a:lnTo>
                    <a:pt x="32" y="789"/>
                  </a:lnTo>
                  <a:lnTo>
                    <a:pt x="45" y="689"/>
                  </a:lnTo>
                  <a:lnTo>
                    <a:pt x="0" y="501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544" name="Group 36"/>
            <p:cNvGrpSpPr>
              <a:grpSpLocks/>
            </p:cNvGrpSpPr>
            <p:nvPr>
              <p:custDataLst>
                <p:tags r:id="rId39"/>
              </p:custDataLst>
            </p:nvPr>
          </p:nvGrpSpPr>
          <p:grpSpPr bwMode="auto">
            <a:xfrm>
              <a:off x="9268984" y="5073220"/>
              <a:ext cx="1170859" cy="769938"/>
              <a:chOff x="4702" y="2826"/>
              <a:chExt cx="632" cy="48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39" name="Freeform 37"/>
              <p:cNvSpPr>
                <a:spLocks/>
              </p:cNvSpPr>
              <p:nvPr/>
            </p:nvSpPr>
            <p:spPr bwMode="auto">
              <a:xfrm>
                <a:off x="4702" y="2826"/>
                <a:ext cx="632" cy="485"/>
              </a:xfrm>
              <a:custGeom>
                <a:avLst/>
                <a:gdLst>
                  <a:gd name="T0" fmla="*/ 14 w 632"/>
                  <a:gd name="T1" fmla="*/ 1 h 969"/>
                  <a:gd name="T2" fmla="*/ 19 w 632"/>
                  <a:gd name="T3" fmla="*/ 1 h 969"/>
                  <a:gd name="T4" fmla="*/ 14 w 632"/>
                  <a:gd name="T5" fmla="*/ 1 h 969"/>
                  <a:gd name="T6" fmla="*/ 57 w 632"/>
                  <a:gd name="T7" fmla="*/ 1 h 969"/>
                  <a:gd name="T8" fmla="*/ 144 w 632"/>
                  <a:gd name="T9" fmla="*/ 1 h 969"/>
                  <a:gd name="T10" fmla="*/ 151 w 632"/>
                  <a:gd name="T11" fmla="*/ 1 h 969"/>
                  <a:gd name="T12" fmla="*/ 163 w 632"/>
                  <a:gd name="T13" fmla="*/ 1 h 969"/>
                  <a:gd name="T14" fmla="*/ 175 w 632"/>
                  <a:gd name="T15" fmla="*/ 1 h 969"/>
                  <a:gd name="T16" fmla="*/ 226 w 632"/>
                  <a:gd name="T17" fmla="*/ 1 h 969"/>
                  <a:gd name="T18" fmla="*/ 239 w 632"/>
                  <a:gd name="T19" fmla="*/ 1 h 969"/>
                  <a:gd name="T20" fmla="*/ 250 w 632"/>
                  <a:gd name="T21" fmla="*/ 1 h 969"/>
                  <a:gd name="T22" fmla="*/ 308 w 632"/>
                  <a:gd name="T23" fmla="*/ 1 h 969"/>
                  <a:gd name="T24" fmla="*/ 364 w 632"/>
                  <a:gd name="T25" fmla="*/ 1 h 969"/>
                  <a:gd name="T26" fmla="*/ 419 w 632"/>
                  <a:gd name="T27" fmla="*/ 1 h 969"/>
                  <a:gd name="T28" fmla="*/ 445 w 632"/>
                  <a:gd name="T29" fmla="*/ 1 h 969"/>
                  <a:gd name="T30" fmla="*/ 476 w 632"/>
                  <a:gd name="T31" fmla="*/ 1 h 969"/>
                  <a:gd name="T32" fmla="*/ 520 w 632"/>
                  <a:gd name="T33" fmla="*/ 1 h 969"/>
                  <a:gd name="T34" fmla="*/ 570 w 632"/>
                  <a:gd name="T35" fmla="*/ 1 h 969"/>
                  <a:gd name="T36" fmla="*/ 589 w 632"/>
                  <a:gd name="T37" fmla="*/ 1 h 969"/>
                  <a:gd name="T38" fmla="*/ 632 w 632"/>
                  <a:gd name="T39" fmla="*/ 1 h 969"/>
                  <a:gd name="T40" fmla="*/ 594 w 632"/>
                  <a:gd name="T41" fmla="*/ 1 h 969"/>
                  <a:gd name="T42" fmla="*/ 539 w 632"/>
                  <a:gd name="T43" fmla="*/ 1 h 969"/>
                  <a:gd name="T44" fmla="*/ 520 w 632"/>
                  <a:gd name="T45" fmla="*/ 1 h 969"/>
                  <a:gd name="T46" fmla="*/ 476 w 632"/>
                  <a:gd name="T47" fmla="*/ 1 h 969"/>
                  <a:gd name="T48" fmla="*/ 419 w 632"/>
                  <a:gd name="T49" fmla="*/ 1 h 969"/>
                  <a:gd name="T50" fmla="*/ 388 w 632"/>
                  <a:gd name="T51" fmla="*/ 1 h 969"/>
                  <a:gd name="T52" fmla="*/ 383 w 632"/>
                  <a:gd name="T53" fmla="*/ 1 h 969"/>
                  <a:gd name="T54" fmla="*/ 383 w 632"/>
                  <a:gd name="T55" fmla="*/ 1 h 969"/>
                  <a:gd name="T56" fmla="*/ 345 w 632"/>
                  <a:gd name="T57" fmla="*/ 1 h 969"/>
                  <a:gd name="T58" fmla="*/ 282 w 632"/>
                  <a:gd name="T59" fmla="*/ 1 h 969"/>
                  <a:gd name="T60" fmla="*/ 163 w 632"/>
                  <a:gd name="T61" fmla="*/ 1 h 969"/>
                  <a:gd name="T62" fmla="*/ 75 w 632"/>
                  <a:gd name="T63" fmla="*/ 1 h 969"/>
                  <a:gd name="T64" fmla="*/ 45 w 632"/>
                  <a:gd name="T65" fmla="*/ 1 h 96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32" h="969">
                    <a:moveTo>
                      <a:pt x="0" y="501"/>
                    </a:moveTo>
                    <a:lnTo>
                      <a:pt x="14" y="512"/>
                    </a:lnTo>
                    <a:lnTo>
                      <a:pt x="6" y="489"/>
                    </a:lnTo>
                    <a:lnTo>
                      <a:pt x="19" y="501"/>
                    </a:lnTo>
                    <a:lnTo>
                      <a:pt x="6" y="443"/>
                    </a:lnTo>
                    <a:lnTo>
                      <a:pt x="14" y="368"/>
                    </a:lnTo>
                    <a:lnTo>
                      <a:pt x="19" y="389"/>
                    </a:lnTo>
                    <a:lnTo>
                      <a:pt x="57" y="322"/>
                    </a:lnTo>
                    <a:lnTo>
                      <a:pt x="120" y="278"/>
                    </a:lnTo>
                    <a:lnTo>
                      <a:pt x="144" y="234"/>
                    </a:lnTo>
                    <a:lnTo>
                      <a:pt x="144" y="199"/>
                    </a:lnTo>
                    <a:lnTo>
                      <a:pt x="151" y="176"/>
                    </a:lnTo>
                    <a:lnTo>
                      <a:pt x="163" y="211"/>
                    </a:lnTo>
                    <a:lnTo>
                      <a:pt x="163" y="176"/>
                    </a:lnTo>
                    <a:lnTo>
                      <a:pt x="175" y="188"/>
                    </a:lnTo>
                    <a:lnTo>
                      <a:pt x="175" y="155"/>
                    </a:lnTo>
                    <a:lnTo>
                      <a:pt x="201" y="99"/>
                    </a:lnTo>
                    <a:lnTo>
                      <a:pt x="226" y="111"/>
                    </a:lnTo>
                    <a:lnTo>
                      <a:pt x="232" y="155"/>
                    </a:lnTo>
                    <a:lnTo>
                      <a:pt x="239" y="132"/>
                    </a:lnTo>
                    <a:lnTo>
                      <a:pt x="258" y="144"/>
                    </a:lnTo>
                    <a:lnTo>
                      <a:pt x="250" y="111"/>
                    </a:lnTo>
                    <a:lnTo>
                      <a:pt x="270" y="67"/>
                    </a:lnTo>
                    <a:lnTo>
                      <a:pt x="308" y="44"/>
                    </a:lnTo>
                    <a:lnTo>
                      <a:pt x="295" y="9"/>
                    </a:lnTo>
                    <a:lnTo>
                      <a:pt x="364" y="53"/>
                    </a:lnTo>
                    <a:lnTo>
                      <a:pt x="350" y="132"/>
                    </a:lnTo>
                    <a:lnTo>
                      <a:pt x="419" y="222"/>
                    </a:lnTo>
                    <a:lnTo>
                      <a:pt x="438" y="188"/>
                    </a:lnTo>
                    <a:lnTo>
                      <a:pt x="445" y="44"/>
                    </a:lnTo>
                    <a:lnTo>
                      <a:pt x="464" y="0"/>
                    </a:lnTo>
                    <a:lnTo>
                      <a:pt x="476" y="111"/>
                    </a:lnTo>
                    <a:lnTo>
                      <a:pt x="502" y="132"/>
                    </a:lnTo>
                    <a:lnTo>
                      <a:pt x="520" y="266"/>
                    </a:lnTo>
                    <a:lnTo>
                      <a:pt x="558" y="311"/>
                    </a:lnTo>
                    <a:lnTo>
                      <a:pt x="570" y="389"/>
                    </a:lnTo>
                    <a:lnTo>
                      <a:pt x="583" y="378"/>
                    </a:lnTo>
                    <a:lnTo>
                      <a:pt x="589" y="422"/>
                    </a:lnTo>
                    <a:lnTo>
                      <a:pt x="620" y="478"/>
                    </a:lnTo>
                    <a:lnTo>
                      <a:pt x="632" y="580"/>
                    </a:lnTo>
                    <a:lnTo>
                      <a:pt x="620" y="679"/>
                    </a:lnTo>
                    <a:lnTo>
                      <a:pt x="594" y="768"/>
                    </a:lnTo>
                    <a:lnTo>
                      <a:pt x="576" y="912"/>
                    </a:lnTo>
                    <a:lnTo>
                      <a:pt x="539" y="925"/>
                    </a:lnTo>
                    <a:lnTo>
                      <a:pt x="520" y="946"/>
                    </a:lnTo>
                    <a:lnTo>
                      <a:pt x="520" y="969"/>
                    </a:lnTo>
                    <a:lnTo>
                      <a:pt x="495" y="912"/>
                    </a:lnTo>
                    <a:lnTo>
                      <a:pt x="476" y="958"/>
                    </a:lnTo>
                    <a:lnTo>
                      <a:pt x="445" y="935"/>
                    </a:lnTo>
                    <a:lnTo>
                      <a:pt x="419" y="902"/>
                    </a:lnTo>
                    <a:lnTo>
                      <a:pt x="407" y="823"/>
                    </a:lnTo>
                    <a:lnTo>
                      <a:pt x="388" y="835"/>
                    </a:lnTo>
                    <a:lnTo>
                      <a:pt x="388" y="789"/>
                    </a:lnTo>
                    <a:lnTo>
                      <a:pt x="383" y="823"/>
                    </a:lnTo>
                    <a:lnTo>
                      <a:pt x="369" y="823"/>
                    </a:lnTo>
                    <a:lnTo>
                      <a:pt x="383" y="724"/>
                    </a:lnTo>
                    <a:lnTo>
                      <a:pt x="358" y="812"/>
                    </a:lnTo>
                    <a:lnTo>
                      <a:pt x="345" y="802"/>
                    </a:lnTo>
                    <a:lnTo>
                      <a:pt x="332" y="724"/>
                    </a:lnTo>
                    <a:lnTo>
                      <a:pt x="282" y="689"/>
                    </a:lnTo>
                    <a:lnTo>
                      <a:pt x="201" y="724"/>
                    </a:lnTo>
                    <a:lnTo>
                      <a:pt x="163" y="768"/>
                    </a:lnTo>
                    <a:lnTo>
                      <a:pt x="107" y="779"/>
                    </a:lnTo>
                    <a:lnTo>
                      <a:pt x="75" y="823"/>
                    </a:lnTo>
                    <a:lnTo>
                      <a:pt x="32" y="789"/>
                    </a:lnTo>
                    <a:lnTo>
                      <a:pt x="45" y="689"/>
                    </a:lnTo>
                    <a:lnTo>
                      <a:pt x="0" y="501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40" name="Freeform 38"/>
              <p:cNvSpPr>
                <a:spLocks/>
              </p:cNvSpPr>
              <p:nvPr/>
            </p:nvSpPr>
            <p:spPr bwMode="auto">
              <a:xfrm>
                <a:off x="4702" y="2826"/>
                <a:ext cx="632" cy="485"/>
              </a:xfrm>
              <a:custGeom>
                <a:avLst/>
                <a:gdLst>
                  <a:gd name="T0" fmla="*/ 14 w 632"/>
                  <a:gd name="T1" fmla="*/ 1 h 969"/>
                  <a:gd name="T2" fmla="*/ 19 w 632"/>
                  <a:gd name="T3" fmla="*/ 1 h 969"/>
                  <a:gd name="T4" fmla="*/ 14 w 632"/>
                  <a:gd name="T5" fmla="*/ 1 h 969"/>
                  <a:gd name="T6" fmla="*/ 57 w 632"/>
                  <a:gd name="T7" fmla="*/ 1 h 969"/>
                  <a:gd name="T8" fmla="*/ 144 w 632"/>
                  <a:gd name="T9" fmla="*/ 1 h 969"/>
                  <a:gd name="T10" fmla="*/ 151 w 632"/>
                  <a:gd name="T11" fmla="*/ 1 h 969"/>
                  <a:gd name="T12" fmla="*/ 163 w 632"/>
                  <a:gd name="T13" fmla="*/ 1 h 969"/>
                  <a:gd name="T14" fmla="*/ 175 w 632"/>
                  <a:gd name="T15" fmla="*/ 1 h 969"/>
                  <a:gd name="T16" fmla="*/ 226 w 632"/>
                  <a:gd name="T17" fmla="*/ 1 h 969"/>
                  <a:gd name="T18" fmla="*/ 239 w 632"/>
                  <a:gd name="T19" fmla="*/ 1 h 969"/>
                  <a:gd name="T20" fmla="*/ 250 w 632"/>
                  <a:gd name="T21" fmla="*/ 1 h 969"/>
                  <a:gd name="T22" fmla="*/ 308 w 632"/>
                  <a:gd name="T23" fmla="*/ 1 h 969"/>
                  <a:gd name="T24" fmla="*/ 364 w 632"/>
                  <a:gd name="T25" fmla="*/ 1 h 969"/>
                  <a:gd name="T26" fmla="*/ 419 w 632"/>
                  <a:gd name="T27" fmla="*/ 1 h 969"/>
                  <a:gd name="T28" fmla="*/ 445 w 632"/>
                  <a:gd name="T29" fmla="*/ 1 h 969"/>
                  <a:gd name="T30" fmla="*/ 476 w 632"/>
                  <a:gd name="T31" fmla="*/ 1 h 969"/>
                  <a:gd name="T32" fmla="*/ 520 w 632"/>
                  <a:gd name="T33" fmla="*/ 1 h 969"/>
                  <a:gd name="T34" fmla="*/ 570 w 632"/>
                  <a:gd name="T35" fmla="*/ 1 h 969"/>
                  <a:gd name="T36" fmla="*/ 589 w 632"/>
                  <a:gd name="T37" fmla="*/ 1 h 969"/>
                  <a:gd name="T38" fmla="*/ 632 w 632"/>
                  <a:gd name="T39" fmla="*/ 1 h 969"/>
                  <a:gd name="T40" fmla="*/ 594 w 632"/>
                  <a:gd name="T41" fmla="*/ 1 h 969"/>
                  <a:gd name="T42" fmla="*/ 539 w 632"/>
                  <a:gd name="T43" fmla="*/ 1 h 969"/>
                  <a:gd name="T44" fmla="*/ 520 w 632"/>
                  <a:gd name="T45" fmla="*/ 1 h 969"/>
                  <a:gd name="T46" fmla="*/ 476 w 632"/>
                  <a:gd name="T47" fmla="*/ 1 h 969"/>
                  <a:gd name="T48" fmla="*/ 419 w 632"/>
                  <a:gd name="T49" fmla="*/ 1 h 969"/>
                  <a:gd name="T50" fmla="*/ 388 w 632"/>
                  <a:gd name="T51" fmla="*/ 1 h 969"/>
                  <a:gd name="T52" fmla="*/ 383 w 632"/>
                  <a:gd name="T53" fmla="*/ 1 h 969"/>
                  <a:gd name="T54" fmla="*/ 383 w 632"/>
                  <a:gd name="T55" fmla="*/ 1 h 969"/>
                  <a:gd name="T56" fmla="*/ 345 w 632"/>
                  <a:gd name="T57" fmla="*/ 1 h 969"/>
                  <a:gd name="T58" fmla="*/ 282 w 632"/>
                  <a:gd name="T59" fmla="*/ 1 h 969"/>
                  <a:gd name="T60" fmla="*/ 163 w 632"/>
                  <a:gd name="T61" fmla="*/ 1 h 969"/>
                  <a:gd name="T62" fmla="*/ 75 w 632"/>
                  <a:gd name="T63" fmla="*/ 1 h 969"/>
                  <a:gd name="T64" fmla="*/ 45 w 632"/>
                  <a:gd name="T65" fmla="*/ 1 h 96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632" h="969">
                    <a:moveTo>
                      <a:pt x="0" y="501"/>
                    </a:moveTo>
                    <a:lnTo>
                      <a:pt x="14" y="512"/>
                    </a:lnTo>
                    <a:lnTo>
                      <a:pt x="6" y="489"/>
                    </a:lnTo>
                    <a:lnTo>
                      <a:pt x="19" y="501"/>
                    </a:lnTo>
                    <a:lnTo>
                      <a:pt x="6" y="443"/>
                    </a:lnTo>
                    <a:lnTo>
                      <a:pt x="14" y="368"/>
                    </a:lnTo>
                    <a:lnTo>
                      <a:pt x="19" y="389"/>
                    </a:lnTo>
                    <a:lnTo>
                      <a:pt x="57" y="322"/>
                    </a:lnTo>
                    <a:lnTo>
                      <a:pt x="120" y="278"/>
                    </a:lnTo>
                    <a:lnTo>
                      <a:pt x="144" y="234"/>
                    </a:lnTo>
                    <a:lnTo>
                      <a:pt x="144" y="199"/>
                    </a:lnTo>
                    <a:lnTo>
                      <a:pt x="151" y="176"/>
                    </a:lnTo>
                    <a:lnTo>
                      <a:pt x="163" y="211"/>
                    </a:lnTo>
                    <a:lnTo>
                      <a:pt x="163" y="176"/>
                    </a:lnTo>
                    <a:lnTo>
                      <a:pt x="175" y="188"/>
                    </a:lnTo>
                    <a:lnTo>
                      <a:pt x="175" y="155"/>
                    </a:lnTo>
                    <a:lnTo>
                      <a:pt x="201" y="99"/>
                    </a:lnTo>
                    <a:lnTo>
                      <a:pt x="226" y="111"/>
                    </a:lnTo>
                    <a:lnTo>
                      <a:pt x="232" y="155"/>
                    </a:lnTo>
                    <a:lnTo>
                      <a:pt x="239" y="132"/>
                    </a:lnTo>
                    <a:lnTo>
                      <a:pt x="258" y="144"/>
                    </a:lnTo>
                    <a:lnTo>
                      <a:pt x="250" y="111"/>
                    </a:lnTo>
                    <a:lnTo>
                      <a:pt x="270" y="67"/>
                    </a:lnTo>
                    <a:lnTo>
                      <a:pt x="308" y="44"/>
                    </a:lnTo>
                    <a:lnTo>
                      <a:pt x="295" y="9"/>
                    </a:lnTo>
                    <a:lnTo>
                      <a:pt x="364" y="53"/>
                    </a:lnTo>
                    <a:lnTo>
                      <a:pt x="350" y="132"/>
                    </a:lnTo>
                    <a:lnTo>
                      <a:pt x="419" y="222"/>
                    </a:lnTo>
                    <a:lnTo>
                      <a:pt x="438" y="188"/>
                    </a:lnTo>
                    <a:lnTo>
                      <a:pt x="445" y="44"/>
                    </a:lnTo>
                    <a:lnTo>
                      <a:pt x="464" y="0"/>
                    </a:lnTo>
                    <a:lnTo>
                      <a:pt x="476" y="111"/>
                    </a:lnTo>
                    <a:lnTo>
                      <a:pt x="502" y="132"/>
                    </a:lnTo>
                    <a:lnTo>
                      <a:pt x="520" y="266"/>
                    </a:lnTo>
                    <a:lnTo>
                      <a:pt x="558" y="311"/>
                    </a:lnTo>
                    <a:lnTo>
                      <a:pt x="570" y="389"/>
                    </a:lnTo>
                    <a:lnTo>
                      <a:pt x="583" y="378"/>
                    </a:lnTo>
                    <a:lnTo>
                      <a:pt x="589" y="422"/>
                    </a:lnTo>
                    <a:lnTo>
                      <a:pt x="620" y="478"/>
                    </a:lnTo>
                    <a:lnTo>
                      <a:pt x="632" y="580"/>
                    </a:lnTo>
                    <a:lnTo>
                      <a:pt x="620" y="679"/>
                    </a:lnTo>
                    <a:lnTo>
                      <a:pt x="594" y="768"/>
                    </a:lnTo>
                    <a:lnTo>
                      <a:pt x="576" y="912"/>
                    </a:lnTo>
                    <a:lnTo>
                      <a:pt x="539" y="925"/>
                    </a:lnTo>
                    <a:lnTo>
                      <a:pt x="520" y="946"/>
                    </a:lnTo>
                    <a:lnTo>
                      <a:pt x="520" y="969"/>
                    </a:lnTo>
                    <a:lnTo>
                      <a:pt x="495" y="912"/>
                    </a:lnTo>
                    <a:lnTo>
                      <a:pt x="476" y="958"/>
                    </a:lnTo>
                    <a:lnTo>
                      <a:pt x="445" y="935"/>
                    </a:lnTo>
                    <a:lnTo>
                      <a:pt x="419" y="902"/>
                    </a:lnTo>
                    <a:lnTo>
                      <a:pt x="407" y="823"/>
                    </a:lnTo>
                    <a:lnTo>
                      <a:pt x="388" y="835"/>
                    </a:lnTo>
                    <a:lnTo>
                      <a:pt x="388" y="789"/>
                    </a:lnTo>
                    <a:lnTo>
                      <a:pt x="383" y="823"/>
                    </a:lnTo>
                    <a:lnTo>
                      <a:pt x="369" y="823"/>
                    </a:lnTo>
                    <a:lnTo>
                      <a:pt x="383" y="724"/>
                    </a:lnTo>
                    <a:lnTo>
                      <a:pt x="358" y="812"/>
                    </a:lnTo>
                    <a:lnTo>
                      <a:pt x="345" y="802"/>
                    </a:lnTo>
                    <a:lnTo>
                      <a:pt x="332" y="724"/>
                    </a:lnTo>
                    <a:lnTo>
                      <a:pt x="282" y="689"/>
                    </a:lnTo>
                    <a:lnTo>
                      <a:pt x="201" y="724"/>
                    </a:lnTo>
                    <a:lnTo>
                      <a:pt x="163" y="768"/>
                    </a:lnTo>
                    <a:lnTo>
                      <a:pt x="107" y="779"/>
                    </a:lnTo>
                    <a:lnTo>
                      <a:pt x="75" y="823"/>
                    </a:lnTo>
                    <a:lnTo>
                      <a:pt x="32" y="789"/>
                    </a:lnTo>
                    <a:lnTo>
                      <a:pt x="45" y="689"/>
                    </a:lnTo>
                    <a:lnTo>
                      <a:pt x="0" y="501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545" name="Freeform 39"/>
            <p:cNvSpPr>
              <a:spLocks/>
            </p:cNvSpPr>
            <p:nvPr>
              <p:custDataLst>
                <p:tags r:id="rId40"/>
              </p:custDataLst>
            </p:nvPr>
          </p:nvSpPr>
          <p:spPr bwMode="auto">
            <a:xfrm>
              <a:off x="10185235" y="5887608"/>
              <a:ext cx="90220" cy="87312"/>
            </a:xfrm>
            <a:custGeom>
              <a:avLst/>
              <a:gdLst>
                <a:gd name="T0" fmla="*/ 0 w 49"/>
                <a:gd name="T1" fmla="*/ 2147483647 h 112"/>
                <a:gd name="T2" fmla="*/ 0 w 49"/>
                <a:gd name="T3" fmla="*/ 0 h 112"/>
                <a:gd name="T4" fmla="*/ 2147483647 w 49"/>
                <a:gd name="T5" fmla="*/ 2147483647 h 112"/>
                <a:gd name="T6" fmla="*/ 2147483647 w 49"/>
                <a:gd name="T7" fmla="*/ 0 h 112"/>
                <a:gd name="T8" fmla="*/ 2147483647 w 49"/>
                <a:gd name="T9" fmla="*/ 2147483647 h 112"/>
                <a:gd name="T10" fmla="*/ 2147483647 w 49"/>
                <a:gd name="T11" fmla="*/ 2147483647 h 112"/>
                <a:gd name="T12" fmla="*/ 2147483647 w 49"/>
                <a:gd name="T13" fmla="*/ 2147483647 h 112"/>
                <a:gd name="T14" fmla="*/ 2147483647 w 49"/>
                <a:gd name="T15" fmla="*/ 2147483647 h 112"/>
                <a:gd name="T16" fmla="*/ 0 w 49"/>
                <a:gd name="T17" fmla="*/ 2147483647 h 1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112">
                  <a:moveTo>
                    <a:pt x="0" y="21"/>
                  </a:moveTo>
                  <a:lnTo>
                    <a:pt x="0" y="0"/>
                  </a:lnTo>
                  <a:lnTo>
                    <a:pt x="24" y="12"/>
                  </a:lnTo>
                  <a:lnTo>
                    <a:pt x="49" y="0"/>
                  </a:lnTo>
                  <a:lnTo>
                    <a:pt x="49" y="21"/>
                  </a:lnTo>
                  <a:lnTo>
                    <a:pt x="49" y="56"/>
                  </a:lnTo>
                  <a:lnTo>
                    <a:pt x="31" y="112"/>
                  </a:lnTo>
                  <a:lnTo>
                    <a:pt x="19" y="10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546" name="Group 40"/>
            <p:cNvGrpSpPr>
              <a:grpSpLocks/>
            </p:cNvGrpSpPr>
            <p:nvPr>
              <p:custDataLst>
                <p:tags r:id="rId41"/>
              </p:custDataLst>
            </p:nvPr>
          </p:nvGrpSpPr>
          <p:grpSpPr bwMode="auto">
            <a:xfrm>
              <a:off x="10185235" y="5887608"/>
              <a:ext cx="90220" cy="87312"/>
              <a:chOff x="5197" y="3339"/>
              <a:chExt cx="49" cy="5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37" name="Freeform 41"/>
              <p:cNvSpPr>
                <a:spLocks/>
              </p:cNvSpPr>
              <p:nvPr/>
            </p:nvSpPr>
            <p:spPr bwMode="auto">
              <a:xfrm>
                <a:off x="5197" y="3339"/>
                <a:ext cx="49" cy="55"/>
              </a:xfrm>
              <a:custGeom>
                <a:avLst/>
                <a:gdLst>
                  <a:gd name="T0" fmla="*/ 0 w 49"/>
                  <a:gd name="T1" fmla="*/ 0 h 112"/>
                  <a:gd name="T2" fmla="*/ 0 w 49"/>
                  <a:gd name="T3" fmla="*/ 0 h 112"/>
                  <a:gd name="T4" fmla="*/ 24 w 49"/>
                  <a:gd name="T5" fmla="*/ 0 h 112"/>
                  <a:gd name="T6" fmla="*/ 49 w 49"/>
                  <a:gd name="T7" fmla="*/ 0 h 112"/>
                  <a:gd name="T8" fmla="*/ 49 w 49"/>
                  <a:gd name="T9" fmla="*/ 0 h 112"/>
                  <a:gd name="T10" fmla="*/ 49 w 49"/>
                  <a:gd name="T11" fmla="*/ 0 h 112"/>
                  <a:gd name="T12" fmla="*/ 31 w 49"/>
                  <a:gd name="T13" fmla="*/ 0 h 112"/>
                  <a:gd name="T14" fmla="*/ 19 w 49"/>
                  <a:gd name="T15" fmla="*/ 0 h 112"/>
                  <a:gd name="T16" fmla="*/ 0 w 49"/>
                  <a:gd name="T17" fmla="*/ 0 h 1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112">
                    <a:moveTo>
                      <a:pt x="0" y="21"/>
                    </a:moveTo>
                    <a:lnTo>
                      <a:pt x="0" y="0"/>
                    </a:lnTo>
                    <a:lnTo>
                      <a:pt x="24" y="12"/>
                    </a:lnTo>
                    <a:lnTo>
                      <a:pt x="49" y="0"/>
                    </a:lnTo>
                    <a:lnTo>
                      <a:pt x="49" y="21"/>
                    </a:lnTo>
                    <a:lnTo>
                      <a:pt x="49" y="56"/>
                    </a:lnTo>
                    <a:lnTo>
                      <a:pt x="31" y="112"/>
                    </a:lnTo>
                    <a:lnTo>
                      <a:pt x="19" y="10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38" name="Freeform 42"/>
              <p:cNvSpPr>
                <a:spLocks/>
              </p:cNvSpPr>
              <p:nvPr/>
            </p:nvSpPr>
            <p:spPr bwMode="auto">
              <a:xfrm>
                <a:off x="5197" y="3339"/>
                <a:ext cx="49" cy="55"/>
              </a:xfrm>
              <a:custGeom>
                <a:avLst/>
                <a:gdLst>
                  <a:gd name="T0" fmla="*/ 0 w 49"/>
                  <a:gd name="T1" fmla="*/ 0 h 112"/>
                  <a:gd name="T2" fmla="*/ 0 w 49"/>
                  <a:gd name="T3" fmla="*/ 0 h 112"/>
                  <a:gd name="T4" fmla="*/ 24 w 49"/>
                  <a:gd name="T5" fmla="*/ 0 h 112"/>
                  <a:gd name="T6" fmla="*/ 49 w 49"/>
                  <a:gd name="T7" fmla="*/ 0 h 112"/>
                  <a:gd name="T8" fmla="*/ 49 w 49"/>
                  <a:gd name="T9" fmla="*/ 0 h 112"/>
                  <a:gd name="T10" fmla="*/ 49 w 49"/>
                  <a:gd name="T11" fmla="*/ 0 h 112"/>
                  <a:gd name="T12" fmla="*/ 31 w 49"/>
                  <a:gd name="T13" fmla="*/ 0 h 112"/>
                  <a:gd name="T14" fmla="*/ 19 w 49"/>
                  <a:gd name="T15" fmla="*/ 0 h 112"/>
                  <a:gd name="T16" fmla="*/ 0 w 49"/>
                  <a:gd name="T17" fmla="*/ 0 h 1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112">
                    <a:moveTo>
                      <a:pt x="0" y="21"/>
                    </a:moveTo>
                    <a:lnTo>
                      <a:pt x="0" y="0"/>
                    </a:lnTo>
                    <a:lnTo>
                      <a:pt x="24" y="12"/>
                    </a:lnTo>
                    <a:lnTo>
                      <a:pt x="49" y="0"/>
                    </a:lnTo>
                    <a:lnTo>
                      <a:pt x="49" y="21"/>
                    </a:lnTo>
                    <a:lnTo>
                      <a:pt x="49" y="56"/>
                    </a:lnTo>
                    <a:lnTo>
                      <a:pt x="31" y="112"/>
                    </a:lnTo>
                    <a:lnTo>
                      <a:pt x="19" y="100"/>
                    </a:lnTo>
                    <a:lnTo>
                      <a:pt x="0" y="2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547" name="Freeform 43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10185235" y="5887608"/>
              <a:ext cx="90220" cy="87312"/>
            </a:xfrm>
            <a:custGeom>
              <a:avLst/>
              <a:gdLst>
                <a:gd name="T0" fmla="*/ 0 w 49"/>
                <a:gd name="T1" fmla="*/ 2147483647 h 112"/>
                <a:gd name="T2" fmla="*/ 0 w 49"/>
                <a:gd name="T3" fmla="*/ 0 h 112"/>
                <a:gd name="T4" fmla="*/ 2147483647 w 49"/>
                <a:gd name="T5" fmla="*/ 2147483647 h 112"/>
                <a:gd name="T6" fmla="*/ 2147483647 w 49"/>
                <a:gd name="T7" fmla="*/ 0 h 112"/>
                <a:gd name="T8" fmla="*/ 2147483647 w 49"/>
                <a:gd name="T9" fmla="*/ 2147483647 h 112"/>
                <a:gd name="T10" fmla="*/ 2147483647 w 49"/>
                <a:gd name="T11" fmla="*/ 2147483647 h 112"/>
                <a:gd name="T12" fmla="*/ 2147483647 w 49"/>
                <a:gd name="T13" fmla="*/ 2147483647 h 112"/>
                <a:gd name="T14" fmla="*/ 2147483647 w 49"/>
                <a:gd name="T15" fmla="*/ 2147483647 h 112"/>
                <a:gd name="T16" fmla="*/ 0 w 49"/>
                <a:gd name="T17" fmla="*/ 2147483647 h 11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9" h="112">
                  <a:moveTo>
                    <a:pt x="0" y="21"/>
                  </a:moveTo>
                  <a:lnTo>
                    <a:pt x="0" y="0"/>
                  </a:lnTo>
                  <a:lnTo>
                    <a:pt x="24" y="12"/>
                  </a:lnTo>
                  <a:lnTo>
                    <a:pt x="49" y="0"/>
                  </a:lnTo>
                  <a:lnTo>
                    <a:pt x="49" y="21"/>
                  </a:lnTo>
                  <a:lnTo>
                    <a:pt x="49" y="56"/>
                  </a:lnTo>
                  <a:lnTo>
                    <a:pt x="31" y="112"/>
                  </a:lnTo>
                  <a:lnTo>
                    <a:pt x="19" y="10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572" name="Group 44"/>
            <p:cNvGrpSpPr>
              <a:grpSpLocks/>
            </p:cNvGrpSpPr>
            <p:nvPr>
              <p:custDataLst>
                <p:tags r:id="rId43"/>
              </p:custDataLst>
            </p:nvPr>
          </p:nvGrpSpPr>
          <p:grpSpPr bwMode="auto">
            <a:xfrm>
              <a:off x="10185235" y="5887608"/>
              <a:ext cx="90220" cy="87312"/>
              <a:chOff x="5197" y="3339"/>
              <a:chExt cx="49" cy="5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35" name="Freeform 45"/>
              <p:cNvSpPr>
                <a:spLocks/>
              </p:cNvSpPr>
              <p:nvPr/>
            </p:nvSpPr>
            <p:spPr bwMode="auto">
              <a:xfrm>
                <a:off x="5197" y="3339"/>
                <a:ext cx="49" cy="55"/>
              </a:xfrm>
              <a:custGeom>
                <a:avLst/>
                <a:gdLst>
                  <a:gd name="T0" fmla="*/ 0 w 49"/>
                  <a:gd name="T1" fmla="*/ 0 h 112"/>
                  <a:gd name="T2" fmla="*/ 0 w 49"/>
                  <a:gd name="T3" fmla="*/ 0 h 112"/>
                  <a:gd name="T4" fmla="*/ 24 w 49"/>
                  <a:gd name="T5" fmla="*/ 0 h 112"/>
                  <a:gd name="T6" fmla="*/ 49 w 49"/>
                  <a:gd name="T7" fmla="*/ 0 h 112"/>
                  <a:gd name="T8" fmla="*/ 49 w 49"/>
                  <a:gd name="T9" fmla="*/ 0 h 112"/>
                  <a:gd name="T10" fmla="*/ 49 w 49"/>
                  <a:gd name="T11" fmla="*/ 0 h 112"/>
                  <a:gd name="T12" fmla="*/ 31 w 49"/>
                  <a:gd name="T13" fmla="*/ 0 h 112"/>
                  <a:gd name="T14" fmla="*/ 19 w 49"/>
                  <a:gd name="T15" fmla="*/ 0 h 112"/>
                  <a:gd name="T16" fmla="*/ 0 w 49"/>
                  <a:gd name="T17" fmla="*/ 0 h 1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112">
                    <a:moveTo>
                      <a:pt x="0" y="21"/>
                    </a:moveTo>
                    <a:lnTo>
                      <a:pt x="0" y="0"/>
                    </a:lnTo>
                    <a:lnTo>
                      <a:pt x="24" y="12"/>
                    </a:lnTo>
                    <a:lnTo>
                      <a:pt x="49" y="0"/>
                    </a:lnTo>
                    <a:lnTo>
                      <a:pt x="49" y="21"/>
                    </a:lnTo>
                    <a:lnTo>
                      <a:pt x="49" y="56"/>
                    </a:lnTo>
                    <a:lnTo>
                      <a:pt x="31" y="112"/>
                    </a:lnTo>
                    <a:lnTo>
                      <a:pt x="19" y="10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36" name="Freeform 46"/>
              <p:cNvSpPr>
                <a:spLocks/>
              </p:cNvSpPr>
              <p:nvPr/>
            </p:nvSpPr>
            <p:spPr bwMode="auto">
              <a:xfrm>
                <a:off x="5197" y="3339"/>
                <a:ext cx="49" cy="55"/>
              </a:xfrm>
              <a:custGeom>
                <a:avLst/>
                <a:gdLst>
                  <a:gd name="T0" fmla="*/ 0 w 49"/>
                  <a:gd name="T1" fmla="*/ 0 h 112"/>
                  <a:gd name="T2" fmla="*/ 0 w 49"/>
                  <a:gd name="T3" fmla="*/ 0 h 112"/>
                  <a:gd name="T4" fmla="*/ 24 w 49"/>
                  <a:gd name="T5" fmla="*/ 0 h 112"/>
                  <a:gd name="T6" fmla="*/ 49 w 49"/>
                  <a:gd name="T7" fmla="*/ 0 h 112"/>
                  <a:gd name="T8" fmla="*/ 49 w 49"/>
                  <a:gd name="T9" fmla="*/ 0 h 112"/>
                  <a:gd name="T10" fmla="*/ 49 w 49"/>
                  <a:gd name="T11" fmla="*/ 0 h 112"/>
                  <a:gd name="T12" fmla="*/ 31 w 49"/>
                  <a:gd name="T13" fmla="*/ 0 h 112"/>
                  <a:gd name="T14" fmla="*/ 19 w 49"/>
                  <a:gd name="T15" fmla="*/ 0 h 112"/>
                  <a:gd name="T16" fmla="*/ 0 w 49"/>
                  <a:gd name="T17" fmla="*/ 0 h 1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9" h="112">
                    <a:moveTo>
                      <a:pt x="0" y="21"/>
                    </a:moveTo>
                    <a:lnTo>
                      <a:pt x="0" y="0"/>
                    </a:lnTo>
                    <a:lnTo>
                      <a:pt x="24" y="12"/>
                    </a:lnTo>
                    <a:lnTo>
                      <a:pt x="49" y="0"/>
                    </a:lnTo>
                    <a:lnTo>
                      <a:pt x="49" y="21"/>
                    </a:lnTo>
                    <a:lnTo>
                      <a:pt x="49" y="56"/>
                    </a:lnTo>
                    <a:lnTo>
                      <a:pt x="31" y="112"/>
                    </a:lnTo>
                    <a:lnTo>
                      <a:pt x="19" y="100"/>
                    </a:lnTo>
                    <a:lnTo>
                      <a:pt x="0" y="21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586" name="Freeform 47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6283717" y="3455587"/>
              <a:ext cx="220539" cy="71437"/>
            </a:xfrm>
            <a:custGeom>
              <a:avLst/>
              <a:gdLst>
                <a:gd name="T0" fmla="*/ 0 w 119"/>
                <a:gd name="T1" fmla="*/ 2147483647 h 90"/>
                <a:gd name="T2" fmla="*/ 2147483647 w 119"/>
                <a:gd name="T3" fmla="*/ 2147483647 h 90"/>
                <a:gd name="T4" fmla="*/ 2147483647 w 119"/>
                <a:gd name="T5" fmla="*/ 2147483647 h 90"/>
                <a:gd name="T6" fmla="*/ 2147483647 w 119"/>
                <a:gd name="T7" fmla="*/ 2147483647 h 90"/>
                <a:gd name="T8" fmla="*/ 2147483647 w 119"/>
                <a:gd name="T9" fmla="*/ 2147483647 h 90"/>
                <a:gd name="T10" fmla="*/ 2147483647 w 119"/>
                <a:gd name="T11" fmla="*/ 2147483647 h 90"/>
                <a:gd name="T12" fmla="*/ 2147483647 w 119"/>
                <a:gd name="T13" fmla="*/ 2147483647 h 90"/>
                <a:gd name="T14" fmla="*/ 2147483647 w 119"/>
                <a:gd name="T15" fmla="*/ 2147483647 h 90"/>
                <a:gd name="T16" fmla="*/ 2147483647 w 119"/>
                <a:gd name="T17" fmla="*/ 0 h 90"/>
                <a:gd name="T18" fmla="*/ 2147483647 w 119"/>
                <a:gd name="T19" fmla="*/ 0 h 90"/>
                <a:gd name="T20" fmla="*/ 2147483647 w 119"/>
                <a:gd name="T21" fmla="*/ 2147483647 h 90"/>
                <a:gd name="T22" fmla="*/ 0 w 119"/>
                <a:gd name="T23" fmla="*/ 2147483647 h 9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19" h="90">
                  <a:moveTo>
                    <a:pt x="0" y="56"/>
                  </a:moveTo>
                  <a:lnTo>
                    <a:pt x="5" y="56"/>
                  </a:lnTo>
                  <a:lnTo>
                    <a:pt x="5" y="79"/>
                  </a:lnTo>
                  <a:lnTo>
                    <a:pt x="18" y="79"/>
                  </a:lnTo>
                  <a:lnTo>
                    <a:pt x="37" y="67"/>
                  </a:lnTo>
                  <a:lnTo>
                    <a:pt x="69" y="90"/>
                  </a:lnTo>
                  <a:lnTo>
                    <a:pt x="106" y="79"/>
                  </a:lnTo>
                  <a:lnTo>
                    <a:pt x="119" y="23"/>
                  </a:lnTo>
                  <a:lnTo>
                    <a:pt x="111" y="0"/>
                  </a:lnTo>
                  <a:lnTo>
                    <a:pt x="69" y="0"/>
                  </a:lnTo>
                  <a:lnTo>
                    <a:pt x="50" y="5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644" name="Group 48"/>
            <p:cNvGrpSpPr>
              <a:grpSpLocks/>
            </p:cNvGrpSpPr>
            <p:nvPr>
              <p:custDataLst>
                <p:tags r:id="rId45"/>
              </p:custDataLst>
            </p:nvPr>
          </p:nvGrpSpPr>
          <p:grpSpPr bwMode="auto">
            <a:xfrm>
              <a:off x="6283717" y="3455587"/>
              <a:ext cx="220539" cy="71437"/>
              <a:chOff x="3089" y="1807"/>
              <a:chExt cx="119" cy="4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33" name="Freeform 49"/>
              <p:cNvSpPr>
                <a:spLocks/>
              </p:cNvSpPr>
              <p:nvPr/>
            </p:nvSpPr>
            <p:spPr bwMode="auto">
              <a:xfrm>
                <a:off x="3089" y="1807"/>
                <a:ext cx="119" cy="45"/>
              </a:xfrm>
              <a:custGeom>
                <a:avLst/>
                <a:gdLst>
                  <a:gd name="T0" fmla="*/ 0 w 119"/>
                  <a:gd name="T1" fmla="*/ 1 h 90"/>
                  <a:gd name="T2" fmla="*/ 5 w 119"/>
                  <a:gd name="T3" fmla="*/ 1 h 90"/>
                  <a:gd name="T4" fmla="*/ 5 w 119"/>
                  <a:gd name="T5" fmla="*/ 1 h 90"/>
                  <a:gd name="T6" fmla="*/ 18 w 119"/>
                  <a:gd name="T7" fmla="*/ 1 h 90"/>
                  <a:gd name="T8" fmla="*/ 37 w 119"/>
                  <a:gd name="T9" fmla="*/ 1 h 90"/>
                  <a:gd name="T10" fmla="*/ 69 w 119"/>
                  <a:gd name="T11" fmla="*/ 1 h 90"/>
                  <a:gd name="T12" fmla="*/ 106 w 119"/>
                  <a:gd name="T13" fmla="*/ 1 h 90"/>
                  <a:gd name="T14" fmla="*/ 119 w 119"/>
                  <a:gd name="T15" fmla="*/ 1 h 90"/>
                  <a:gd name="T16" fmla="*/ 111 w 119"/>
                  <a:gd name="T17" fmla="*/ 0 h 90"/>
                  <a:gd name="T18" fmla="*/ 69 w 119"/>
                  <a:gd name="T19" fmla="*/ 0 h 90"/>
                  <a:gd name="T20" fmla="*/ 50 w 119"/>
                  <a:gd name="T21" fmla="*/ 1 h 90"/>
                  <a:gd name="T22" fmla="*/ 0 w 119"/>
                  <a:gd name="T23" fmla="*/ 1 h 9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19" h="90">
                    <a:moveTo>
                      <a:pt x="0" y="56"/>
                    </a:moveTo>
                    <a:lnTo>
                      <a:pt x="5" y="56"/>
                    </a:lnTo>
                    <a:lnTo>
                      <a:pt x="5" y="79"/>
                    </a:lnTo>
                    <a:lnTo>
                      <a:pt x="18" y="79"/>
                    </a:lnTo>
                    <a:lnTo>
                      <a:pt x="37" y="67"/>
                    </a:lnTo>
                    <a:lnTo>
                      <a:pt x="69" y="90"/>
                    </a:lnTo>
                    <a:lnTo>
                      <a:pt x="106" y="79"/>
                    </a:lnTo>
                    <a:lnTo>
                      <a:pt x="119" y="23"/>
                    </a:lnTo>
                    <a:lnTo>
                      <a:pt x="111" y="0"/>
                    </a:lnTo>
                    <a:lnTo>
                      <a:pt x="69" y="0"/>
                    </a:lnTo>
                    <a:lnTo>
                      <a:pt x="50" y="56"/>
                    </a:lnTo>
                    <a:lnTo>
                      <a:pt x="0" y="5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34" name="Freeform 50"/>
              <p:cNvSpPr>
                <a:spLocks/>
              </p:cNvSpPr>
              <p:nvPr/>
            </p:nvSpPr>
            <p:spPr bwMode="auto">
              <a:xfrm>
                <a:off x="3089" y="1807"/>
                <a:ext cx="119" cy="45"/>
              </a:xfrm>
              <a:custGeom>
                <a:avLst/>
                <a:gdLst>
                  <a:gd name="T0" fmla="*/ 0 w 119"/>
                  <a:gd name="T1" fmla="*/ 1 h 90"/>
                  <a:gd name="T2" fmla="*/ 5 w 119"/>
                  <a:gd name="T3" fmla="*/ 1 h 90"/>
                  <a:gd name="T4" fmla="*/ 5 w 119"/>
                  <a:gd name="T5" fmla="*/ 1 h 90"/>
                  <a:gd name="T6" fmla="*/ 18 w 119"/>
                  <a:gd name="T7" fmla="*/ 1 h 90"/>
                  <a:gd name="T8" fmla="*/ 37 w 119"/>
                  <a:gd name="T9" fmla="*/ 1 h 90"/>
                  <a:gd name="T10" fmla="*/ 69 w 119"/>
                  <a:gd name="T11" fmla="*/ 1 h 90"/>
                  <a:gd name="T12" fmla="*/ 106 w 119"/>
                  <a:gd name="T13" fmla="*/ 1 h 90"/>
                  <a:gd name="T14" fmla="*/ 119 w 119"/>
                  <a:gd name="T15" fmla="*/ 1 h 90"/>
                  <a:gd name="T16" fmla="*/ 111 w 119"/>
                  <a:gd name="T17" fmla="*/ 0 h 90"/>
                  <a:gd name="T18" fmla="*/ 69 w 119"/>
                  <a:gd name="T19" fmla="*/ 0 h 90"/>
                  <a:gd name="T20" fmla="*/ 50 w 119"/>
                  <a:gd name="T21" fmla="*/ 1 h 90"/>
                  <a:gd name="T22" fmla="*/ 0 w 119"/>
                  <a:gd name="T23" fmla="*/ 1 h 9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19" h="90">
                    <a:moveTo>
                      <a:pt x="0" y="56"/>
                    </a:moveTo>
                    <a:lnTo>
                      <a:pt x="5" y="56"/>
                    </a:lnTo>
                    <a:lnTo>
                      <a:pt x="5" y="79"/>
                    </a:lnTo>
                    <a:lnTo>
                      <a:pt x="18" y="79"/>
                    </a:lnTo>
                    <a:lnTo>
                      <a:pt x="37" y="67"/>
                    </a:lnTo>
                    <a:lnTo>
                      <a:pt x="69" y="90"/>
                    </a:lnTo>
                    <a:lnTo>
                      <a:pt x="106" y="79"/>
                    </a:lnTo>
                    <a:lnTo>
                      <a:pt x="119" y="23"/>
                    </a:lnTo>
                    <a:lnTo>
                      <a:pt x="111" y="0"/>
                    </a:lnTo>
                    <a:lnTo>
                      <a:pt x="69" y="0"/>
                    </a:lnTo>
                    <a:lnTo>
                      <a:pt x="50" y="56"/>
                    </a:lnTo>
                    <a:lnTo>
                      <a:pt x="0" y="5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710" name="Freeform 51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6283717" y="3455587"/>
              <a:ext cx="220539" cy="71437"/>
            </a:xfrm>
            <a:custGeom>
              <a:avLst/>
              <a:gdLst>
                <a:gd name="T0" fmla="*/ 0 w 119"/>
                <a:gd name="T1" fmla="*/ 2147483647 h 90"/>
                <a:gd name="T2" fmla="*/ 2147483647 w 119"/>
                <a:gd name="T3" fmla="*/ 2147483647 h 90"/>
                <a:gd name="T4" fmla="*/ 2147483647 w 119"/>
                <a:gd name="T5" fmla="*/ 2147483647 h 90"/>
                <a:gd name="T6" fmla="*/ 2147483647 w 119"/>
                <a:gd name="T7" fmla="*/ 2147483647 h 90"/>
                <a:gd name="T8" fmla="*/ 2147483647 w 119"/>
                <a:gd name="T9" fmla="*/ 2147483647 h 90"/>
                <a:gd name="T10" fmla="*/ 2147483647 w 119"/>
                <a:gd name="T11" fmla="*/ 2147483647 h 90"/>
                <a:gd name="T12" fmla="*/ 2147483647 w 119"/>
                <a:gd name="T13" fmla="*/ 2147483647 h 90"/>
                <a:gd name="T14" fmla="*/ 2147483647 w 119"/>
                <a:gd name="T15" fmla="*/ 2147483647 h 90"/>
                <a:gd name="T16" fmla="*/ 2147483647 w 119"/>
                <a:gd name="T17" fmla="*/ 0 h 90"/>
                <a:gd name="T18" fmla="*/ 2147483647 w 119"/>
                <a:gd name="T19" fmla="*/ 0 h 90"/>
                <a:gd name="T20" fmla="*/ 2147483647 w 119"/>
                <a:gd name="T21" fmla="*/ 2147483647 h 90"/>
                <a:gd name="T22" fmla="*/ 0 w 119"/>
                <a:gd name="T23" fmla="*/ 2147483647 h 9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19" h="90">
                  <a:moveTo>
                    <a:pt x="0" y="56"/>
                  </a:moveTo>
                  <a:lnTo>
                    <a:pt x="5" y="56"/>
                  </a:lnTo>
                  <a:lnTo>
                    <a:pt x="5" y="79"/>
                  </a:lnTo>
                  <a:lnTo>
                    <a:pt x="18" y="79"/>
                  </a:lnTo>
                  <a:lnTo>
                    <a:pt x="37" y="67"/>
                  </a:lnTo>
                  <a:lnTo>
                    <a:pt x="69" y="90"/>
                  </a:lnTo>
                  <a:lnTo>
                    <a:pt x="106" y="79"/>
                  </a:lnTo>
                  <a:lnTo>
                    <a:pt x="119" y="23"/>
                  </a:lnTo>
                  <a:lnTo>
                    <a:pt x="111" y="0"/>
                  </a:lnTo>
                  <a:lnTo>
                    <a:pt x="69" y="0"/>
                  </a:lnTo>
                  <a:lnTo>
                    <a:pt x="50" y="5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715" name="Group 52"/>
            <p:cNvGrpSpPr>
              <a:grpSpLocks/>
            </p:cNvGrpSpPr>
            <p:nvPr>
              <p:custDataLst>
                <p:tags r:id="rId47"/>
              </p:custDataLst>
            </p:nvPr>
          </p:nvGrpSpPr>
          <p:grpSpPr bwMode="auto">
            <a:xfrm>
              <a:off x="6283717" y="3455587"/>
              <a:ext cx="220539" cy="71437"/>
              <a:chOff x="3089" y="1807"/>
              <a:chExt cx="119" cy="4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31" name="Freeform 53"/>
              <p:cNvSpPr>
                <a:spLocks/>
              </p:cNvSpPr>
              <p:nvPr/>
            </p:nvSpPr>
            <p:spPr bwMode="auto">
              <a:xfrm>
                <a:off x="3089" y="1807"/>
                <a:ext cx="119" cy="45"/>
              </a:xfrm>
              <a:custGeom>
                <a:avLst/>
                <a:gdLst>
                  <a:gd name="T0" fmla="*/ 0 w 119"/>
                  <a:gd name="T1" fmla="*/ 1 h 90"/>
                  <a:gd name="T2" fmla="*/ 5 w 119"/>
                  <a:gd name="T3" fmla="*/ 1 h 90"/>
                  <a:gd name="T4" fmla="*/ 5 w 119"/>
                  <a:gd name="T5" fmla="*/ 1 h 90"/>
                  <a:gd name="T6" fmla="*/ 18 w 119"/>
                  <a:gd name="T7" fmla="*/ 1 h 90"/>
                  <a:gd name="T8" fmla="*/ 37 w 119"/>
                  <a:gd name="T9" fmla="*/ 1 h 90"/>
                  <a:gd name="T10" fmla="*/ 69 w 119"/>
                  <a:gd name="T11" fmla="*/ 1 h 90"/>
                  <a:gd name="T12" fmla="*/ 106 w 119"/>
                  <a:gd name="T13" fmla="*/ 1 h 90"/>
                  <a:gd name="T14" fmla="*/ 119 w 119"/>
                  <a:gd name="T15" fmla="*/ 1 h 90"/>
                  <a:gd name="T16" fmla="*/ 111 w 119"/>
                  <a:gd name="T17" fmla="*/ 0 h 90"/>
                  <a:gd name="T18" fmla="*/ 69 w 119"/>
                  <a:gd name="T19" fmla="*/ 0 h 90"/>
                  <a:gd name="T20" fmla="*/ 50 w 119"/>
                  <a:gd name="T21" fmla="*/ 1 h 90"/>
                  <a:gd name="T22" fmla="*/ 0 w 119"/>
                  <a:gd name="T23" fmla="*/ 1 h 9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19" h="90">
                    <a:moveTo>
                      <a:pt x="0" y="56"/>
                    </a:moveTo>
                    <a:lnTo>
                      <a:pt x="5" y="56"/>
                    </a:lnTo>
                    <a:lnTo>
                      <a:pt x="5" y="79"/>
                    </a:lnTo>
                    <a:lnTo>
                      <a:pt x="18" y="79"/>
                    </a:lnTo>
                    <a:lnTo>
                      <a:pt x="37" y="67"/>
                    </a:lnTo>
                    <a:lnTo>
                      <a:pt x="69" y="90"/>
                    </a:lnTo>
                    <a:lnTo>
                      <a:pt x="106" y="79"/>
                    </a:lnTo>
                    <a:lnTo>
                      <a:pt x="119" y="23"/>
                    </a:lnTo>
                    <a:lnTo>
                      <a:pt x="111" y="0"/>
                    </a:lnTo>
                    <a:lnTo>
                      <a:pt x="69" y="0"/>
                    </a:lnTo>
                    <a:lnTo>
                      <a:pt x="50" y="56"/>
                    </a:lnTo>
                    <a:lnTo>
                      <a:pt x="0" y="5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32" name="Freeform 54"/>
              <p:cNvSpPr>
                <a:spLocks/>
              </p:cNvSpPr>
              <p:nvPr/>
            </p:nvSpPr>
            <p:spPr bwMode="auto">
              <a:xfrm>
                <a:off x="3089" y="1807"/>
                <a:ext cx="119" cy="45"/>
              </a:xfrm>
              <a:custGeom>
                <a:avLst/>
                <a:gdLst>
                  <a:gd name="T0" fmla="*/ 0 w 119"/>
                  <a:gd name="T1" fmla="*/ 1 h 90"/>
                  <a:gd name="T2" fmla="*/ 5 w 119"/>
                  <a:gd name="T3" fmla="*/ 1 h 90"/>
                  <a:gd name="T4" fmla="*/ 5 w 119"/>
                  <a:gd name="T5" fmla="*/ 1 h 90"/>
                  <a:gd name="T6" fmla="*/ 18 w 119"/>
                  <a:gd name="T7" fmla="*/ 1 h 90"/>
                  <a:gd name="T8" fmla="*/ 37 w 119"/>
                  <a:gd name="T9" fmla="*/ 1 h 90"/>
                  <a:gd name="T10" fmla="*/ 69 w 119"/>
                  <a:gd name="T11" fmla="*/ 1 h 90"/>
                  <a:gd name="T12" fmla="*/ 106 w 119"/>
                  <a:gd name="T13" fmla="*/ 1 h 90"/>
                  <a:gd name="T14" fmla="*/ 119 w 119"/>
                  <a:gd name="T15" fmla="*/ 1 h 90"/>
                  <a:gd name="T16" fmla="*/ 111 w 119"/>
                  <a:gd name="T17" fmla="*/ 0 h 90"/>
                  <a:gd name="T18" fmla="*/ 69 w 119"/>
                  <a:gd name="T19" fmla="*/ 0 h 90"/>
                  <a:gd name="T20" fmla="*/ 50 w 119"/>
                  <a:gd name="T21" fmla="*/ 1 h 90"/>
                  <a:gd name="T22" fmla="*/ 0 w 119"/>
                  <a:gd name="T23" fmla="*/ 1 h 9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19" h="90">
                    <a:moveTo>
                      <a:pt x="0" y="56"/>
                    </a:moveTo>
                    <a:lnTo>
                      <a:pt x="5" y="56"/>
                    </a:lnTo>
                    <a:lnTo>
                      <a:pt x="5" y="79"/>
                    </a:lnTo>
                    <a:lnTo>
                      <a:pt x="18" y="79"/>
                    </a:lnTo>
                    <a:lnTo>
                      <a:pt x="37" y="67"/>
                    </a:lnTo>
                    <a:lnTo>
                      <a:pt x="69" y="90"/>
                    </a:lnTo>
                    <a:lnTo>
                      <a:pt x="106" y="79"/>
                    </a:lnTo>
                    <a:lnTo>
                      <a:pt x="119" y="23"/>
                    </a:lnTo>
                    <a:lnTo>
                      <a:pt x="111" y="0"/>
                    </a:lnTo>
                    <a:lnTo>
                      <a:pt x="69" y="0"/>
                    </a:lnTo>
                    <a:lnTo>
                      <a:pt x="50" y="56"/>
                    </a:lnTo>
                    <a:lnTo>
                      <a:pt x="0" y="5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716" name="Freeform 55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8543211" y="4109619"/>
              <a:ext cx="136333" cy="149225"/>
            </a:xfrm>
            <a:custGeom>
              <a:avLst/>
              <a:gdLst>
                <a:gd name="T0" fmla="*/ 0 w 74"/>
                <a:gd name="T1" fmla="*/ 2147483647 h 188"/>
                <a:gd name="T2" fmla="*/ 2147483647 w 74"/>
                <a:gd name="T3" fmla="*/ 2147483647 h 188"/>
                <a:gd name="T4" fmla="*/ 2147483647 w 74"/>
                <a:gd name="T5" fmla="*/ 2147483647 h 188"/>
                <a:gd name="T6" fmla="*/ 2147483647 w 74"/>
                <a:gd name="T7" fmla="*/ 2147483647 h 188"/>
                <a:gd name="T8" fmla="*/ 2147483647 w 74"/>
                <a:gd name="T9" fmla="*/ 2147483647 h 188"/>
                <a:gd name="T10" fmla="*/ 2147483647 w 74"/>
                <a:gd name="T11" fmla="*/ 2147483647 h 188"/>
                <a:gd name="T12" fmla="*/ 2147483647 w 74"/>
                <a:gd name="T13" fmla="*/ 2147483647 h 188"/>
                <a:gd name="T14" fmla="*/ 2147483647 w 74"/>
                <a:gd name="T15" fmla="*/ 2147483647 h 188"/>
                <a:gd name="T16" fmla="*/ 2147483647 w 74"/>
                <a:gd name="T17" fmla="*/ 2147483647 h 188"/>
                <a:gd name="T18" fmla="*/ 2147483647 w 74"/>
                <a:gd name="T19" fmla="*/ 2147483647 h 188"/>
                <a:gd name="T20" fmla="*/ 2147483647 w 74"/>
                <a:gd name="T21" fmla="*/ 2147483647 h 188"/>
                <a:gd name="T22" fmla="*/ 2147483647 w 74"/>
                <a:gd name="T23" fmla="*/ 2147483647 h 188"/>
                <a:gd name="T24" fmla="*/ 2147483647 w 74"/>
                <a:gd name="T25" fmla="*/ 2147483647 h 188"/>
                <a:gd name="T26" fmla="*/ 2147483647 w 74"/>
                <a:gd name="T27" fmla="*/ 0 h 188"/>
                <a:gd name="T28" fmla="*/ 2147483647 w 74"/>
                <a:gd name="T29" fmla="*/ 2147483647 h 188"/>
                <a:gd name="T30" fmla="*/ 2147483647 w 74"/>
                <a:gd name="T31" fmla="*/ 2147483647 h 188"/>
                <a:gd name="T32" fmla="*/ 0 w 74"/>
                <a:gd name="T33" fmla="*/ 2147483647 h 1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4" h="188">
                  <a:moveTo>
                    <a:pt x="0" y="55"/>
                  </a:moveTo>
                  <a:lnTo>
                    <a:pt x="13" y="78"/>
                  </a:lnTo>
                  <a:lnTo>
                    <a:pt x="18" y="167"/>
                  </a:lnTo>
                  <a:lnTo>
                    <a:pt x="37" y="155"/>
                  </a:lnTo>
                  <a:lnTo>
                    <a:pt x="49" y="123"/>
                  </a:lnTo>
                  <a:lnTo>
                    <a:pt x="62" y="134"/>
                  </a:lnTo>
                  <a:lnTo>
                    <a:pt x="68" y="188"/>
                  </a:lnTo>
                  <a:lnTo>
                    <a:pt x="74" y="155"/>
                  </a:lnTo>
                  <a:lnTo>
                    <a:pt x="68" y="90"/>
                  </a:lnTo>
                  <a:lnTo>
                    <a:pt x="62" y="123"/>
                  </a:lnTo>
                  <a:lnTo>
                    <a:pt x="49" y="90"/>
                  </a:lnTo>
                  <a:lnTo>
                    <a:pt x="68" y="46"/>
                  </a:lnTo>
                  <a:lnTo>
                    <a:pt x="30" y="46"/>
                  </a:lnTo>
                  <a:lnTo>
                    <a:pt x="13" y="0"/>
                  </a:lnTo>
                  <a:lnTo>
                    <a:pt x="6" y="23"/>
                  </a:lnTo>
                  <a:lnTo>
                    <a:pt x="13" y="46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717" name="Group 56"/>
            <p:cNvGrpSpPr>
              <a:grpSpLocks/>
            </p:cNvGrpSpPr>
            <p:nvPr>
              <p:custDataLst>
                <p:tags r:id="rId49"/>
              </p:custDataLst>
            </p:nvPr>
          </p:nvGrpSpPr>
          <p:grpSpPr bwMode="auto">
            <a:xfrm>
              <a:off x="8543211" y="4109619"/>
              <a:ext cx="136333" cy="149225"/>
              <a:chOff x="4309" y="2219"/>
              <a:chExt cx="74" cy="94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29" name="Freeform 57"/>
              <p:cNvSpPr>
                <a:spLocks/>
              </p:cNvSpPr>
              <p:nvPr/>
            </p:nvSpPr>
            <p:spPr bwMode="auto">
              <a:xfrm>
                <a:off x="4309" y="2219"/>
                <a:ext cx="74" cy="94"/>
              </a:xfrm>
              <a:custGeom>
                <a:avLst/>
                <a:gdLst>
                  <a:gd name="T0" fmla="*/ 0 w 74"/>
                  <a:gd name="T1" fmla="*/ 1 h 188"/>
                  <a:gd name="T2" fmla="*/ 13 w 74"/>
                  <a:gd name="T3" fmla="*/ 1 h 188"/>
                  <a:gd name="T4" fmla="*/ 18 w 74"/>
                  <a:gd name="T5" fmla="*/ 1 h 188"/>
                  <a:gd name="T6" fmla="*/ 37 w 74"/>
                  <a:gd name="T7" fmla="*/ 1 h 188"/>
                  <a:gd name="T8" fmla="*/ 49 w 74"/>
                  <a:gd name="T9" fmla="*/ 1 h 188"/>
                  <a:gd name="T10" fmla="*/ 62 w 74"/>
                  <a:gd name="T11" fmla="*/ 1 h 188"/>
                  <a:gd name="T12" fmla="*/ 68 w 74"/>
                  <a:gd name="T13" fmla="*/ 1 h 188"/>
                  <a:gd name="T14" fmla="*/ 74 w 74"/>
                  <a:gd name="T15" fmla="*/ 1 h 188"/>
                  <a:gd name="T16" fmla="*/ 68 w 74"/>
                  <a:gd name="T17" fmla="*/ 1 h 188"/>
                  <a:gd name="T18" fmla="*/ 62 w 74"/>
                  <a:gd name="T19" fmla="*/ 1 h 188"/>
                  <a:gd name="T20" fmla="*/ 49 w 74"/>
                  <a:gd name="T21" fmla="*/ 1 h 188"/>
                  <a:gd name="T22" fmla="*/ 68 w 74"/>
                  <a:gd name="T23" fmla="*/ 1 h 188"/>
                  <a:gd name="T24" fmla="*/ 30 w 74"/>
                  <a:gd name="T25" fmla="*/ 1 h 188"/>
                  <a:gd name="T26" fmla="*/ 13 w 74"/>
                  <a:gd name="T27" fmla="*/ 0 h 188"/>
                  <a:gd name="T28" fmla="*/ 6 w 74"/>
                  <a:gd name="T29" fmla="*/ 1 h 188"/>
                  <a:gd name="T30" fmla="*/ 13 w 74"/>
                  <a:gd name="T31" fmla="*/ 1 h 188"/>
                  <a:gd name="T32" fmla="*/ 0 w 74"/>
                  <a:gd name="T33" fmla="*/ 1 h 1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4" h="188">
                    <a:moveTo>
                      <a:pt x="0" y="55"/>
                    </a:moveTo>
                    <a:lnTo>
                      <a:pt x="13" y="78"/>
                    </a:lnTo>
                    <a:lnTo>
                      <a:pt x="18" y="167"/>
                    </a:lnTo>
                    <a:lnTo>
                      <a:pt x="37" y="155"/>
                    </a:lnTo>
                    <a:lnTo>
                      <a:pt x="49" y="123"/>
                    </a:lnTo>
                    <a:lnTo>
                      <a:pt x="62" y="134"/>
                    </a:lnTo>
                    <a:lnTo>
                      <a:pt x="68" y="188"/>
                    </a:lnTo>
                    <a:lnTo>
                      <a:pt x="74" y="155"/>
                    </a:lnTo>
                    <a:lnTo>
                      <a:pt x="68" y="90"/>
                    </a:lnTo>
                    <a:lnTo>
                      <a:pt x="62" y="123"/>
                    </a:lnTo>
                    <a:lnTo>
                      <a:pt x="49" y="90"/>
                    </a:lnTo>
                    <a:lnTo>
                      <a:pt x="68" y="46"/>
                    </a:lnTo>
                    <a:lnTo>
                      <a:pt x="30" y="46"/>
                    </a:lnTo>
                    <a:lnTo>
                      <a:pt x="13" y="0"/>
                    </a:lnTo>
                    <a:lnTo>
                      <a:pt x="6" y="23"/>
                    </a:lnTo>
                    <a:lnTo>
                      <a:pt x="13" y="46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30" name="Freeform 58"/>
              <p:cNvSpPr>
                <a:spLocks/>
              </p:cNvSpPr>
              <p:nvPr/>
            </p:nvSpPr>
            <p:spPr bwMode="auto">
              <a:xfrm>
                <a:off x="4309" y="2219"/>
                <a:ext cx="74" cy="94"/>
              </a:xfrm>
              <a:custGeom>
                <a:avLst/>
                <a:gdLst>
                  <a:gd name="T0" fmla="*/ 0 w 74"/>
                  <a:gd name="T1" fmla="*/ 1 h 188"/>
                  <a:gd name="T2" fmla="*/ 13 w 74"/>
                  <a:gd name="T3" fmla="*/ 1 h 188"/>
                  <a:gd name="T4" fmla="*/ 18 w 74"/>
                  <a:gd name="T5" fmla="*/ 1 h 188"/>
                  <a:gd name="T6" fmla="*/ 37 w 74"/>
                  <a:gd name="T7" fmla="*/ 1 h 188"/>
                  <a:gd name="T8" fmla="*/ 49 w 74"/>
                  <a:gd name="T9" fmla="*/ 1 h 188"/>
                  <a:gd name="T10" fmla="*/ 62 w 74"/>
                  <a:gd name="T11" fmla="*/ 1 h 188"/>
                  <a:gd name="T12" fmla="*/ 68 w 74"/>
                  <a:gd name="T13" fmla="*/ 1 h 188"/>
                  <a:gd name="T14" fmla="*/ 74 w 74"/>
                  <a:gd name="T15" fmla="*/ 1 h 188"/>
                  <a:gd name="T16" fmla="*/ 68 w 74"/>
                  <a:gd name="T17" fmla="*/ 1 h 188"/>
                  <a:gd name="T18" fmla="*/ 62 w 74"/>
                  <a:gd name="T19" fmla="*/ 1 h 188"/>
                  <a:gd name="T20" fmla="*/ 49 w 74"/>
                  <a:gd name="T21" fmla="*/ 1 h 188"/>
                  <a:gd name="T22" fmla="*/ 68 w 74"/>
                  <a:gd name="T23" fmla="*/ 1 h 188"/>
                  <a:gd name="T24" fmla="*/ 30 w 74"/>
                  <a:gd name="T25" fmla="*/ 1 h 188"/>
                  <a:gd name="T26" fmla="*/ 13 w 74"/>
                  <a:gd name="T27" fmla="*/ 0 h 188"/>
                  <a:gd name="T28" fmla="*/ 6 w 74"/>
                  <a:gd name="T29" fmla="*/ 1 h 188"/>
                  <a:gd name="T30" fmla="*/ 13 w 74"/>
                  <a:gd name="T31" fmla="*/ 1 h 188"/>
                  <a:gd name="T32" fmla="*/ 0 w 74"/>
                  <a:gd name="T33" fmla="*/ 1 h 1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4" h="188">
                    <a:moveTo>
                      <a:pt x="0" y="55"/>
                    </a:moveTo>
                    <a:lnTo>
                      <a:pt x="13" y="78"/>
                    </a:lnTo>
                    <a:lnTo>
                      <a:pt x="18" y="167"/>
                    </a:lnTo>
                    <a:lnTo>
                      <a:pt x="37" y="155"/>
                    </a:lnTo>
                    <a:lnTo>
                      <a:pt x="49" y="123"/>
                    </a:lnTo>
                    <a:lnTo>
                      <a:pt x="62" y="134"/>
                    </a:lnTo>
                    <a:lnTo>
                      <a:pt x="68" y="188"/>
                    </a:lnTo>
                    <a:lnTo>
                      <a:pt x="74" y="155"/>
                    </a:lnTo>
                    <a:lnTo>
                      <a:pt x="68" y="90"/>
                    </a:lnTo>
                    <a:lnTo>
                      <a:pt x="62" y="123"/>
                    </a:lnTo>
                    <a:lnTo>
                      <a:pt x="49" y="90"/>
                    </a:lnTo>
                    <a:lnTo>
                      <a:pt x="68" y="46"/>
                    </a:lnTo>
                    <a:lnTo>
                      <a:pt x="30" y="46"/>
                    </a:lnTo>
                    <a:lnTo>
                      <a:pt x="13" y="0"/>
                    </a:lnTo>
                    <a:lnTo>
                      <a:pt x="6" y="23"/>
                    </a:lnTo>
                    <a:lnTo>
                      <a:pt x="13" y="46"/>
                    </a:lnTo>
                    <a:lnTo>
                      <a:pt x="0" y="5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718" name="Freeform 59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8543211" y="4109619"/>
              <a:ext cx="136333" cy="149225"/>
            </a:xfrm>
            <a:custGeom>
              <a:avLst/>
              <a:gdLst>
                <a:gd name="T0" fmla="*/ 0 w 74"/>
                <a:gd name="T1" fmla="*/ 2147483647 h 188"/>
                <a:gd name="T2" fmla="*/ 2147483647 w 74"/>
                <a:gd name="T3" fmla="*/ 2147483647 h 188"/>
                <a:gd name="T4" fmla="*/ 2147483647 w 74"/>
                <a:gd name="T5" fmla="*/ 2147483647 h 188"/>
                <a:gd name="T6" fmla="*/ 2147483647 w 74"/>
                <a:gd name="T7" fmla="*/ 2147483647 h 188"/>
                <a:gd name="T8" fmla="*/ 2147483647 w 74"/>
                <a:gd name="T9" fmla="*/ 2147483647 h 188"/>
                <a:gd name="T10" fmla="*/ 2147483647 w 74"/>
                <a:gd name="T11" fmla="*/ 2147483647 h 188"/>
                <a:gd name="T12" fmla="*/ 2147483647 w 74"/>
                <a:gd name="T13" fmla="*/ 2147483647 h 188"/>
                <a:gd name="T14" fmla="*/ 2147483647 w 74"/>
                <a:gd name="T15" fmla="*/ 2147483647 h 188"/>
                <a:gd name="T16" fmla="*/ 2147483647 w 74"/>
                <a:gd name="T17" fmla="*/ 2147483647 h 188"/>
                <a:gd name="T18" fmla="*/ 2147483647 w 74"/>
                <a:gd name="T19" fmla="*/ 2147483647 h 188"/>
                <a:gd name="T20" fmla="*/ 2147483647 w 74"/>
                <a:gd name="T21" fmla="*/ 2147483647 h 188"/>
                <a:gd name="T22" fmla="*/ 2147483647 w 74"/>
                <a:gd name="T23" fmla="*/ 2147483647 h 188"/>
                <a:gd name="T24" fmla="*/ 2147483647 w 74"/>
                <a:gd name="T25" fmla="*/ 2147483647 h 188"/>
                <a:gd name="T26" fmla="*/ 2147483647 w 74"/>
                <a:gd name="T27" fmla="*/ 0 h 188"/>
                <a:gd name="T28" fmla="*/ 2147483647 w 74"/>
                <a:gd name="T29" fmla="*/ 2147483647 h 188"/>
                <a:gd name="T30" fmla="*/ 2147483647 w 74"/>
                <a:gd name="T31" fmla="*/ 2147483647 h 188"/>
                <a:gd name="T32" fmla="*/ 0 w 74"/>
                <a:gd name="T33" fmla="*/ 2147483647 h 1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74" h="188">
                  <a:moveTo>
                    <a:pt x="0" y="55"/>
                  </a:moveTo>
                  <a:lnTo>
                    <a:pt x="13" y="78"/>
                  </a:lnTo>
                  <a:lnTo>
                    <a:pt x="18" y="167"/>
                  </a:lnTo>
                  <a:lnTo>
                    <a:pt x="37" y="155"/>
                  </a:lnTo>
                  <a:lnTo>
                    <a:pt x="49" y="123"/>
                  </a:lnTo>
                  <a:lnTo>
                    <a:pt x="62" y="134"/>
                  </a:lnTo>
                  <a:lnTo>
                    <a:pt x="68" y="188"/>
                  </a:lnTo>
                  <a:lnTo>
                    <a:pt x="74" y="155"/>
                  </a:lnTo>
                  <a:lnTo>
                    <a:pt x="68" y="90"/>
                  </a:lnTo>
                  <a:lnTo>
                    <a:pt x="62" y="123"/>
                  </a:lnTo>
                  <a:lnTo>
                    <a:pt x="49" y="90"/>
                  </a:lnTo>
                  <a:lnTo>
                    <a:pt x="68" y="46"/>
                  </a:lnTo>
                  <a:lnTo>
                    <a:pt x="30" y="46"/>
                  </a:lnTo>
                  <a:lnTo>
                    <a:pt x="13" y="0"/>
                  </a:lnTo>
                  <a:lnTo>
                    <a:pt x="6" y="23"/>
                  </a:lnTo>
                  <a:lnTo>
                    <a:pt x="13" y="46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731" name="Group 60"/>
            <p:cNvGrpSpPr>
              <a:grpSpLocks/>
            </p:cNvGrpSpPr>
            <p:nvPr>
              <p:custDataLst>
                <p:tags r:id="rId51"/>
              </p:custDataLst>
            </p:nvPr>
          </p:nvGrpSpPr>
          <p:grpSpPr bwMode="auto">
            <a:xfrm>
              <a:off x="8543211" y="4109619"/>
              <a:ext cx="136333" cy="149225"/>
              <a:chOff x="4309" y="2219"/>
              <a:chExt cx="74" cy="94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27" name="Freeform 61"/>
              <p:cNvSpPr>
                <a:spLocks/>
              </p:cNvSpPr>
              <p:nvPr/>
            </p:nvSpPr>
            <p:spPr bwMode="auto">
              <a:xfrm>
                <a:off x="4309" y="2219"/>
                <a:ext cx="74" cy="94"/>
              </a:xfrm>
              <a:custGeom>
                <a:avLst/>
                <a:gdLst>
                  <a:gd name="T0" fmla="*/ 0 w 74"/>
                  <a:gd name="T1" fmla="*/ 1 h 188"/>
                  <a:gd name="T2" fmla="*/ 13 w 74"/>
                  <a:gd name="T3" fmla="*/ 1 h 188"/>
                  <a:gd name="T4" fmla="*/ 18 w 74"/>
                  <a:gd name="T5" fmla="*/ 1 h 188"/>
                  <a:gd name="T6" fmla="*/ 37 w 74"/>
                  <a:gd name="T7" fmla="*/ 1 h 188"/>
                  <a:gd name="T8" fmla="*/ 49 w 74"/>
                  <a:gd name="T9" fmla="*/ 1 h 188"/>
                  <a:gd name="T10" fmla="*/ 62 w 74"/>
                  <a:gd name="T11" fmla="*/ 1 h 188"/>
                  <a:gd name="T12" fmla="*/ 68 w 74"/>
                  <a:gd name="T13" fmla="*/ 1 h 188"/>
                  <a:gd name="T14" fmla="*/ 74 w 74"/>
                  <a:gd name="T15" fmla="*/ 1 h 188"/>
                  <a:gd name="T16" fmla="*/ 68 w 74"/>
                  <a:gd name="T17" fmla="*/ 1 h 188"/>
                  <a:gd name="T18" fmla="*/ 62 w 74"/>
                  <a:gd name="T19" fmla="*/ 1 h 188"/>
                  <a:gd name="T20" fmla="*/ 49 w 74"/>
                  <a:gd name="T21" fmla="*/ 1 h 188"/>
                  <a:gd name="T22" fmla="*/ 68 w 74"/>
                  <a:gd name="T23" fmla="*/ 1 h 188"/>
                  <a:gd name="T24" fmla="*/ 30 w 74"/>
                  <a:gd name="T25" fmla="*/ 1 h 188"/>
                  <a:gd name="T26" fmla="*/ 13 w 74"/>
                  <a:gd name="T27" fmla="*/ 0 h 188"/>
                  <a:gd name="T28" fmla="*/ 6 w 74"/>
                  <a:gd name="T29" fmla="*/ 1 h 188"/>
                  <a:gd name="T30" fmla="*/ 13 w 74"/>
                  <a:gd name="T31" fmla="*/ 1 h 188"/>
                  <a:gd name="T32" fmla="*/ 0 w 74"/>
                  <a:gd name="T33" fmla="*/ 1 h 1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4" h="188">
                    <a:moveTo>
                      <a:pt x="0" y="55"/>
                    </a:moveTo>
                    <a:lnTo>
                      <a:pt x="13" y="78"/>
                    </a:lnTo>
                    <a:lnTo>
                      <a:pt x="18" y="167"/>
                    </a:lnTo>
                    <a:lnTo>
                      <a:pt x="37" y="155"/>
                    </a:lnTo>
                    <a:lnTo>
                      <a:pt x="49" y="123"/>
                    </a:lnTo>
                    <a:lnTo>
                      <a:pt x="62" y="134"/>
                    </a:lnTo>
                    <a:lnTo>
                      <a:pt x="68" y="188"/>
                    </a:lnTo>
                    <a:lnTo>
                      <a:pt x="74" y="155"/>
                    </a:lnTo>
                    <a:lnTo>
                      <a:pt x="68" y="90"/>
                    </a:lnTo>
                    <a:lnTo>
                      <a:pt x="62" y="123"/>
                    </a:lnTo>
                    <a:lnTo>
                      <a:pt x="49" y="90"/>
                    </a:lnTo>
                    <a:lnTo>
                      <a:pt x="68" y="46"/>
                    </a:lnTo>
                    <a:lnTo>
                      <a:pt x="30" y="46"/>
                    </a:lnTo>
                    <a:lnTo>
                      <a:pt x="13" y="0"/>
                    </a:lnTo>
                    <a:lnTo>
                      <a:pt x="6" y="23"/>
                    </a:lnTo>
                    <a:lnTo>
                      <a:pt x="13" y="46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28" name="Freeform 62"/>
              <p:cNvSpPr>
                <a:spLocks/>
              </p:cNvSpPr>
              <p:nvPr/>
            </p:nvSpPr>
            <p:spPr bwMode="auto">
              <a:xfrm>
                <a:off x="4309" y="2219"/>
                <a:ext cx="74" cy="94"/>
              </a:xfrm>
              <a:custGeom>
                <a:avLst/>
                <a:gdLst>
                  <a:gd name="T0" fmla="*/ 0 w 74"/>
                  <a:gd name="T1" fmla="*/ 1 h 188"/>
                  <a:gd name="T2" fmla="*/ 13 w 74"/>
                  <a:gd name="T3" fmla="*/ 1 h 188"/>
                  <a:gd name="T4" fmla="*/ 18 w 74"/>
                  <a:gd name="T5" fmla="*/ 1 h 188"/>
                  <a:gd name="T6" fmla="*/ 37 w 74"/>
                  <a:gd name="T7" fmla="*/ 1 h 188"/>
                  <a:gd name="T8" fmla="*/ 49 w 74"/>
                  <a:gd name="T9" fmla="*/ 1 h 188"/>
                  <a:gd name="T10" fmla="*/ 62 w 74"/>
                  <a:gd name="T11" fmla="*/ 1 h 188"/>
                  <a:gd name="T12" fmla="*/ 68 w 74"/>
                  <a:gd name="T13" fmla="*/ 1 h 188"/>
                  <a:gd name="T14" fmla="*/ 74 w 74"/>
                  <a:gd name="T15" fmla="*/ 1 h 188"/>
                  <a:gd name="T16" fmla="*/ 68 w 74"/>
                  <a:gd name="T17" fmla="*/ 1 h 188"/>
                  <a:gd name="T18" fmla="*/ 62 w 74"/>
                  <a:gd name="T19" fmla="*/ 1 h 188"/>
                  <a:gd name="T20" fmla="*/ 49 w 74"/>
                  <a:gd name="T21" fmla="*/ 1 h 188"/>
                  <a:gd name="T22" fmla="*/ 68 w 74"/>
                  <a:gd name="T23" fmla="*/ 1 h 188"/>
                  <a:gd name="T24" fmla="*/ 30 w 74"/>
                  <a:gd name="T25" fmla="*/ 1 h 188"/>
                  <a:gd name="T26" fmla="*/ 13 w 74"/>
                  <a:gd name="T27" fmla="*/ 0 h 188"/>
                  <a:gd name="T28" fmla="*/ 6 w 74"/>
                  <a:gd name="T29" fmla="*/ 1 h 188"/>
                  <a:gd name="T30" fmla="*/ 13 w 74"/>
                  <a:gd name="T31" fmla="*/ 1 h 188"/>
                  <a:gd name="T32" fmla="*/ 0 w 74"/>
                  <a:gd name="T33" fmla="*/ 1 h 18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74" h="188">
                    <a:moveTo>
                      <a:pt x="0" y="55"/>
                    </a:moveTo>
                    <a:lnTo>
                      <a:pt x="13" y="78"/>
                    </a:lnTo>
                    <a:lnTo>
                      <a:pt x="18" y="167"/>
                    </a:lnTo>
                    <a:lnTo>
                      <a:pt x="37" y="155"/>
                    </a:lnTo>
                    <a:lnTo>
                      <a:pt x="49" y="123"/>
                    </a:lnTo>
                    <a:lnTo>
                      <a:pt x="62" y="134"/>
                    </a:lnTo>
                    <a:lnTo>
                      <a:pt x="68" y="188"/>
                    </a:lnTo>
                    <a:lnTo>
                      <a:pt x="74" y="155"/>
                    </a:lnTo>
                    <a:lnTo>
                      <a:pt x="68" y="90"/>
                    </a:lnTo>
                    <a:lnTo>
                      <a:pt x="62" y="123"/>
                    </a:lnTo>
                    <a:lnTo>
                      <a:pt x="49" y="90"/>
                    </a:lnTo>
                    <a:lnTo>
                      <a:pt x="68" y="46"/>
                    </a:lnTo>
                    <a:lnTo>
                      <a:pt x="30" y="46"/>
                    </a:lnTo>
                    <a:lnTo>
                      <a:pt x="13" y="0"/>
                    </a:lnTo>
                    <a:lnTo>
                      <a:pt x="6" y="23"/>
                    </a:lnTo>
                    <a:lnTo>
                      <a:pt x="13" y="46"/>
                    </a:lnTo>
                    <a:lnTo>
                      <a:pt x="0" y="55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732" name="Freeform 63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6099246" y="3366658"/>
              <a:ext cx="92225" cy="63500"/>
            </a:xfrm>
            <a:custGeom>
              <a:avLst/>
              <a:gdLst>
                <a:gd name="T0" fmla="*/ 0 w 50"/>
                <a:gd name="T1" fmla="*/ 2147483647 h 79"/>
                <a:gd name="T2" fmla="*/ 2147483647 w 50"/>
                <a:gd name="T3" fmla="*/ 2147483647 h 79"/>
                <a:gd name="T4" fmla="*/ 2147483647 w 50"/>
                <a:gd name="T5" fmla="*/ 0 h 79"/>
                <a:gd name="T6" fmla="*/ 2147483647 w 50"/>
                <a:gd name="T7" fmla="*/ 2147483647 h 79"/>
                <a:gd name="T8" fmla="*/ 2147483647 w 50"/>
                <a:gd name="T9" fmla="*/ 2147483647 h 79"/>
                <a:gd name="T10" fmla="*/ 2147483647 w 50"/>
                <a:gd name="T11" fmla="*/ 2147483647 h 79"/>
                <a:gd name="T12" fmla="*/ 0 w 50"/>
                <a:gd name="T13" fmla="*/ 2147483647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79">
                  <a:moveTo>
                    <a:pt x="0" y="10"/>
                  </a:moveTo>
                  <a:lnTo>
                    <a:pt x="12" y="10"/>
                  </a:lnTo>
                  <a:lnTo>
                    <a:pt x="31" y="0"/>
                  </a:lnTo>
                  <a:lnTo>
                    <a:pt x="50" y="35"/>
                  </a:lnTo>
                  <a:lnTo>
                    <a:pt x="50" y="56"/>
                  </a:lnTo>
                  <a:lnTo>
                    <a:pt x="43" y="79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33" name="Freeform 64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6099246" y="3366658"/>
              <a:ext cx="92225" cy="63500"/>
            </a:xfrm>
            <a:custGeom>
              <a:avLst/>
              <a:gdLst>
                <a:gd name="T0" fmla="*/ 0 w 50"/>
                <a:gd name="T1" fmla="*/ 2147483647 h 79"/>
                <a:gd name="T2" fmla="*/ 2147483647 w 50"/>
                <a:gd name="T3" fmla="*/ 2147483647 h 79"/>
                <a:gd name="T4" fmla="*/ 2147483647 w 50"/>
                <a:gd name="T5" fmla="*/ 0 h 79"/>
                <a:gd name="T6" fmla="*/ 2147483647 w 50"/>
                <a:gd name="T7" fmla="*/ 2147483647 h 79"/>
                <a:gd name="T8" fmla="*/ 2147483647 w 50"/>
                <a:gd name="T9" fmla="*/ 2147483647 h 79"/>
                <a:gd name="T10" fmla="*/ 2147483647 w 50"/>
                <a:gd name="T11" fmla="*/ 2147483647 h 79"/>
                <a:gd name="T12" fmla="*/ 0 w 50"/>
                <a:gd name="T13" fmla="*/ 2147483647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79">
                  <a:moveTo>
                    <a:pt x="0" y="10"/>
                  </a:moveTo>
                  <a:lnTo>
                    <a:pt x="12" y="10"/>
                  </a:lnTo>
                  <a:lnTo>
                    <a:pt x="31" y="0"/>
                  </a:lnTo>
                  <a:lnTo>
                    <a:pt x="50" y="35"/>
                  </a:lnTo>
                  <a:lnTo>
                    <a:pt x="50" y="56"/>
                  </a:lnTo>
                  <a:lnTo>
                    <a:pt x="43" y="79"/>
                  </a:lnTo>
                  <a:lnTo>
                    <a:pt x="0" y="10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34" name="Freeform 65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6099246" y="3366658"/>
              <a:ext cx="92225" cy="63500"/>
            </a:xfrm>
            <a:custGeom>
              <a:avLst/>
              <a:gdLst>
                <a:gd name="T0" fmla="*/ 0 w 50"/>
                <a:gd name="T1" fmla="*/ 2147483647 h 79"/>
                <a:gd name="T2" fmla="*/ 2147483647 w 50"/>
                <a:gd name="T3" fmla="*/ 2147483647 h 79"/>
                <a:gd name="T4" fmla="*/ 2147483647 w 50"/>
                <a:gd name="T5" fmla="*/ 0 h 79"/>
                <a:gd name="T6" fmla="*/ 2147483647 w 50"/>
                <a:gd name="T7" fmla="*/ 2147483647 h 79"/>
                <a:gd name="T8" fmla="*/ 2147483647 w 50"/>
                <a:gd name="T9" fmla="*/ 2147483647 h 79"/>
                <a:gd name="T10" fmla="*/ 2147483647 w 50"/>
                <a:gd name="T11" fmla="*/ 2147483647 h 79"/>
                <a:gd name="T12" fmla="*/ 0 w 50"/>
                <a:gd name="T13" fmla="*/ 2147483647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79">
                  <a:moveTo>
                    <a:pt x="0" y="10"/>
                  </a:moveTo>
                  <a:lnTo>
                    <a:pt x="12" y="10"/>
                  </a:lnTo>
                  <a:lnTo>
                    <a:pt x="31" y="0"/>
                  </a:lnTo>
                  <a:lnTo>
                    <a:pt x="50" y="35"/>
                  </a:lnTo>
                  <a:lnTo>
                    <a:pt x="50" y="56"/>
                  </a:lnTo>
                  <a:lnTo>
                    <a:pt x="43" y="79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51" name="Freeform 66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6099246" y="3366658"/>
              <a:ext cx="92225" cy="63500"/>
            </a:xfrm>
            <a:custGeom>
              <a:avLst/>
              <a:gdLst>
                <a:gd name="T0" fmla="*/ 0 w 50"/>
                <a:gd name="T1" fmla="*/ 2147483647 h 79"/>
                <a:gd name="T2" fmla="*/ 2147483647 w 50"/>
                <a:gd name="T3" fmla="*/ 2147483647 h 79"/>
                <a:gd name="T4" fmla="*/ 2147483647 w 50"/>
                <a:gd name="T5" fmla="*/ 0 h 79"/>
                <a:gd name="T6" fmla="*/ 2147483647 w 50"/>
                <a:gd name="T7" fmla="*/ 2147483647 h 79"/>
                <a:gd name="T8" fmla="*/ 2147483647 w 50"/>
                <a:gd name="T9" fmla="*/ 2147483647 h 79"/>
                <a:gd name="T10" fmla="*/ 2147483647 w 50"/>
                <a:gd name="T11" fmla="*/ 2147483647 h 79"/>
                <a:gd name="T12" fmla="*/ 0 w 50"/>
                <a:gd name="T13" fmla="*/ 2147483647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79">
                  <a:moveTo>
                    <a:pt x="0" y="10"/>
                  </a:moveTo>
                  <a:lnTo>
                    <a:pt x="12" y="10"/>
                  </a:lnTo>
                  <a:lnTo>
                    <a:pt x="31" y="0"/>
                  </a:lnTo>
                  <a:lnTo>
                    <a:pt x="50" y="35"/>
                  </a:lnTo>
                  <a:lnTo>
                    <a:pt x="50" y="56"/>
                  </a:lnTo>
                  <a:lnTo>
                    <a:pt x="43" y="79"/>
                  </a:lnTo>
                  <a:lnTo>
                    <a:pt x="0" y="10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52" name="Freeform 67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8575290" y="4065170"/>
              <a:ext cx="82201" cy="46037"/>
            </a:xfrm>
            <a:custGeom>
              <a:avLst/>
              <a:gdLst>
                <a:gd name="T0" fmla="*/ 0 w 44"/>
                <a:gd name="T1" fmla="*/ 2147483647 h 58"/>
                <a:gd name="T2" fmla="*/ 2147483647 w 44"/>
                <a:gd name="T3" fmla="*/ 2147483647 h 58"/>
                <a:gd name="T4" fmla="*/ 2147483647 w 44"/>
                <a:gd name="T5" fmla="*/ 2147483647 h 58"/>
                <a:gd name="T6" fmla="*/ 2147483647 w 44"/>
                <a:gd name="T7" fmla="*/ 2147483647 h 58"/>
                <a:gd name="T8" fmla="*/ 2147483647 w 44"/>
                <a:gd name="T9" fmla="*/ 0 h 58"/>
                <a:gd name="T10" fmla="*/ 0 w 44"/>
                <a:gd name="T11" fmla="*/ 2147483647 h 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58">
                  <a:moveTo>
                    <a:pt x="0" y="33"/>
                  </a:moveTo>
                  <a:lnTo>
                    <a:pt x="7" y="58"/>
                  </a:lnTo>
                  <a:lnTo>
                    <a:pt x="44" y="46"/>
                  </a:lnTo>
                  <a:lnTo>
                    <a:pt x="44" y="12"/>
                  </a:lnTo>
                  <a:lnTo>
                    <a:pt x="12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53" name="Freeform 68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8575290" y="4065170"/>
              <a:ext cx="82201" cy="46037"/>
            </a:xfrm>
            <a:custGeom>
              <a:avLst/>
              <a:gdLst>
                <a:gd name="T0" fmla="*/ 0 w 44"/>
                <a:gd name="T1" fmla="*/ 2147483647 h 58"/>
                <a:gd name="T2" fmla="*/ 2147483647 w 44"/>
                <a:gd name="T3" fmla="*/ 2147483647 h 58"/>
                <a:gd name="T4" fmla="*/ 2147483647 w 44"/>
                <a:gd name="T5" fmla="*/ 2147483647 h 58"/>
                <a:gd name="T6" fmla="*/ 2147483647 w 44"/>
                <a:gd name="T7" fmla="*/ 2147483647 h 58"/>
                <a:gd name="T8" fmla="*/ 2147483647 w 44"/>
                <a:gd name="T9" fmla="*/ 0 h 58"/>
                <a:gd name="T10" fmla="*/ 0 w 44"/>
                <a:gd name="T11" fmla="*/ 2147483647 h 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58">
                  <a:moveTo>
                    <a:pt x="0" y="33"/>
                  </a:moveTo>
                  <a:lnTo>
                    <a:pt x="7" y="58"/>
                  </a:lnTo>
                  <a:lnTo>
                    <a:pt x="44" y="46"/>
                  </a:lnTo>
                  <a:lnTo>
                    <a:pt x="44" y="12"/>
                  </a:lnTo>
                  <a:lnTo>
                    <a:pt x="12" y="0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62" name="Freeform 69"/>
            <p:cNvSpPr>
              <a:spLocks/>
            </p:cNvSpPr>
            <p:nvPr>
              <p:custDataLst>
                <p:tags r:id="rId58"/>
              </p:custDataLst>
            </p:nvPr>
          </p:nvSpPr>
          <p:spPr bwMode="auto">
            <a:xfrm>
              <a:off x="8575290" y="4065170"/>
              <a:ext cx="82201" cy="46037"/>
            </a:xfrm>
            <a:custGeom>
              <a:avLst/>
              <a:gdLst>
                <a:gd name="T0" fmla="*/ 0 w 44"/>
                <a:gd name="T1" fmla="*/ 2147483647 h 58"/>
                <a:gd name="T2" fmla="*/ 2147483647 w 44"/>
                <a:gd name="T3" fmla="*/ 2147483647 h 58"/>
                <a:gd name="T4" fmla="*/ 2147483647 w 44"/>
                <a:gd name="T5" fmla="*/ 2147483647 h 58"/>
                <a:gd name="T6" fmla="*/ 2147483647 w 44"/>
                <a:gd name="T7" fmla="*/ 2147483647 h 58"/>
                <a:gd name="T8" fmla="*/ 2147483647 w 44"/>
                <a:gd name="T9" fmla="*/ 0 h 58"/>
                <a:gd name="T10" fmla="*/ 0 w 44"/>
                <a:gd name="T11" fmla="*/ 2147483647 h 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58">
                  <a:moveTo>
                    <a:pt x="0" y="33"/>
                  </a:moveTo>
                  <a:lnTo>
                    <a:pt x="7" y="58"/>
                  </a:lnTo>
                  <a:lnTo>
                    <a:pt x="44" y="46"/>
                  </a:lnTo>
                  <a:lnTo>
                    <a:pt x="44" y="12"/>
                  </a:lnTo>
                  <a:lnTo>
                    <a:pt x="12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63" name="Freeform 70"/>
            <p:cNvSpPr>
              <a:spLocks/>
            </p:cNvSpPr>
            <p:nvPr>
              <p:custDataLst>
                <p:tags r:id="rId59"/>
              </p:custDataLst>
            </p:nvPr>
          </p:nvSpPr>
          <p:spPr bwMode="auto">
            <a:xfrm>
              <a:off x="8575290" y="4065170"/>
              <a:ext cx="82201" cy="46037"/>
            </a:xfrm>
            <a:custGeom>
              <a:avLst/>
              <a:gdLst>
                <a:gd name="T0" fmla="*/ 0 w 44"/>
                <a:gd name="T1" fmla="*/ 2147483647 h 58"/>
                <a:gd name="T2" fmla="*/ 2147483647 w 44"/>
                <a:gd name="T3" fmla="*/ 2147483647 h 58"/>
                <a:gd name="T4" fmla="*/ 2147483647 w 44"/>
                <a:gd name="T5" fmla="*/ 2147483647 h 58"/>
                <a:gd name="T6" fmla="*/ 2147483647 w 44"/>
                <a:gd name="T7" fmla="*/ 2147483647 h 58"/>
                <a:gd name="T8" fmla="*/ 2147483647 w 44"/>
                <a:gd name="T9" fmla="*/ 0 h 58"/>
                <a:gd name="T10" fmla="*/ 0 w 44"/>
                <a:gd name="T11" fmla="*/ 2147483647 h 5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58">
                  <a:moveTo>
                    <a:pt x="0" y="33"/>
                  </a:moveTo>
                  <a:lnTo>
                    <a:pt x="7" y="58"/>
                  </a:lnTo>
                  <a:lnTo>
                    <a:pt x="44" y="46"/>
                  </a:lnTo>
                  <a:lnTo>
                    <a:pt x="44" y="12"/>
                  </a:lnTo>
                  <a:lnTo>
                    <a:pt x="12" y="0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64" name="Freeform 71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3771559" y="5038295"/>
              <a:ext cx="344842" cy="344488"/>
            </a:xfrm>
            <a:custGeom>
              <a:avLst/>
              <a:gdLst>
                <a:gd name="T0" fmla="*/ 0 w 187"/>
                <a:gd name="T1" fmla="*/ 2147483647 h 434"/>
                <a:gd name="T2" fmla="*/ 2147483647 w 187"/>
                <a:gd name="T3" fmla="*/ 2147483647 h 434"/>
                <a:gd name="T4" fmla="*/ 2147483647 w 187"/>
                <a:gd name="T5" fmla="*/ 2147483647 h 434"/>
                <a:gd name="T6" fmla="*/ 2147483647 w 187"/>
                <a:gd name="T7" fmla="*/ 2147483647 h 434"/>
                <a:gd name="T8" fmla="*/ 2147483647 w 187"/>
                <a:gd name="T9" fmla="*/ 2147483647 h 434"/>
                <a:gd name="T10" fmla="*/ 2147483647 w 187"/>
                <a:gd name="T11" fmla="*/ 2147483647 h 434"/>
                <a:gd name="T12" fmla="*/ 2147483647 w 187"/>
                <a:gd name="T13" fmla="*/ 2147483647 h 434"/>
                <a:gd name="T14" fmla="*/ 2147483647 w 187"/>
                <a:gd name="T15" fmla="*/ 2147483647 h 434"/>
                <a:gd name="T16" fmla="*/ 2147483647 w 187"/>
                <a:gd name="T17" fmla="*/ 2147483647 h 434"/>
                <a:gd name="T18" fmla="*/ 2147483647 w 187"/>
                <a:gd name="T19" fmla="*/ 2147483647 h 434"/>
                <a:gd name="T20" fmla="*/ 2147483647 w 187"/>
                <a:gd name="T21" fmla="*/ 2147483647 h 434"/>
                <a:gd name="T22" fmla="*/ 2147483647 w 187"/>
                <a:gd name="T23" fmla="*/ 2147483647 h 434"/>
                <a:gd name="T24" fmla="*/ 2147483647 w 187"/>
                <a:gd name="T25" fmla="*/ 2147483647 h 434"/>
                <a:gd name="T26" fmla="*/ 2147483647 w 187"/>
                <a:gd name="T27" fmla="*/ 2147483647 h 434"/>
                <a:gd name="T28" fmla="*/ 2147483647 w 187"/>
                <a:gd name="T29" fmla="*/ 2147483647 h 434"/>
                <a:gd name="T30" fmla="*/ 2147483647 w 187"/>
                <a:gd name="T31" fmla="*/ 2147483647 h 434"/>
                <a:gd name="T32" fmla="*/ 2147483647 w 187"/>
                <a:gd name="T33" fmla="*/ 2147483647 h 434"/>
                <a:gd name="T34" fmla="*/ 2147483647 w 187"/>
                <a:gd name="T35" fmla="*/ 2147483647 h 434"/>
                <a:gd name="T36" fmla="*/ 2147483647 w 187"/>
                <a:gd name="T37" fmla="*/ 2147483647 h 434"/>
                <a:gd name="T38" fmla="*/ 2147483647 w 187"/>
                <a:gd name="T39" fmla="*/ 2147483647 h 434"/>
                <a:gd name="T40" fmla="*/ 2147483647 w 187"/>
                <a:gd name="T41" fmla="*/ 2147483647 h 434"/>
                <a:gd name="T42" fmla="*/ 2147483647 w 187"/>
                <a:gd name="T43" fmla="*/ 0 h 434"/>
                <a:gd name="T44" fmla="*/ 2147483647 w 187"/>
                <a:gd name="T45" fmla="*/ 2147483647 h 434"/>
                <a:gd name="T46" fmla="*/ 0 w 187"/>
                <a:gd name="T47" fmla="*/ 2147483647 h 4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87" h="434">
                  <a:moveTo>
                    <a:pt x="0" y="45"/>
                  </a:moveTo>
                  <a:lnTo>
                    <a:pt x="18" y="89"/>
                  </a:lnTo>
                  <a:lnTo>
                    <a:pt x="6" y="189"/>
                  </a:lnTo>
                  <a:lnTo>
                    <a:pt x="18" y="200"/>
                  </a:lnTo>
                  <a:lnTo>
                    <a:pt x="11" y="223"/>
                  </a:lnTo>
                  <a:lnTo>
                    <a:pt x="6" y="256"/>
                  </a:lnTo>
                  <a:lnTo>
                    <a:pt x="18" y="311"/>
                  </a:lnTo>
                  <a:lnTo>
                    <a:pt x="31" y="434"/>
                  </a:lnTo>
                  <a:lnTo>
                    <a:pt x="37" y="434"/>
                  </a:lnTo>
                  <a:lnTo>
                    <a:pt x="56" y="400"/>
                  </a:lnTo>
                  <a:lnTo>
                    <a:pt x="87" y="434"/>
                  </a:lnTo>
                  <a:lnTo>
                    <a:pt x="87" y="413"/>
                  </a:lnTo>
                  <a:lnTo>
                    <a:pt x="112" y="423"/>
                  </a:lnTo>
                  <a:lnTo>
                    <a:pt x="119" y="335"/>
                  </a:lnTo>
                  <a:lnTo>
                    <a:pt x="169" y="311"/>
                  </a:lnTo>
                  <a:lnTo>
                    <a:pt x="181" y="346"/>
                  </a:lnTo>
                  <a:lnTo>
                    <a:pt x="187" y="279"/>
                  </a:lnTo>
                  <a:lnTo>
                    <a:pt x="181" y="223"/>
                  </a:lnTo>
                  <a:lnTo>
                    <a:pt x="149" y="223"/>
                  </a:lnTo>
                  <a:lnTo>
                    <a:pt x="144" y="133"/>
                  </a:lnTo>
                  <a:lnTo>
                    <a:pt x="75" y="79"/>
                  </a:lnTo>
                  <a:lnTo>
                    <a:pt x="69" y="0"/>
                  </a:lnTo>
                  <a:lnTo>
                    <a:pt x="25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766" name="Group 72"/>
            <p:cNvGrpSpPr>
              <a:grpSpLocks/>
            </p:cNvGrpSpPr>
            <p:nvPr>
              <p:custDataLst>
                <p:tags r:id="rId61"/>
              </p:custDataLst>
            </p:nvPr>
          </p:nvGrpSpPr>
          <p:grpSpPr bwMode="auto">
            <a:xfrm>
              <a:off x="3771559" y="5038295"/>
              <a:ext cx="344842" cy="344488"/>
              <a:chOff x="1857" y="2804"/>
              <a:chExt cx="187" cy="21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25" name="Freeform 73"/>
              <p:cNvSpPr>
                <a:spLocks/>
              </p:cNvSpPr>
              <p:nvPr/>
            </p:nvSpPr>
            <p:spPr bwMode="auto">
              <a:xfrm>
                <a:off x="1857" y="2804"/>
                <a:ext cx="187" cy="217"/>
              </a:xfrm>
              <a:custGeom>
                <a:avLst/>
                <a:gdLst>
                  <a:gd name="T0" fmla="*/ 0 w 187"/>
                  <a:gd name="T1" fmla="*/ 1 h 434"/>
                  <a:gd name="T2" fmla="*/ 18 w 187"/>
                  <a:gd name="T3" fmla="*/ 1 h 434"/>
                  <a:gd name="T4" fmla="*/ 6 w 187"/>
                  <a:gd name="T5" fmla="*/ 1 h 434"/>
                  <a:gd name="T6" fmla="*/ 18 w 187"/>
                  <a:gd name="T7" fmla="*/ 1 h 434"/>
                  <a:gd name="T8" fmla="*/ 11 w 187"/>
                  <a:gd name="T9" fmla="*/ 1 h 434"/>
                  <a:gd name="T10" fmla="*/ 6 w 187"/>
                  <a:gd name="T11" fmla="*/ 1 h 434"/>
                  <a:gd name="T12" fmla="*/ 18 w 187"/>
                  <a:gd name="T13" fmla="*/ 1 h 434"/>
                  <a:gd name="T14" fmla="*/ 31 w 187"/>
                  <a:gd name="T15" fmla="*/ 1 h 434"/>
                  <a:gd name="T16" fmla="*/ 37 w 187"/>
                  <a:gd name="T17" fmla="*/ 1 h 434"/>
                  <a:gd name="T18" fmla="*/ 56 w 187"/>
                  <a:gd name="T19" fmla="*/ 1 h 434"/>
                  <a:gd name="T20" fmla="*/ 87 w 187"/>
                  <a:gd name="T21" fmla="*/ 1 h 434"/>
                  <a:gd name="T22" fmla="*/ 87 w 187"/>
                  <a:gd name="T23" fmla="*/ 1 h 434"/>
                  <a:gd name="T24" fmla="*/ 112 w 187"/>
                  <a:gd name="T25" fmla="*/ 1 h 434"/>
                  <a:gd name="T26" fmla="*/ 119 w 187"/>
                  <a:gd name="T27" fmla="*/ 1 h 434"/>
                  <a:gd name="T28" fmla="*/ 169 w 187"/>
                  <a:gd name="T29" fmla="*/ 1 h 434"/>
                  <a:gd name="T30" fmla="*/ 181 w 187"/>
                  <a:gd name="T31" fmla="*/ 1 h 434"/>
                  <a:gd name="T32" fmla="*/ 187 w 187"/>
                  <a:gd name="T33" fmla="*/ 1 h 434"/>
                  <a:gd name="T34" fmla="*/ 181 w 187"/>
                  <a:gd name="T35" fmla="*/ 1 h 434"/>
                  <a:gd name="T36" fmla="*/ 149 w 187"/>
                  <a:gd name="T37" fmla="*/ 1 h 434"/>
                  <a:gd name="T38" fmla="*/ 144 w 187"/>
                  <a:gd name="T39" fmla="*/ 1 h 434"/>
                  <a:gd name="T40" fmla="*/ 75 w 187"/>
                  <a:gd name="T41" fmla="*/ 1 h 434"/>
                  <a:gd name="T42" fmla="*/ 69 w 187"/>
                  <a:gd name="T43" fmla="*/ 0 h 434"/>
                  <a:gd name="T44" fmla="*/ 25 w 187"/>
                  <a:gd name="T45" fmla="*/ 1 h 434"/>
                  <a:gd name="T46" fmla="*/ 0 w 187"/>
                  <a:gd name="T47" fmla="*/ 1 h 43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87" h="434">
                    <a:moveTo>
                      <a:pt x="0" y="45"/>
                    </a:moveTo>
                    <a:lnTo>
                      <a:pt x="18" y="89"/>
                    </a:lnTo>
                    <a:lnTo>
                      <a:pt x="6" y="189"/>
                    </a:lnTo>
                    <a:lnTo>
                      <a:pt x="18" y="200"/>
                    </a:lnTo>
                    <a:lnTo>
                      <a:pt x="11" y="223"/>
                    </a:lnTo>
                    <a:lnTo>
                      <a:pt x="6" y="256"/>
                    </a:lnTo>
                    <a:lnTo>
                      <a:pt x="18" y="311"/>
                    </a:lnTo>
                    <a:lnTo>
                      <a:pt x="31" y="434"/>
                    </a:lnTo>
                    <a:lnTo>
                      <a:pt x="37" y="434"/>
                    </a:lnTo>
                    <a:lnTo>
                      <a:pt x="56" y="400"/>
                    </a:lnTo>
                    <a:lnTo>
                      <a:pt x="87" y="434"/>
                    </a:lnTo>
                    <a:lnTo>
                      <a:pt x="87" y="413"/>
                    </a:lnTo>
                    <a:lnTo>
                      <a:pt x="112" y="423"/>
                    </a:lnTo>
                    <a:lnTo>
                      <a:pt x="119" y="335"/>
                    </a:lnTo>
                    <a:lnTo>
                      <a:pt x="169" y="311"/>
                    </a:lnTo>
                    <a:lnTo>
                      <a:pt x="181" y="346"/>
                    </a:lnTo>
                    <a:lnTo>
                      <a:pt x="187" y="279"/>
                    </a:lnTo>
                    <a:lnTo>
                      <a:pt x="181" y="223"/>
                    </a:lnTo>
                    <a:lnTo>
                      <a:pt x="149" y="223"/>
                    </a:lnTo>
                    <a:lnTo>
                      <a:pt x="144" y="133"/>
                    </a:lnTo>
                    <a:lnTo>
                      <a:pt x="75" y="79"/>
                    </a:lnTo>
                    <a:lnTo>
                      <a:pt x="69" y="0"/>
                    </a:lnTo>
                    <a:lnTo>
                      <a:pt x="25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26" name="Freeform 74"/>
              <p:cNvSpPr>
                <a:spLocks/>
              </p:cNvSpPr>
              <p:nvPr/>
            </p:nvSpPr>
            <p:spPr bwMode="auto">
              <a:xfrm>
                <a:off x="1857" y="2804"/>
                <a:ext cx="187" cy="217"/>
              </a:xfrm>
              <a:custGeom>
                <a:avLst/>
                <a:gdLst>
                  <a:gd name="T0" fmla="*/ 0 w 187"/>
                  <a:gd name="T1" fmla="*/ 1 h 434"/>
                  <a:gd name="T2" fmla="*/ 18 w 187"/>
                  <a:gd name="T3" fmla="*/ 1 h 434"/>
                  <a:gd name="T4" fmla="*/ 6 w 187"/>
                  <a:gd name="T5" fmla="*/ 1 h 434"/>
                  <a:gd name="T6" fmla="*/ 18 w 187"/>
                  <a:gd name="T7" fmla="*/ 1 h 434"/>
                  <a:gd name="T8" fmla="*/ 11 w 187"/>
                  <a:gd name="T9" fmla="*/ 1 h 434"/>
                  <a:gd name="T10" fmla="*/ 6 w 187"/>
                  <a:gd name="T11" fmla="*/ 1 h 434"/>
                  <a:gd name="T12" fmla="*/ 18 w 187"/>
                  <a:gd name="T13" fmla="*/ 1 h 434"/>
                  <a:gd name="T14" fmla="*/ 31 w 187"/>
                  <a:gd name="T15" fmla="*/ 1 h 434"/>
                  <a:gd name="T16" fmla="*/ 37 w 187"/>
                  <a:gd name="T17" fmla="*/ 1 h 434"/>
                  <a:gd name="T18" fmla="*/ 56 w 187"/>
                  <a:gd name="T19" fmla="*/ 1 h 434"/>
                  <a:gd name="T20" fmla="*/ 87 w 187"/>
                  <a:gd name="T21" fmla="*/ 1 h 434"/>
                  <a:gd name="T22" fmla="*/ 87 w 187"/>
                  <a:gd name="T23" fmla="*/ 1 h 434"/>
                  <a:gd name="T24" fmla="*/ 112 w 187"/>
                  <a:gd name="T25" fmla="*/ 1 h 434"/>
                  <a:gd name="T26" fmla="*/ 119 w 187"/>
                  <a:gd name="T27" fmla="*/ 1 h 434"/>
                  <a:gd name="T28" fmla="*/ 169 w 187"/>
                  <a:gd name="T29" fmla="*/ 1 h 434"/>
                  <a:gd name="T30" fmla="*/ 181 w 187"/>
                  <a:gd name="T31" fmla="*/ 1 h 434"/>
                  <a:gd name="T32" fmla="*/ 187 w 187"/>
                  <a:gd name="T33" fmla="*/ 1 h 434"/>
                  <a:gd name="T34" fmla="*/ 181 w 187"/>
                  <a:gd name="T35" fmla="*/ 1 h 434"/>
                  <a:gd name="T36" fmla="*/ 149 w 187"/>
                  <a:gd name="T37" fmla="*/ 1 h 434"/>
                  <a:gd name="T38" fmla="*/ 144 w 187"/>
                  <a:gd name="T39" fmla="*/ 1 h 434"/>
                  <a:gd name="T40" fmla="*/ 75 w 187"/>
                  <a:gd name="T41" fmla="*/ 1 h 434"/>
                  <a:gd name="T42" fmla="*/ 69 w 187"/>
                  <a:gd name="T43" fmla="*/ 0 h 434"/>
                  <a:gd name="T44" fmla="*/ 25 w 187"/>
                  <a:gd name="T45" fmla="*/ 1 h 434"/>
                  <a:gd name="T46" fmla="*/ 0 w 187"/>
                  <a:gd name="T47" fmla="*/ 1 h 43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87" h="434">
                    <a:moveTo>
                      <a:pt x="0" y="45"/>
                    </a:moveTo>
                    <a:lnTo>
                      <a:pt x="18" y="89"/>
                    </a:lnTo>
                    <a:lnTo>
                      <a:pt x="6" y="189"/>
                    </a:lnTo>
                    <a:lnTo>
                      <a:pt x="18" y="200"/>
                    </a:lnTo>
                    <a:lnTo>
                      <a:pt x="11" y="223"/>
                    </a:lnTo>
                    <a:lnTo>
                      <a:pt x="6" y="256"/>
                    </a:lnTo>
                    <a:lnTo>
                      <a:pt x="18" y="311"/>
                    </a:lnTo>
                    <a:lnTo>
                      <a:pt x="31" y="434"/>
                    </a:lnTo>
                    <a:lnTo>
                      <a:pt x="37" y="434"/>
                    </a:lnTo>
                    <a:lnTo>
                      <a:pt x="56" y="400"/>
                    </a:lnTo>
                    <a:lnTo>
                      <a:pt x="87" y="434"/>
                    </a:lnTo>
                    <a:lnTo>
                      <a:pt x="87" y="413"/>
                    </a:lnTo>
                    <a:lnTo>
                      <a:pt x="112" y="423"/>
                    </a:lnTo>
                    <a:lnTo>
                      <a:pt x="119" y="335"/>
                    </a:lnTo>
                    <a:lnTo>
                      <a:pt x="169" y="311"/>
                    </a:lnTo>
                    <a:lnTo>
                      <a:pt x="181" y="346"/>
                    </a:lnTo>
                    <a:lnTo>
                      <a:pt x="187" y="279"/>
                    </a:lnTo>
                    <a:lnTo>
                      <a:pt x="181" y="223"/>
                    </a:lnTo>
                    <a:lnTo>
                      <a:pt x="149" y="223"/>
                    </a:lnTo>
                    <a:lnTo>
                      <a:pt x="144" y="133"/>
                    </a:lnTo>
                    <a:lnTo>
                      <a:pt x="75" y="79"/>
                    </a:lnTo>
                    <a:lnTo>
                      <a:pt x="69" y="0"/>
                    </a:lnTo>
                    <a:lnTo>
                      <a:pt x="25" y="45"/>
                    </a:lnTo>
                    <a:lnTo>
                      <a:pt x="0" y="4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767" name="Freeform 75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3771559" y="5038295"/>
              <a:ext cx="344842" cy="344488"/>
            </a:xfrm>
            <a:custGeom>
              <a:avLst/>
              <a:gdLst>
                <a:gd name="T0" fmla="*/ 0 w 187"/>
                <a:gd name="T1" fmla="*/ 2147483647 h 434"/>
                <a:gd name="T2" fmla="*/ 2147483647 w 187"/>
                <a:gd name="T3" fmla="*/ 2147483647 h 434"/>
                <a:gd name="T4" fmla="*/ 2147483647 w 187"/>
                <a:gd name="T5" fmla="*/ 2147483647 h 434"/>
                <a:gd name="T6" fmla="*/ 2147483647 w 187"/>
                <a:gd name="T7" fmla="*/ 2147483647 h 434"/>
                <a:gd name="T8" fmla="*/ 2147483647 w 187"/>
                <a:gd name="T9" fmla="*/ 2147483647 h 434"/>
                <a:gd name="T10" fmla="*/ 2147483647 w 187"/>
                <a:gd name="T11" fmla="*/ 2147483647 h 434"/>
                <a:gd name="T12" fmla="*/ 2147483647 w 187"/>
                <a:gd name="T13" fmla="*/ 2147483647 h 434"/>
                <a:gd name="T14" fmla="*/ 2147483647 w 187"/>
                <a:gd name="T15" fmla="*/ 2147483647 h 434"/>
                <a:gd name="T16" fmla="*/ 2147483647 w 187"/>
                <a:gd name="T17" fmla="*/ 2147483647 h 434"/>
                <a:gd name="T18" fmla="*/ 2147483647 w 187"/>
                <a:gd name="T19" fmla="*/ 2147483647 h 434"/>
                <a:gd name="T20" fmla="*/ 2147483647 w 187"/>
                <a:gd name="T21" fmla="*/ 2147483647 h 434"/>
                <a:gd name="T22" fmla="*/ 2147483647 w 187"/>
                <a:gd name="T23" fmla="*/ 2147483647 h 434"/>
                <a:gd name="T24" fmla="*/ 2147483647 w 187"/>
                <a:gd name="T25" fmla="*/ 2147483647 h 434"/>
                <a:gd name="T26" fmla="*/ 2147483647 w 187"/>
                <a:gd name="T27" fmla="*/ 2147483647 h 434"/>
                <a:gd name="T28" fmla="*/ 2147483647 w 187"/>
                <a:gd name="T29" fmla="*/ 2147483647 h 434"/>
                <a:gd name="T30" fmla="*/ 2147483647 w 187"/>
                <a:gd name="T31" fmla="*/ 2147483647 h 434"/>
                <a:gd name="T32" fmla="*/ 2147483647 w 187"/>
                <a:gd name="T33" fmla="*/ 2147483647 h 434"/>
                <a:gd name="T34" fmla="*/ 2147483647 w 187"/>
                <a:gd name="T35" fmla="*/ 2147483647 h 434"/>
                <a:gd name="T36" fmla="*/ 2147483647 w 187"/>
                <a:gd name="T37" fmla="*/ 2147483647 h 434"/>
                <a:gd name="T38" fmla="*/ 2147483647 w 187"/>
                <a:gd name="T39" fmla="*/ 2147483647 h 434"/>
                <a:gd name="T40" fmla="*/ 2147483647 w 187"/>
                <a:gd name="T41" fmla="*/ 2147483647 h 434"/>
                <a:gd name="T42" fmla="*/ 2147483647 w 187"/>
                <a:gd name="T43" fmla="*/ 0 h 434"/>
                <a:gd name="T44" fmla="*/ 2147483647 w 187"/>
                <a:gd name="T45" fmla="*/ 2147483647 h 434"/>
                <a:gd name="T46" fmla="*/ 0 w 187"/>
                <a:gd name="T47" fmla="*/ 2147483647 h 43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87" h="434">
                  <a:moveTo>
                    <a:pt x="0" y="45"/>
                  </a:moveTo>
                  <a:lnTo>
                    <a:pt x="18" y="89"/>
                  </a:lnTo>
                  <a:lnTo>
                    <a:pt x="6" y="189"/>
                  </a:lnTo>
                  <a:lnTo>
                    <a:pt x="18" y="200"/>
                  </a:lnTo>
                  <a:lnTo>
                    <a:pt x="11" y="223"/>
                  </a:lnTo>
                  <a:lnTo>
                    <a:pt x="6" y="256"/>
                  </a:lnTo>
                  <a:lnTo>
                    <a:pt x="18" y="311"/>
                  </a:lnTo>
                  <a:lnTo>
                    <a:pt x="31" y="434"/>
                  </a:lnTo>
                  <a:lnTo>
                    <a:pt x="37" y="434"/>
                  </a:lnTo>
                  <a:lnTo>
                    <a:pt x="56" y="400"/>
                  </a:lnTo>
                  <a:lnTo>
                    <a:pt x="87" y="434"/>
                  </a:lnTo>
                  <a:lnTo>
                    <a:pt x="87" y="413"/>
                  </a:lnTo>
                  <a:lnTo>
                    <a:pt x="112" y="423"/>
                  </a:lnTo>
                  <a:lnTo>
                    <a:pt x="119" y="335"/>
                  </a:lnTo>
                  <a:lnTo>
                    <a:pt x="169" y="311"/>
                  </a:lnTo>
                  <a:lnTo>
                    <a:pt x="181" y="346"/>
                  </a:lnTo>
                  <a:lnTo>
                    <a:pt x="187" y="279"/>
                  </a:lnTo>
                  <a:lnTo>
                    <a:pt x="181" y="223"/>
                  </a:lnTo>
                  <a:lnTo>
                    <a:pt x="149" y="223"/>
                  </a:lnTo>
                  <a:lnTo>
                    <a:pt x="144" y="133"/>
                  </a:lnTo>
                  <a:lnTo>
                    <a:pt x="75" y="79"/>
                  </a:lnTo>
                  <a:lnTo>
                    <a:pt x="69" y="0"/>
                  </a:lnTo>
                  <a:lnTo>
                    <a:pt x="25" y="4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768" name="Group 76"/>
            <p:cNvGrpSpPr>
              <a:grpSpLocks/>
            </p:cNvGrpSpPr>
            <p:nvPr>
              <p:custDataLst>
                <p:tags r:id="rId63"/>
              </p:custDataLst>
            </p:nvPr>
          </p:nvGrpSpPr>
          <p:grpSpPr bwMode="auto">
            <a:xfrm>
              <a:off x="3771559" y="5038295"/>
              <a:ext cx="344842" cy="344488"/>
              <a:chOff x="1857" y="2804"/>
              <a:chExt cx="187" cy="21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23" name="Freeform 77"/>
              <p:cNvSpPr>
                <a:spLocks/>
              </p:cNvSpPr>
              <p:nvPr/>
            </p:nvSpPr>
            <p:spPr bwMode="auto">
              <a:xfrm>
                <a:off x="1857" y="2804"/>
                <a:ext cx="187" cy="217"/>
              </a:xfrm>
              <a:custGeom>
                <a:avLst/>
                <a:gdLst>
                  <a:gd name="T0" fmla="*/ 0 w 187"/>
                  <a:gd name="T1" fmla="*/ 1 h 434"/>
                  <a:gd name="T2" fmla="*/ 18 w 187"/>
                  <a:gd name="T3" fmla="*/ 1 h 434"/>
                  <a:gd name="T4" fmla="*/ 6 w 187"/>
                  <a:gd name="T5" fmla="*/ 1 h 434"/>
                  <a:gd name="T6" fmla="*/ 18 w 187"/>
                  <a:gd name="T7" fmla="*/ 1 h 434"/>
                  <a:gd name="T8" fmla="*/ 11 w 187"/>
                  <a:gd name="T9" fmla="*/ 1 h 434"/>
                  <a:gd name="T10" fmla="*/ 6 w 187"/>
                  <a:gd name="T11" fmla="*/ 1 h 434"/>
                  <a:gd name="T12" fmla="*/ 18 w 187"/>
                  <a:gd name="T13" fmla="*/ 1 h 434"/>
                  <a:gd name="T14" fmla="*/ 31 w 187"/>
                  <a:gd name="T15" fmla="*/ 1 h 434"/>
                  <a:gd name="T16" fmla="*/ 37 w 187"/>
                  <a:gd name="T17" fmla="*/ 1 h 434"/>
                  <a:gd name="T18" fmla="*/ 56 w 187"/>
                  <a:gd name="T19" fmla="*/ 1 h 434"/>
                  <a:gd name="T20" fmla="*/ 87 w 187"/>
                  <a:gd name="T21" fmla="*/ 1 h 434"/>
                  <a:gd name="T22" fmla="*/ 87 w 187"/>
                  <a:gd name="T23" fmla="*/ 1 h 434"/>
                  <a:gd name="T24" fmla="*/ 112 w 187"/>
                  <a:gd name="T25" fmla="*/ 1 h 434"/>
                  <a:gd name="T26" fmla="*/ 119 w 187"/>
                  <a:gd name="T27" fmla="*/ 1 h 434"/>
                  <a:gd name="T28" fmla="*/ 169 w 187"/>
                  <a:gd name="T29" fmla="*/ 1 h 434"/>
                  <a:gd name="T30" fmla="*/ 181 w 187"/>
                  <a:gd name="T31" fmla="*/ 1 h 434"/>
                  <a:gd name="T32" fmla="*/ 187 w 187"/>
                  <a:gd name="T33" fmla="*/ 1 h 434"/>
                  <a:gd name="T34" fmla="*/ 181 w 187"/>
                  <a:gd name="T35" fmla="*/ 1 h 434"/>
                  <a:gd name="T36" fmla="*/ 149 w 187"/>
                  <a:gd name="T37" fmla="*/ 1 h 434"/>
                  <a:gd name="T38" fmla="*/ 144 w 187"/>
                  <a:gd name="T39" fmla="*/ 1 h 434"/>
                  <a:gd name="T40" fmla="*/ 75 w 187"/>
                  <a:gd name="T41" fmla="*/ 1 h 434"/>
                  <a:gd name="T42" fmla="*/ 69 w 187"/>
                  <a:gd name="T43" fmla="*/ 0 h 434"/>
                  <a:gd name="T44" fmla="*/ 25 w 187"/>
                  <a:gd name="T45" fmla="*/ 1 h 434"/>
                  <a:gd name="T46" fmla="*/ 0 w 187"/>
                  <a:gd name="T47" fmla="*/ 1 h 43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87" h="434">
                    <a:moveTo>
                      <a:pt x="0" y="45"/>
                    </a:moveTo>
                    <a:lnTo>
                      <a:pt x="18" y="89"/>
                    </a:lnTo>
                    <a:lnTo>
                      <a:pt x="6" y="189"/>
                    </a:lnTo>
                    <a:lnTo>
                      <a:pt x="18" y="200"/>
                    </a:lnTo>
                    <a:lnTo>
                      <a:pt x="11" y="223"/>
                    </a:lnTo>
                    <a:lnTo>
                      <a:pt x="6" y="256"/>
                    </a:lnTo>
                    <a:lnTo>
                      <a:pt x="18" y="311"/>
                    </a:lnTo>
                    <a:lnTo>
                      <a:pt x="31" y="434"/>
                    </a:lnTo>
                    <a:lnTo>
                      <a:pt x="37" y="434"/>
                    </a:lnTo>
                    <a:lnTo>
                      <a:pt x="56" y="400"/>
                    </a:lnTo>
                    <a:lnTo>
                      <a:pt x="87" y="434"/>
                    </a:lnTo>
                    <a:lnTo>
                      <a:pt x="87" y="413"/>
                    </a:lnTo>
                    <a:lnTo>
                      <a:pt x="112" y="423"/>
                    </a:lnTo>
                    <a:lnTo>
                      <a:pt x="119" y="335"/>
                    </a:lnTo>
                    <a:lnTo>
                      <a:pt x="169" y="311"/>
                    </a:lnTo>
                    <a:lnTo>
                      <a:pt x="181" y="346"/>
                    </a:lnTo>
                    <a:lnTo>
                      <a:pt x="187" y="279"/>
                    </a:lnTo>
                    <a:lnTo>
                      <a:pt x="181" y="223"/>
                    </a:lnTo>
                    <a:lnTo>
                      <a:pt x="149" y="223"/>
                    </a:lnTo>
                    <a:lnTo>
                      <a:pt x="144" y="133"/>
                    </a:lnTo>
                    <a:lnTo>
                      <a:pt x="75" y="79"/>
                    </a:lnTo>
                    <a:lnTo>
                      <a:pt x="69" y="0"/>
                    </a:lnTo>
                    <a:lnTo>
                      <a:pt x="25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24" name="Freeform 78"/>
              <p:cNvSpPr>
                <a:spLocks/>
              </p:cNvSpPr>
              <p:nvPr/>
            </p:nvSpPr>
            <p:spPr bwMode="auto">
              <a:xfrm>
                <a:off x="1857" y="2804"/>
                <a:ext cx="187" cy="217"/>
              </a:xfrm>
              <a:custGeom>
                <a:avLst/>
                <a:gdLst>
                  <a:gd name="T0" fmla="*/ 0 w 187"/>
                  <a:gd name="T1" fmla="*/ 1 h 434"/>
                  <a:gd name="T2" fmla="*/ 18 w 187"/>
                  <a:gd name="T3" fmla="*/ 1 h 434"/>
                  <a:gd name="T4" fmla="*/ 6 w 187"/>
                  <a:gd name="T5" fmla="*/ 1 h 434"/>
                  <a:gd name="T6" fmla="*/ 18 w 187"/>
                  <a:gd name="T7" fmla="*/ 1 h 434"/>
                  <a:gd name="T8" fmla="*/ 11 w 187"/>
                  <a:gd name="T9" fmla="*/ 1 h 434"/>
                  <a:gd name="T10" fmla="*/ 6 w 187"/>
                  <a:gd name="T11" fmla="*/ 1 h 434"/>
                  <a:gd name="T12" fmla="*/ 18 w 187"/>
                  <a:gd name="T13" fmla="*/ 1 h 434"/>
                  <a:gd name="T14" fmla="*/ 31 w 187"/>
                  <a:gd name="T15" fmla="*/ 1 h 434"/>
                  <a:gd name="T16" fmla="*/ 37 w 187"/>
                  <a:gd name="T17" fmla="*/ 1 h 434"/>
                  <a:gd name="T18" fmla="*/ 56 w 187"/>
                  <a:gd name="T19" fmla="*/ 1 h 434"/>
                  <a:gd name="T20" fmla="*/ 87 w 187"/>
                  <a:gd name="T21" fmla="*/ 1 h 434"/>
                  <a:gd name="T22" fmla="*/ 87 w 187"/>
                  <a:gd name="T23" fmla="*/ 1 h 434"/>
                  <a:gd name="T24" fmla="*/ 112 w 187"/>
                  <a:gd name="T25" fmla="*/ 1 h 434"/>
                  <a:gd name="T26" fmla="*/ 119 w 187"/>
                  <a:gd name="T27" fmla="*/ 1 h 434"/>
                  <a:gd name="T28" fmla="*/ 169 w 187"/>
                  <a:gd name="T29" fmla="*/ 1 h 434"/>
                  <a:gd name="T30" fmla="*/ 181 w 187"/>
                  <a:gd name="T31" fmla="*/ 1 h 434"/>
                  <a:gd name="T32" fmla="*/ 187 w 187"/>
                  <a:gd name="T33" fmla="*/ 1 h 434"/>
                  <a:gd name="T34" fmla="*/ 181 w 187"/>
                  <a:gd name="T35" fmla="*/ 1 h 434"/>
                  <a:gd name="T36" fmla="*/ 149 w 187"/>
                  <a:gd name="T37" fmla="*/ 1 h 434"/>
                  <a:gd name="T38" fmla="*/ 144 w 187"/>
                  <a:gd name="T39" fmla="*/ 1 h 434"/>
                  <a:gd name="T40" fmla="*/ 75 w 187"/>
                  <a:gd name="T41" fmla="*/ 1 h 434"/>
                  <a:gd name="T42" fmla="*/ 69 w 187"/>
                  <a:gd name="T43" fmla="*/ 0 h 434"/>
                  <a:gd name="T44" fmla="*/ 25 w 187"/>
                  <a:gd name="T45" fmla="*/ 1 h 434"/>
                  <a:gd name="T46" fmla="*/ 0 w 187"/>
                  <a:gd name="T47" fmla="*/ 1 h 43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87" h="434">
                    <a:moveTo>
                      <a:pt x="0" y="45"/>
                    </a:moveTo>
                    <a:lnTo>
                      <a:pt x="18" y="89"/>
                    </a:lnTo>
                    <a:lnTo>
                      <a:pt x="6" y="189"/>
                    </a:lnTo>
                    <a:lnTo>
                      <a:pt x="18" y="200"/>
                    </a:lnTo>
                    <a:lnTo>
                      <a:pt x="11" y="223"/>
                    </a:lnTo>
                    <a:lnTo>
                      <a:pt x="6" y="256"/>
                    </a:lnTo>
                    <a:lnTo>
                      <a:pt x="18" y="311"/>
                    </a:lnTo>
                    <a:lnTo>
                      <a:pt x="31" y="434"/>
                    </a:lnTo>
                    <a:lnTo>
                      <a:pt x="37" y="434"/>
                    </a:lnTo>
                    <a:lnTo>
                      <a:pt x="56" y="400"/>
                    </a:lnTo>
                    <a:lnTo>
                      <a:pt x="87" y="434"/>
                    </a:lnTo>
                    <a:lnTo>
                      <a:pt x="87" y="413"/>
                    </a:lnTo>
                    <a:lnTo>
                      <a:pt x="112" y="423"/>
                    </a:lnTo>
                    <a:lnTo>
                      <a:pt x="119" y="335"/>
                    </a:lnTo>
                    <a:lnTo>
                      <a:pt x="169" y="311"/>
                    </a:lnTo>
                    <a:lnTo>
                      <a:pt x="181" y="346"/>
                    </a:lnTo>
                    <a:lnTo>
                      <a:pt x="187" y="279"/>
                    </a:lnTo>
                    <a:lnTo>
                      <a:pt x="181" y="223"/>
                    </a:lnTo>
                    <a:lnTo>
                      <a:pt x="149" y="223"/>
                    </a:lnTo>
                    <a:lnTo>
                      <a:pt x="144" y="133"/>
                    </a:lnTo>
                    <a:lnTo>
                      <a:pt x="75" y="79"/>
                    </a:lnTo>
                    <a:lnTo>
                      <a:pt x="69" y="0"/>
                    </a:lnTo>
                    <a:lnTo>
                      <a:pt x="25" y="45"/>
                    </a:lnTo>
                    <a:lnTo>
                      <a:pt x="0" y="45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769" name="Freeform 79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3655278" y="4665269"/>
              <a:ext cx="1122742" cy="1017587"/>
            </a:xfrm>
            <a:custGeom>
              <a:avLst/>
              <a:gdLst>
                <a:gd name="T0" fmla="*/ 2147483647 w 607"/>
                <a:gd name="T1" fmla="*/ 2147483647 h 1281"/>
                <a:gd name="T2" fmla="*/ 2147483647 w 607"/>
                <a:gd name="T3" fmla="*/ 2147483647 h 1281"/>
                <a:gd name="T4" fmla="*/ 2147483647 w 607"/>
                <a:gd name="T5" fmla="*/ 2147483647 h 1281"/>
                <a:gd name="T6" fmla="*/ 2147483647 w 607"/>
                <a:gd name="T7" fmla="*/ 2147483647 h 1281"/>
                <a:gd name="T8" fmla="*/ 2147483647 w 607"/>
                <a:gd name="T9" fmla="*/ 2147483647 h 1281"/>
                <a:gd name="T10" fmla="*/ 2147483647 w 607"/>
                <a:gd name="T11" fmla="*/ 2147483647 h 1281"/>
                <a:gd name="T12" fmla="*/ 2147483647 w 607"/>
                <a:gd name="T13" fmla="*/ 2147483647 h 1281"/>
                <a:gd name="T14" fmla="*/ 2147483647 w 607"/>
                <a:gd name="T15" fmla="*/ 2147483647 h 1281"/>
                <a:gd name="T16" fmla="*/ 2147483647 w 607"/>
                <a:gd name="T17" fmla="*/ 2147483647 h 1281"/>
                <a:gd name="T18" fmla="*/ 2147483647 w 607"/>
                <a:gd name="T19" fmla="*/ 2147483647 h 1281"/>
                <a:gd name="T20" fmla="*/ 2147483647 w 607"/>
                <a:gd name="T21" fmla="*/ 2147483647 h 1281"/>
                <a:gd name="T22" fmla="*/ 2147483647 w 607"/>
                <a:gd name="T23" fmla="*/ 2147483647 h 1281"/>
                <a:gd name="T24" fmla="*/ 2147483647 w 607"/>
                <a:gd name="T25" fmla="*/ 2147483647 h 1281"/>
                <a:gd name="T26" fmla="*/ 2147483647 w 607"/>
                <a:gd name="T27" fmla="*/ 2147483647 h 1281"/>
                <a:gd name="T28" fmla="*/ 2147483647 w 607"/>
                <a:gd name="T29" fmla="*/ 2147483647 h 1281"/>
                <a:gd name="T30" fmla="*/ 2147483647 w 607"/>
                <a:gd name="T31" fmla="*/ 2147483647 h 1281"/>
                <a:gd name="T32" fmla="*/ 2147483647 w 607"/>
                <a:gd name="T33" fmla="*/ 2147483647 h 1281"/>
                <a:gd name="T34" fmla="*/ 2147483647 w 607"/>
                <a:gd name="T35" fmla="*/ 2147483647 h 1281"/>
                <a:gd name="T36" fmla="*/ 2147483647 w 607"/>
                <a:gd name="T37" fmla="*/ 2147483647 h 1281"/>
                <a:gd name="T38" fmla="*/ 2147483647 w 607"/>
                <a:gd name="T39" fmla="*/ 2147483647 h 1281"/>
                <a:gd name="T40" fmla="*/ 2147483647 w 607"/>
                <a:gd name="T41" fmla="*/ 2147483647 h 1281"/>
                <a:gd name="T42" fmla="*/ 2147483647 w 607"/>
                <a:gd name="T43" fmla="*/ 2147483647 h 1281"/>
                <a:gd name="T44" fmla="*/ 2147483647 w 607"/>
                <a:gd name="T45" fmla="*/ 2147483647 h 1281"/>
                <a:gd name="T46" fmla="*/ 2147483647 w 607"/>
                <a:gd name="T47" fmla="*/ 2147483647 h 1281"/>
                <a:gd name="T48" fmla="*/ 2147483647 w 607"/>
                <a:gd name="T49" fmla="*/ 2147483647 h 1281"/>
                <a:gd name="T50" fmla="*/ 2147483647 w 607"/>
                <a:gd name="T51" fmla="*/ 2147483647 h 1281"/>
                <a:gd name="T52" fmla="*/ 2147483647 w 607"/>
                <a:gd name="T53" fmla="*/ 2147483647 h 1281"/>
                <a:gd name="T54" fmla="*/ 2147483647 w 607"/>
                <a:gd name="T55" fmla="*/ 0 h 1281"/>
                <a:gd name="T56" fmla="*/ 2147483647 w 607"/>
                <a:gd name="T57" fmla="*/ 2147483647 h 1281"/>
                <a:gd name="T58" fmla="*/ 2147483647 w 607"/>
                <a:gd name="T59" fmla="*/ 2147483647 h 1281"/>
                <a:gd name="T60" fmla="*/ 2147483647 w 607"/>
                <a:gd name="T61" fmla="*/ 2147483647 h 1281"/>
                <a:gd name="T62" fmla="*/ 2147483647 w 607"/>
                <a:gd name="T63" fmla="*/ 2147483647 h 1281"/>
                <a:gd name="T64" fmla="*/ 2147483647 w 607"/>
                <a:gd name="T65" fmla="*/ 2147483647 h 1281"/>
                <a:gd name="T66" fmla="*/ 2147483647 w 607"/>
                <a:gd name="T67" fmla="*/ 2147483647 h 1281"/>
                <a:gd name="T68" fmla="*/ 0 w 607"/>
                <a:gd name="T69" fmla="*/ 2147483647 h 12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607" h="1281">
                  <a:moveTo>
                    <a:pt x="0" y="399"/>
                  </a:moveTo>
                  <a:lnTo>
                    <a:pt x="19" y="468"/>
                  </a:lnTo>
                  <a:lnTo>
                    <a:pt x="38" y="478"/>
                  </a:lnTo>
                  <a:lnTo>
                    <a:pt x="55" y="457"/>
                  </a:lnTo>
                  <a:lnTo>
                    <a:pt x="55" y="513"/>
                  </a:lnTo>
                  <a:lnTo>
                    <a:pt x="69" y="513"/>
                  </a:lnTo>
                  <a:lnTo>
                    <a:pt x="88" y="513"/>
                  </a:lnTo>
                  <a:lnTo>
                    <a:pt x="132" y="468"/>
                  </a:lnTo>
                  <a:lnTo>
                    <a:pt x="138" y="545"/>
                  </a:lnTo>
                  <a:lnTo>
                    <a:pt x="207" y="601"/>
                  </a:lnTo>
                  <a:lnTo>
                    <a:pt x="212" y="689"/>
                  </a:lnTo>
                  <a:lnTo>
                    <a:pt x="244" y="689"/>
                  </a:lnTo>
                  <a:lnTo>
                    <a:pt x="250" y="747"/>
                  </a:lnTo>
                  <a:lnTo>
                    <a:pt x="250" y="812"/>
                  </a:lnTo>
                  <a:lnTo>
                    <a:pt x="250" y="879"/>
                  </a:lnTo>
                  <a:lnTo>
                    <a:pt x="281" y="891"/>
                  </a:lnTo>
                  <a:lnTo>
                    <a:pt x="288" y="935"/>
                  </a:lnTo>
                  <a:lnTo>
                    <a:pt x="299" y="947"/>
                  </a:lnTo>
                  <a:lnTo>
                    <a:pt x="299" y="1000"/>
                  </a:lnTo>
                  <a:lnTo>
                    <a:pt x="313" y="1000"/>
                  </a:lnTo>
                  <a:lnTo>
                    <a:pt x="313" y="1046"/>
                  </a:lnTo>
                  <a:lnTo>
                    <a:pt x="257" y="1158"/>
                  </a:lnTo>
                  <a:lnTo>
                    <a:pt x="263" y="1146"/>
                  </a:lnTo>
                  <a:lnTo>
                    <a:pt x="313" y="1214"/>
                  </a:lnTo>
                  <a:lnTo>
                    <a:pt x="319" y="1246"/>
                  </a:lnTo>
                  <a:lnTo>
                    <a:pt x="319" y="1281"/>
                  </a:lnTo>
                  <a:lnTo>
                    <a:pt x="394" y="1093"/>
                  </a:lnTo>
                  <a:lnTo>
                    <a:pt x="394" y="991"/>
                  </a:lnTo>
                  <a:lnTo>
                    <a:pt x="457" y="902"/>
                  </a:lnTo>
                  <a:lnTo>
                    <a:pt x="494" y="902"/>
                  </a:lnTo>
                  <a:lnTo>
                    <a:pt x="506" y="879"/>
                  </a:lnTo>
                  <a:lnTo>
                    <a:pt x="538" y="724"/>
                  </a:lnTo>
                  <a:lnTo>
                    <a:pt x="538" y="580"/>
                  </a:lnTo>
                  <a:lnTo>
                    <a:pt x="601" y="445"/>
                  </a:lnTo>
                  <a:lnTo>
                    <a:pt x="607" y="390"/>
                  </a:lnTo>
                  <a:lnTo>
                    <a:pt x="601" y="334"/>
                  </a:lnTo>
                  <a:lnTo>
                    <a:pt x="569" y="324"/>
                  </a:lnTo>
                  <a:lnTo>
                    <a:pt x="532" y="267"/>
                  </a:lnTo>
                  <a:lnTo>
                    <a:pt x="457" y="246"/>
                  </a:lnTo>
                  <a:lnTo>
                    <a:pt x="450" y="211"/>
                  </a:lnTo>
                  <a:lnTo>
                    <a:pt x="419" y="190"/>
                  </a:lnTo>
                  <a:lnTo>
                    <a:pt x="400" y="190"/>
                  </a:lnTo>
                  <a:lnTo>
                    <a:pt x="382" y="246"/>
                  </a:lnTo>
                  <a:lnTo>
                    <a:pt x="382" y="223"/>
                  </a:lnTo>
                  <a:lnTo>
                    <a:pt x="350" y="234"/>
                  </a:lnTo>
                  <a:lnTo>
                    <a:pt x="363" y="223"/>
                  </a:lnTo>
                  <a:lnTo>
                    <a:pt x="350" y="178"/>
                  </a:lnTo>
                  <a:lnTo>
                    <a:pt x="375" y="111"/>
                  </a:lnTo>
                  <a:lnTo>
                    <a:pt x="350" y="34"/>
                  </a:lnTo>
                  <a:lnTo>
                    <a:pt x="325" y="100"/>
                  </a:lnTo>
                  <a:lnTo>
                    <a:pt x="299" y="88"/>
                  </a:lnTo>
                  <a:lnTo>
                    <a:pt x="269" y="100"/>
                  </a:lnTo>
                  <a:lnTo>
                    <a:pt x="225" y="123"/>
                  </a:lnTo>
                  <a:lnTo>
                    <a:pt x="219" y="78"/>
                  </a:lnTo>
                  <a:lnTo>
                    <a:pt x="219" y="23"/>
                  </a:lnTo>
                  <a:lnTo>
                    <a:pt x="207" y="0"/>
                  </a:lnTo>
                  <a:lnTo>
                    <a:pt x="169" y="34"/>
                  </a:lnTo>
                  <a:lnTo>
                    <a:pt x="143" y="23"/>
                  </a:lnTo>
                  <a:lnTo>
                    <a:pt x="150" y="88"/>
                  </a:lnTo>
                  <a:lnTo>
                    <a:pt x="163" y="88"/>
                  </a:lnTo>
                  <a:lnTo>
                    <a:pt x="125" y="146"/>
                  </a:lnTo>
                  <a:lnTo>
                    <a:pt x="113" y="123"/>
                  </a:lnTo>
                  <a:lnTo>
                    <a:pt x="100" y="100"/>
                  </a:lnTo>
                  <a:lnTo>
                    <a:pt x="63" y="111"/>
                  </a:lnTo>
                  <a:lnTo>
                    <a:pt x="74" y="146"/>
                  </a:lnTo>
                  <a:lnTo>
                    <a:pt x="63" y="146"/>
                  </a:lnTo>
                  <a:lnTo>
                    <a:pt x="69" y="201"/>
                  </a:lnTo>
                  <a:lnTo>
                    <a:pt x="63" y="301"/>
                  </a:lnTo>
                  <a:lnTo>
                    <a:pt x="25" y="324"/>
                  </a:lnTo>
                  <a:lnTo>
                    <a:pt x="0" y="39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770" name="Group 80"/>
            <p:cNvGrpSpPr>
              <a:grpSpLocks/>
            </p:cNvGrpSpPr>
            <p:nvPr>
              <p:custDataLst>
                <p:tags r:id="rId65"/>
              </p:custDataLst>
            </p:nvPr>
          </p:nvGrpSpPr>
          <p:grpSpPr bwMode="auto">
            <a:xfrm>
              <a:off x="3655278" y="4665269"/>
              <a:ext cx="1122742" cy="1017587"/>
              <a:chOff x="1794" y="2569"/>
              <a:chExt cx="607" cy="64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21" name="Freeform 81"/>
              <p:cNvSpPr>
                <a:spLocks/>
              </p:cNvSpPr>
              <p:nvPr/>
            </p:nvSpPr>
            <p:spPr bwMode="auto">
              <a:xfrm>
                <a:off x="1794" y="2569"/>
                <a:ext cx="607" cy="641"/>
              </a:xfrm>
              <a:custGeom>
                <a:avLst/>
                <a:gdLst>
                  <a:gd name="T0" fmla="*/ 19 w 607"/>
                  <a:gd name="T1" fmla="*/ 1 h 1281"/>
                  <a:gd name="T2" fmla="*/ 55 w 607"/>
                  <a:gd name="T3" fmla="*/ 1 h 1281"/>
                  <a:gd name="T4" fmla="*/ 69 w 607"/>
                  <a:gd name="T5" fmla="*/ 1 h 1281"/>
                  <a:gd name="T6" fmla="*/ 132 w 607"/>
                  <a:gd name="T7" fmla="*/ 1 h 1281"/>
                  <a:gd name="T8" fmla="*/ 207 w 607"/>
                  <a:gd name="T9" fmla="*/ 1 h 1281"/>
                  <a:gd name="T10" fmla="*/ 244 w 607"/>
                  <a:gd name="T11" fmla="*/ 1 h 1281"/>
                  <a:gd name="T12" fmla="*/ 250 w 607"/>
                  <a:gd name="T13" fmla="*/ 1 h 1281"/>
                  <a:gd name="T14" fmla="*/ 281 w 607"/>
                  <a:gd name="T15" fmla="*/ 1 h 1281"/>
                  <a:gd name="T16" fmla="*/ 299 w 607"/>
                  <a:gd name="T17" fmla="*/ 1 h 1281"/>
                  <a:gd name="T18" fmla="*/ 313 w 607"/>
                  <a:gd name="T19" fmla="*/ 1 h 1281"/>
                  <a:gd name="T20" fmla="*/ 257 w 607"/>
                  <a:gd name="T21" fmla="*/ 1 h 1281"/>
                  <a:gd name="T22" fmla="*/ 313 w 607"/>
                  <a:gd name="T23" fmla="*/ 1 h 1281"/>
                  <a:gd name="T24" fmla="*/ 319 w 607"/>
                  <a:gd name="T25" fmla="*/ 1 h 1281"/>
                  <a:gd name="T26" fmla="*/ 394 w 607"/>
                  <a:gd name="T27" fmla="*/ 1 h 1281"/>
                  <a:gd name="T28" fmla="*/ 494 w 607"/>
                  <a:gd name="T29" fmla="*/ 1 h 1281"/>
                  <a:gd name="T30" fmla="*/ 538 w 607"/>
                  <a:gd name="T31" fmla="*/ 1 h 1281"/>
                  <a:gd name="T32" fmla="*/ 601 w 607"/>
                  <a:gd name="T33" fmla="*/ 1 h 1281"/>
                  <a:gd name="T34" fmla="*/ 601 w 607"/>
                  <a:gd name="T35" fmla="*/ 1 h 1281"/>
                  <a:gd name="T36" fmla="*/ 532 w 607"/>
                  <a:gd name="T37" fmla="*/ 1 h 1281"/>
                  <a:gd name="T38" fmla="*/ 450 w 607"/>
                  <a:gd name="T39" fmla="*/ 1 h 1281"/>
                  <a:gd name="T40" fmla="*/ 400 w 607"/>
                  <a:gd name="T41" fmla="*/ 1 h 1281"/>
                  <a:gd name="T42" fmla="*/ 382 w 607"/>
                  <a:gd name="T43" fmla="*/ 1 h 1281"/>
                  <a:gd name="T44" fmla="*/ 363 w 607"/>
                  <a:gd name="T45" fmla="*/ 1 h 1281"/>
                  <a:gd name="T46" fmla="*/ 375 w 607"/>
                  <a:gd name="T47" fmla="*/ 1 h 1281"/>
                  <a:gd name="T48" fmla="*/ 325 w 607"/>
                  <a:gd name="T49" fmla="*/ 1 h 1281"/>
                  <a:gd name="T50" fmla="*/ 269 w 607"/>
                  <a:gd name="T51" fmla="*/ 1 h 1281"/>
                  <a:gd name="T52" fmla="*/ 219 w 607"/>
                  <a:gd name="T53" fmla="*/ 1 h 1281"/>
                  <a:gd name="T54" fmla="*/ 207 w 607"/>
                  <a:gd name="T55" fmla="*/ 0 h 1281"/>
                  <a:gd name="T56" fmla="*/ 143 w 607"/>
                  <a:gd name="T57" fmla="*/ 1 h 1281"/>
                  <a:gd name="T58" fmla="*/ 163 w 607"/>
                  <a:gd name="T59" fmla="*/ 1 h 1281"/>
                  <a:gd name="T60" fmla="*/ 113 w 607"/>
                  <a:gd name="T61" fmla="*/ 1 h 1281"/>
                  <a:gd name="T62" fmla="*/ 63 w 607"/>
                  <a:gd name="T63" fmla="*/ 1 h 1281"/>
                  <a:gd name="T64" fmla="*/ 63 w 607"/>
                  <a:gd name="T65" fmla="*/ 1 h 1281"/>
                  <a:gd name="T66" fmla="*/ 63 w 607"/>
                  <a:gd name="T67" fmla="*/ 1 h 1281"/>
                  <a:gd name="T68" fmla="*/ 0 w 607"/>
                  <a:gd name="T69" fmla="*/ 1 h 128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07" h="1281">
                    <a:moveTo>
                      <a:pt x="0" y="399"/>
                    </a:moveTo>
                    <a:lnTo>
                      <a:pt x="19" y="468"/>
                    </a:lnTo>
                    <a:lnTo>
                      <a:pt x="38" y="478"/>
                    </a:lnTo>
                    <a:lnTo>
                      <a:pt x="55" y="457"/>
                    </a:lnTo>
                    <a:lnTo>
                      <a:pt x="55" y="513"/>
                    </a:lnTo>
                    <a:lnTo>
                      <a:pt x="69" y="513"/>
                    </a:lnTo>
                    <a:lnTo>
                      <a:pt x="88" y="513"/>
                    </a:lnTo>
                    <a:lnTo>
                      <a:pt x="132" y="468"/>
                    </a:lnTo>
                    <a:lnTo>
                      <a:pt x="138" y="545"/>
                    </a:lnTo>
                    <a:lnTo>
                      <a:pt x="207" y="601"/>
                    </a:lnTo>
                    <a:lnTo>
                      <a:pt x="212" y="689"/>
                    </a:lnTo>
                    <a:lnTo>
                      <a:pt x="244" y="689"/>
                    </a:lnTo>
                    <a:lnTo>
                      <a:pt x="250" y="747"/>
                    </a:lnTo>
                    <a:lnTo>
                      <a:pt x="250" y="812"/>
                    </a:lnTo>
                    <a:lnTo>
                      <a:pt x="250" y="879"/>
                    </a:lnTo>
                    <a:lnTo>
                      <a:pt x="281" y="891"/>
                    </a:lnTo>
                    <a:lnTo>
                      <a:pt x="288" y="935"/>
                    </a:lnTo>
                    <a:lnTo>
                      <a:pt x="299" y="947"/>
                    </a:lnTo>
                    <a:lnTo>
                      <a:pt x="299" y="1000"/>
                    </a:lnTo>
                    <a:lnTo>
                      <a:pt x="313" y="1000"/>
                    </a:lnTo>
                    <a:lnTo>
                      <a:pt x="313" y="1046"/>
                    </a:lnTo>
                    <a:lnTo>
                      <a:pt x="257" y="1158"/>
                    </a:lnTo>
                    <a:lnTo>
                      <a:pt x="263" y="1146"/>
                    </a:lnTo>
                    <a:lnTo>
                      <a:pt x="313" y="1214"/>
                    </a:lnTo>
                    <a:lnTo>
                      <a:pt x="319" y="1246"/>
                    </a:lnTo>
                    <a:lnTo>
                      <a:pt x="319" y="1281"/>
                    </a:lnTo>
                    <a:lnTo>
                      <a:pt x="394" y="1093"/>
                    </a:lnTo>
                    <a:lnTo>
                      <a:pt x="394" y="991"/>
                    </a:lnTo>
                    <a:lnTo>
                      <a:pt x="457" y="902"/>
                    </a:lnTo>
                    <a:lnTo>
                      <a:pt x="494" y="902"/>
                    </a:lnTo>
                    <a:lnTo>
                      <a:pt x="506" y="879"/>
                    </a:lnTo>
                    <a:lnTo>
                      <a:pt x="538" y="724"/>
                    </a:lnTo>
                    <a:lnTo>
                      <a:pt x="538" y="580"/>
                    </a:lnTo>
                    <a:lnTo>
                      <a:pt x="601" y="445"/>
                    </a:lnTo>
                    <a:lnTo>
                      <a:pt x="607" y="390"/>
                    </a:lnTo>
                    <a:lnTo>
                      <a:pt x="601" y="334"/>
                    </a:lnTo>
                    <a:lnTo>
                      <a:pt x="569" y="324"/>
                    </a:lnTo>
                    <a:lnTo>
                      <a:pt x="532" y="267"/>
                    </a:lnTo>
                    <a:lnTo>
                      <a:pt x="457" y="246"/>
                    </a:lnTo>
                    <a:lnTo>
                      <a:pt x="450" y="211"/>
                    </a:lnTo>
                    <a:lnTo>
                      <a:pt x="419" y="190"/>
                    </a:lnTo>
                    <a:lnTo>
                      <a:pt x="400" y="190"/>
                    </a:lnTo>
                    <a:lnTo>
                      <a:pt x="382" y="246"/>
                    </a:lnTo>
                    <a:lnTo>
                      <a:pt x="382" y="223"/>
                    </a:lnTo>
                    <a:lnTo>
                      <a:pt x="350" y="234"/>
                    </a:lnTo>
                    <a:lnTo>
                      <a:pt x="363" y="223"/>
                    </a:lnTo>
                    <a:lnTo>
                      <a:pt x="350" y="178"/>
                    </a:lnTo>
                    <a:lnTo>
                      <a:pt x="375" y="111"/>
                    </a:lnTo>
                    <a:lnTo>
                      <a:pt x="350" y="34"/>
                    </a:lnTo>
                    <a:lnTo>
                      <a:pt x="325" y="100"/>
                    </a:lnTo>
                    <a:lnTo>
                      <a:pt x="299" y="88"/>
                    </a:lnTo>
                    <a:lnTo>
                      <a:pt x="269" y="100"/>
                    </a:lnTo>
                    <a:lnTo>
                      <a:pt x="225" y="123"/>
                    </a:lnTo>
                    <a:lnTo>
                      <a:pt x="219" y="78"/>
                    </a:lnTo>
                    <a:lnTo>
                      <a:pt x="219" y="23"/>
                    </a:lnTo>
                    <a:lnTo>
                      <a:pt x="207" y="0"/>
                    </a:lnTo>
                    <a:lnTo>
                      <a:pt x="169" y="34"/>
                    </a:lnTo>
                    <a:lnTo>
                      <a:pt x="143" y="23"/>
                    </a:lnTo>
                    <a:lnTo>
                      <a:pt x="150" y="88"/>
                    </a:lnTo>
                    <a:lnTo>
                      <a:pt x="163" y="88"/>
                    </a:lnTo>
                    <a:lnTo>
                      <a:pt x="125" y="146"/>
                    </a:lnTo>
                    <a:lnTo>
                      <a:pt x="113" y="123"/>
                    </a:lnTo>
                    <a:lnTo>
                      <a:pt x="100" y="100"/>
                    </a:lnTo>
                    <a:lnTo>
                      <a:pt x="63" y="111"/>
                    </a:lnTo>
                    <a:lnTo>
                      <a:pt x="74" y="146"/>
                    </a:lnTo>
                    <a:lnTo>
                      <a:pt x="63" y="146"/>
                    </a:lnTo>
                    <a:lnTo>
                      <a:pt x="69" y="201"/>
                    </a:lnTo>
                    <a:lnTo>
                      <a:pt x="63" y="301"/>
                    </a:lnTo>
                    <a:lnTo>
                      <a:pt x="25" y="324"/>
                    </a:lnTo>
                    <a:lnTo>
                      <a:pt x="0" y="399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22" name="Freeform 82"/>
              <p:cNvSpPr>
                <a:spLocks/>
              </p:cNvSpPr>
              <p:nvPr/>
            </p:nvSpPr>
            <p:spPr bwMode="auto">
              <a:xfrm>
                <a:off x="1794" y="2569"/>
                <a:ext cx="607" cy="641"/>
              </a:xfrm>
              <a:custGeom>
                <a:avLst/>
                <a:gdLst>
                  <a:gd name="T0" fmla="*/ 19 w 607"/>
                  <a:gd name="T1" fmla="*/ 1 h 1281"/>
                  <a:gd name="T2" fmla="*/ 55 w 607"/>
                  <a:gd name="T3" fmla="*/ 1 h 1281"/>
                  <a:gd name="T4" fmla="*/ 69 w 607"/>
                  <a:gd name="T5" fmla="*/ 1 h 1281"/>
                  <a:gd name="T6" fmla="*/ 132 w 607"/>
                  <a:gd name="T7" fmla="*/ 1 h 1281"/>
                  <a:gd name="T8" fmla="*/ 207 w 607"/>
                  <a:gd name="T9" fmla="*/ 1 h 1281"/>
                  <a:gd name="T10" fmla="*/ 244 w 607"/>
                  <a:gd name="T11" fmla="*/ 1 h 1281"/>
                  <a:gd name="T12" fmla="*/ 250 w 607"/>
                  <a:gd name="T13" fmla="*/ 1 h 1281"/>
                  <a:gd name="T14" fmla="*/ 281 w 607"/>
                  <a:gd name="T15" fmla="*/ 1 h 1281"/>
                  <a:gd name="T16" fmla="*/ 299 w 607"/>
                  <a:gd name="T17" fmla="*/ 1 h 1281"/>
                  <a:gd name="T18" fmla="*/ 313 w 607"/>
                  <a:gd name="T19" fmla="*/ 1 h 1281"/>
                  <a:gd name="T20" fmla="*/ 257 w 607"/>
                  <a:gd name="T21" fmla="*/ 1 h 1281"/>
                  <a:gd name="T22" fmla="*/ 313 w 607"/>
                  <a:gd name="T23" fmla="*/ 1 h 1281"/>
                  <a:gd name="T24" fmla="*/ 319 w 607"/>
                  <a:gd name="T25" fmla="*/ 1 h 1281"/>
                  <a:gd name="T26" fmla="*/ 394 w 607"/>
                  <a:gd name="T27" fmla="*/ 1 h 1281"/>
                  <a:gd name="T28" fmla="*/ 494 w 607"/>
                  <a:gd name="T29" fmla="*/ 1 h 1281"/>
                  <a:gd name="T30" fmla="*/ 538 w 607"/>
                  <a:gd name="T31" fmla="*/ 1 h 1281"/>
                  <a:gd name="T32" fmla="*/ 601 w 607"/>
                  <a:gd name="T33" fmla="*/ 1 h 1281"/>
                  <a:gd name="T34" fmla="*/ 601 w 607"/>
                  <a:gd name="T35" fmla="*/ 1 h 1281"/>
                  <a:gd name="T36" fmla="*/ 532 w 607"/>
                  <a:gd name="T37" fmla="*/ 1 h 1281"/>
                  <a:gd name="T38" fmla="*/ 450 w 607"/>
                  <a:gd name="T39" fmla="*/ 1 h 1281"/>
                  <a:gd name="T40" fmla="*/ 400 w 607"/>
                  <a:gd name="T41" fmla="*/ 1 h 1281"/>
                  <a:gd name="T42" fmla="*/ 382 w 607"/>
                  <a:gd name="T43" fmla="*/ 1 h 1281"/>
                  <a:gd name="T44" fmla="*/ 363 w 607"/>
                  <a:gd name="T45" fmla="*/ 1 h 1281"/>
                  <a:gd name="T46" fmla="*/ 375 w 607"/>
                  <a:gd name="T47" fmla="*/ 1 h 1281"/>
                  <a:gd name="T48" fmla="*/ 325 w 607"/>
                  <a:gd name="T49" fmla="*/ 1 h 1281"/>
                  <a:gd name="T50" fmla="*/ 269 w 607"/>
                  <a:gd name="T51" fmla="*/ 1 h 1281"/>
                  <a:gd name="T52" fmla="*/ 219 w 607"/>
                  <a:gd name="T53" fmla="*/ 1 h 1281"/>
                  <a:gd name="T54" fmla="*/ 207 w 607"/>
                  <a:gd name="T55" fmla="*/ 0 h 1281"/>
                  <a:gd name="T56" fmla="*/ 143 w 607"/>
                  <a:gd name="T57" fmla="*/ 1 h 1281"/>
                  <a:gd name="T58" fmla="*/ 163 w 607"/>
                  <a:gd name="T59" fmla="*/ 1 h 1281"/>
                  <a:gd name="T60" fmla="*/ 113 w 607"/>
                  <a:gd name="T61" fmla="*/ 1 h 1281"/>
                  <a:gd name="T62" fmla="*/ 63 w 607"/>
                  <a:gd name="T63" fmla="*/ 1 h 1281"/>
                  <a:gd name="T64" fmla="*/ 63 w 607"/>
                  <a:gd name="T65" fmla="*/ 1 h 1281"/>
                  <a:gd name="T66" fmla="*/ 63 w 607"/>
                  <a:gd name="T67" fmla="*/ 1 h 1281"/>
                  <a:gd name="T68" fmla="*/ 0 w 607"/>
                  <a:gd name="T69" fmla="*/ 1 h 128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07" h="1281">
                    <a:moveTo>
                      <a:pt x="0" y="399"/>
                    </a:moveTo>
                    <a:lnTo>
                      <a:pt x="19" y="468"/>
                    </a:lnTo>
                    <a:lnTo>
                      <a:pt x="38" y="478"/>
                    </a:lnTo>
                    <a:lnTo>
                      <a:pt x="55" y="457"/>
                    </a:lnTo>
                    <a:lnTo>
                      <a:pt x="55" y="513"/>
                    </a:lnTo>
                    <a:lnTo>
                      <a:pt x="69" y="513"/>
                    </a:lnTo>
                    <a:lnTo>
                      <a:pt x="88" y="513"/>
                    </a:lnTo>
                    <a:lnTo>
                      <a:pt x="132" y="468"/>
                    </a:lnTo>
                    <a:lnTo>
                      <a:pt x="138" y="545"/>
                    </a:lnTo>
                    <a:lnTo>
                      <a:pt x="207" y="601"/>
                    </a:lnTo>
                    <a:lnTo>
                      <a:pt x="212" y="689"/>
                    </a:lnTo>
                    <a:lnTo>
                      <a:pt x="244" y="689"/>
                    </a:lnTo>
                    <a:lnTo>
                      <a:pt x="250" y="747"/>
                    </a:lnTo>
                    <a:lnTo>
                      <a:pt x="250" y="812"/>
                    </a:lnTo>
                    <a:lnTo>
                      <a:pt x="250" y="879"/>
                    </a:lnTo>
                    <a:lnTo>
                      <a:pt x="281" y="891"/>
                    </a:lnTo>
                    <a:lnTo>
                      <a:pt x="288" y="935"/>
                    </a:lnTo>
                    <a:lnTo>
                      <a:pt x="299" y="947"/>
                    </a:lnTo>
                    <a:lnTo>
                      <a:pt x="299" y="1000"/>
                    </a:lnTo>
                    <a:lnTo>
                      <a:pt x="313" y="1000"/>
                    </a:lnTo>
                    <a:lnTo>
                      <a:pt x="313" y="1046"/>
                    </a:lnTo>
                    <a:lnTo>
                      <a:pt x="257" y="1158"/>
                    </a:lnTo>
                    <a:lnTo>
                      <a:pt x="263" y="1146"/>
                    </a:lnTo>
                    <a:lnTo>
                      <a:pt x="313" y="1214"/>
                    </a:lnTo>
                    <a:lnTo>
                      <a:pt x="319" y="1246"/>
                    </a:lnTo>
                    <a:lnTo>
                      <a:pt x="319" y="1281"/>
                    </a:lnTo>
                    <a:lnTo>
                      <a:pt x="394" y="1093"/>
                    </a:lnTo>
                    <a:lnTo>
                      <a:pt x="394" y="991"/>
                    </a:lnTo>
                    <a:lnTo>
                      <a:pt x="457" y="902"/>
                    </a:lnTo>
                    <a:lnTo>
                      <a:pt x="494" y="902"/>
                    </a:lnTo>
                    <a:lnTo>
                      <a:pt x="506" y="879"/>
                    </a:lnTo>
                    <a:lnTo>
                      <a:pt x="538" y="724"/>
                    </a:lnTo>
                    <a:lnTo>
                      <a:pt x="538" y="580"/>
                    </a:lnTo>
                    <a:lnTo>
                      <a:pt x="601" y="445"/>
                    </a:lnTo>
                    <a:lnTo>
                      <a:pt x="607" y="390"/>
                    </a:lnTo>
                    <a:lnTo>
                      <a:pt x="601" y="334"/>
                    </a:lnTo>
                    <a:lnTo>
                      <a:pt x="569" y="324"/>
                    </a:lnTo>
                    <a:lnTo>
                      <a:pt x="532" y="267"/>
                    </a:lnTo>
                    <a:lnTo>
                      <a:pt x="457" y="246"/>
                    </a:lnTo>
                    <a:lnTo>
                      <a:pt x="450" y="211"/>
                    </a:lnTo>
                    <a:lnTo>
                      <a:pt x="419" y="190"/>
                    </a:lnTo>
                    <a:lnTo>
                      <a:pt x="400" y="190"/>
                    </a:lnTo>
                    <a:lnTo>
                      <a:pt x="382" y="246"/>
                    </a:lnTo>
                    <a:lnTo>
                      <a:pt x="382" y="223"/>
                    </a:lnTo>
                    <a:lnTo>
                      <a:pt x="350" y="234"/>
                    </a:lnTo>
                    <a:lnTo>
                      <a:pt x="363" y="223"/>
                    </a:lnTo>
                    <a:lnTo>
                      <a:pt x="350" y="178"/>
                    </a:lnTo>
                    <a:lnTo>
                      <a:pt x="375" y="111"/>
                    </a:lnTo>
                    <a:lnTo>
                      <a:pt x="350" y="34"/>
                    </a:lnTo>
                    <a:lnTo>
                      <a:pt x="325" y="100"/>
                    </a:lnTo>
                    <a:lnTo>
                      <a:pt x="299" y="88"/>
                    </a:lnTo>
                    <a:lnTo>
                      <a:pt x="269" y="100"/>
                    </a:lnTo>
                    <a:lnTo>
                      <a:pt x="225" y="123"/>
                    </a:lnTo>
                    <a:lnTo>
                      <a:pt x="219" y="78"/>
                    </a:lnTo>
                    <a:lnTo>
                      <a:pt x="219" y="23"/>
                    </a:lnTo>
                    <a:lnTo>
                      <a:pt x="207" y="0"/>
                    </a:lnTo>
                    <a:lnTo>
                      <a:pt x="169" y="34"/>
                    </a:lnTo>
                    <a:lnTo>
                      <a:pt x="143" y="23"/>
                    </a:lnTo>
                    <a:lnTo>
                      <a:pt x="150" y="88"/>
                    </a:lnTo>
                    <a:lnTo>
                      <a:pt x="163" y="88"/>
                    </a:lnTo>
                    <a:lnTo>
                      <a:pt x="125" y="146"/>
                    </a:lnTo>
                    <a:lnTo>
                      <a:pt x="113" y="123"/>
                    </a:lnTo>
                    <a:lnTo>
                      <a:pt x="100" y="100"/>
                    </a:lnTo>
                    <a:lnTo>
                      <a:pt x="63" y="111"/>
                    </a:lnTo>
                    <a:lnTo>
                      <a:pt x="74" y="146"/>
                    </a:lnTo>
                    <a:lnTo>
                      <a:pt x="63" y="146"/>
                    </a:lnTo>
                    <a:lnTo>
                      <a:pt x="69" y="201"/>
                    </a:lnTo>
                    <a:lnTo>
                      <a:pt x="63" y="301"/>
                    </a:lnTo>
                    <a:lnTo>
                      <a:pt x="25" y="324"/>
                    </a:lnTo>
                    <a:lnTo>
                      <a:pt x="0" y="39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771" name="Freeform 83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3655278" y="4665269"/>
              <a:ext cx="1122742" cy="1017587"/>
            </a:xfrm>
            <a:custGeom>
              <a:avLst/>
              <a:gdLst>
                <a:gd name="T0" fmla="*/ 2147483647 w 607"/>
                <a:gd name="T1" fmla="*/ 2147483647 h 1281"/>
                <a:gd name="T2" fmla="*/ 2147483647 w 607"/>
                <a:gd name="T3" fmla="*/ 2147483647 h 1281"/>
                <a:gd name="T4" fmla="*/ 2147483647 w 607"/>
                <a:gd name="T5" fmla="*/ 2147483647 h 1281"/>
                <a:gd name="T6" fmla="*/ 2147483647 w 607"/>
                <a:gd name="T7" fmla="*/ 2147483647 h 1281"/>
                <a:gd name="T8" fmla="*/ 2147483647 w 607"/>
                <a:gd name="T9" fmla="*/ 2147483647 h 1281"/>
                <a:gd name="T10" fmla="*/ 2147483647 w 607"/>
                <a:gd name="T11" fmla="*/ 2147483647 h 1281"/>
                <a:gd name="T12" fmla="*/ 2147483647 w 607"/>
                <a:gd name="T13" fmla="*/ 2147483647 h 1281"/>
                <a:gd name="T14" fmla="*/ 2147483647 w 607"/>
                <a:gd name="T15" fmla="*/ 2147483647 h 1281"/>
                <a:gd name="T16" fmla="*/ 2147483647 w 607"/>
                <a:gd name="T17" fmla="*/ 2147483647 h 1281"/>
                <a:gd name="T18" fmla="*/ 2147483647 w 607"/>
                <a:gd name="T19" fmla="*/ 2147483647 h 1281"/>
                <a:gd name="T20" fmla="*/ 2147483647 w 607"/>
                <a:gd name="T21" fmla="*/ 2147483647 h 1281"/>
                <a:gd name="T22" fmla="*/ 2147483647 w 607"/>
                <a:gd name="T23" fmla="*/ 2147483647 h 1281"/>
                <a:gd name="T24" fmla="*/ 2147483647 w 607"/>
                <a:gd name="T25" fmla="*/ 2147483647 h 1281"/>
                <a:gd name="T26" fmla="*/ 2147483647 w 607"/>
                <a:gd name="T27" fmla="*/ 2147483647 h 1281"/>
                <a:gd name="T28" fmla="*/ 2147483647 w 607"/>
                <a:gd name="T29" fmla="*/ 2147483647 h 1281"/>
                <a:gd name="T30" fmla="*/ 2147483647 w 607"/>
                <a:gd name="T31" fmla="*/ 2147483647 h 1281"/>
                <a:gd name="T32" fmla="*/ 2147483647 w 607"/>
                <a:gd name="T33" fmla="*/ 2147483647 h 1281"/>
                <a:gd name="T34" fmla="*/ 2147483647 w 607"/>
                <a:gd name="T35" fmla="*/ 2147483647 h 1281"/>
                <a:gd name="T36" fmla="*/ 2147483647 w 607"/>
                <a:gd name="T37" fmla="*/ 2147483647 h 1281"/>
                <a:gd name="T38" fmla="*/ 2147483647 w 607"/>
                <a:gd name="T39" fmla="*/ 2147483647 h 1281"/>
                <a:gd name="T40" fmla="*/ 2147483647 w 607"/>
                <a:gd name="T41" fmla="*/ 2147483647 h 1281"/>
                <a:gd name="T42" fmla="*/ 2147483647 w 607"/>
                <a:gd name="T43" fmla="*/ 2147483647 h 1281"/>
                <a:gd name="T44" fmla="*/ 2147483647 w 607"/>
                <a:gd name="T45" fmla="*/ 2147483647 h 1281"/>
                <a:gd name="T46" fmla="*/ 2147483647 w 607"/>
                <a:gd name="T47" fmla="*/ 2147483647 h 1281"/>
                <a:gd name="T48" fmla="*/ 2147483647 w 607"/>
                <a:gd name="T49" fmla="*/ 2147483647 h 1281"/>
                <a:gd name="T50" fmla="*/ 2147483647 w 607"/>
                <a:gd name="T51" fmla="*/ 2147483647 h 1281"/>
                <a:gd name="T52" fmla="*/ 2147483647 w 607"/>
                <a:gd name="T53" fmla="*/ 2147483647 h 1281"/>
                <a:gd name="T54" fmla="*/ 2147483647 w 607"/>
                <a:gd name="T55" fmla="*/ 0 h 1281"/>
                <a:gd name="T56" fmla="*/ 2147483647 w 607"/>
                <a:gd name="T57" fmla="*/ 2147483647 h 1281"/>
                <a:gd name="T58" fmla="*/ 2147483647 w 607"/>
                <a:gd name="T59" fmla="*/ 2147483647 h 1281"/>
                <a:gd name="T60" fmla="*/ 2147483647 w 607"/>
                <a:gd name="T61" fmla="*/ 2147483647 h 1281"/>
                <a:gd name="T62" fmla="*/ 2147483647 w 607"/>
                <a:gd name="T63" fmla="*/ 2147483647 h 1281"/>
                <a:gd name="T64" fmla="*/ 2147483647 w 607"/>
                <a:gd name="T65" fmla="*/ 2147483647 h 1281"/>
                <a:gd name="T66" fmla="*/ 2147483647 w 607"/>
                <a:gd name="T67" fmla="*/ 2147483647 h 1281"/>
                <a:gd name="T68" fmla="*/ 0 w 607"/>
                <a:gd name="T69" fmla="*/ 2147483647 h 128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607" h="1281">
                  <a:moveTo>
                    <a:pt x="0" y="399"/>
                  </a:moveTo>
                  <a:lnTo>
                    <a:pt x="19" y="468"/>
                  </a:lnTo>
                  <a:lnTo>
                    <a:pt x="38" y="478"/>
                  </a:lnTo>
                  <a:lnTo>
                    <a:pt x="55" y="457"/>
                  </a:lnTo>
                  <a:lnTo>
                    <a:pt x="55" y="513"/>
                  </a:lnTo>
                  <a:lnTo>
                    <a:pt x="69" y="513"/>
                  </a:lnTo>
                  <a:lnTo>
                    <a:pt x="88" y="513"/>
                  </a:lnTo>
                  <a:lnTo>
                    <a:pt x="132" y="468"/>
                  </a:lnTo>
                  <a:lnTo>
                    <a:pt x="138" y="545"/>
                  </a:lnTo>
                  <a:lnTo>
                    <a:pt x="207" y="601"/>
                  </a:lnTo>
                  <a:lnTo>
                    <a:pt x="212" y="689"/>
                  </a:lnTo>
                  <a:lnTo>
                    <a:pt x="244" y="689"/>
                  </a:lnTo>
                  <a:lnTo>
                    <a:pt x="250" y="747"/>
                  </a:lnTo>
                  <a:lnTo>
                    <a:pt x="250" y="812"/>
                  </a:lnTo>
                  <a:lnTo>
                    <a:pt x="250" y="879"/>
                  </a:lnTo>
                  <a:lnTo>
                    <a:pt x="281" y="891"/>
                  </a:lnTo>
                  <a:lnTo>
                    <a:pt x="288" y="935"/>
                  </a:lnTo>
                  <a:lnTo>
                    <a:pt x="299" y="947"/>
                  </a:lnTo>
                  <a:lnTo>
                    <a:pt x="299" y="1000"/>
                  </a:lnTo>
                  <a:lnTo>
                    <a:pt x="313" y="1000"/>
                  </a:lnTo>
                  <a:lnTo>
                    <a:pt x="313" y="1046"/>
                  </a:lnTo>
                  <a:lnTo>
                    <a:pt x="257" y="1158"/>
                  </a:lnTo>
                  <a:lnTo>
                    <a:pt x="263" y="1146"/>
                  </a:lnTo>
                  <a:lnTo>
                    <a:pt x="313" y="1214"/>
                  </a:lnTo>
                  <a:lnTo>
                    <a:pt x="319" y="1246"/>
                  </a:lnTo>
                  <a:lnTo>
                    <a:pt x="319" y="1281"/>
                  </a:lnTo>
                  <a:lnTo>
                    <a:pt x="394" y="1093"/>
                  </a:lnTo>
                  <a:lnTo>
                    <a:pt x="394" y="991"/>
                  </a:lnTo>
                  <a:lnTo>
                    <a:pt x="457" y="902"/>
                  </a:lnTo>
                  <a:lnTo>
                    <a:pt x="494" y="902"/>
                  </a:lnTo>
                  <a:lnTo>
                    <a:pt x="506" y="879"/>
                  </a:lnTo>
                  <a:lnTo>
                    <a:pt x="538" y="724"/>
                  </a:lnTo>
                  <a:lnTo>
                    <a:pt x="538" y="580"/>
                  </a:lnTo>
                  <a:lnTo>
                    <a:pt x="601" y="445"/>
                  </a:lnTo>
                  <a:lnTo>
                    <a:pt x="607" y="390"/>
                  </a:lnTo>
                  <a:lnTo>
                    <a:pt x="601" y="334"/>
                  </a:lnTo>
                  <a:lnTo>
                    <a:pt x="569" y="324"/>
                  </a:lnTo>
                  <a:lnTo>
                    <a:pt x="532" y="267"/>
                  </a:lnTo>
                  <a:lnTo>
                    <a:pt x="457" y="246"/>
                  </a:lnTo>
                  <a:lnTo>
                    <a:pt x="450" y="211"/>
                  </a:lnTo>
                  <a:lnTo>
                    <a:pt x="419" y="190"/>
                  </a:lnTo>
                  <a:lnTo>
                    <a:pt x="400" y="190"/>
                  </a:lnTo>
                  <a:lnTo>
                    <a:pt x="382" y="246"/>
                  </a:lnTo>
                  <a:lnTo>
                    <a:pt x="382" y="223"/>
                  </a:lnTo>
                  <a:lnTo>
                    <a:pt x="350" y="234"/>
                  </a:lnTo>
                  <a:lnTo>
                    <a:pt x="363" y="223"/>
                  </a:lnTo>
                  <a:lnTo>
                    <a:pt x="350" y="178"/>
                  </a:lnTo>
                  <a:lnTo>
                    <a:pt x="375" y="111"/>
                  </a:lnTo>
                  <a:lnTo>
                    <a:pt x="350" y="34"/>
                  </a:lnTo>
                  <a:lnTo>
                    <a:pt x="325" y="100"/>
                  </a:lnTo>
                  <a:lnTo>
                    <a:pt x="299" y="88"/>
                  </a:lnTo>
                  <a:lnTo>
                    <a:pt x="269" y="100"/>
                  </a:lnTo>
                  <a:lnTo>
                    <a:pt x="225" y="123"/>
                  </a:lnTo>
                  <a:lnTo>
                    <a:pt x="219" y="78"/>
                  </a:lnTo>
                  <a:lnTo>
                    <a:pt x="219" y="23"/>
                  </a:lnTo>
                  <a:lnTo>
                    <a:pt x="207" y="0"/>
                  </a:lnTo>
                  <a:lnTo>
                    <a:pt x="169" y="34"/>
                  </a:lnTo>
                  <a:lnTo>
                    <a:pt x="143" y="23"/>
                  </a:lnTo>
                  <a:lnTo>
                    <a:pt x="150" y="88"/>
                  </a:lnTo>
                  <a:lnTo>
                    <a:pt x="163" y="88"/>
                  </a:lnTo>
                  <a:lnTo>
                    <a:pt x="125" y="146"/>
                  </a:lnTo>
                  <a:lnTo>
                    <a:pt x="113" y="123"/>
                  </a:lnTo>
                  <a:lnTo>
                    <a:pt x="100" y="100"/>
                  </a:lnTo>
                  <a:lnTo>
                    <a:pt x="63" y="111"/>
                  </a:lnTo>
                  <a:lnTo>
                    <a:pt x="74" y="146"/>
                  </a:lnTo>
                  <a:lnTo>
                    <a:pt x="63" y="146"/>
                  </a:lnTo>
                  <a:lnTo>
                    <a:pt x="69" y="201"/>
                  </a:lnTo>
                  <a:lnTo>
                    <a:pt x="63" y="301"/>
                  </a:lnTo>
                  <a:lnTo>
                    <a:pt x="25" y="324"/>
                  </a:lnTo>
                  <a:lnTo>
                    <a:pt x="0" y="39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1772" name="Group 84"/>
            <p:cNvGrpSpPr>
              <a:grpSpLocks/>
            </p:cNvGrpSpPr>
            <p:nvPr>
              <p:custDataLst>
                <p:tags r:id="rId67"/>
              </p:custDataLst>
            </p:nvPr>
          </p:nvGrpSpPr>
          <p:grpSpPr bwMode="auto">
            <a:xfrm>
              <a:off x="3655278" y="4665269"/>
              <a:ext cx="1122742" cy="1017587"/>
              <a:chOff x="1794" y="2569"/>
              <a:chExt cx="607" cy="64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19" name="Freeform 85"/>
              <p:cNvSpPr>
                <a:spLocks/>
              </p:cNvSpPr>
              <p:nvPr/>
            </p:nvSpPr>
            <p:spPr bwMode="auto">
              <a:xfrm>
                <a:off x="1794" y="2569"/>
                <a:ext cx="607" cy="641"/>
              </a:xfrm>
              <a:custGeom>
                <a:avLst/>
                <a:gdLst>
                  <a:gd name="T0" fmla="*/ 19 w 607"/>
                  <a:gd name="T1" fmla="*/ 1 h 1281"/>
                  <a:gd name="T2" fmla="*/ 55 w 607"/>
                  <a:gd name="T3" fmla="*/ 1 h 1281"/>
                  <a:gd name="T4" fmla="*/ 69 w 607"/>
                  <a:gd name="T5" fmla="*/ 1 h 1281"/>
                  <a:gd name="T6" fmla="*/ 132 w 607"/>
                  <a:gd name="T7" fmla="*/ 1 h 1281"/>
                  <a:gd name="T8" fmla="*/ 207 w 607"/>
                  <a:gd name="T9" fmla="*/ 1 h 1281"/>
                  <a:gd name="T10" fmla="*/ 244 w 607"/>
                  <a:gd name="T11" fmla="*/ 1 h 1281"/>
                  <a:gd name="T12" fmla="*/ 250 w 607"/>
                  <a:gd name="T13" fmla="*/ 1 h 1281"/>
                  <a:gd name="T14" fmla="*/ 281 w 607"/>
                  <a:gd name="T15" fmla="*/ 1 h 1281"/>
                  <a:gd name="T16" fmla="*/ 299 w 607"/>
                  <a:gd name="T17" fmla="*/ 1 h 1281"/>
                  <a:gd name="T18" fmla="*/ 313 w 607"/>
                  <a:gd name="T19" fmla="*/ 1 h 1281"/>
                  <a:gd name="T20" fmla="*/ 257 w 607"/>
                  <a:gd name="T21" fmla="*/ 1 h 1281"/>
                  <a:gd name="T22" fmla="*/ 313 w 607"/>
                  <a:gd name="T23" fmla="*/ 1 h 1281"/>
                  <a:gd name="T24" fmla="*/ 319 w 607"/>
                  <a:gd name="T25" fmla="*/ 1 h 1281"/>
                  <a:gd name="T26" fmla="*/ 394 w 607"/>
                  <a:gd name="T27" fmla="*/ 1 h 1281"/>
                  <a:gd name="T28" fmla="*/ 494 w 607"/>
                  <a:gd name="T29" fmla="*/ 1 h 1281"/>
                  <a:gd name="T30" fmla="*/ 538 w 607"/>
                  <a:gd name="T31" fmla="*/ 1 h 1281"/>
                  <a:gd name="T32" fmla="*/ 601 w 607"/>
                  <a:gd name="T33" fmla="*/ 1 h 1281"/>
                  <a:gd name="T34" fmla="*/ 601 w 607"/>
                  <a:gd name="T35" fmla="*/ 1 h 1281"/>
                  <a:gd name="T36" fmla="*/ 532 w 607"/>
                  <a:gd name="T37" fmla="*/ 1 h 1281"/>
                  <a:gd name="T38" fmla="*/ 450 w 607"/>
                  <a:gd name="T39" fmla="*/ 1 h 1281"/>
                  <a:gd name="T40" fmla="*/ 400 w 607"/>
                  <a:gd name="T41" fmla="*/ 1 h 1281"/>
                  <a:gd name="T42" fmla="*/ 382 w 607"/>
                  <a:gd name="T43" fmla="*/ 1 h 1281"/>
                  <a:gd name="T44" fmla="*/ 363 w 607"/>
                  <a:gd name="T45" fmla="*/ 1 h 1281"/>
                  <a:gd name="T46" fmla="*/ 375 w 607"/>
                  <a:gd name="T47" fmla="*/ 1 h 1281"/>
                  <a:gd name="T48" fmla="*/ 325 w 607"/>
                  <a:gd name="T49" fmla="*/ 1 h 1281"/>
                  <a:gd name="T50" fmla="*/ 269 w 607"/>
                  <a:gd name="T51" fmla="*/ 1 h 1281"/>
                  <a:gd name="T52" fmla="*/ 219 w 607"/>
                  <a:gd name="T53" fmla="*/ 1 h 1281"/>
                  <a:gd name="T54" fmla="*/ 207 w 607"/>
                  <a:gd name="T55" fmla="*/ 0 h 1281"/>
                  <a:gd name="T56" fmla="*/ 143 w 607"/>
                  <a:gd name="T57" fmla="*/ 1 h 1281"/>
                  <a:gd name="T58" fmla="*/ 163 w 607"/>
                  <a:gd name="T59" fmla="*/ 1 h 1281"/>
                  <a:gd name="T60" fmla="*/ 113 w 607"/>
                  <a:gd name="T61" fmla="*/ 1 h 1281"/>
                  <a:gd name="T62" fmla="*/ 63 w 607"/>
                  <a:gd name="T63" fmla="*/ 1 h 1281"/>
                  <a:gd name="T64" fmla="*/ 63 w 607"/>
                  <a:gd name="T65" fmla="*/ 1 h 1281"/>
                  <a:gd name="T66" fmla="*/ 63 w 607"/>
                  <a:gd name="T67" fmla="*/ 1 h 1281"/>
                  <a:gd name="T68" fmla="*/ 0 w 607"/>
                  <a:gd name="T69" fmla="*/ 1 h 128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07" h="1281">
                    <a:moveTo>
                      <a:pt x="0" y="399"/>
                    </a:moveTo>
                    <a:lnTo>
                      <a:pt x="19" y="468"/>
                    </a:lnTo>
                    <a:lnTo>
                      <a:pt x="38" y="478"/>
                    </a:lnTo>
                    <a:lnTo>
                      <a:pt x="55" y="457"/>
                    </a:lnTo>
                    <a:lnTo>
                      <a:pt x="55" y="513"/>
                    </a:lnTo>
                    <a:lnTo>
                      <a:pt x="69" y="513"/>
                    </a:lnTo>
                    <a:lnTo>
                      <a:pt x="88" y="513"/>
                    </a:lnTo>
                    <a:lnTo>
                      <a:pt x="132" y="468"/>
                    </a:lnTo>
                    <a:lnTo>
                      <a:pt x="138" y="545"/>
                    </a:lnTo>
                    <a:lnTo>
                      <a:pt x="207" y="601"/>
                    </a:lnTo>
                    <a:lnTo>
                      <a:pt x="212" y="689"/>
                    </a:lnTo>
                    <a:lnTo>
                      <a:pt x="244" y="689"/>
                    </a:lnTo>
                    <a:lnTo>
                      <a:pt x="250" y="747"/>
                    </a:lnTo>
                    <a:lnTo>
                      <a:pt x="250" y="812"/>
                    </a:lnTo>
                    <a:lnTo>
                      <a:pt x="250" y="879"/>
                    </a:lnTo>
                    <a:lnTo>
                      <a:pt x="281" y="891"/>
                    </a:lnTo>
                    <a:lnTo>
                      <a:pt x="288" y="935"/>
                    </a:lnTo>
                    <a:lnTo>
                      <a:pt x="299" y="947"/>
                    </a:lnTo>
                    <a:lnTo>
                      <a:pt x="299" y="1000"/>
                    </a:lnTo>
                    <a:lnTo>
                      <a:pt x="313" y="1000"/>
                    </a:lnTo>
                    <a:lnTo>
                      <a:pt x="313" y="1046"/>
                    </a:lnTo>
                    <a:lnTo>
                      <a:pt x="257" y="1158"/>
                    </a:lnTo>
                    <a:lnTo>
                      <a:pt x="263" y="1146"/>
                    </a:lnTo>
                    <a:lnTo>
                      <a:pt x="313" y="1214"/>
                    </a:lnTo>
                    <a:lnTo>
                      <a:pt x="319" y="1246"/>
                    </a:lnTo>
                    <a:lnTo>
                      <a:pt x="319" y="1281"/>
                    </a:lnTo>
                    <a:lnTo>
                      <a:pt x="394" y="1093"/>
                    </a:lnTo>
                    <a:lnTo>
                      <a:pt x="394" y="991"/>
                    </a:lnTo>
                    <a:lnTo>
                      <a:pt x="457" y="902"/>
                    </a:lnTo>
                    <a:lnTo>
                      <a:pt x="494" y="902"/>
                    </a:lnTo>
                    <a:lnTo>
                      <a:pt x="506" y="879"/>
                    </a:lnTo>
                    <a:lnTo>
                      <a:pt x="538" y="724"/>
                    </a:lnTo>
                    <a:lnTo>
                      <a:pt x="538" y="580"/>
                    </a:lnTo>
                    <a:lnTo>
                      <a:pt x="601" y="445"/>
                    </a:lnTo>
                    <a:lnTo>
                      <a:pt x="607" y="390"/>
                    </a:lnTo>
                    <a:lnTo>
                      <a:pt x="601" y="334"/>
                    </a:lnTo>
                    <a:lnTo>
                      <a:pt x="569" y="324"/>
                    </a:lnTo>
                    <a:lnTo>
                      <a:pt x="532" y="267"/>
                    </a:lnTo>
                    <a:lnTo>
                      <a:pt x="457" y="246"/>
                    </a:lnTo>
                    <a:lnTo>
                      <a:pt x="450" y="211"/>
                    </a:lnTo>
                    <a:lnTo>
                      <a:pt x="419" y="190"/>
                    </a:lnTo>
                    <a:lnTo>
                      <a:pt x="400" y="190"/>
                    </a:lnTo>
                    <a:lnTo>
                      <a:pt x="382" y="246"/>
                    </a:lnTo>
                    <a:lnTo>
                      <a:pt x="382" y="223"/>
                    </a:lnTo>
                    <a:lnTo>
                      <a:pt x="350" y="234"/>
                    </a:lnTo>
                    <a:lnTo>
                      <a:pt x="363" y="223"/>
                    </a:lnTo>
                    <a:lnTo>
                      <a:pt x="350" y="178"/>
                    </a:lnTo>
                    <a:lnTo>
                      <a:pt x="375" y="111"/>
                    </a:lnTo>
                    <a:lnTo>
                      <a:pt x="350" y="34"/>
                    </a:lnTo>
                    <a:lnTo>
                      <a:pt x="325" y="100"/>
                    </a:lnTo>
                    <a:lnTo>
                      <a:pt x="299" y="88"/>
                    </a:lnTo>
                    <a:lnTo>
                      <a:pt x="269" y="100"/>
                    </a:lnTo>
                    <a:lnTo>
                      <a:pt x="225" y="123"/>
                    </a:lnTo>
                    <a:lnTo>
                      <a:pt x="219" y="78"/>
                    </a:lnTo>
                    <a:lnTo>
                      <a:pt x="219" y="23"/>
                    </a:lnTo>
                    <a:lnTo>
                      <a:pt x="207" y="0"/>
                    </a:lnTo>
                    <a:lnTo>
                      <a:pt x="169" y="34"/>
                    </a:lnTo>
                    <a:lnTo>
                      <a:pt x="143" y="23"/>
                    </a:lnTo>
                    <a:lnTo>
                      <a:pt x="150" y="88"/>
                    </a:lnTo>
                    <a:lnTo>
                      <a:pt x="163" y="88"/>
                    </a:lnTo>
                    <a:lnTo>
                      <a:pt x="125" y="146"/>
                    </a:lnTo>
                    <a:lnTo>
                      <a:pt x="113" y="123"/>
                    </a:lnTo>
                    <a:lnTo>
                      <a:pt x="100" y="100"/>
                    </a:lnTo>
                    <a:lnTo>
                      <a:pt x="63" y="111"/>
                    </a:lnTo>
                    <a:lnTo>
                      <a:pt x="74" y="146"/>
                    </a:lnTo>
                    <a:lnTo>
                      <a:pt x="63" y="146"/>
                    </a:lnTo>
                    <a:lnTo>
                      <a:pt x="69" y="201"/>
                    </a:lnTo>
                    <a:lnTo>
                      <a:pt x="63" y="301"/>
                    </a:lnTo>
                    <a:lnTo>
                      <a:pt x="25" y="324"/>
                    </a:lnTo>
                    <a:lnTo>
                      <a:pt x="0" y="399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20" name="Freeform 86"/>
              <p:cNvSpPr>
                <a:spLocks/>
              </p:cNvSpPr>
              <p:nvPr/>
            </p:nvSpPr>
            <p:spPr bwMode="auto">
              <a:xfrm>
                <a:off x="1794" y="2569"/>
                <a:ext cx="607" cy="641"/>
              </a:xfrm>
              <a:custGeom>
                <a:avLst/>
                <a:gdLst>
                  <a:gd name="T0" fmla="*/ 19 w 607"/>
                  <a:gd name="T1" fmla="*/ 1 h 1281"/>
                  <a:gd name="T2" fmla="*/ 55 w 607"/>
                  <a:gd name="T3" fmla="*/ 1 h 1281"/>
                  <a:gd name="T4" fmla="*/ 69 w 607"/>
                  <a:gd name="T5" fmla="*/ 1 h 1281"/>
                  <a:gd name="T6" fmla="*/ 132 w 607"/>
                  <a:gd name="T7" fmla="*/ 1 h 1281"/>
                  <a:gd name="T8" fmla="*/ 207 w 607"/>
                  <a:gd name="T9" fmla="*/ 1 h 1281"/>
                  <a:gd name="T10" fmla="*/ 244 w 607"/>
                  <a:gd name="T11" fmla="*/ 1 h 1281"/>
                  <a:gd name="T12" fmla="*/ 250 w 607"/>
                  <a:gd name="T13" fmla="*/ 1 h 1281"/>
                  <a:gd name="T14" fmla="*/ 281 w 607"/>
                  <a:gd name="T15" fmla="*/ 1 h 1281"/>
                  <a:gd name="T16" fmla="*/ 299 w 607"/>
                  <a:gd name="T17" fmla="*/ 1 h 1281"/>
                  <a:gd name="T18" fmla="*/ 313 w 607"/>
                  <a:gd name="T19" fmla="*/ 1 h 1281"/>
                  <a:gd name="T20" fmla="*/ 257 w 607"/>
                  <a:gd name="T21" fmla="*/ 1 h 1281"/>
                  <a:gd name="T22" fmla="*/ 313 w 607"/>
                  <a:gd name="T23" fmla="*/ 1 h 1281"/>
                  <a:gd name="T24" fmla="*/ 319 w 607"/>
                  <a:gd name="T25" fmla="*/ 1 h 1281"/>
                  <a:gd name="T26" fmla="*/ 394 w 607"/>
                  <a:gd name="T27" fmla="*/ 1 h 1281"/>
                  <a:gd name="T28" fmla="*/ 494 w 607"/>
                  <a:gd name="T29" fmla="*/ 1 h 1281"/>
                  <a:gd name="T30" fmla="*/ 538 w 607"/>
                  <a:gd name="T31" fmla="*/ 1 h 1281"/>
                  <a:gd name="T32" fmla="*/ 601 w 607"/>
                  <a:gd name="T33" fmla="*/ 1 h 1281"/>
                  <a:gd name="T34" fmla="*/ 601 w 607"/>
                  <a:gd name="T35" fmla="*/ 1 h 1281"/>
                  <a:gd name="T36" fmla="*/ 532 w 607"/>
                  <a:gd name="T37" fmla="*/ 1 h 1281"/>
                  <a:gd name="T38" fmla="*/ 450 w 607"/>
                  <a:gd name="T39" fmla="*/ 1 h 1281"/>
                  <a:gd name="T40" fmla="*/ 400 w 607"/>
                  <a:gd name="T41" fmla="*/ 1 h 1281"/>
                  <a:gd name="T42" fmla="*/ 382 w 607"/>
                  <a:gd name="T43" fmla="*/ 1 h 1281"/>
                  <a:gd name="T44" fmla="*/ 363 w 607"/>
                  <a:gd name="T45" fmla="*/ 1 h 1281"/>
                  <a:gd name="T46" fmla="*/ 375 w 607"/>
                  <a:gd name="T47" fmla="*/ 1 h 1281"/>
                  <a:gd name="T48" fmla="*/ 325 w 607"/>
                  <a:gd name="T49" fmla="*/ 1 h 1281"/>
                  <a:gd name="T50" fmla="*/ 269 w 607"/>
                  <a:gd name="T51" fmla="*/ 1 h 1281"/>
                  <a:gd name="T52" fmla="*/ 219 w 607"/>
                  <a:gd name="T53" fmla="*/ 1 h 1281"/>
                  <a:gd name="T54" fmla="*/ 207 w 607"/>
                  <a:gd name="T55" fmla="*/ 0 h 1281"/>
                  <a:gd name="T56" fmla="*/ 143 w 607"/>
                  <a:gd name="T57" fmla="*/ 1 h 1281"/>
                  <a:gd name="T58" fmla="*/ 163 w 607"/>
                  <a:gd name="T59" fmla="*/ 1 h 1281"/>
                  <a:gd name="T60" fmla="*/ 113 w 607"/>
                  <a:gd name="T61" fmla="*/ 1 h 1281"/>
                  <a:gd name="T62" fmla="*/ 63 w 607"/>
                  <a:gd name="T63" fmla="*/ 1 h 1281"/>
                  <a:gd name="T64" fmla="*/ 63 w 607"/>
                  <a:gd name="T65" fmla="*/ 1 h 1281"/>
                  <a:gd name="T66" fmla="*/ 63 w 607"/>
                  <a:gd name="T67" fmla="*/ 1 h 1281"/>
                  <a:gd name="T68" fmla="*/ 0 w 607"/>
                  <a:gd name="T69" fmla="*/ 1 h 128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607" h="1281">
                    <a:moveTo>
                      <a:pt x="0" y="399"/>
                    </a:moveTo>
                    <a:lnTo>
                      <a:pt x="19" y="468"/>
                    </a:lnTo>
                    <a:lnTo>
                      <a:pt x="38" y="478"/>
                    </a:lnTo>
                    <a:lnTo>
                      <a:pt x="55" y="457"/>
                    </a:lnTo>
                    <a:lnTo>
                      <a:pt x="55" y="513"/>
                    </a:lnTo>
                    <a:lnTo>
                      <a:pt x="69" y="513"/>
                    </a:lnTo>
                    <a:lnTo>
                      <a:pt x="88" y="513"/>
                    </a:lnTo>
                    <a:lnTo>
                      <a:pt x="132" y="468"/>
                    </a:lnTo>
                    <a:lnTo>
                      <a:pt x="138" y="545"/>
                    </a:lnTo>
                    <a:lnTo>
                      <a:pt x="207" y="601"/>
                    </a:lnTo>
                    <a:lnTo>
                      <a:pt x="212" y="689"/>
                    </a:lnTo>
                    <a:lnTo>
                      <a:pt x="244" y="689"/>
                    </a:lnTo>
                    <a:lnTo>
                      <a:pt x="250" y="747"/>
                    </a:lnTo>
                    <a:lnTo>
                      <a:pt x="250" y="812"/>
                    </a:lnTo>
                    <a:lnTo>
                      <a:pt x="250" y="879"/>
                    </a:lnTo>
                    <a:lnTo>
                      <a:pt x="281" y="891"/>
                    </a:lnTo>
                    <a:lnTo>
                      <a:pt x="288" y="935"/>
                    </a:lnTo>
                    <a:lnTo>
                      <a:pt x="299" y="947"/>
                    </a:lnTo>
                    <a:lnTo>
                      <a:pt x="299" y="1000"/>
                    </a:lnTo>
                    <a:lnTo>
                      <a:pt x="313" y="1000"/>
                    </a:lnTo>
                    <a:lnTo>
                      <a:pt x="313" y="1046"/>
                    </a:lnTo>
                    <a:lnTo>
                      <a:pt x="257" y="1158"/>
                    </a:lnTo>
                    <a:lnTo>
                      <a:pt x="263" y="1146"/>
                    </a:lnTo>
                    <a:lnTo>
                      <a:pt x="313" y="1214"/>
                    </a:lnTo>
                    <a:lnTo>
                      <a:pt x="319" y="1246"/>
                    </a:lnTo>
                    <a:lnTo>
                      <a:pt x="319" y="1281"/>
                    </a:lnTo>
                    <a:lnTo>
                      <a:pt x="394" y="1093"/>
                    </a:lnTo>
                    <a:lnTo>
                      <a:pt x="394" y="991"/>
                    </a:lnTo>
                    <a:lnTo>
                      <a:pt x="457" y="902"/>
                    </a:lnTo>
                    <a:lnTo>
                      <a:pt x="494" y="902"/>
                    </a:lnTo>
                    <a:lnTo>
                      <a:pt x="506" y="879"/>
                    </a:lnTo>
                    <a:lnTo>
                      <a:pt x="538" y="724"/>
                    </a:lnTo>
                    <a:lnTo>
                      <a:pt x="538" y="580"/>
                    </a:lnTo>
                    <a:lnTo>
                      <a:pt x="601" y="445"/>
                    </a:lnTo>
                    <a:lnTo>
                      <a:pt x="607" y="390"/>
                    </a:lnTo>
                    <a:lnTo>
                      <a:pt x="601" y="334"/>
                    </a:lnTo>
                    <a:lnTo>
                      <a:pt x="569" y="324"/>
                    </a:lnTo>
                    <a:lnTo>
                      <a:pt x="532" y="267"/>
                    </a:lnTo>
                    <a:lnTo>
                      <a:pt x="457" y="246"/>
                    </a:lnTo>
                    <a:lnTo>
                      <a:pt x="450" y="211"/>
                    </a:lnTo>
                    <a:lnTo>
                      <a:pt x="419" y="190"/>
                    </a:lnTo>
                    <a:lnTo>
                      <a:pt x="400" y="190"/>
                    </a:lnTo>
                    <a:lnTo>
                      <a:pt x="382" y="246"/>
                    </a:lnTo>
                    <a:lnTo>
                      <a:pt x="382" y="223"/>
                    </a:lnTo>
                    <a:lnTo>
                      <a:pt x="350" y="234"/>
                    </a:lnTo>
                    <a:lnTo>
                      <a:pt x="363" y="223"/>
                    </a:lnTo>
                    <a:lnTo>
                      <a:pt x="350" y="178"/>
                    </a:lnTo>
                    <a:lnTo>
                      <a:pt x="375" y="111"/>
                    </a:lnTo>
                    <a:lnTo>
                      <a:pt x="350" y="34"/>
                    </a:lnTo>
                    <a:lnTo>
                      <a:pt x="325" y="100"/>
                    </a:lnTo>
                    <a:lnTo>
                      <a:pt x="299" y="88"/>
                    </a:lnTo>
                    <a:lnTo>
                      <a:pt x="269" y="100"/>
                    </a:lnTo>
                    <a:lnTo>
                      <a:pt x="225" y="123"/>
                    </a:lnTo>
                    <a:lnTo>
                      <a:pt x="219" y="78"/>
                    </a:lnTo>
                    <a:lnTo>
                      <a:pt x="219" y="23"/>
                    </a:lnTo>
                    <a:lnTo>
                      <a:pt x="207" y="0"/>
                    </a:lnTo>
                    <a:lnTo>
                      <a:pt x="169" y="34"/>
                    </a:lnTo>
                    <a:lnTo>
                      <a:pt x="143" y="23"/>
                    </a:lnTo>
                    <a:lnTo>
                      <a:pt x="150" y="88"/>
                    </a:lnTo>
                    <a:lnTo>
                      <a:pt x="163" y="88"/>
                    </a:lnTo>
                    <a:lnTo>
                      <a:pt x="125" y="146"/>
                    </a:lnTo>
                    <a:lnTo>
                      <a:pt x="113" y="123"/>
                    </a:lnTo>
                    <a:lnTo>
                      <a:pt x="100" y="100"/>
                    </a:lnTo>
                    <a:lnTo>
                      <a:pt x="63" y="111"/>
                    </a:lnTo>
                    <a:lnTo>
                      <a:pt x="74" y="146"/>
                    </a:lnTo>
                    <a:lnTo>
                      <a:pt x="63" y="146"/>
                    </a:lnTo>
                    <a:lnTo>
                      <a:pt x="69" y="201"/>
                    </a:lnTo>
                    <a:lnTo>
                      <a:pt x="63" y="301"/>
                    </a:lnTo>
                    <a:lnTo>
                      <a:pt x="25" y="324"/>
                    </a:lnTo>
                    <a:lnTo>
                      <a:pt x="0" y="399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1773" name="Freeform 87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3214213" y="4320745"/>
              <a:ext cx="36088" cy="71438"/>
            </a:xfrm>
            <a:custGeom>
              <a:avLst/>
              <a:gdLst>
                <a:gd name="T0" fmla="*/ 0 w 19"/>
                <a:gd name="T1" fmla="*/ 2147483647 h 90"/>
                <a:gd name="T2" fmla="*/ 2147483647 w 19"/>
                <a:gd name="T3" fmla="*/ 2147483647 h 90"/>
                <a:gd name="T4" fmla="*/ 2147483647 w 19"/>
                <a:gd name="T5" fmla="*/ 0 h 90"/>
                <a:gd name="T6" fmla="*/ 0 w 19"/>
                <a:gd name="T7" fmla="*/ 2147483647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90">
                  <a:moveTo>
                    <a:pt x="0" y="23"/>
                  </a:moveTo>
                  <a:lnTo>
                    <a:pt x="6" y="90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74" name="Freeform 88"/>
            <p:cNvSpPr>
              <a:spLocks/>
            </p:cNvSpPr>
            <p:nvPr>
              <p:custDataLst>
                <p:tags r:id="rId69"/>
              </p:custDataLst>
            </p:nvPr>
          </p:nvSpPr>
          <p:spPr bwMode="auto">
            <a:xfrm>
              <a:off x="3214213" y="4320745"/>
              <a:ext cx="36088" cy="71438"/>
            </a:xfrm>
            <a:custGeom>
              <a:avLst/>
              <a:gdLst>
                <a:gd name="T0" fmla="*/ 0 w 19"/>
                <a:gd name="T1" fmla="*/ 2147483647 h 90"/>
                <a:gd name="T2" fmla="*/ 2147483647 w 19"/>
                <a:gd name="T3" fmla="*/ 2147483647 h 90"/>
                <a:gd name="T4" fmla="*/ 2147483647 w 19"/>
                <a:gd name="T5" fmla="*/ 0 h 90"/>
                <a:gd name="T6" fmla="*/ 0 w 19"/>
                <a:gd name="T7" fmla="*/ 2147483647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90">
                  <a:moveTo>
                    <a:pt x="0" y="23"/>
                  </a:moveTo>
                  <a:lnTo>
                    <a:pt x="6" y="90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75" name="Freeform 89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3214213" y="4320745"/>
              <a:ext cx="36088" cy="71438"/>
            </a:xfrm>
            <a:custGeom>
              <a:avLst/>
              <a:gdLst>
                <a:gd name="T0" fmla="*/ 0 w 19"/>
                <a:gd name="T1" fmla="*/ 2147483647 h 90"/>
                <a:gd name="T2" fmla="*/ 2147483647 w 19"/>
                <a:gd name="T3" fmla="*/ 2147483647 h 90"/>
                <a:gd name="T4" fmla="*/ 2147483647 w 19"/>
                <a:gd name="T5" fmla="*/ 0 h 90"/>
                <a:gd name="T6" fmla="*/ 0 w 19"/>
                <a:gd name="T7" fmla="*/ 2147483647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90">
                  <a:moveTo>
                    <a:pt x="0" y="23"/>
                  </a:moveTo>
                  <a:lnTo>
                    <a:pt x="6" y="90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76" name="Freeform 90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3214213" y="4320745"/>
              <a:ext cx="36088" cy="71438"/>
            </a:xfrm>
            <a:custGeom>
              <a:avLst/>
              <a:gdLst>
                <a:gd name="T0" fmla="*/ 0 w 19"/>
                <a:gd name="T1" fmla="*/ 2147483647 h 90"/>
                <a:gd name="T2" fmla="*/ 2147483647 w 19"/>
                <a:gd name="T3" fmla="*/ 2147483647 h 90"/>
                <a:gd name="T4" fmla="*/ 2147483647 w 19"/>
                <a:gd name="T5" fmla="*/ 0 h 90"/>
                <a:gd name="T6" fmla="*/ 0 w 19"/>
                <a:gd name="T7" fmla="*/ 2147483647 h 9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90">
                  <a:moveTo>
                    <a:pt x="0" y="23"/>
                  </a:moveTo>
                  <a:lnTo>
                    <a:pt x="6" y="90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77" name="Freeform 91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9295055" y="4665269"/>
              <a:ext cx="34083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2147483647 h 34"/>
                <a:gd name="T4" fmla="*/ 2147483647 w 18"/>
                <a:gd name="T5" fmla="*/ 0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23"/>
                  </a:moveTo>
                  <a:lnTo>
                    <a:pt x="11" y="34"/>
                  </a:lnTo>
                  <a:lnTo>
                    <a:pt x="18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78" name="Freeform 92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9295055" y="4665269"/>
              <a:ext cx="34083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2147483647 h 34"/>
                <a:gd name="T4" fmla="*/ 2147483647 w 18"/>
                <a:gd name="T5" fmla="*/ 0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23"/>
                  </a:moveTo>
                  <a:lnTo>
                    <a:pt x="11" y="34"/>
                  </a:lnTo>
                  <a:lnTo>
                    <a:pt x="18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780" name="Freeform 93"/>
            <p:cNvSpPr>
              <a:spLocks/>
            </p:cNvSpPr>
            <p:nvPr>
              <p:custDataLst>
                <p:tags r:id="rId74"/>
              </p:custDataLst>
            </p:nvPr>
          </p:nvSpPr>
          <p:spPr bwMode="auto">
            <a:xfrm>
              <a:off x="9295055" y="4665269"/>
              <a:ext cx="34083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2147483647 h 34"/>
                <a:gd name="T4" fmla="*/ 2147483647 w 18"/>
                <a:gd name="T5" fmla="*/ 0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23"/>
                  </a:moveTo>
                  <a:lnTo>
                    <a:pt x="11" y="34"/>
                  </a:lnTo>
                  <a:lnTo>
                    <a:pt x="18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864" name="Freeform 94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9295055" y="4665269"/>
              <a:ext cx="34083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2147483647 h 34"/>
                <a:gd name="T4" fmla="*/ 2147483647 w 18"/>
                <a:gd name="T5" fmla="*/ 0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23"/>
                  </a:moveTo>
                  <a:lnTo>
                    <a:pt x="11" y="34"/>
                  </a:lnTo>
                  <a:lnTo>
                    <a:pt x="18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865" name="Freeform 95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6652607" y="3596863"/>
              <a:ext cx="186455" cy="87313"/>
            </a:xfrm>
            <a:custGeom>
              <a:avLst/>
              <a:gdLst>
                <a:gd name="T0" fmla="*/ 0 w 101"/>
                <a:gd name="T1" fmla="*/ 2147483647 h 110"/>
                <a:gd name="T2" fmla="*/ 2147483647 w 101"/>
                <a:gd name="T3" fmla="*/ 0 h 110"/>
                <a:gd name="T4" fmla="*/ 2147483647 w 101"/>
                <a:gd name="T5" fmla="*/ 2147483647 h 110"/>
                <a:gd name="T6" fmla="*/ 2147483647 w 101"/>
                <a:gd name="T7" fmla="*/ 2147483647 h 110"/>
                <a:gd name="T8" fmla="*/ 2147483647 w 101"/>
                <a:gd name="T9" fmla="*/ 2147483647 h 110"/>
                <a:gd name="T10" fmla="*/ 2147483647 w 101"/>
                <a:gd name="T11" fmla="*/ 2147483647 h 110"/>
                <a:gd name="T12" fmla="*/ 2147483647 w 101"/>
                <a:gd name="T13" fmla="*/ 2147483647 h 110"/>
                <a:gd name="T14" fmla="*/ 2147483647 w 101"/>
                <a:gd name="T15" fmla="*/ 2147483647 h 110"/>
                <a:gd name="T16" fmla="*/ 0 w 101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1" h="110">
                  <a:moveTo>
                    <a:pt x="0" y="79"/>
                  </a:moveTo>
                  <a:lnTo>
                    <a:pt x="7" y="0"/>
                  </a:lnTo>
                  <a:lnTo>
                    <a:pt x="101" y="22"/>
                  </a:lnTo>
                  <a:lnTo>
                    <a:pt x="82" y="66"/>
                  </a:lnTo>
                  <a:lnTo>
                    <a:pt x="88" y="89"/>
                  </a:lnTo>
                  <a:lnTo>
                    <a:pt x="63" y="100"/>
                  </a:lnTo>
                  <a:lnTo>
                    <a:pt x="50" y="110"/>
                  </a:lnTo>
                  <a:lnTo>
                    <a:pt x="12" y="11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866" name="Freeform 96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6652607" y="3596863"/>
              <a:ext cx="186455" cy="87313"/>
            </a:xfrm>
            <a:custGeom>
              <a:avLst/>
              <a:gdLst>
                <a:gd name="T0" fmla="*/ 0 w 101"/>
                <a:gd name="T1" fmla="*/ 2147483647 h 110"/>
                <a:gd name="T2" fmla="*/ 2147483647 w 101"/>
                <a:gd name="T3" fmla="*/ 0 h 110"/>
                <a:gd name="T4" fmla="*/ 2147483647 w 101"/>
                <a:gd name="T5" fmla="*/ 2147483647 h 110"/>
                <a:gd name="T6" fmla="*/ 2147483647 w 101"/>
                <a:gd name="T7" fmla="*/ 2147483647 h 110"/>
                <a:gd name="T8" fmla="*/ 2147483647 w 101"/>
                <a:gd name="T9" fmla="*/ 2147483647 h 110"/>
                <a:gd name="T10" fmla="*/ 2147483647 w 101"/>
                <a:gd name="T11" fmla="*/ 2147483647 h 110"/>
                <a:gd name="T12" fmla="*/ 2147483647 w 101"/>
                <a:gd name="T13" fmla="*/ 2147483647 h 110"/>
                <a:gd name="T14" fmla="*/ 2147483647 w 101"/>
                <a:gd name="T15" fmla="*/ 2147483647 h 110"/>
                <a:gd name="T16" fmla="*/ 0 w 101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1" h="110">
                  <a:moveTo>
                    <a:pt x="0" y="79"/>
                  </a:moveTo>
                  <a:lnTo>
                    <a:pt x="7" y="0"/>
                  </a:lnTo>
                  <a:lnTo>
                    <a:pt x="101" y="22"/>
                  </a:lnTo>
                  <a:lnTo>
                    <a:pt x="82" y="66"/>
                  </a:lnTo>
                  <a:lnTo>
                    <a:pt x="88" y="89"/>
                  </a:lnTo>
                  <a:lnTo>
                    <a:pt x="63" y="100"/>
                  </a:lnTo>
                  <a:lnTo>
                    <a:pt x="50" y="110"/>
                  </a:lnTo>
                  <a:lnTo>
                    <a:pt x="12" y="110"/>
                  </a:lnTo>
                  <a:lnTo>
                    <a:pt x="0" y="7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872" name="Freeform 97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6652607" y="3596863"/>
              <a:ext cx="186455" cy="87313"/>
            </a:xfrm>
            <a:custGeom>
              <a:avLst/>
              <a:gdLst>
                <a:gd name="T0" fmla="*/ 0 w 101"/>
                <a:gd name="T1" fmla="*/ 2147483647 h 110"/>
                <a:gd name="T2" fmla="*/ 2147483647 w 101"/>
                <a:gd name="T3" fmla="*/ 0 h 110"/>
                <a:gd name="T4" fmla="*/ 2147483647 w 101"/>
                <a:gd name="T5" fmla="*/ 2147483647 h 110"/>
                <a:gd name="T6" fmla="*/ 2147483647 w 101"/>
                <a:gd name="T7" fmla="*/ 2147483647 h 110"/>
                <a:gd name="T8" fmla="*/ 2147483647 w 101"/>
                <a:gd name="T9" fmla="*/ 2147483647 h 110"/>
                <a:gd name="T10" fmla="*/ 2147483647 w 101"/>
                <a:gd name="T11" fmla="*/ 2147483647 h 110"/>
                <a:gd name="T12" fmla="*/ 2147483647 w 101"/>
                <a:gd name="T13" fmla="*/ 2147483647 h 110"/>
                <a:gd name="T14" fmla="*/ 2147483647 w 101"/>
                <a:gd name="T15" fmla="*/ 2147483647 h 110"/>
                <a:gd name="T16" fmla="*/ 0 w 101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1" h="110">
                  <a:moveTo>
                    <a:pt x="0" y="79"/>
                  </a:moveTo>
                  <a:lnTo>
                    <a:pt x="7" y="0"/>
                  </a:lnTo>
                  <a:lnTo>
                    <a:pt x="101" y="22"/>
                  </a:lnTo>
                  <a:lnTo>
                    <a:pt x="82" y="66"/>
                  </a:lnTo>
                  <a:lnTo>
                    <a:pt x="88" y="89"/>
                  </a:lnTo>
                  <a:lnTo>
                    <a:pt x="63" y="100"/>
                  </a:lnTo>
                  <a:lnTo>
                    <a:pt x="50" y="110"/>
                  </a:lnTo>
                  <a:lnTo>
                    <a:pt x="12" y="11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873" name="Freeform 98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6652607" y="3596863"/>
              <a:ext cx="186455" cy="87313"/>
            </a:xfrm>
            <a:custGeom>
              <a:avLst/>
              <a:gdLst>
                <a:gd name="T0" fmla="*/ 0 w 101"/>
                <a:gd name="T1" fmla="*/ 2147483647 h 110"/>
                <a:gd name="T2" fmla="*/ 2147483647 w 101"/>
                <a:gd name="T3" fmla="*/ 0 h 110"/>
                <a:gd name="T4" fmla="*/ 2147483647 w 101"/>
                <a:gd name="T5" fmla="*/ 2147483647 h 110"/>
                <a:gd name="T6" fmla="*/ 2147483647 w 101"/>
                <a:gd name="T7" fmla="*/ 2147483647 h 110"/>
                <a:gd name="T8" fmla="*/ 2147483647 w 101"/>
                <a:gd name="T9" fmla="*/ 2147483647 h 110"/>
                <a:gd name="T10" fmla="*/ 2147483647 w 101"/>
                <a:gd name="T11" fmla="*/ 2147483647 h 110"/>
                <a:gd name="T12" fmla="*/ 2147483647 w 101"/>
                <a:gd name="T13" fmla="*/ 2147483647 h 110"/>
                <a:gd name="T14" fmla="*/ 2147483647 w 101"/>
                <a:gd name="T15" fmla="*/ 2147483647 h 110"/>
                <a:gd name="T16" fmla="*/ 0 w 101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1" h="110">
                  <a:moveTo>
                    <a:pt x="0" y="79"/>
                  </a:moveTo>
                  <a:lnTo>
                    <a:pt x="7" y="0"/>
                  </a:lnTo>
                  <a:lnTo>
                    <a:pt x="101" y="22"/>
                  </a:lnTo>
                  <a:lnTo>
                    <a:pt x="82" y="66"/>
                  </a:lnTo>
                  <a:lnTo>
                    <a:pt x="88" y="89"/>
                  </a:lnTo>
                  <a:lnTo>
                    <a:pt x="63" y="100"/>
                  </a:lnTo>
                  <a:lnTo>
                    <a:pt x="50" y="110"/>
                  </a:lnTo>
                  <a:lnTo>
                    <a:pt x="12" y="110"/>
                  </a:lnTo>
                  <a:lnTo>
                    <a:pt x="0" y="7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874" name="Freeform 99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8667526" y="4065170"/>
              <a:ext cx="268656" cy="479425"/>
            </a:xfrm>
            <a:custGeom>
              <a:avLst/>
              <a:gdLst>
                <a:gd name="T0" fmla="*/ 0 w 145"/>
                <a:gd name="T1" fmla="*/ 2147483647 h 603"/>
                <a:gd name="T2" fmla="*/ 2147483647 w 145"/>
                <a:gd name="T3" fmla="*/ 2147483647 h 603"/>
                <a:gd name="T4" fmla="*/ 2147483647 w 145"/>
                <a:gd name="T5" fmla="*/ 2147483647 h 603"/>
                <a:gd name="T6" fmla="*/ 2147483647 w 145"/>
                <a:gd name="T7" fmla="*/ 2147483647 h 603"/>
                <a:gd name="T8" fmla="*/ 2147483647 w 145"/>
                <a:gd name="T9" fmla="*/ 0 h 603"/>
                <a:gd name="T10" fmla="*/ 2147483647 w 145"/>
                <a:gd name="T11" fmla="*/ 2147483647 h 603"/>
                <a:gd name="T12" fmla="*/ 2147483647 w 145"/>
                <a:gd name="T13" fmla="*/ 2147483647 h 603"/>
                <a:gd name="T14" fmla="*/ 2147483647 w 145"/>
                <a:gd name="T15" fmla="*/ 2147483647 h 603"/>
                <a:gd name="T16" fmla="*/ 2147483647 w 145"/>
                <a:gd name="T17" fmla="*/ 2147483647 h 603"/>
                <a:gd name="T18" fmla="*/ 2147483647 w 145"/>
                <a:gd name="T19" fmla="*/ 2147483647 h 603"/>
                <a:gd name="T20" fmla="*/ 2147483647 w 145"/>
                <a:gd name="T21" fmla="*/ 2147483647 h 603"/>
                <a:gd name="T22" fmla="*/ 2147483647 w 145"/>
                <a:gd name="T23" fmla="*/ 2147483647 h 603"/>
                <a:gd name="T24" fmla="*/ 2147483647 w 145"/>
                <a:gd name="T25" fmla="*/ 2147483647 h 603"/>
                <a:gd name="T26" fmla="*/ 2147483647 w 145"/>
                <a:gd name="T27" fmla="*/ 2147483647 h 603"/>
                <a:gd name="T28" fmla="*/ 2147483647 w 145"/>
                <a:gd name="T29" fmla="*/ 2147483647 h 603"/>
                <a:gd name="T30" fmla="*/ 2147483647 w 145"/>
                <a:gd name="T31" fmla="*/ 2147483647 h 603"/>
                <a:gd name="T32" fmla="*/ 2147483647 w 145"/>
                <a:gd name="T33" fmla="*/ 2147483647 h 603"/>
                <a:gd name="T34" fmla="*/ 2147483647 w 145"/>
                <a:gd name="T35" fmla="*/ 2147483647 h 603"/>
                <a:gd name="T36" fmla="*/ 2147483647 w 145"/>
                <a:gd name="T37" fmla="*/ 2147483647 h 603"/>
                <a:gd name="T38" fmla="*/ 2147483647 w 145"/>
                <a:gd name="T39" fmla="*/ 2147483647 h 603"/>
                <a:gd name="T40" fmla="*/ 2147483647 w 145"/>
                <a:gd name="T41" fmla="*/ 2147483647 h 603"/>
                <a:gd name="T42" fmla="*/ 2147483647 w 145"/>
                <a:gd name="T43" fmla="*/ 2147483647 h 603"/>
                <a:gd name="T44" fmla="*/ 2147483647 w 145"/>
                <a:gd name="T45" fmla="*/ 2147483647 h 603"/>
                <a:gd name="T46" fmla="*/ 0 w 145"/>
                <a:gd name="T47" fmla="*/ 2147483647 h 60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45" h="603">
                  <a:moveTo>
                    <a:pt x="0" y="244"/>
                  </a:moveTo>
                  <a:lnTo>
                    <a:pt x="7" y="211"/>
                  </a:lnTo>
                  <a:lnTo>
                    <a:pt x="50" y="56"/>
                  </a:lnTo>
                  <a:lnTo>
                    <a:pt x="76" y="44"/>
                  </a:lnTo>
                  <a:lnTo>
                    <a:pt x="81" y="0"/>
                  </a:lnTo>
                  <a:lnTo>
                    <a:pt x="100" y="21"/>
                  </a:lnTo>
                  <a:lnTo>
                    <a:pt x="100" y="56"/>
                  </a:lnTo>
                  <a:lnTo>
                    <a:pt x="88" y="156"/>
                  </a:lnTo>
                  <a:lnTo>
                    <a:pt x="100" y="144"/>
                  </a:lnTo>
                  <a:lnTo>
                    <a:pt x="113" y="200"/>
                  </a:lnTo>
                  <a:lnTo>
                    <a:pt x="145" y="223"/>
                  </a:lnTo>
                  <a:lnTo>
                    <a:pt x="125" y="255"/>
                  </a:lnTo>
                  <a:lnTo>
                    <a:pt x="95" y="290"/>
                  </a:lnTo>
                  <a:lnTo>
                    <a:pt x="88" y="334"/>
                  </a:lnTo>
                  <a:lnTo>
                    <a:pt x="100" y="401"/>
                  </a:lnTo>
                  <a:lnTo>
                    <a:pt x="95" y="446"/>
                  </a:lnTo>
                  <a:lnTo>
                    <a:pt x="119" y="545"/>
                  </a:lnTo>
                  <a:lnTo>
                    <a:pt x="100" y="603"/>
                  </a:lnTo>
                  <a:lnTo>
                    <a:pt x="88" y="390"/>
                  </a:lnTo>
                  <a:lnTo>
                    <a:pt x="76" y="367"/>
                  </a:lnTo>
                  <a:lnTo>
                    <a:pt x="50" y="423"/>
                  </a:lnTo>
                  <a:lnTo>
                    <a:pt x="31" y="413"/>
                  </a:lnTo>
                  <a:lnTo>
                    <a:pt x="38" y="334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876" name="Freeform 100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8667526" y="4065170"/>
              <a:ext cx="268656" cy="479425"/>
            </a:xfrm>
            <a:custGeom>
              <a:avLst/>
              <a:gdLst>
                <a:gd name="T0" fmla="*/ 0 w 145"/>
                <a:gd name="T1" fmla="*/ 2147483647 h 603"/>
                <a:gd name="T2" fmla="*/ 2147483647 w 145"/>
                <a:gd name="T3" fmla="*/ 2147483647 h 603"/>
                <a:gd name="T4" fmla="*/ 2147483647 w 145"/>
                <a:gd name="T5" fmla="*/ 2147483647 h 603"/>
                <a:gd name="T6" fmla="*/ 2147483647 w 145"/>
                <a:gd name="T7" fmla="*/ 2147483647 h 603"/>
                <a:gd name="T8" fmla="*/ 2147483647 w 145"/>
                <a:gd name="T9" fmla="*/ 0 h 603"/>
                <a:gd name="T10" fmla="*/ 2147483647 w 145"/>
                <a:gd name="T11" fmla="*/ 2147483647 h 603"/>
                <a:gd name="T12" fmla="*/ 2147483647 w 145"/>
                <a:gd name="T13" fmla="*/ 2147483647 h 603"/>
                <a:gd name="T14" fmla="*/ 2147483647 w 145"/>
                <a:gd name="T15" fmla="*/ 2147483647 h 603"/>
                <a:gd name="T16" fmla="*/ 2147483647 w 145"/>
                <a:gd name="T17" fmla="*/ 2147483647 h 603"/>
                <a:gd name="T18" fmla="*/ 2147483647 w 145"/>
                <a:gd name="T19" fmla="*/ 2147483647 h 603"/>
                <a:gd name="T20" fmla="*/ 2147483647 w 145"/>
                <a:gd name="T21" fmla="*/ 2147483647 h 603"/>
                <a:gd name="T22" fmla="*/ 2147483647 w 145"/>
                <a:gd name="T23" fmla="*/ 2147483647 h 603"/>
                <a:gd name="T24" fmla="*/ 2147483647 w 145"/>
                <a:gd name="T25" fmla="*/ 2147483647 h 603"/>
                <a:gd name="T26" fmla="*/ 2147483647 w 145"/>
                <a:gd name="T27" fmla="*/ 2147483647 h 603"/>
                <a:gd name="T28" fmla="*/ 2147483647 w 145"/>
                <a:gd name="T29" fmla="*/ 2147483647 h 603"/>
                <a:gd name="T30" fmla="*/ 2147483647 w 145"/>
                <a:gd name="T31" fmla="*/ 2147483647 h 603"/>
                <a:gd name="T32" fmla="*/ 2147483647 w 145"/>
                <a:gd name="T33" fmla="*/ 2147483647 h 603"/>
                <a:gd name="T34" fmla="*/ 2147483647 w 145"/>
                <a:gd name="T35" fmla="*/ 2147483647 h 603"/>
                <a:gd name="T36" fmla="*/ 2147483647 w 145"/>
                <a:gd name="T37" fmla="*/ 2147483647 h 603"/>
                <a:gd name="T38" fmla="*/ 2147483647 w 145"/>
                <a:gd name="T39" fmla="*/ 2147483647 h 603"/>
                <a:gd name="T40" fmla="*/ 2147483647 w 145"/>
                <a:gd name="T41" fmla="*/ 2147483647 h 603"/>
                <a:gd name="T42" fmla="*/ 2147483647 w 145"/>
                <a:gd name="T43" fmla="*/ 2147483647 h 603"/>
                <a:gd name="T44" fmla="*/ 2147483647 w 145"/>
                <a:gd name="T45" fmla="*/ 2147483647 h 603"/>
                <a:gd name="T46" fmla="*/ 0 w 145"/>
                <a:gd name="T47" fmla="*/ 2147483647 h 60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45" h="603">
                  <a:moveTo>
                    <a:pt x="0" y="244"/>
                  </a:moveTo>
                  <a:lnTo>
                    <a:pt x="7" y="211"/>
                  </a:lnTo>
                  <a:lnTo>
                    <a:pt x="50" y="56"/>
                  </a:lnTo>
                  <a:lnTo>
                    <a:pt x="76" y="44"/>
                  </a:lnTo>
                  <a:lnTo>
                    <a:pt x="81" y="0"/>
                  </a:lnTo>
                  <a:lnTo>
                    <a:pt x="100" y="21"/>
                  </a:lnTo>
                  <a:lnTo>
                    <a:pt x="100" y="56"/>
                  </a:lnTo>
                  <a:lnTo>
                    <a:pt x="88" y="156"/>
                  </a:lnTo>
                  <a:lnTo>
                    <a:pt x="100" y="144"/>
                  </a:lnTo>
                  <a:lnTo>
                    <a:pt x="113" y="200"/>
                  </a:lnTo>
                  <a:lnTo>
                    <a:pt x="145" y="223"/>
                  </a:lnTo>
                  <a:lnTo>
                    <a:pt x="125" y="255"/>
                  </a:lnTo>
                  <a:lnTo>
                    <a:pt x="95" y="290"/>
                  </a:lnTo>
                  <a:lnTo>
                    <a:pt x="88" y="334"/>
                  </a:lnTo>
                  <a:lnTo>
                    <a:pt x="100" y="401"/>
                  </a:lnTo>
                  <a:lnTo>
                    <a:pt x="95" y="446"/>
                  </a:lnTo>
                  <a:lnTo>
                    <a:pt x="119" y="545"/>
                  </a:lnTo>
                  <a:lnTo>
                    <a:pt x="100" y="603"/>
                  </a:lnTo>
                  <a:lnTo>
                    <a:pt x="88" y="390"/>
                  </a:lnTo>
                  <a:lnTo>
                    <a:pt x="76" y="367"/>
                  </a:lnTo>
                  <a:lnTo>
                    <a:pt x="50" y="423"/>
                  </a:lnTo>
                  <a:lnTo>
                    <a:pt x="31" y="413"/>
                  </a:lnTo>
                  <a:lnTo>
                    <a:pt x="38" y="334"/>
                  </a:lnTo>
                  <a:lnTo>
                    <a:pt x="0" y="2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877" name="Freeform 101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8667526" y="4065170"/>
              <a:ext cx="268656" cy="479425"/>
            </a:xfrm>
            <a:custGeom>
              <a:avLst/>
              <a:gdLst>
                <a:gd name="T0" fmla="*/ 0 w 145"/>
                <a:gd name="T1" fmla="*/ 2147483647 h 603"/>
                <a:gd name="T2" fmla="*/ 2147483647 w 145"/>
                <a:gd name="T3" fmla="*/ 2147483647 h 603"/>
                <a:gd name="T4" fmla="*/ 2147483647 w 145"/>
                <a:gd name="T5" fmla="*/ 2147483647 h 603"/>
                <a:gd name="T6" fmla="*/ 2147483647 w 145"/>
                <a:gd name="T7" fmla="*/ 2147483647 h 603"/>
                <a:gd name="T8" fmla="*/ 2147483647 w 145"/>
                <a:gd name="T9" fmla="*/ 0 h 603"/>
                <a:gd name="T10" fmla="*/ 2147483647 w 145"/>
                <a:gd name="T11" fmla="*/ 2147483647 h 603"/>
                <a:gd name="T12" fmla="*/ 2147483647 w 145"/>
                <a:gd name="T13" fmla="*/ 2147483647 h 603"/>
                <a:gd name="T14" fmla="*/ 2147483647 w 145"/>
                <a:gd name="T15" fmla="*/ 2147483647 h 603"/>
                <a:gd name="T16" fmla="*/ 2147483647 w 145"/>
                <a:gd name="T17" fmla="*/ 2147483647 h 603"/>
                <a:gd name="T18" fmla="*/ 2147483647 w 145"/>
                <a:gd name="T19" fmla="*/ 2147483647 h 603"/>
                <a:gd name="T20" fmla="*/ 2147483647 w 145"/>
                <a:gd name="T21" fmla="*/ 2147483647 h 603"/>
                <a:gd name="T22" fmla="*/ 2147483647 w 145"/>
                <a:gd name="T23" fmla="*/ 2147483647 h 603"/>
                <a:gd name="T24" fmla="*/ 2147483647 w 145"/>
                <a:gd name="T25" fmla="*/ 2147483647 h 603"/>
                <a:gd name="T26" fmla="*/ 2147483647 w 145"/>
                <a:gd name="T27" fmla="*/ 2147483647 h 603"/>
                <a:gd name="T28" fmla="*/ 2147483647 w 145"/>
                <a:gd name="T29" fmla="*/ 2147483647 h 603"/>
                <a:gd name="T30" fmla="*/ 2147483647 w 145"/>
                <a:gd name="T31" fmla="*/ 2147483647 h 603"/>
                <a:gd name="T32" fmla="*/ 2147483647 w 145"/>
                <a:gd name="T33" fmla="*/ 2147483647 h 603"/>
                <a:gd name="T34" fmla="*/ 2147483647 w 145"/>
                <a:gd name="T35" fmla="*/ 2147483647 h 603"/>
                <a:gd name="T36" fmla="*/ 2147483647 w 145"/>
                <a:gd name="T37" fmla="*/ 2147483647 h 603"/>
                <a:gd name="T38" fmla="*/ 2147483647 w 145"/>
                <a:gd name="T39" fmla="*/ 2147483647 h 603"/>
                <a:gd name="T40" fmla="*/ 2147483647 w 145"/>
                <a:gd name="T41" fmla="*/ 2147483647 h 603"/>
                <a:gd name="T42" fmla="*/ 2147483647 w 145"/>
                <a:gd name="T43" fmla="*/ 2147483647 h 603"/>
                <a:gd name="T44" fmla="*/ 2147483647 w 145"/>
                <a:gd name="T45" fmla="*/ 2147483647 h 603"/>
                <a:gd name="T46" fmla="*/ 0 w 145"/>
                <a:gd name="T47" fmla="*/ 2147483647 h 60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45" h="603">
                  <a:moveTo>
                    <a:pt x="0" y="244"/>
                  </a:moveTo>
                  <a:lnTo>
                    <a:pt x="7" y="211"/>
                  </a:lnTo>
                  <a:lnTo>
                    <a:pt x="50" y="56"/>
                  </a:lnTo>
                  <a:lnTo>
                    <a:pt x="76" y="44"/>
                  </a:lnTo>
                  <a:lnTo>
                    <a:pt x="81" y="0"/>
                  </a:lnTo>
                  <a:lnTo>
                    <a:pt x="100" y="21"/>
                  </a:lnTo>
                  <a:lnTo>
                    <a:pt x="100" y="56"/>
                  </a:lnTo>
                  <a:lnTo>
                    <a:pt x="88" y="156"/>
                  </a:lnTo>
                  <a:lnTo>
                    <a:pt x="100" y="144"/>
                  </a:lnTo>
                  <a:lnTo>
                    <a:pt x="113" y="200"/>
                  </a:lnTo>
                  <a:lnTo>
                    <a:pt x="145" y="223"/>
                  </a:lnTo>
                  <a:lnTo>
                    <a:pt x="125" y="255"/>
                  </a:lnTo>
                  <a:lnTo>
                    <a:pt x="95" y="290"/>
                  </a:lnTo>
                  <a:lnTo>
                    <a:pt x="88" y="334"/>
                  </a:lnTo>
                  <a:lnTo>
                    <a:pt x="100" y="401"/>
                  </a:lnTo>
                  <a:lnTo>
                    <a:pt x="95" y="446"/>
                  </a:lnTo>
                  <a:lnTo>
                    <a:pt x="119" y="545"/>
                  </a:lnTo>
                  <a:lnTo>
                    <a:pt x="100" y="603"/>
                  </a:lnTo>
                  <a:lnTo>
                    <a:pt x="88" y="390"/>
                  </a:lnTo>
                  <a:lnTo>
                    <a:pt x="76" y="367"/>
                  </a:lnTo>
                  <a:lnTo>
                    <a:pt x="50" y="423"/>
                  </a:lnTo>
                  <a:lnTo>
                    <a:pt x="31" y="413"/>
                  </a:lnTo>
                  <a:lnTo>
                    <a:pt x="38" y="334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878" name="Freeform 102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8667526" y="4065170"/>
              <a:ext cx="268656" cy="479425"/>
            </a:xfrm>
            <a:custGeom>
              <a:avLst/>
              <a:gdLst>
                <a:gd name="T0" fmla="*/ 0 w 145"/>
                <a:gd name="T1" fmla="*/ 2147483647 h 603"/>
                <a:gd name="T2" fmla="*/ 2147483647 w 145"/>
                <a:gd name="T3" fmla="*/ 2147483647 h 603"/>
                <a:gd name="T4" fmla="*/ 2147483647 w 145"/>
                <a:gd name="T5" fmla="*/ 2147483647 h 603"/>
                <a:gd name="T6" fmla="*/ 2147483647 w 145"/>
                <a:gd name="T7" fmla="*/ 2147483647 h 603"/>
                <a:gd name="T8" fmla="*/ 2147483647 w 145"/>
                <a:gd name="T9" fmla="*/ 0 h 603"/>
                <a:gd name="T10" fmla="*/ 2147483647 w 145"/>
                <a:gd name="T11" fmla="*/ 2147483647 h 603"/>
                <a:gd name="T12" fmla="*/ 2147483647 w 145"/>
                <a:gd name="T13" fmla="*/ 2147483647 h 603"/>
                <a:gd name="T14" fmla="*/ 2147483647 w 145"/>
                <a:gd name="T15" fmla="*/ 2147483647 h 603"/>
                <a:gd name="T16" fmla="*/ 2147483647 w 145"/>
                <a:gd name="T17" fmla="*/ 2147483647 h 603"/>
                <a:gd name="T18" fmla="*/ 2147483647 w 145"/>
                <a:gd name="T19" fmla="*/ 2147483647 h 603"/>
                <a:gd name="T20" fmla="*/ 2147483647 w 145"/>
                <a:gd name="T21" fmla="*/ 2147483647 h 603"/>
                <a:gd name="T22" fmla="*/ 2147483647 w 145"/>
                <a:gd name="T23" fmla="*/ 2147483647 h 603"/>
                <a:gd name="T24" fmla="*/ 2147483647 w 145"/>
                <a:gd name="T25" fmla="*/ 2147483647 h 603"/>
                <a:gd name="T26" fmla="*/ 2147483647 w 145"/>
                <a:gd name="T27" fmla="*/ 2147483647 h 603"/>
                <a:gd name="T28" fmla="*/ 2147483647 w 145"/>
                <a:gd name="T29" fmla="*/ 2147483647 h 603"/>
                <a:gd name="T30" fmla="*/ 2147483647 w 145"/>
                <a:gd name="T31" fmla="*/ 2147483647 h 603"/>
                <a:gd name="T32" fmla="*/ 2147483647 w 145"/>
                <a:gd name="T33" fmla="*/ 2147483647 h 603"/>
                <a:gd name="T34" fmla="*/ 2147483647 w 145"/>
                <a:gd name="T35" fmla="*/ 2147483647 h 603"/>
                <a:gd name="T36" fmla="*/ 2147483647 w 145"/>
                <a:gd name="T37" fmla="*/ 2147483647 h 603"/>
                <a:gd name="T38" fmla="*/ 2147483647 w 145"/>
                <a:gd name="T39" fmla="*/ 2147483647 h 603"/>
                <a:gd name="T40" fmla="*/ 2147483647 w 145"/>
                <a:gd name="T41" fmla="*/ 2147483647 h 603"/>
                <a:gd name="T42" fmla="*/ 2147483647 w 145"/>
                <a:gd name="T43" fmla="*/ 2147483647 h 603"/>
                <a:gd name="T44" fmla="*/ 2147483647 w 145"/>
                <a:gd name="T45" fmla="*/ 2147483647 h 603"/>
                <a:gd name="T46" fmla="*/ 0 w 145"/>
                <a:gd name="T47" fmla="*/ 2147483647 h 60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45" h="603">
                  <a:moveTo>
                    <a:pt x="0" y="244"/>
                  </a:moveTo>
                  <a:lnTo>
                    <a:pt x="7" y="211"/>
                  </a:lnTo>
                  <a:lnTo>
                    <a:pt x="50" y="56"/>
                  </a:lnTo>
                  <a:lnTo>
                    <a:pt x="76" y="44"/>
                  </a:lnTo>
                  <a:lnTo>
                    <a:pt x="81" y="0"/>
                  </a:lnTo>
                  <a:lnTo>
                    <a:pt x="100" y="21"/>
                  </a:lnTo>
                  <a:lnTo>
                    <a:pt x="100" y="56"/>
                  </a:lnTo>
                  <a:lnTo>
                    <a:pt x="88" y="156"/>
                  </a:lnTo>
                  <a:lnTo>
                    <a:pt x="100" y="144"/>
                  </a:lnTo>
                  <a:lnTo>
                    <a:pt x="113" y="200"/>
                  </a:lnTo>
                  <a:lnTo>
                    <a:pt x="145" y="223"/>
                  </a:lnTo>
                  <a:lnTo>
                    <a:pt x="125" y="255"/>
                  </a:lnTo>
                  <a:lnTo>
                    <a:pt x="95" y="290"/>
                  </a:lnTo>
                  <a:lnTo>
                    <a:pt x="88" y="334"/>
                  </a:lnTo>
                  <a:lnTo>
                    <a:pt x="100" y="401"/>
                  </a:lnTo>
                  <a:lnTo>
                    <a:pt x="95" y="446"/>
                  </a:lnTo>
                  <a:lnTo>
                    <a:pt x="119" y="545"/>
                  </a:lnTo>
                  <a:lnTo>
                    <a:pt x="100" y="603"/>
                  </a:lnTo>
                  <a:lnTo>
                    <a:pt x="88" y="390"/>
                  </a:lnTo>
                  <a:lnTo>
                    <a:pt x="76" y="367"/>
                  </a:lnTo>
                  <a:lnTo>
                    <a:pt x="50" y="423"/>
                  </a:lnTo>
                  <a:lnTo>
                    <a:pt x="31" y="413"/>
                  </a:lnTo>
                  <a:lnTo>
                    <a:pt x="38" y="334"/>
                  </a:lnTo>
                  <a:lnTo>
                    <a:pt x="0" y="2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52" name="Freeform 103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8970277" y="4420758"/>
              <a:ext cx="138337" cy="114300"/>
            </a:xfrm>
            <a:custGeom>
              <a:avLst/>
              <a:gdLst>
                <a:gd name="T0" fmla="*/ 0 w 75"/>
                <a:gd name="T1" fmla="*/ 2147483647 h 144"/>
                <a:gd name="T2" fmla="*/ 2147483647 w 75"/>
                <a:gd name="T3" fmla="*/ 2147483647 h 144"/>
                <a:gd name="T4" fmla="*/ 2147483647 w 75"/>
                <a:gd name="T5" fmla="*/ 2147483647 h 144"/>
                <a:gd name="T6" fmla="*/ 2147483647 w 75"/>
                <a:gd name="T7" fmla="*/ 2147483647 h 144"/>
                <a:gd name="T8" fmla="*/ 2147483647 w 75"/>
                <a:gd name="T9" fmla="*/ 2147483647 h 144"/>
                <a:gd name="T10" fmla="*/ 2147483647 w 75"/>
                <a:gd name="T11" fmla="*/ 0 h 144"/>
                <a:gd name="T12" fmla="*/ 2147483647 w 75"/>
                <a:gd name="T13" fmla="*/ 2147483647 h 144"/>
                <a:gd name="T14" fmla="*/ 2147483647 w 75"/>
                <a:gd name="T15" fmla="*/ 2147483647 h 144"/>
                <a:gd name="T16" fmla="*/ 0 w 75"/>
                <a:gd name="T17" fmla="*/ 2147483647 h 1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5" h="144">
                  <a:moveTo>
                    <a:pt x="0" y="32"/>
                  </a:moveTo>
                  <a:lnTo>
                    <a:pt x="6" y="97"/>
                  </a:lnTo>
                  <a:lnTo>
                    <a:pt x="12" y="132"/>
                  </a:lnTo>
                  <a:lnTo>
                    <a:pt x="31" y="144"/>
                  </a:lnTo>
                  <a:lnTo>
                    <a:pt x="75" y="76"/>
                  </a:lnTo>
                  <a:lnTo>
                    <a:pt x="75" y="0"/>
                  </a:lnTo>
                  <a:lnTo>
                    <a:pt x="43" y="9"/>
                  </a:lnTo>
                  <a:lnTo>
                    <a:pt x="6" y="9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53" name="Freeform 104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8970277" y="4420758"/>
              <a:ext cx="138337" cy="114300"/>
            </a:xfrm>
            <a:custGeom>
              <a:avLst/>
              <a:gdLst>
                <a:gd name="T0" fmla="*/ 0 w 75"/>
                <a:gd name="T1" fmla="*/ 2147483647 h 144"/>
                <a:gd name="T2" fmla="*/ 2147483647 w 75"/>
                <a:gd name="T3" fmla="*/ 2147483647 h 144"/>
                <a:gd name="T4" fmla="*/ 2147483647 w 75"/>
                <a:gd name="T5" fmla="*/ 2147483647 h 144"/>
                <a:gd name="T6" fmla="*/ 2147483647 w 75"/>
                <a:gd name="T7" fmla="*/ 2147483647 h 144"/>
                <a:gd name="T8" fmla="*/ 2147483647 w 75"/>
                <a:gd name="T9" fmla="*/ 2147483647 h 144"/>
                <a:gd name="T10" fmla="*/ 2147483647 w 75"/>
                <a:gd name="T11" fmla="*/ 0 h 144"/>
                <a:gd name="T12" fmla="*/ 2147483647 w 75"/>
                <a:gd name="T13" fmla="*/ 2147483647 h 144"/>
                <a:gd name="T14" fmla="*/ 2147483647 w 75"/>
                <a:gd name="T15" fmla="*/ 2147483647 h 144"/>
                <a:gd name="T16" fmla="*/ 0 w 75"/>
                <a:gd name="T17" fmla="*/ 2147483647 h 1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5" h="144">
                  <a:moveTo>
                    <a:pt x="0" y="32"/>
                  </a:moveTo>
                  <a:lnTo>
                    <a:pt x="6" y="97"/>
                  </a:lnTo>
                  <a:lnTo>
                    <a:pt x="12" y="132"/>
                  </a:lnTo>
                  <a:lnTo>
                    <a:pt x="31" y="144"/>
                  </a:lnTo>
                  <a:lnTo>
                    <a:pt x="75" y="76"/>
                  </a:lnTo>
                  <a:lnTo>
                    <a:pt x="75" y="0"/>
                  </a:lnTo>
                  <a:lnTo>
                    <a:pt x="43" y="9"/>
                  </a:lnTo>
                  <a:lnTo>
                    <a:pt x="6" y="9"/>
                  </a:lnTo>
                  <a:lnTo>
                    <a:pt x="0" y="3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54" name="Freeform 105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8970277" y="4420758"/>
              <a:ext cx="138337" cy="114300"/>
            </a:xfrm>
            <a:custGeom>
              <a:avLst/>
              <a:gdLst>
                <a:gd name="T0" fmla="*/ 0 w 75"/>
                <a:gd name="T1" fmla="*/ 2147483647 h 144"/>
                <a:gd name="T2" fmla="*/ 2147483647 w 75"/>
                <a:gd name="T3" fmla="*/ 2147483647 h 144"/>
                <a:gd name="T4" fmla="*/ 2147483647 w 75"/>
                <a:gd name="T5" fmla="*/ 2147483647 h 144"/>
                <a:gd name="T6" fmla="*/ 2147483647 w 75"/>
                <a:gd name="T7" fmla="*/ 2147483647 h 144"/>
                <a:gd name="T8" fmla="*/ 2147483647 w 75"/>
                <a:gd name="T9" fmla="*/ 2147483647 h 144"/>
                <a:gd name="T10" fmla="*/ 2147483647 w 75"/>
                <a:gd name="T11" fmla="*/ 0 h 144"/>
                <a:gd name="T12" fmla="*/ 2147483647 w 75"/>
                <a:gd name="T13" fmla="*/ 2147483647 h 144"/>
                <a:gd name="T14" fmla="*/ 2147483647 w 75"/>
                <a:gd name="T15" fmla="*/ 2147483647 h 144"/>
                <a:gd name="T16" fmla="*/ 0 w 75"/>
                <a:gd name="T17" fmla="*/ 2147483647 h 1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5" h="144">
                  <a:moveTo>
                    <a:pt x="0" y="32"/>
                  </a:moveTo>
                  <a:lnTo>
                    <a:pt x="6" y="97"/>
                  </a:lnTo>
                  <a:lnTo>
                    <a:pt x="12" y="132"/>
                  </a:lnTo>
                  <a:lnTo>
                    <a:pt x="31" y="144"/>
                  </a:lnTo>
                  <a:lnTo>
                    <a:pt x="75" y="76"/>
                  </a:lnTo>
                  <a:lnTo>
                    <a:pt x="75" y="0"/>
                  </a:lnTo>
                  <a:lnTo>
                    <a:pt x="43" y="9"/>
                  </a:lnTo>
                  <a:lnTo>
                    <a:pt x="6" y="9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63" name="Freeform 106"/>
            <p:cNvSpPr>
              <a:spLocks/>
            </p:cNvSpPr>
            <p:nvPr>
              <p:custDataLst>
                <p:tags r:id="rId87"/>
              </p:custDataLst>
            </p:nvPr>
          </p:nvSpPr>
          <p:spPr bwMode="auto">
            <a:xfrm>
              <a:off x="8970277" y="4420758"/>
              <a:ext cx="138337" cy="114300"/>
            </a:xfrm>
            <a:custGeom>
              <a:avLst/>
              <a:gdLst>
                <a:gd name="T0" fmla="*/ 0 w 75"/>
                <a:gd name="T1" fmla="*/ 2147483647 h 144"/>
                <a:gd name="T2" fmla="*/ 2147483647 w 75"/>
                <a:gd name="T3" fmla="*/ 2147483647 h 144"/>
                <a:gd name="T4" fmla="*/ 2147483647 w 75"/>
                <a:gd name="T5" fmla="*/ 2147483647 h 144"/>
                <a:gd name="T6" fmla="*/ 2147483647 w 75"/>
                <a:gd name="T7" fmla="*/ 2147483647 h 144"/>
                <a:gd name="T8" fmla="*/ 2147483647 w 75"/>
                <a:gd name="T9" fmla="*/ 2147483647 h 144"/>
                <a:gd name="T10" fmla="*/ 2147483647 w 75"/>
                <a:gd name="T11" fmla="*/ 0 h 144"/>
                <a:gd name="T12" fmla="*/ 2147483647 w 75"/>
                <a:gd name="T13" fmla="*/ 2147483647 h 144"/>
                <a:gd name="T14" fmla="*/ 2147483647 w 75"/>
                <a:gd name="T15" fmla="*/ 2147483647 h 144"/>
                <a:gd name="T16" fmla="*/ 0 w 75"/>
                <a:gd name="T17" fmla="*/ 2147483647 h 1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5" h="144">
                  <a:moveTo>
                    <a:pt x="0" y="32"/>
                  </a:moveTo>
                  <a:lnTo>
                    <a:pt x="6" y="97"/>
                  </a:lnTo>
                  <a:lnTo>
                    <a:pt x="12" y="132"/>
                  </a:lnTo>
                  <a:lnTo>
                    <a:pt x="31" y="144"/>
                  </a:lnTo>
                  <a:lnTo>
                    <a:pt x="75" y="76"/>
                  </a:lnTo>
                  <a:lnTo>
                    <a:pt x="75" y="0"/>
                  </a:lnTo>
                  <a:lnTo>
                    <a:pt x="43" y="9"/>
                  </a:lnTo>
                  <a:lnTo>
                    <a:pt x="6" y="9"/>
                  </a:lnTo>
                  <a:lnTo>
                    <a:pt x="0" y="3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64" name="Freeform 107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1720563" y="2561795"/>
              <a:ext cx="2453993" cy="1106488"/>
            </a:xfrm>
            <a:custGeom>
              <a:avLst/>
              <a:gdLst>
                <a:gd name="T0" fmla="*/ 2147483647 w 1326"/>
                <a:gd name="T1" fmla="*/ 2147483647 h 1395"/>
                <a:gd name="T2" fmla="*/ 2147483647 w 1326"/>
                <a:gd name="T3" fmla="*/ 2147483647 h 1395"/>
                <a:gd name="T4" fmla="*/ 2147483647 w 1326"/>
                <a:gd name="T5" fmla="*/ 2147483647 h 1395"/>
                <a:gd name="T6" fmla="*/ 2147483647 w 1326"/>
                <a:gd name="T7" fmla="*/ 2147483647 h 1395"/>
                <a:gd name="T8" fmla="*/ 2147483647 w 1326"/>
                <a:gd name="T9" fmla="*/ 2147483647 h 1395"/>
                <a:gd name="T10" fmla="*/ 2147483647 w 1326"/>
                <a:gd name="T11" fmla="*/ 2147483647 h 1395"/>
                <a:gd name="T12" fmla="*/ 2147483647 w 1326"/>
                <a:gd name="T13" fmla="*/ 2147483647 h 1395"/>
                <a:gd name="T14" fmla="*/ 2147483647 w 1326"/>
                <a:gd name="T15" fmla="*/ 2147483647 h 1395"/>
                <a:gd name="T16" fmla="*/ 2147483647 w 1326"/>
                <a:gd name="T17" fmla="*/ 2147483647 h 1395"/>
                <a:gd name="T18" fmla="*/ 2147483647 w 1326"/>
                <a:gd name="T19" fmla="*/ 2147483647 h 1395"/>
                <a:gd name="T20" fmla="*/ 2147483647 w 1326"/>
                <a:gd name="T21" fmla="*/ 2147483647 h 1395"/>
                <a:gd name="T22" fmla="*/ 2147483647 w 1326"/>
                <a:gd name="T23" fmla="*/ 2147483647 h 1395"/>
                <a:gd name="T24" fmla="*/ 2147483647 w 1326"/>
                <a:gd name="T25" fmla="*/ 0 h 1395"/>
                <a:gd name="T26" fmla="*/ 2147483647 w 1326"/>
                <a:gd name="T27" fmla="*/ 2147483647 h 1395"/>
                <a:gd name="T28" fmla="*/ 2147483647 w 1326"/>
                <a:gd name="T29" fmla="*/ 2147483647 h 1395"/>
                <a:gd name="T30" fmla="*/ 2147483647 w 1326"/>
                <a:gd name="T31" fmla="*/ 2147483647 h 1395"/>
                <a:gd name="T32" fmla="*/ 2147483647 w 1326"/>
                <a:gd name="T33" fmla="*/ 2147483647 h 1395"/>
                <a:gd name="T34" fmla="*/ 2147483647 w 1326"/>
                <a:gd name="T35" fmla="*/ 2147483647 h 1395"/>
                <a:gd name="T36" fmla="*/ 2147483647 w 1326"/>
                <a:gd name="T37" fmla="*/ 2147483647 h 1395"/>
                <a:gd name="T38" fmla="*/ 2147483647 w 1326"/>
                <a:gd name="T39" fmla="*/ 2147483647 h 1395"/>
                <a:gd name="T40" fmla="*/ 2147483647 w 1326"/>
                <a:gd name="T41" fmla="*/ 2147483647 h 1395"/>
                <a:gd name="T42" fmla="*/ 2147483647 w 1326"/>
                <a:gd name="T43" fmla="*/ 2147483647 h 1395"/>
                <a:gd name="T44" fmla="*/ 2147483647 w 1326"/>
                <a:gd name="T45" fmla="*/ 2147483647 h 1395"/>
                <a:gd name="T46" fmla="*/ 2147483647 w 1326"/>
                <a:gd name="T47" fmla="*/ 2147483647 h 1395"/>
                <a:gd name="T48" fmla="*/ 2147483647 w 1326"/>
                <a:gd name="T49" fmla="*/ 2147483647 h 1395"/>
                <a:gd name="T50" fmla="*/ 2147483647 w 1326"/>
                <a:gd name="T51" fmla="*/ 2147483647 h 1395"/>
                <a:gd name="T52" fmla="*/ 2147483647 w 1326"/>
                <a:gd name="T53" fmla="*/ 2147483647 h 1395"/>
                <a:gd name="T54" fmla="*/ 2147483647 w 1326"/>
                <a:gd name="T55" fmla="*/ 2147483647 h 1395"/>
                <a:gd name="T56" fmla="*/ 2147483647 w 1326"/>
                <a:gd name="T57" fmla="*/ 2147483647 h 1395"/>
                <a:gd name="T58" fmla="*/ 2147483647 w 1326"/>
                <a:gd name="T59" fmla="*/ 2147483647 h 1395"/>
                <a:gd name="T60" fmla="*/ 2147483647 w 1326"/>
                <a:gd name="T61" fmla="*/ 2147483647 h 1395"/>
                <a:gd name="T62" fmla="*/ 2147483647 w 1326"/>
                <a:gd name="T63" fmla="*/ 2147483647 h 1395"/>
                <a:gd name="T64" fmla="*/ 2147483647 w 1326"/>
                <a:gd name="T65" fmla="*/ 2147483647 h 1395"/>
                <a:gd name="T66" fmla="*/ 2147483647 w 1326"/>
                <a:gd name="T67" fmla="*/ 2147483647 h 1395"/>
                <a:gd name="T68" fmla="*/ 2147483647 w 1326"/>
                <a:gd name="T69" fmla="*/ 2147483647 h 1395"/>
                <a:gd name="T70" fmla="*/ 2147483647 w 1326"/>
                <a:gd name="T71" fmla="*/ 2147483647 h 1395"/>
                <a:gd name="T72" fmla="*/ 2147483647 w 1326"/>
                <a:gd name="T73" fmla="*/ 2147483647 h 1395"/>
                <a:gd name="T74" fmla="*/ 2147483647 w 1326"/>
                <a:gd name="T75" fmla="*/ 2147483647 h 1395"/>
                <a:gd name="T76" fmla="*/ 2147483647 w 1326"/>
                <a:gd name="T77" fmla="*/ 2147483647 h 1395"/>
                <a:gd name="T78" fmla="*/ 2147483647 w 1326"/>
                <a:gd name="T79" fmla="*/ 2147483647 h 1395"/>
                <a:gd name="T80" fmla="*/ 2147483647 w 1326"/>
                <a:gd name="T81" fmla="*/ 2147483647 h 1395"/>
                <a:gd name="T82" fmla="*/ 2147483647 w 1326"/>
                <a:gd name="T83" fmla="*/ 2147483647 h 1395"/>
                <a:gd name="T84" fmla="*/ 2147483647 w 1326"/>
                <a:gd name="T85" fmla="*/ 2147483647 h 1395"/>
                <a:gd name="T86" fmla="*/ 2147483647 w 1326"/>
                <a:gd name="T87" fmla="*/ 2147483647 h 1395"/>
                <a:gd name="T88" fmla="*/ 2147483647 w 1326"/>
                <a:gd name="T89" fmla="*/ 2147483647 h 1395"/>
                <a:gd name="T90" fmla="*/ 2147483647 w 1326"/>
                <a:gd name="T91" fmla="*/ 2147483647 h 1395"/>
                <a:gd name="T92" fmla="*/ 2147483647 w 1326"/>
                <a:gd name="T93" fmla="*/ 2147483647 h 1395"/>
                <a:gd name="T94" fmla="*/ 2147483647 w 1326"/>
                <a:gd name="T95" fmla="*/ 2147483647 h 1395"/>
                <a:gd name="T96" fmla="*/ 2147483647 w 1326"/>
                <a:gd name="T97" fmla="*/ 2147483647 h 1395"/>
                <a:gd name="T98" fmla="*/ 2147483647 w 1326"/>
                <a:gd name="T99" fmla="*/ 2147483647 h 1395"/>
                <a:gd name="T100" fmla="*/ 2147483647 w 1326"/>
                <a:gd name="T101" fmla="*/ 2147483647 h 1395"/>
                <a:gd name="T102" fmla="*/ 2147483647 w 1326"/>
                <a:gd name="T103" fmla="*/ 2147483647 h 1395"/>
                <a:gd name="T104" fmla="*/ 2147483647 w 1326"/>
                <a:gd name="T105" fmla="*/ 2147483647 h 1395"/>
                <a:gd name="T106" fmla="*/ 2147483647 w 1326"/>
                <a:gd name="T107" fmla="*/ 2147483647 h 1395"/>
                <a:gd name="T108" fmla="*/ 2147483647 w 1326"/>
                <a:gd name="T109" fmla="*/ 2147483647 h 1395"/>
                <a:gd name="T110" fmla="*/ 2147483647 w 1326"/>
                <a:gd name="T111" fmla="*/ 2147483647 h 1395"/>
                <a:gd name="T112" fmla="*/ 2147483647 w 1326"/>
                <a:gd name="T113" fmla="*/ 2147483647 h 1395"/>
                <a:gd name="T114" fmla="*/ 2147483647 w 1326"/>
                <a:gd name="T115" fmla="*/ 2147483647 h 1395"/>
                <a:gd name="T116" fmla="*/ 2147483647 w 1326"/>
                <a:gd name="T117" fmla="*/ 2147483647 h 1395"/>
                <a:gd name="T118" fmla="*/ 2147483647 w 1326"/>
                <a:gd name="T119" fmla="*/ 2147483647 h 13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326" h="1395">
                  <a:moveTo>
                    <a:pt x="0" y="615"/>
                  </a:moveTo>
                  <a:lnTo>
                    <a:pt x="0" y="135"/>
                  </a:lnTo>
                  <a:lnTo>
                    <a:pt x="106" y="190"/>
                  </a:lnTo>
                  <a:lnTo>
                    <a:pt x="101" y="167"/>
                  </a:lnTo>
                  <a:lnTo>
                    <a:pt x="112" y="156"/>
                  </a:lnTo>
                  <a:lnTo>
                    <a:pt x="175" y="102"/>
                  </a:lnTo>
                  <a:lnTo>
                    <a:pt x="125" y="167"/>
                  </a:lnTo>
                  <a:lnTo>
                    <a:pt x="156" y="146"/>
                  </a:lnTo>
                  <a:lnTo>
                    <a:pt x="156" y="156"/>
                  </a:lnTo>
                  <a:lnTo>
                    <a:pt x="207" y="102"/>
                  </a:lnTo>
                  <a:lnTo>
                    <a:pt x="200" y="79"/>
                  </a:lnTo>
                  <a:lnTo>
                    <a:pt x="238" y="146"/>
                  </a:lnTo>
                  <a:lnTo>
                    <a:pt x="262" y="112"/>
                  </a:lnTo>
                  <a:lnTo>
                    <a:pt x="257" y="146"/>
                  </a:lnTo>
                  <a:lnTo>
                    <a:pt x="287" y="123"/>
                  </a:lnTo>
                  <a:lnTo>
                    <a:pt x="363" y="167"/>
                  </a:lnTo>
                  <a:lnTo>
                    <a:pt x="400" y="167"/>
                  </a:lnTo>
                  <a:lnTo>
                    <a:pt x="419" y="202"/>
                  </a:lnTo>
                  <a:lnTo>
                    <a:pt x="395" y="225"/>
                  </a:lnTo>
                  <a:lnTo>
                    <a:pt x="414" y="235"/>
                  </a:lnTo>
                  <a:lnTo>
                    <a:pt x="482" y="225"/>
                  </a:lnTo>
                  <a:lnTo>
                    <a:pt x="514" y="269"/>
                  </a:lnTo>
                  <a:lnTo>
                    <a:pt x="520" y="290"/>
                  </a:lnTo>
                  <a:lnTo>
                    <a:pt x="525" y="269"/>
                  </a:lnTo>
                  <a:lnTo>
                    <a:pt x="514" y="235"/>
                  </a:lnTo>
                  <a:lnTo>
                    <a:pt x="544" y="190"/>
                  </a:lnTo>
                  <a:lnTo>
                    <a:pt x="514" y="212"/>
                  </a:lnTo>
                  <a:lnTo>
                    <a:pt x="501" y="202"/>
                  </a:lnTo>
                  <a:lnTo>
                    <a:pt x="544" y="167"/>
                  </a:lnTo>
                  <a:lnTo>
                    <a:pt x="563" y="212"/>
                  </a:lnTo>
                  <a:lnTo>
                    <a:pt x="589" y="212"/>
                  </a:lnTo>
                  <a:lnTo>
                    <a:pt x="601" y="246"/>
                  </a:lnTo>
                  <a:lnTo>
                    <a:pt x="663" y="235"/>
                  </a:lnTo>
                  <a:lnTo>
                    <a:pt x="663" y="212"/>
                  </a:lnTo>
                  <a:lnTo>
                    <a:pt x="681" y="246"/>
                  </a:lnTo>
                  <a:lnTo>
                    <a:pt x="681" y="225"/>
                  </a:lnTo>
                  <a:lnTo>
                    <a:pt x="670" y="235"/>
                  </a:lnTo>
                  <a:lnTo>
                    <a:pt x="657" y="202"/>
                  </a:lnTo>
                  <a:lnTo>
                    <a:pt x="681" y="202"/>
                  </a:lnTo>
                  <a:lnTo>
                    <a:pt x="689" y="225"/>
                  </a:lnTo>
                  <a:lnTo>
                    <a:pt x="700" y="212"/>
                  </a:lnTo>
                  <a:lnTo>
                    <a:pt x="695" y="246"/>
                  </a:lnTo>
                  <a:lnTo>
                    <a:pt x="714" y="269"/>
                  </a:lnTo>
                  <a:lnTo>
                    <a:pt x="707" y="212"/>
                  </a:lnTo>
                  <a:lnTo>
                    <a:pt x="738" y="190"/>
                  </a:lnTo>
                  <a:lnTo>
                    <a:pt x="732" y="167"/>
                  </a:lnTo>
                  <a:lnTo>
                    <a:pt x="719" y="179"/>
                  </a:lnTo>
                  <a:lnTo>
                    <a:pt x="738" y="146"/>
                  </a:lnTo>
                  <a:lnTo>
                    <a:pt x="695" y="112"/>
                  </a:lnTo>
                  <a:lnTo>
                    <a:pt x="695" y="45"/>
                  </a:lnTo>
                  <a:lnTo>
                    <a:pt x="707" y="45"/>
                  </a:lnTo>
                  <a:lnTo>
                    <a:pt x="714" y="0"/>
                  </a:lnTo>
                  <a:lnTo>
                    <a:pt x="745" y="45"/>
                  </a:lnTo>
                  <a:lnTo>
                    <a:pt x="750" y="68"/>
                  </a:lnTo>
                  <a:lnTo>
                    <a:pt x="769" y="102"/>
                  </a:lnTo>
                  <a:lnTo>
                    <a:pt x="757" y="102"/>
                  </a:lnTo>
                  <a:lnTo>
                    <a:pt x="764" y="112"/>
                  </a:lnTo>
                  <a:lnTo>
                    <a:pt x="750" y="135"/>
                  </a:lnTo>
                  <a:lnTo>
                    <a:pt x="783" y="146"/>
                  </a:lnTo>
                  <a:lnTo>
                    <a:pt x="769" y="146"/>
                  </a:lnTo>
                  <a:lnTo>
                    <a:pt x="788" y="212"/>
                  </a:lnTo>
                  <a:lnTo>
                    <a:pt x="801" y="156"/>
                  </a:lnTo>
                  <a:lnTo>
                    <a:pt x="826" y="179"/>
                  </a:lnTo>
                  <a:lnTo>
                    <a:pt x="826" y="212"/>
                  </a:lnTo>
                  <a:lnTo>
                    <a:pt x="819" y="225"/>
                  </a:lnTo>
                  <a:lnTo>
                    <a:pt x="838" y="269"/>
                  </a:lnTo>
                  <a:lnTo>
                    <a:pt x="845" y="256"/>
                  </a:lnTo>
                  <a:lnTo>
                    <a:pt x="864" y="190"/>
                  </a:lnTo>
                  <a:lnTo>
                    <a:pt x="875" y="179"/>
                  </a:lnTo>
                  <a:lnTo>
                    <a:pt x="864" y="123"/>
                  </a:lnTo>
                  <a:lnTo>
                    <a:pt x="907" y="135"/>
                  </a:lnTo>
                  <a:lnTo>
                    <a:pt x="925" y="167"/>
                  </a:lnTo>
                  <a:lnTo>
                    <a:pt x="920" y="179"/>
                  </a:lnTo>
                  <a:lnTo>
                    <a:pt x="925" y="190"/>
                  </a:lnTo>
                  <a:lnTo>
                    <a:pt x="907" y="202"/>
                  </a:lnTo>
                  <a:lnTo>
                    <a:pt x="925" y="279"/>
                  </a:lnTo>
                  <a:lnTo>
                    <a:pt x="901" y="313"/>
                  </a:lnTo>
                  <a:lnTo>
                    <a:pt x="889" y="290"/>
                  </a:lnTo>
                  <a:lnTo>
                    <a:pt x="894" y="325"/>
                  </a:lnTo>
                  <a:lnTo>
                    <a:pt x="851" y="302"/>
                  </a:lnTo>
                  <a:lnTo>
                    <a:pt x="857" y="325"/>
                  </a:lnTo>
                  <a:lnTo>
                    <a:pt x="838" y="369"/>
                  </a:lnTo>
                  <a:lnTo>
                    <a:pt x="795" y="335"/>
                  </a:lnTo>
                  <a:lnTo>
                    <a:pt x="807" y="369"/>
                  </a:lnTo>
                  <a:lnTo>
                    <a:pt x="845" y="369"/>
                  </a:lnTo>
                  <a:lnTo>
                    <a:pt x="819" y="436"/>
                  </a:lnTo>
                  <a:lnTo>
                    <a:pt x="795" y="425"/>
                  </a:lnTo>
                  <a:lnTo>
                    <a:pt x="783" y="469"/>
                  </a:lnTo>
                  <a:lnTo>
                    <a:pt x="738" y="436"/>
                  </a:lnTo>
                  <a:lnTo>
                    <a:pt x="783" y="469"/>
                  </a:lnTo>
                  <a:lnTo>
                    <a:pt x="788" y="492"/>
                  </a:lnTo>
                  <a:lnTo>
                    <a:pt x="757" y="502"/>
                  </a:lnTo>
                  <a:lnTo>
                    <a:pt x="764" y="502"/>
                  </a:lnTo>
                  <a:lnTo>
                    <a:pt x="750" y="502"/>
                  </a:lnTo>
                  <a:lnTo>
                    <a:pt x="750" y="536"/>
                  </a:lnTo>
                  <a:lnTo>
                    <a:pt x="719" y="571"/>
                  </a:lnTo>
                  <a:lnTo>
                    <a:pt x="714" y="680"/>
                  </a:lnTo>
                  <a:lnTo>
                    <a:pt x="726" y="703"/>
                  </a:lnTo>
                  <a:lnTo>
                    <a:pt x="745" y="694"/>
                  </a:lnTo>
                  <a:lnTo>
                    <a:pt x="750" y="769"/>
                  </a:lnTo>
                  <a:lnTo>
                    <a:pt x="776" y="759"/>
                  </a:lnTo>
                  <a:lnTo>
                    <a:pt x="807" y="782"/>
                  </a:lnTo>
                  <a:lnTo>
                    <a:pt x="864" y="847"/>
                  </a:lnTo>
                  <a:lnTo>
                    <a:pt x="864" y="870"/>
                  </a:lnTo>
                  <a:lnTo>
                    <a:pt x="864" y="847"/>
                  </a:lnTo>
                  <a:lnTo>
                    <a:pt x="914" y="859"/>
                  </a:lnTo>
                  <a:lnTo>
                    <a:pt x="914" y="947"/>
                  </a:lnTo>
                  <a:lnTo>
                    <a:pt x="925" y="982"/>
                  </a:lnTo>
                  <a:lnTo>
                    <a:pt x="914" y="993"/>
                  </a:lnTo>
                  <a:lnTo>
                    <a:pt x="939" y="1005"/>
                  </a:lnTo>
                  <a:lnTo>
                    <a:pt x="933" y="1037"/>
                  </a:lnTo>
                  <a:lnTo>
                    <a:pt x="951" y="1026"/>
                  </a:lnTo>
                  <a:lnTo>
                    <a:pt x="983" y="982"/>
                  </a:lnTo>
                  <a:lnTo>
                    <a:pt x="970" y="970"/>
                  </a:lnTo>
                  <a:lnTo>
                    <a:pt x="951" y="882"/>
                  </a:lnTo>
                  <a:lnTo>
                    <a:pt x="1008" y="803"/>
                  </a:lnTo>
                  <a:lnTo>
                    <a:pt x="1001" y="803"/>
                  </a:lnTo>
                  <a:lnTo>
                    <a:pt x="989" y="715"/>
                  </a:lnTo>
                  <a:lnTo>
                    <a:pt x="970" y="694"/>
                  </a:lnTo>
                  <a:lnTo>
                    <a:pt x="994" y="646"/>
                  </a:lnTo>
                  <a:lnTo>
                    <a:pt x="989" y="636"/>
                  </a:lnTo>
                  <a:lnTo>
                    <a:pt x="989" y="601"/>
                  </a:lnTo>
                  <a:lnTo>
                    <a:pt x="976" y="592"/>
                  </a:lnTo>
                  <a:lnTo>
                    <a:pt x="989" y="557"/>
                  </a:lnTo>
                  <a:lnTo>
                    <a:pt x="976" y="536"/>
                  </a:lnTo>
                  <a:lnTo>
                    <a:pt x="983" y="513"/>
                  </a:lnTo>
                  <a:lnTo>
                    <a:pt x="1026" y="525"/>
                  </a:lnTo>
                  <a:lnTo>
                    <a:pt x="1045" y="513"/>
                  </a:lnTo>
                  <a:lnTo>
                    <a:pt x="1082" y="557"/>
                  </a:lnTo>
                  <a:lnTo>
                    <a:pt x="1082" y="580"/>
                  </a:lnTo>
                  <a:lnTo>
                    <a:pt x="1108" y="580"/>
                  </a:lnTo>
                  <a:lnTo>
                    <a:pt x="1114" y="625"/>
                  </a:lnTo>
                  <a:lnTo>
                    <a:pt x="1089" y="636"/>
                  </a:lnTo>
                  <a:lnTo>
                    <a:pt x="1108" y="636"/>
                  </a:lnTo>
                  <a:lnTo>
                    <a:pt x="1119" y="671"/>
                  </a:lnTo>
                  <a:lnTo>
                    <a:pt x="1095" y="703"/>
                  </a:lnTo>
                  <a:lnTo>
                    <a:pt x="1133" y="680"/>
                  </a:lnTo>
                  <a:lnTo>
                    <a:pt x="1133" y="724"/>
                  </a:lnTo>
                  <a:lnTo>
                    <a:pt x="1114" y="738"/>
                  </a:lnTo>
                  <a:lnTo>
                    <a:pt x="1139" y="694"/>
                  </a:lnTo>
                  <a:lnTo>
                    <a:pt x="1139" y="724"/>
                  </a:lnTo>
                  <a:lnTo>
                    <a:pt x="1158" y="694"/>
                  </a:lnTo>
                  <a:lnTo>
                    <a:pt x="1164" y="703"/>
                  </a:lnTo>
                  <a:lnTo>
                    <a:pt x="1183" y="659"/>
                  </a:lnTo>
                  <a:lnTo>
                    <a:pt x="1177" y="646"/>
                  </a:lnTo>
                  <a:lnTo>
                    <a:pt x="1188" y="615"/>
                  </a:lnTo>
                  <a:lnTo>
                    <a:pt x="1208" y="671"/>
                  </a:lnTo>
                  <a:lnTo>
                    <a:pt x="1195" y="680"/>
                  </a:lnTo>
                  <a:lnTo>
                    <a:pt x="1214" y="671"/>
                  </a:lnTo>
                  <a:lnTo>
                    <a:pt x="1220" y="694"/>
                  </a:lnTo>
                  <a:lnTo>
                    <a:pt x="1208" y="703"/>
                  </a:lnTo>
                  <a:lnTo>
                    <a:pt x="1220" y="703"/>
                  </a:lnTo>
                  <a:lnTo>
                    <a:pt x="1214" y="724"/>
                  </a:lnTo>
                  <a:lnTo>
                    <a:pt x="1220" y="724"/>
                  </a:lnTo>
                  <a:lnTo>
                    <a:pt x="1233" y="747"/>
                  </a:lnTo>
                  <a:lnTo>
                    <a:pt x="1227" y="747"/>
                  </a:lnTo>
                  <a:lnTo>
                    <a:pt x="1238" y="769"/>
                  </a:lnTo>
                  <a:lnTo>
                    <a:pt x="1214" y="792"/>
                  </a:lnTo>
                  <a:lnTo>
                    <a:pt x="1233" y="792"/>
                  </a:lnTo>
                  <a:lnTo>
                    <a:pt x="1233" y="803"/>
                  </a:lnTo>
                  <a:lnTo>
                    <a:pt x="1257" y="826"/>
                  </a:lnTo>
                  <a:lnTo>
                    <a:pt x="1264" y="870"/>
                  </a:lnTo>
                  <a:lnTo>
                    <a:pt x="1277" y="847"/>
                  </a:lnTo>
                  <a:lnTo>
                    <a:pt x="1302" y="882"/>
                  </a:lnTo>
                  <a:lnTo>
                    <a:pt x="1245" y="915"/>
                  </a:lnTo>
                  <a:lnTo>
                    <a:pt x="1257" y="938"/>
                  </a:lnTo>
                  <a:lnTo>
                    <a:pt x="1302" y="891"/>
                  </a:lnTo>
                  <a:lnTo>
                    <a:pt x="1302" y="926"/>
                  </a:lnTo>
                  <a:lnTo>
                    <a:pt x="1326" y="926"/>
                  </a:lnTo>
                  <a:lnTo>
                    <a:pt x="1326" y="938"/>
                  </a:lnTo>
                  <a:lnTo>
                    <a:pt x="1320" y="938"/>
                  </a:lnTo>
                  <a:lnTo>
                    <a:pt x="1326" y="982"/>
                  </a:lnTo>
                  <a:lnTo>
                    <a:pt x="1264" y="1070"/>
                  </a:lnTo>
                  <a:lnTo>
                    <a:pt x="1164" y="1070"/>
                  </a:lnTo>
                  <a:lnTo>
                    <a:pt x="1119" y="1128"/>
                  </a:lnTo>
                  <a:lnTo>
                    <a:pt x="1089" y="1205"/>
                  </a:lnTo>
                  <a:lnTo>
                    <a:pt x="1119" y="1137"/>
                  </a:lnTo>
                  <a:lnTo>
                    <a:pt x="1177" y="1105"/>
                  </a:lnTo>
                  <a:lnTo>
                    <a:pt x="1195" y="1137"/>
                  </a:lnTo>
                  <a:lnTo>
                    <a:pt x="1158" y="1160"/>
                  </a:lnTo>
                  <a:lnTo>
                    <a:pt x="1188" y="1172"/>
                  </a:lnTo>
                  <a:lnTo>
                    <a:pt x="1183" y="1193"/>
                  </a:lnTo>
                  <a:lnTo>
                    <a:pt x="1202" y="1237"/>
                  </a:lnTo>
                  <a:lnTo>
                    <a:pt x="1238" y="1249"/>
                  </a:lnTo>
                  <a:lnTo>
                    <a:pt x="1252" y="1193"/>
                  </a:lnTo>
                  <a:lnTo>
                    <a:pt x="1252" y="1237"/>
                  </a:lnTo>
                  <a:lnTo>
                    <a:pt x="1264" y="1228"/>
                  </a:lnTo>
                  <a:lnTo>
                    <a:pt x="1245" y="1272"/>
                  </a:lnTo>
                  <a:lnTo>
                    <a:pt x="1195" y="1295"/>
                  </a:lnTo>
                  <a:lnTo>
                    <a:pt x="1177" y="1339"/>
                  </a:lnTo>
                  <a:lnTo>
                    <a:pt x="1164" y="1295"/>
                  </a:lnTo>
                  <a:lnTo>
                    <a:pt x="1208" y="1260"/>
                  </a:lnTo>
                  <a:lnTo>
                    <a:pt x="1188" y="1260"/>
                  </a:lnTo>
                  <a:lnTo>
                    <a:pt x="1188" y="1237"/>
                  </a:lnTo>
                  <a:lnTo>
                    <a:pt x="1151" y="1272"/>
                  </a:lnTo>
                  <a:lnTo>
                    <a:pt x="1139" y="1249"/>
                  </a:lnTo>
                  <a:lnTo>
                    <a:pt x="1139" y="1193"/>
                  </a:lnTo>
                  <a:lnTo>
                    <a:pt x="1114" y="1183"/>
                  </a:lnTo>
                  <a:lnTo>
                    <a:pt x="1095" y="1260"/>
                  </a:lnTo>
                  <a:lnTo>
                    <a:pt x="1013" y="1295"/>
                  </a:lnTo>
                  <a:lnTo>
                    <a:pt x="963" y="1327"/>
                  </a:lnTo>
                  <a:lnTo>
                    <a:pt x="951" y="1339"/>
                  </a:lnTo>
                  <a:lnTo>
                    <a:pt x="963" y="1351"/>
                  </a:lnTo>
                  <a:lnTo>
                    <a:pt x="970" y="1360"/>
                  </a:lnTo>
                  <a:lnTo>
                    <a:pt x="901" y="1395"/>
                  </a:lnTo>
                  <a:lnTo>
                    <a:pt x="907" y="1383"/>
                  </a:lnTo>
                  <a:lnTo>
                    <a:pt x="907" y="1372"/>
                  </a:lnTo>
                  <a:lnTo>
                    <a:pt x="914" y="1351"/>
                  </a:lnTo>
                  <a:lnTo>
                    <a:pt x="920" y="1339"/>
                  </a:lnTo>
                  <a:lnTo>
                    <a:pt x="925" y="1272"/>
                  </a:lnTo>
                  <a:lnTo>
                    <a:pt x="939" y="1295"/>
                  </a:lnTo>
                  <a:lnTo>
                    <a:pt x="958" y="1283"/>
                  </a:lnTo>
                  <a:lnTo>
                    <a:pt x="939" y="1237"/>
                  </a:lnTo>
                  <a:lnTo>
                    <a:pt x="883" y="1216"/>
                  </a:lnTo>
                  <a:lnTo>
                    <a:pt x="875" y="1216"/>
                  </a:lnTo>
                  <a:lnTo>
                    <a:pt x="875" y="1160"/>
                  </a:lnTo>
                  <a:lnTo>
                    <a:pt x="864" y="1160"/>
                  </a:lnTo>
                  <a:lnTo>
                    <a:pt x="851" y="1128"/>
                  </a:lnTo>
                  <a:lnTo>
                    <a:pt x="838" y="1128"/>
                  </a:lnTo>
                  <a:lnTo>
                    <a:pt x="838" y="1149"/>
                  </a:lnTo>
                  <a:lnTo>
                    <a:pt x="826" y="1114"/>
                  </a:lnTo>
                  <a:lnTo>
                    <a:pt x="795" y="1160"/>
                  </a:lnTo>
                  <a:lnTo>
                    <a:pt x="726" y="1128"/>
                  </a:lnTo>
                  <a:lnTo>
                    <a:pt x="714" y="1105"/>
                  </a:lnTo>
                  <a:lnTo>
                    <a:pt x="714" y="1114"/>
                  </a:lnTo>
                  <a:lnTo>
                    <a:pt x="281" y="1114"/>
                  </a:lnTo>
                  <a:lnTo>
                    <a:pt x="281" y="1084"/>
                  </a:lnTo>
                  <a:lnTo>
                    <a:pt x="257" y="1084"/>
                  </a:lnTo>
                  <a:lnTo>
                    <a:pt x="257" y="1061"/>
                  </a:lnTo>
                  <a:lnTo>
                    <a:pt x="207" y="1026"/>
                  </a:lnTo>
                  <a:lnTo>
                    <a:pt x="212" y="1014"/>
                  </a:lnTo>
                  <a:lnTo>
                    <a:pt x="200" y="970"/>
                  </a:lnTo>
                  <a:lnTo>
                    <a:pt x="188" y="970"/>
                  </a:lnTo>
                  <a:lnTo>
                    <a:pt x="162" y="882"/>
                  </a:lnTo>
                  <a:lnTo>
                    <a:pt x="170" y="859"/>
                  </a:lnTo>
                  <a:lnTo>
                    <a:pt x="170" y="815"/>
                  </a:lnTo>
                  <a:lnTo>
                    <a:pt x="144" y="792"/>
                  </a:lnTo>
                  <a:lnTo>
                    <a:pt x="87" y="636"/>
                  </a:lnTo>
                  <a:lnTo>
                    <a:pt x="56" y="680"/>
                  </a:lnTo>
                  <a:lnTo>
                    <a:pt x="44" y="659"/>
                  </a:lnTo>
                  <a:lnTo>
                    <a:pt x="32" y="615"/>
                  </a:lnTo>
                  <a:lnTo>
                    <a:pt x="0" y="61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65" name="Freeform 108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1720563" y="2561795"/>
              <a:ext cx="2453993" cy="1106488"/>
            </a:xfrm>
            <a:custGeom>
              <a:avLst/>
              <a:gdLst>
                <a:gd name="T0" fmla="*/ 2147483647 w 1326"/>
                <a:gd name="T1" fmla="*/ 2147483647 h 1395"/>
                <a:gd name="T2" fmla="*/ 2147483647 w 1326"/>
                <a:gd name="T3" fmla="*/ 2147483647 h 1395"/>
                <a:gd name="T4" fmla="*/ 2147483647 w 1326"/>
                <a:gd name="T5" fmla="*/ 2147483647 h 1395"/>
                <a:gd name="T6" fmla="*/ 2147483647 w 1326"/>
                <a:gd name="T7" fmla="*/ 2147483647 h 1395"/>
                <a:gd name="T8" fmla="*/ 2147483647 w 1326"/>
                <a:gd name="T9" fmla="*/ 2147483647 h 1395"/>
                <a:gd name="T10" fmla="*/ 2147483647 w 1326"/>
                <a:gd name="T11" fmla="*/ 2147483647 h 1395"/>
                <a:gd name="T12" fmla="*/ 2147483647 w 1326"/>
                <a:gd name="T13" fmla="*/ 2147483647 h 1395"/>
                <a:gd name="T14" fmla="*/ 2147483647 w 1326"/>
                <a:gd name="T15" fmla="*/ 2147483647 h 1395"/>
                <a:gd name="T16" fmla="*/ 2147483647 w 1326"/>
                <a:gd name="T17" fmla="*/ 2147483647 h 1395"/>
                <a:gd name="T18" fmla="*/ 2147483647 w 1326"/>
                <a:gd name="T19" fmla="*/ 2147483647 h 1395"/>
                <a:gd name="T20" fmla="*/ 2147483647 w 1326"/>
                <a:gd name="T21" fmla="*/ 2147483647 h 1395"/>
                <a:gd name="T22" fmla="*/ 2147483647 w 1326"/>
                <a:gd name="T23" fmla="*/ 2147483647 h 1395"/>
                <a:gd name="T24" fmla="*/ 2147483647 w 1326"/>
                <a:gd name="T25" fmla="*/ 0 h 1395"/>
                <a:gd name="T26" fmla="*/ 2147483647 w 1326"/>
                <a:gd name="T27" fmla="*/ 2147483647 h 1395"/>
                <a:gd name="T28" fmla="*/ 2147483647 w 1326"/>
                <a:gd name="T29" fmla="*/ 2147483647 h 1395"/>
                <a:gd name="T30" fmla="*/ 2147483647 w 1326"/>
                <a:gd name="T31" fmla="*/ 2147483647 h 1395"/>
                <a:gd name="T32" fmla="*/ 2147483647 w 1326"/>
                <a:gd name="T33" fmla="*/ 2147483647 h 1395"/>
                <a:gd name="T34" fmla="*/ 2147483647 w 1326"/>
                <a:gd name="T35" fmla="*/ 2147483647 h 1395"/>
                <a:gd name="T36" fmla="*/ 2147483647 w 1326"/>
                <a:gd name="T37" fmla="*/ 2147483647 h 1395"/>
                <a:gd name="T38" fmla="*/ 2147483647 w 1326"/>
                <a:gd name="T39" fmla="*/ 2147483647 h 1395"/>
                <a:gd name="T40" fmla="*/ 2147483647 w 1326"/>
                <a:gd name="T41" fmla="*/ 2147483647 h 1395"/>
                <a:gd name="T42" fmla="*/ 2147483647 w 1326"/>
                <a:gd name="T43" fmla="*/ 2147483647 h 1395"/>
                <a:gd name="T44" fmla="*/ 2147483647 w 1326"/>
                <a:gd name="T45" fmla="*/ 2147483647 h 1395"/>
                <a:gd name="T46" fmla="*/ 2147483647 w 1326"/>
                <a:gd name="T47" fmla="*/ 2147483647 h 1395"/>
                <a:gd name="T48" fmla="*/ 2147483647 w 1326"/>
                <a:gd name="T49" fmla="*/ 2147483647 h 1395"/>
                <a:gd name="T50" fmla="*/ 2147483647 w 1326"/>
                <a:gd name="T51" fmla="*/ 2147483647 h 1395"/>
                <a:gd name="T52" fmla="*/ 2147483647 w 1326"/>
                <a:gd name="T53" fmla="*/ 2147483647 h 1395"/>
                <a:gd name="T54" fmla="*/ 2147483647 w 1326"/>
                <a:gd name="T55" fmla="*/ 2147483647 h 1395"/>
                <a:gd name="T56" fmla="*/ 2147483647 w 1326"/>
                <a:gd name="T57" fmla="*/ 2147483647 h 1395"/>
                <a:gd name="T58" fmla="*/ 2147483647 w 1326"/>
                <a:gd name="T59" fmla="*/ 2147483647 h 1395"/>
                <a:gd name="T60" fmla="*/ 2147483647 w 1326"/>
                <a:gd name="T61" fmla="*/ 2147483647 h 1395"/>
                <a:gd name="T62" fmla="*/ 2147483647 w 1326"/>
                <a:gd name="T63" fmla="*/ 2147483647 h 1395"/>
                <a:gd name="T64" fmla="*/ 2147483647 w 1326"/>
                <a:gd name="T65" fmla="*/ 2147483647 h 1395"/>
                <a:gd name="T66" fmla="*/ 2147483647 w 1326"/>
                <a:gd name="T67" fmla="*/ 2147483647 h 1395"/>
                <a:gd name="T68" fmla="*/ 2147483647 w 1326"/>
                <a:gd name="T69" fmla="*/ 2147483647 h 1395"/>
                <a:gd name="T70" fmla="*/ 2147483647 w 1326"/>
                <a:gd name="T71" fmla="*/ 2147483647 h 1395"/>
                <a:gd name="T72" fmla="*/ 2147483647 w 1326"/>
                <a:gd name="T73" fmla="*/ 2147483647 h 1395"/>
                <a:gd name="T74" fmla="*/ 2147483647 w 1326"/>
                <a:gd name="T75" fmla="*/ 2147483647 h 1395"/>
                <a:gd name="T76" fmla="*/ 2147483647 w 1326"/>
                <a:gd name="T77" fmla="*/ 2147483647 h 1395"/>
                <a:gd name="T78" fmla="*/ 2147483647 w 1326"/>
                <a:gd name="T79" fmla="*/ 2147483647 h 1395"/>
                <a:gd name="T80" fmla="*/ 2147483647 w 1326"/>
                <a:gd name="T81" fmla="*/ 2147483647 h 1395"/>
                <a:gd name="T82" fmla="*/ 2147483647 w 1326"/>
                <a:gd name="T83" fmla="*/ 2147483647 h 1395"/>
                <a:gd name="T84" fmla="*/ 2147483647 w 1326"/>
                <a:gd name="T85" fmla="*/ 2147483647 h 1395"/>
                <a:gd name="T86" fmla="*/ 2147483647 w 1326"/>
                <a:gd name="T87" fmla="*/ 2147483647 h 1395"/>
                <a:gd name="T88" fmla="*/ 2147483647 w 1326"/>
                <a:gd name="T89" fmla="*/ 2147483647 h 1395"/>
                <a:gd name="T90" fmla="*/ 2147483647 w 1326"/>
                <a:gd name="T91" fmla="*/ 2147483647 h 1395"/>
                <a:gd name="T92" fmla="*/ 2147483647 w 1326"/>
                <a:gd name="T93" fmla="*/ 2147483647 h 1395"/>
                <a:gd name="T94" fmla="*/ 2147483647 w 1326"/>
                <a:gd name="T95" fmla="*/ 2147483647 h 1395"/>
                <a:gd name="T96" fmla="*/ 2147483647 w 1326"/>
                <a:gd name="T97" fmla="*/ 2147483647 h 1395"/>
                <a:gd name="T98" fmla="*/ 2147483647 w 1326"/>
                <a:gd name="T99" fmla="*/ 2147483647 h 1395"/>
                <a:gd name="T100" fmla="*/ 2147483647 w 1326"/>
                <a:gd name="T101" fmla="*/ 2147483647 h 1395"/>
                <a:gd name="T102" fmla="*/ 2147483647 w 1326"/>
                <a:gd name="T103" fmla="*/ 2147483647 h 1395"/>
                <a:gd name="T104" fmla="*/ 2147483647 w 1326"/>
                <a:gd name="T105" fmla="*/ 2147483647 h 1395"/>
                <a:gd name="T106" fmla="*/ 2147483647 w 1326"/>
                <a:gd name="T107" fmla="*/ 2147483647 h 1395"/>
                <a:gd name="T108" fmla="*/ 2147483647 w 1326"/>
                <a:gd name="T109" fmla="*/ 2147483647 h 1395"/>
                <a:gd name="T110" fmla="*/ 2147483647 w 1326"/>
                <a:gd name="T111" fmla="*/ 2147483647 h 1395"/>
                <a:gd name="T112" fmla="*/ 2147483647 w 1326"/>
                <a:gd name="T113" fmla="*/ 2147483647 h 1395"/>
                <a:gd name="T114" fmla="*/ 2147483647 w 1326"/>
                <a:gd name="T115" fmla="*/ 2147483647 h 1395"/>
                <a:gd name="T116" fmla="*/ 2147483647 w 1326"/>
                <a:gd name="T117" fmla="*/ 2147483647 h 1395"/>
                <a:gd name="T118" fmla="*/ 2147483647 w 1326"/>
                <a:gd name="T119" fmla="*/ 2147483647 h 13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326" h="1395">
                  <a:moveTo>
                    <a:pt x="0" y="615"/>
                  </a:moveTo>
                  <a:lnTo>
                    <a:pt x="0" y="135"/>
                  </a:lnTo>
                  <a:lnTo>
                    <a:pt x="106" y="190"/>
                  </a:lnTo>
                  <a:lnTo>
                    <a:pt x="101" y="167"/>
                  </a:lnTo>
                  <a:lnTo>
                    <a:pt x="112" y="156"/>
                  </a:lnTo>
                  <a:lnTo>
                    <a:pt x="175" y="102"/>
                  </a:lnTo>
                  <a:lnTo>
                    <a:pt x="125" y="167"/>
                  </a:lnTo>
                  <a:lnTo>
                    <a:pt x="156" y="146"/>
                  </a:lnTo>
                  <a:lnTo>
                    <a:pt x="156" y="156"/>
                  </a:lnTo>
                  <a:lnTo>
                    <a:pt x="207" y="102"/>
                  </a:lnTo>
                  <a:lnTo>
                    <a:pt x="200" y="79"/>
                  </a:lnTo>
                  <a:lnTo>
                    <a:pt x="238" y="146"/>
                  </a:lnTo>
                  <a:lnTo>
                    <a:pt x="262" y="112"/>
                  </a:lnTo>
                  <a:lnTo>
                    <a:pt x="257" y="146"/>
                  </a:lnTo>
                  <a:lnTo>
                    <a:pt x="287" y="123"/>
                  </a:lnTo>
                  <a:lnTo>
                    <a:pt x="363" y="167"/>
                  </a:lnTo>
                  <a:lnTo>
                    <a:pt x="400" y="167"/>
                  </a:lnTo>
                  <a:lnTo>
                    <a:pt x="419" y="202"/>
                  </a:lnTo>
                  <a:lnTo>
                    <a:pt x="395" y="225"/>
                  </a:lnTo>
                  <a:lnTo>
                    <a:pt x="414" y="235"/>
                  </a:lnTo>
                  <a:lnTo>
                    <a:pt x="482" y="225"/>
                  </a:lnTo>
                  <a:lnTo>
                    <a:pt x="514" y="269"/>
                  </a:lnTo>
                  <a:lnTo>
                    <a:pt x="520" y="290"/>
                  </a:lnTo>
                  <a:lnTo>
                    <a:pt x="525" y="269"/>
                  </a:lnTo>
                  <a:lnTo>
                    <a:pt x="514" y="235"/>
                  </a:lnTo>
                  <a:lnTo>
                    <a:pt x="544" y="190"/>
                  </a:lnTo>
                  <a:lnTo>
                    <a:pt x="514" y="212"/>
                  </a:lnTo>
                  <a:lnTo>
                    <a:pt x="501" y="202"/>
                  </a:lnTo>
                  <a:lnTo>
                    <a:pt x="544" y="167"/>
                  </a:lnTo>
                  <a:lnTo>
                    <a:pt x="563" y="212"/>
                  </a:lnTo>
                  <a:lnTo>
                    <a:pt x="589" y="212"/>
                  </a:lnTo>
                  <a:lnTo>
                    <a:pt x="601" y="246"/>
                  </a:lnTo>
                  <a:lnTo>
                    <a:pt x="663" y="235"/>
                  </a:lnTo>
                  <a:lnTo>
                    <a:pt x="663" y="212"/>
                  </a:lnTo>
                  <a:lnTo>
                    <a:pt x="681" y="246"/>
                  </a:lnTo>
                  <a:lnTo>
                    <a:pt x="681" y="225"/>
                  </a:lnTo>
                  <a:lnTo>
                    <a:pt x="670" y="235"/>
                  </a:lnTo>
                  <a:lnTo>
                    <a:pt x="657" y="202"/>
                  </a:lnTo>
                  <a:lnTo>
                    <a:pt x="681" y="202"/>
                  </a:lnTo>
                  <a:lnTo>
                    <a:pt x="689" y="225"/>
                  </a:lnTo>
                  <a:lnTo>
                    <a:pt x="700" y="212"/>
                  </a:lnTo>
                  <a:lnTo>
                    <a:pt x="695" y="246"/>
                  </a:lnTo>
                  <a:lnTo>
                    <a:pt x="714" y="269"/>
                  </a:lnTo>
                  <a:lnTo>
                    <a:pt x="707" y="212"/>
                  </a:lnTo>
                  <a:lnTo>
                    <a:pt x="738" y="190"/>
                  </a:lnTo>
                  <a:lnTo>
                    <a:pt x="732" y="167"/>
                  </a:lnTo>
                  <a:lnTo>
                    <a:pt x="719" y="179"/>
                  </a:lnTo>
                  <a:lnTo>
                    <a:pt x="738" y="146"/>
                  </a:lnTo>
                  <a:lnTo>
                    <a:pt x="695" y="112"/>
                  </a:lnTo>
                  <a:lnTo>
                    <a:pt x="695" y="45"/>
                  </a:lnTo>
                  <a:lnTo>
                    <a:pt x="707" y="45"/>
                  </a:lnTo>
                  <a:lnTo>
                    <a:pt x="714" y="0"/>
                  </a:lnTo>
                  <a:lnTo>
                    <a:pt x="745" y="45"/>
                  </a:lnTo>
                  <a:lnTo>
                    <a:pt x="750" y="68"/>
                  </a:lnTo>
                  <a:lnTo>
                    <a:pt x="769" y="102"/>
                  </a:lnTo>
                  <a:lnTo>
                    <a:pt x="757" y="102"/>
                  </a:lnTo>
                  <a:lnTo>
                    <a:pt x="764" y="112"/>
                  </a:lnTo>
                  <a:lnTo>
                    <a:pt x="750" y="135"/>
                  </a:lnTo>
                  <a:lnTo>
                    <a:pt x="783" y="146"/>
                  </a:lnTo>
                  <a:lnTo>
                    <a:pt x="769" y="146"/>
                  </a:lnTo>
                  <a:lnTo>
                    <a:pt x="788" y="212"/>
                  </a:lnTo>
                  <a:lnTo>
                    <a:pt x="801" y="156"/>
                  </a:lnTo>
                  <a:lnTo>
                    <a:pt x="826" y="179"/>
                  </a:lnTo>
                  <a:lnTo>
                    <a:pt x="826" y="212"/>
                  </a:lnTo>
                  <a:lnTo>
                    <a:pt x="819" y="225"/>
                  </a:lnTo>
                  <a:lnTo>
                    <a:pt x="838" y="269"/>
                  </a:lnTo>
                  <a:lnTo>
                    <a:pt x="845" y="256"/>
                  </a:lnTo>
                  <a:lnTo>
                    <a:pt x="864" y="190"/>
                  </a:lnTo>
                  <a:lnTo>
                    <a:pt x="875" y="179"/>
                  </a:lnTo>
                  <a:lnTo>
                    <a:pt x="864" y="123"/>
                  </a:lnTo>
                  <a:lnTo>
                    <a:pt x="907" y="135"/>
                  </a:lnTo>
                  <a:lnTo>
                    <a:pt x="925" y="167"/>
                  </a:lnTo>
                  <a:lnTo>
                    <a:pt x="920" y="179"/>
                  </a:lnTo>
                  <a:lnTo>
                    <a:pt x="925" y="190"/>
                  </a:lnTo>
                  <a:lnTo>
                    <a:pt x="907" y="202"/>
                  </a:lnTo>
                  <a:lnTo>
                    <a:pt x="925" y="279"/>
                  </a:lnTo>
                  <a:lnTo>
                    <a:pt x="901" y="313"/>
                  </a:lnTo>
                  <a:lnTo>
                    <a:pt x="889" y="290"/>
                  </a:lnTo>
                  <a:lnTo>
                    <a:pt x="894" y="325"/>
                  </a:lnTo>
                  <a:lnTo>
                    <a:pt x="851" y="302"/>
                  </a:lnTo>
                  <a:lnTo>
                    <a:pt x="857" y="325"/>
                  </a:lnTo>
                  <a:lnTo>
                    <a:pt x="838" y="369"/>
                  </a:lnTo>
                  <a:lnTo>
                    <a:pt x="795" y="335"/>
                  </a:lnTo>
                  <a:lnTo>
                    <a:pt x="807" y="369"/>
                  </a:lnTo>
                  <a:lnTo>
                    <a:pt x="845" y="369"/>
                  </a:lnTo>
                  <a:lnTo>
                    <a:pt x="819" y="436"/>
                  </a:lnTo>
                  <a:lnTo>
                    <a:pt x="795" y="425"/>
                  </a:lnTo>
                  <a:lnTo>
                    <a:pt x="783" y="469"/>
                  </a:lnTo>
                  <a:lnTo>
                    <a:pt x="738" y="436"/>
                  </a:lnTo>
                  <a:lnTo>
                    <a:pt x="783" y="469"/>
                  </a:lnTo>
                  <a:lnTo>
                    <a:pt x="788" y="492"/>
                  </a:lnTo>
                  <a:lnTo>
                    <a:pt x="757" y="502"/>
                  </a:lnTo>
                  <a:lnTo>
                    <a:pt x="764" y="502"/>
                  </a:lnTo>
                  <a:lnTo>
                    <a:pt x="750" y="502"/>
                  </a:lnTo>
                  <a:lnTo>
                    <a:pt x="750" y="536"/>
                  </a:lnTo>
                  <a:lnTo>
                    <a:pt x="719" y="571"/>
                  </a:lnTo>
                  <a:lnTo>
                    <a:pt x="714" y="680"/>
                  </a:lnTo>
                  <a:lnTo>
                    <a:pt x="726" y="703"/>
                  </a:lnTo>
                  <a:lnTo>
                    <a:pt x="745" y="694"/>
                  </a:lnTo>
                  <a:lnTo>
                    <a:pt x="750" y="769"/>
                  </a:lnTo>
                  <a:lnTo>
                    <a:pt x="776" y="759"/>
                  </a:lnTo>
                  <a:lnTo>
                    <a:pt x="807" y="782"/>
                  </a:lnTo>
                  <a:lnTo>
                    <a:pt x="864" y="847"/>
                  </a:lnTo>
                  <a:lnTo>
                    <a:pt x="864" y="870"/>
                  </a:lnTo>
                  <a:lnTo>
                    <a:pt x="864" y="847"/>
                  </a:lnTo>
                  <a:lnTo>
                    <a:pt x="914" y="859"/>
                  </a:lnTo>
                  <a:lnTo>
                    <a:pt x="914" y="947"/>
                  </a:lnTo>
                  <a:lnTo>
                    <a:pt x="925" y="982"/>
                  </a:lnTo>
                  <a:lnTo>
                    <a:pt x="914" y="993"/>
                  </a:lnTo>
                  <a:lnTo>
                    <a:pt x="939" y="1005"/>
                  </a:lnTo>
                  <a:lnTo>
                    <a:pt x="933" y="1037"/>
                  </a:lnTo>
                  <a:lnTo>
                    <a:pt x="951" y="1026"/>
                  </a:lnTo>
                  <a:lnTo>
                    <a:pt x="983" y="982"/>
                  </a:lnTo>
                  <a:lnTo>
                    <a:pt x="970" y="970"/>
                  </a:lnTo>
                  <a:lnTo>
                    <a:pt x="951" y="882"/>
                  </a:lnTo>
                  <a:lnTo>
                    <a:pt x="1008" y="803"/>
                  </a:lnTo>
                  <a:lnTo>
                    <a:pt x="1001" y="803"/>
                  </a:lnTo>
                  <a:lnTo>
                    <a:pt x="989" y="715"/>
                  </a:lnTo>
                  <a:lnTo>
                    <a:pt x="970" y="694"/>
                  </a:lnTo>
                  <a:lnTo>
                    <a:pt x="994" y="646"/>
                  </a:lnTo>
                  <a:lnTo>
                    <a:pt x="989" y="636"/>
                  </a:lnTo>
                  <a:lnTo>
                    <a:pt x="989" y="601"/>
                  </a:lnTo>
                  <a:lnTo>
                    <a:pt x="976" y="592"/>
                  </a:lnTo>
                  <a:lnTo>
                    <a:pt x="989" y="557"/>
                  </a:lnTo>
                  <a:lnTo>
                    <a:pt x="976" y="536"/>
                  </a:lnTo>
                  <a:lnTo>
                    <a:pt x="983" y="513"/>
                  </a:lnTo>
                  <a:lnTo>
                    <a:pt x="1026" y="525"/>
                  </a:lnTo>
                  <a:lnTo>
                    <a:pt x="1045" y="513"/>
                  </a:lnTo>
                  <a:lnTo>
                    <a:pt x="1082" y="557"/>
                  </a:lnTo>
                  <a:lnTo>
                    <a:pt x="1082" y="580"/>
                  </a:lnTo>
                  <a:lnTo>
                    <a:pt x="1108" y="580"/>
                  </a:lnTo>
                  <a:lnTo>
                    <a:pt x="1114" y="625"/>
                  </a:lnTo>
                  <a:lnTo>
                    <a:pt x="1089" y="636"/>
                  </a:lnTo>
                  <a:lnTo>
                    <a:pt x="1108" y="636"/>
                  </a:lnTo>
                  <a:lnTo>
                    <a:pt x="1119" y="671"/>
                  </a:lnTo>
                  <a:lnTo>
                    <a:pt x="1095" y="703"/>
                  </a:lnTo>
                  <a:lnTo>
                    <a:pt x="1133" y="680"/>
                  </a:lnTo>
                  <a:lnTo>
                    <a:pt x="1133" y="724"/>
                  </a:lnTo>
                  <a:lnTo>
                    <a:pt x="1114" y="738"/>
                  </a:lnTo>
                  <a:lnTo>
                    <a:pt x="1139" y="694"/>
                  </a:lnTo>
                  <a:lnTo>
                    <a:pt x="1139" y="724"/>
                  </a:lnTo>
                  <a:lnTo>
                    <a:pt x="1158" y="694"/>
                  </a:lnTo>
                  <a:lnTo>
                    <a:pt x="1164" y="703"/>
                  </a:lnTo>
                  <a:lnTo>
                    <a:pt x="1183" y="659"/>
                  </a:lnTo>
                  <a:lnTo>
                    <a:pt x="1177" y="646"/>
                  </a:lnTo>
                  <a:lnTo>
                    <a:pt x="1188" y="615"/>
                  </a:lnTo>
                  <a:lnTo>
                    <a:pt x="1208" y="671"/>
                  </a:lnTo>
                  <a:lnTo>
                    <a:pt x="1195" y="680"/>
                  </a:lnTo>
                  <a:lnTo>
                    <a:pt x="1214" y="671"/>
                  </a:lnTo>
                  <a:lnTo>
                    <a:pt x="1220" y="694"/>
                  </a:lnTo>
                  <a:lnTo>
                    <a:pt x="1208" y="703"/>
                  </a:lnTo>
                  <a:lnTo>
                    <a:pt x="1220" y="703"/>
                  </a:lnTo>
                  <a:lnTo>
                    <a:pt x="1214" y="724"/>
                  </a:lnTo>
                  <a:lnTo>
                    <a:pt x="1220" y="724"/>
                  </a:lnTo>
                  <a:lnTo>
                    <a:pt x="1233" y="747"/>
                  </a:lnTo>
                  <a:lnTo>
                    <a:pt x="1227" y="747"/>
                  </a:lnTo>
                  <a:lnTo>
                    <a:pt x="1238" y="769"/>
                  </a:lnTo>
                  <a:lnTo>
                    <a:pt x="1214" y="792"/>
                  </a:lnTo>
                  <a:lnTo>
                    <a:pt x="1233" y="792"/>
                  </a:lnTo>
                  <a:lnTo>
                    <a:pt x="1233" y="803"/>
                  </a:lnTo>
                  <a:lnTo>
                    <a:pt x="1257" y="826"/>
                  </a:lnTo>
                  <a:lnTo>
                    <a:pt x="1264" y="870"/>
                  </a:lnTo>
                  <a:lnTo>
                    <a:pt x="1277" y="847"/>
                  </a:lnTo>
                  <a:lnTo>
                    <a:pt x="1302" y="882"/>
                  </a:lnTo>
                  <a:lnTo>
                    <a:pt x="1245" y="915"/>
                  </a:lnTo>
                  <a:lnTo>
                    <a:pt x="1257" y="938"/>
                  </a:lnTo>
                  <a:lnTo>
                    <a:pt x="1302" y="891"/>
                  </a:lnTo>
                  <a:lnTo>
                    <a:pt x="1302" y="926"/>
                  </a:lnTo>
                  <a:lnTo>
                    <a:pt x="1326" y="926"/>
                  </a:lnTo>
                  <a:lnTo>
                    <a:pt x="1326" y="938"/>
                  </a:lnTo>
                  <a:lnTo>
                    <a:pt x="1320" y="938"/>
                  </a:lnTo>
                  <a:lnTo>
                    <a:pt x="1326" y="982"/>
                  </a:lnTo>
                  <a:lnTo>
                    <a:pt x="1264" y="1070"/>
                  </a:lnTo>
                  <a:lnTo>
                    <a:pt x="1164" y="1070"/>
                  </a:lnTo>
                  <a:lnTo>
                    <a:pt x="1119" y="1128"/>
                  </a:lnTo>
                  <a:lnTo>
                    <a:pt x="1089" y="1205"/>
                  </a:lnTo>
                  <a:lnTo>
                    <a:pt x="1119" y="1137"/>
                  </a:lnTo>
                  <a:lnTo>
                    <a:pt x="1177" y="1105"/>
                  </a:lnTo>
                  <a:lnTo>
                    <a:pt x="1195" y="1137"/>
                  </a:lnTo>
                  <a:lnTo>
                    <a:pt x="1158" y="1160"/>
                  </a:lnTo>
                  <a:lnTo>
                    <a:pt x="1188" y="1172"/>
                  </a:lnTo>
                  <a:lnTo>
                    <a:pt x="1183" y="1193"/>
                  </a:lnTo>
                  <a:lnTo>
                    <a:pt x="1202" y="1237"/>
                  </a:lnTo>
                  <a:lnTo>
                    <a:pt x="1238" y="1249"/>
                  </a:lnTo>
                  <a:lnTo>
                    <a:pt x="1252" y="1193"/>
                  </a:lnTo>
                  <a:lnTo>
                    <a:pt x="1252" y="1237"/>
                  </a:lnTo>
                  <a:lnTo>
                    <a:pt x="1264" y="1228"/>
                  </a:lnTo>
                  <a:lnTo>
                    <a:pt x="1245" y="1272"/>
                  </a:lnTo>
                  <a:lnTo>
                    <a:pt x="1195" y="1295"/>
                  </a:lnTo>
                  <a:lnTo>
                    <a:pt x="1177" y="1339"/>
                  </a:lnTo>
                  <a:lnTo>
                    <a:pt x="1164" y="1295"/>
                  </a:lnTo>
                  <a:lnTo>
                    <a:pt x="1208" y="1260"/>
                  </a:lnTo>
                  <a:lnTo>
                    <a:pt x="1188" y="1260"/>
                  </a:lnTo>
                  <a:lnTo>
                    <a:pt x="1188" y="1237"/>
                  </a:lnTo>
                  <a:lnTo>
                    <a:pt x="1151" y="1272"/>
                  </a:lnTo>
                  <a:lnTo>
                    <a:pt x="1139" y="1249"/>
                  </a:lnTo>
                  <a:lnTo>
                    <a:pt x="1139" y="1193"/>
                  </a:lnTo>
                  <a:lnTo>
                    <a:pt x="1114" y="1183"/>
                  </a:lnTo>
                  <a:lnTo>
                    <a:pt x="1095" y="1260"/>
                  </a:lnTo>
                  <a:lnTo>
                    <a:pt x="1013" y="1295"/>
                  </a:lnTo>
                  <a:lnTo>
                    <a:pt x="963" y="1327"/>
                  </a:lnTo>
                  <a:lnTo>
                    <a:pt x="951" y="1339"/>
                  </a:lnTo>
                  <a:lnTo>
                    <a:pt x="963" y="1351"/>
                  </a:lnTo>
                  <a:lnTo>
                    <a:pt x="970" y="1360"/>
                  </a:lnTo>
                  <a:lnTo>
                    <a:pt x="901" y="1395"/>
                  </a:lnTo>
                  <a:lnTo>
                    <a:pt x="907" y="1383"/>
                  </a:lnTo>
                  <a:lnTo>
                    <a:pt x="907" y="1372"/>
                  </a:lnTo>
                  <a:lnTo>
                    <a:pt x="914" y="1351"/>
                  </a:lnTo>
                  <a:lnTo>
                    <a:pt x="920" y="1339"/>
                  </a:lnTo>
                  <a:lnTo>
                    <a:pt x="925" y="1272"/>
                  </a:lnTo>
                  <a:lnTo>
                    <a:pt x="939" y="1295"/>
                  </a:lnTo>
                  <a:lnTo>
                    <a:pt x="958" y="1283"/>
                  </a:lnTo>
                  <a:lnTo>
                    <a:pt x="939" y="1237"/>
                  </a:lnTo>
                  <a:lnTo>
                    <a:pt x="883" y="1216"/>
                  </a:lnTo>
                  <a:lnTo>
                    <a:pt x="875" y="1216"/>
                  </a:lnTo>
                  <a:lnTo>
                    <a:pt x="875" y="1160"/>
                  </a:lnTo>
                  <a:lnTo>
                    <a:pt x="864" y="1160"/>
                  </a:lnTo>
                  <a:lnTo>
                    <a:pt x="851" y="1128"/>
                  </a:lnTo>
                  <a:lnTo>
                    <a:pt x="838" y="1128"/>
                  </a:lnTo>
                  <a:lnTo>
                    <a:pt x="838" y="1149"/>
                  </a:lnTo>
                  <a:lnTo>
                    <a:pt x="826" y="1114"/>
                  </a:lnTo>
                  <a:lnTo>
                    <a:pt x="795" y="1160"/>
                  </a:lnTo>
                  <a:lnTo>
                    <a:pt x="726" y="1128"/>
                  </a:lnTo>
                  <a:lnTo>
                    <a:pt x="714" y="1105"/>
                  </a:lnTo>
                  <a:lnTo>
                    <a:pt x="714" y="1114"/>
                  </a:lnTo>
                  <a:lnTo>
                    <a:pt x="281" y="1114"/>
                  </a:lnTo>
                  <a:lnTo>
                    <a:pt x="281" y="1084"/>
                  </a:lnTo>
                  <a:lnTo>
                    <a:pt x="257" y="1084"/>
                  </a:lnTo>
                  <a:lnTo>
                    <a:pt x="257" y="1061"/>
                  </a:lnTo>
                  <a:lnTo>
                    <a:pt x="207" y="1026"/>
                  </a:lnTo>
                  <a:lnTo>
                    <a:pt x="212" y="1014"/>
                  </a:lnTo>
                  <a:lnTo>
                    <a:pt x="200" y="970"/>
                  </a:lnTo>
                  <a:lnTo>
                    <a:pt x="188" y="970"/>
                  </a:lnTo>
                  <a:lnTo>
                    <a:pt x="162" y="882"/>
                  </a:lnTo>
                  <a:lnTo>
                    <a:pt x="170" y="859"/>
                  </a:lnTo>
                  <a:lnTo>
                    <a:pt x="170" y="815"/>
                  </a:lnTo>
                  <a:lnTo>
                    <a:pt x="144" y="792"/>
                  </a:lnTo>
                  <a:lnTo>
                    <a:pt x="87" y="636"/>
                  </a:lnTo>
                  <a:lnTo>
                    <a:pt x="56" y="680"/>
                  </a:lnTo>
                  <a:lnTo>
                    <a:pt x="44" y="659"/>
                  </a:lnTo>
                  <a:lnTo>
                    <a:pt x="32" y="615"/>
                  </a:lnTo>
                  <a:lnTo>
                    <a:pt x="0" y="61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66" name="Freeform 109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1720563" y="2561795"/>
              <a:ext cx="2453993" cy="1106488"/>
            </a:xfrm>
            <a:custGeom>
              <a:avLst/>
              <a:gdLst>
                <a:gd name="T0" fmla="*/ 2147483647 w 1326"/>
                <a:gd name="T1" fmla="*/ 2147483647 h 1395"/>
                <a:gd name="T2" fmla="*/ 2147483647 w 1326"/>
                <a:gd name="T3" fmla="*/ 2147483647 h 1395"/>
                <a:gd name="T4" fmla="*/ 2147483647 w 1326"/>
                <a:gd name="T5" fmla="*/ 2147483647 h 1395"/>
                <a:gd name="T6" fmla="*/ 2147483647 w 1326"/>
                <a:gd name="T7" fmla="*/ 2147483647 h 1395"/>
                <a:gd name="T8" fmla="*/ 2147483647 w 1326"/>
                <a:gd name="T9" fmla="*/ 2147483647 h 1395"/>
                <a:gd name="T10" fmla="*/ 2147483647 w 1326"/>
                <a:gd name="T11" fmla="*/ 2147483647 h 1395"/>
                <a:gd name="T12" fmla="*/ 2147483647 w 1326"/>
                <a:gd name="T13" fmla="*/ 2147483647 h 1395"/>
                <a:gd name="T14" fmla="*/ 2147483647 w 1326"/>
                <a:gd name="T15" fmla="*/ 2147483647 h 1395"/>
                <a:gd name="T16" fmla="*/ 2147483647 w 1326"/>
                <a:gd name="T17" fmla="*/ 2147483647 h 1395"/>
                <a:gd name="T18" fmla="*/ 2147483647 w 1326"/>
                <a:gd name="T19" fmla="*/ 2147483647 h 1395"/>
                <a:gd name="T20" fmla="*/ 2147483647 w 1326"/>
                <a:gd name="T21" fmla="*/ 2147483647 h 1395"/>
                <a:gd name="T22" fmla="*/ 2147483647 w 1326"/>
                <a:gd name="T23" fmla="*/ 2147483647 h 1395"/>
                <a:gd name="T24" fmla="*/ 2147483647 w 1326"/>
                <a:gd name="T25" fmla="*/ 0 h 1395"/>
                <a:gd name="T26" fmla="*/ 2147483647 w 1326"/>
                <a:gd name="T27" fmla="*/ 2147483647 h 1395"/>
                <a:gd name="T28" fmla="*/ 2147483647 w 1326"/>
                <a:gd name="T29" fmla="*/ 2147483647 h 1395"/>
                <a:gd name="T30" fmla="*/ 2147483647 w 1326"/>
                <a:gd name="T31" fmla="*/ 2147483647 h 1395"/>
                <a:gd name="T32" fmla="*/ 2147483647 w 1326"/>
                <a:gd name="T33" fmla="*/ 2147483647 h 1395"/>
                <a:gd name="T34" fmla="*/ 2147483647 w 1326"/>
                <a:gd name="T35" fmla="*/ 2147483647 h 1395"/>
                <a:gd name="T36" fmla="*/ 2147483647 w 1326"/>
                <a:gd name="T37" fmla="*/ 2147483647 h 1395"/>
                <a:gd name="T38" fmla="*/ 2147483647 w 1326"/>
                <a:gd name="T39" fmla="*/ 2147483647 h 1395"/>
                <a:gd name="T40" fmla="*/ 2147483647 w 1326"/>
                <a:gd name="T41" fmla="*/ 2147483647 h 1395"/>
                <a:gd name="T42" fmla="*/ 2147483647 w 1326"/>
                <a:gd name="T43" fmla="*/ 2147483647 h 1395"/>
                <a:gd name="T44" fmla="*/ 2147483647 w 1326"/>
                <a:gd name="T45" fmla="*/ 2147483647 h 1395"/>
                <a:gd name="T46" fmla="*/ 2147483647 w 1326"/>
                <a:gd name="T47" fmla="*/ 2147483647 h 1395"/>
                <a:gd name="T48" fmla="*/ 2147483647 w 1326"/>
                <a:gd name="T49" fmla="*/ 2147483647 h 1395"/>
                <a:gd name="T50" fmla="*/ 2147483647 w 1326"/>
                <a:gd name="T51" fmla="*/ 2147483647 h 1395"/>
                <a:gd name="T52" fmla="*/ 2147483647 w 1326"/>
                <a:gd name="T53" fmla="*/ 2147483647 h 1395"/>
                <a:gd name="T54" fmla="*/ 2147483647 w 1326"/>
                <a:gd name="T55" fmla="*/ 2147483647 h 1395"/>
                <a:gd name="T56" fmla="*/ 2147483647 w 1326"/>
                <a:gd name="T57" fmla="*/ 2147483647 h 1395"/>
                <a:gd name="T58" fmla="*/ 2147483647 w 1326"/>
                <a:gd name="T59" fmla="*/ 2147483647 h 1395"/>
                <a:gd name="T60" fmla="*/ 2147483647 w 1326"/>
                <a:gd name="T61" fmla="*/ 2147483647 h 1395"/>
                <a:gd name="T62" fmla="*/ 2147483647 w 1326"/>
                <a:gd name="T63" fmla="*/ 2147483647 h 1395"/>
                <a:gd name="T64" fmla="*/ 2147483647 w 1326"/>
                <a:gd name="T65" fmla="*/ 2147483647 h 1395"/>
                <a:gd name="T66" fmla="*/ 2147483647 w 1326"/>
                <a:gd name="T67" fmla="*/ 2147483647 h 1395"/>
                <a:gd name="T68" fmla="*/ 2147483647 w 1326"/>
                <a:gd name="T69" fmla="*/ 2147483647 h 1395"/>
                <a:gd name="T70" fmla="*/ 2147483647 w 1326"/>
                <a:gd name="T71" fmla="*/ 2147483647 h 1395"/>
                <a:gd name="T72" fmla="*/ 2147483647 w 1326"/>
                <a:gd name="T73" fmla="*/ 2147483647 h 1395"/>
                <a:gd name="T74" fmla="*/ 2147483647 w 1326"/>
                <a:gd name="T75" fmla="*/ 2147483647 h 1395"/>
                <a:gd name="T76" fmla="*/ 2147483647 w 1326"/>
                <a:gd name="T77" fmla="*/ 2147483647 h 1395"/>
                <a:gd name="T78" fmla="*/ 2147483647 w 1326"/>
                <a:gd name="T79" fmla="*/ 2147483647 h 1395"/>
                <a:gd name="T80" fmla="*/ 2147483647 w 1326"/>
                <a:gd name="T81" fmla="*/ 2147483647 h 1395"/>
                <a:gd name="T82" fmla="*/ 2147483647 w 1326"/>
                <a:gd name="T83" fmla="*/ 2147483647 h 1395"/>
                <a:gd name="T84" fmla="*/ 2147483647 w 1326"/>
                <a:gd name="T85" fmla="*/ 2147483647 h 1395"/>
                <a:gd name="T86" fmla="*/ 2147483647 w 1326"/>
                <a:gd name="T87" fmla="*/ 2147483647 h 1395"/>
                <a:gd name="T88" fmla="*/ 2147483647 w 1326"/>
                <a:gd name="T89" fmla="*/ 2147483647 h 1395"/>
                <a:gd name="T90" fmla="*/ 2147483647 w 1326"/>
                <a:gd name="T91" fmla="*/ 2147483647 h 1395"/>
                <a:gd name="T92" fmla="*/ 2147483647 w 1326"/>
                <a:gd name="T93" fmla="*/ 2147483647 h 1395"/>
                <a:gd name="T94" fmla="*/ 2147483647 w 1326"/>
                <a:gd name="T95" fmla="*/ 2147483647 h 1395"/>
                <a:gd name="T96" fmla="*/ 2147483647 w 1326"/>
                <a:gd name="T97" fmla="*/ 2147483647 h 1395"/>
                <a:gd name="T98" fmla="*/ 2147483647 w 1326"/>
                <a:gd name="T99" fmla="*/ 2147483647 h 1395"/>
                <a:gd name="T100" fmla="*/ 2147483647 w 1326"/>
                <a:gd name="T101" fmla="*/ 2147483647 h 1395"/>
                <a:gd name="T102" fmla="*/ 2147483647 w 1326"/>
                <a:gd name="T103" fmla="*/ 2147483647 h 1395"/>
                <a:gd name="T104" fmla="*/ 2147483647 w 1326"/>
                <a:gd name="T105" fmla="*/ 2147483647 h 1395"/>
                <a:gd name="T106" fmla="*/ 2147483647 w 1326"/>
                <a:gd name="T107" fmla="*/ 2147483647 h 1395"/>
                <a:gd name="T108" fmla="*/ 2147483647 w 1326"/>
                <a:gd name="T109" fmla="*/ 2147483647 h 1395"/>
                <a:gd name="T110" fmla="*/ 2147483647 w 1326"/>
                <a:gd name="T111" fmla="*/ 2147483647 h 1395"/>
                <a:gd name="T112" fmla="*/ 2147483647 w 1326"/>
                <a:gd name="T113" fmla="*/ 2147483647 h 1395"/>
                <a:gd name="T114" fmla="*/ 2147483647 w 1326"/>
                <a:gd name="T115" fmla="*/ 2147483647 h 1395"/>
                <a:gd name="T116" fmla="*/ 2147483647 w 1326"/>
                <a:gd name="T117" fmla="*/ 2147483647 h 1395"/>
                <a:gd name="T118" fmla="*/ 2147483647 w 1326"/>
                <a:gd name="T119" fmla="*/ 2147483647 h 13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326" h="1395">
                  <a:moveTo>
                    <a:pt x="0" y="615"/>
                  </a:moveTo>
                  <a:lnTo>
                    <a:pt x="0" y="135"/>
                  </a:lnTo>
                  <a:lnTo>
                    <a:pt x="106" y="190"/>
                  </a:lnTo>
                  <a:lnTo>
                    <a:pt x="101" y="167"/>
                  </a:lnTo>
                  <a:lnTo>
                    <a:pt x="112" y="156"/>
                  </a:lnTo>
                  <a:lnTo>
                    <a:pt x="175" y="102"/>
                  </a:lnTo>
                  <a:lnTo>
                    <a:pt x="125" y="167"/>
                  </a:lnTo>
                  <a:lnTo>
                    <a:pt x="156" y="146"/>
                  </a:lnTo>
                  <a:lnTo>
                    <a:pt x="156" y="156"/>
                  </a:lnTo>
                  <a:lnTo>
                    <a:pt x="207" y="102"/>
                  </a:lnTo>
                  <a:lnTo>
                    <a:pt x="200" y="79"/>
                  </a:lnTo>
                  <a:lnTo>
                    <a:pt x="238" y="146"/>
                  </a:lnTo>
                  <a:lnTo>
                    <a:pt x="262" y="112"/>
                  </a:lnTo>
                  <a:lnTo>
                    <a:pt x="257" y="146"/>
                  </a:lnTo>
                  <a:lnTo>
                    <a:pt x="287" y="123"/>
                  </a:lnTo>
                  <a:lnTo>
                    <a:pt x="363" y="167"/>
                  </a:lnTo>
                  <a:lnTo>
                    <a:pt x="400" y="167"/>
                  </a:lnTo>
                  <a:lnTo>
                    <a:pt x="419" y="202"/>
                  </a:lnTo>
                  <a:lnTo>
                    <a:pt x="395" y="225"/>
                  </a:lnTo>
                  <a:lnTo>
                    <a:pt x="414" y="235"/>
                  </a:lnTo>
                  <a:lnTo>
                    <a:pt x="482" y="225"/>
                  </a:lnTo>
                  <a:lnTo>
                    <a:pt x="514" y="269"/>
                  </a:lnTo>
                  <a:lnTo>
                    <a:pt x="520" y="290"/>
                  </a:lnTo>
                  <a:lnTo>
                    <a:pt x="525" y="269"/>
                  </a:lnTo>
                  <a:lnTo>
                    <a:pt x="514" y="235"/>
                  </a:lnTo>
                  <a:lnTo>
                    <a:pt x="544" y="190"/>
                  </a:lnTo>
                  <a:lnTo>
                    <a:pt x="514" y="212"/>
                  </a:lnTo>
                  <a:lnTo>
                    <a:pt x="501" y="202"/>
                  </a:lnTo>
                  <a:lnTo>
                    <a:pt x="544" y="167"/>
                  </a:lnTo>
                  <a:lnTo>
                    <a:pt x="563" y="212"/>
                  </a:lnTo>
                  <a:lnTo>
                    <a:pt x="589" y="212"/>
                  </a:lnTo>
                  <a:lnTo>
                    <a:pt x="601" y="246"/>
                  </a:lnTo>
                  <a:lnTo>
                    <a:pt x="663" y="235"/>
                  </a:lnTo>
                  <a:lnTo>
                    <a:pt x="663" y="212"/>
                  </a:lnTo>
                  <a:lnTo>
                    <a:pt x="681" y="246"/>
                  </a:lnTo>
                  <a:lnTo>
                    <a:pt x="681" y="225"/>
                  </a:lnTo>
                  <a:lnTo>
                    <a:pt x="670" y="235"/>
                  </a:lnTo>
                  <a:lnTo>
                    <a:pt x="657" y="202"/>
                  </a:lnTo>
                  <a:lnTo>
                    <a:pt x="681" y="202"/>
                  </a:lnTo>
                  <a:lnTo>
                    <a:pt x="689" y="225"/>
                  </a:lnTo>
                  <a:lnTo>
                    <a:pt x="700" y="212"/>
                  </a:lnTo>
                  <a:lnTo>
                    <a:pt x="695" y="246"/>
                  </a:lnTo>
                  <a:lnTo>
                    <a:pt x="714" y="269"/>
                  </a:lnTo>
                  <a:lnTo>
                    <a:pt x="707" y="212"/>
                  </a:lnTo>
                  <a:lnTo>
                    <a:pt x="738" y="190"/>
                  </a:lnTo>
                  <a:lnTo>
                    <a:pt x="732" y="167"/>
                  </a:lnTo>
                  <a:lnTo>
                    <a:pt x="719" y="179"/>
                  </a:lnTo>
                  <a:lnTo>
                    <a:pt x="738" y="146"/>
                  </a:lnTo>
                  <a:lnTo>
                    <a:pt x="695" y="112"/>
                  </a:lnTo>
                  <a:lnTo>
                    <a:pt x="695" y="45"/>
                  </a:lnTo>
                  <a:lnTo>
                    <a:pt x="707" y="45"/>
                  </a:lnTo>
                  <a:lnTo>
                    <a:pt x="714" y="0"/>
                  </a:lnTo>
                  <a:lnTo>
                    <a:pt x="745" y="45"/>
                  </a:lnTo>
                  <a:lnTo>
                    <a:pt x="750" y="68"/>
                  </a:lnTo>
                  <a:lnTo>
                    <a:pt x="769" y="102"/>
                  </a:lnTo>
                  <a:lnTo>
                    <a:pt x="757" y="102"/>
                  </a:lnTo>
                  <a:lnTo>
                    <a:pt x="764" y="112"/>
                  </a:lnTo>
                  <a:lnTo>
                    <a:pt x="750" y="135"/>
                  </a:lnTo>
                  <a:lnTo>
                    <a:pt x="783" y="146"/>
                  </a:lnTo>
                  <a:lnTo>
                    <a:pt x="769" y="146"/>
                  </a:lnTo>
                  <a:lnTo>
                    <a:pt x="788" y="212"/>
                  </a:lnTo>
                  <a:lnTo>
                    <a:pt x="801" y="156"/>
                  </a:lnTo>
                  <a:lnTo>
                    <a:pt x="826" y="179"/>
                  </a:lnTo>
                  <a:lnTo>
                    <a:pt x="826" y="212"/>
                  </a:lnTo>
                  <a:lnTo>
                    <a:pt x="819" y="225"/>
                  </a:lnTo>
                  <a:lnTo>
                    <a:pt x="838" y="269"/>
                  </a:lnTo>
                  <a:lnTo>
                    <a:pt x="845" y="256"/>
                  </a:lnTo>
                  <a:lnTo>
                    <a:pt x="864" y="190"/>
                  </a:lnTo>
                  <a:lnTo>
                    <a:pt x="875" y="179"/>
                  </a:lnTo>
                  <a:lnTo>
                    <a:pt x="864" y="123"/>
                  </a:lnTo>
                  <a:lnTo>
                    <a:pt x="907" y="135"/>
                  </a:lnTo>
                  <a:lnTo>
                    <a:pt x="925" y="167"/>
                  </a:lnTo>
                  <a:lnTo>
                    <a:pt x="920" y="179"/>
                  </a:lnTo>
                  <a:lnTo>
                    <a:pt x="925" y="190"/>
                  </a:lnTo>
                  <a:lnTo>
                    <a:pt x="907" y="202"/>
                  </a:lnTo>
                  <a:lnTo>
                    <a:pt x="925" y="279"/>
                  </a:lnTo>
                  <a:lnTo>
                    <a:pt x="901" y="313"/>
                  </a:lnTo>
                  <a:lnTo>
                    <a:pt x="889" y="290"/>
                  </a:lnTo>
                  <a:lnTo>
                    <a:pt x="894" y="325"/>
                  </a:lnTo>
                  <a:lnTo>
                    <a:pt x="851" y="302"/>
                  </a:lnTo>
                  <a:lnTo>
                    <a:pt x="857" y="325"/>
                  </a:lnTo>
                  <a:lnTo>
                    <a:pt x="838" y="369"/>
                  </a:lnTo>
                  <a:lnTo>
                    <a:pt x="795" y="335"/>
                  </a:lnTo>
                  <a:lnTo>
                    <a:pt x="807" y="369"/>
                  </a:lnTo>
                  <a:lnTo>
                    <a:pt x="845" y="369"/>
                  </a:lnTo>
                  <a:lnTo>
                    <a:pt x="819" y="436"/>
                  </a:lnTo>
                  <a:lnTo>
                    <a:pt x="795" y="425"/>
                  </a:lnTo>
                  <a:lnTo>
                    <a:pt x="783" y="469"/>
                  </a:lnTo>
                  <a:lnTo>
                    <a:pt x="738" y="436"/>
                  </a:lnTo>
                  <a:lnTo>
                    <a:pt x="783" y="469"/>
                  </a:lnTo>
                  <a:lnTo>
                    <a:pt x="788" y="492"/>
                  </a:lnTo>
                  <a:lnTo>
                    <a:pt x="757" y="502"/>
                  </a:lnTo>
                  <a:lnTo>
                    <a:pt x="764" y="502"/>
                  </a:lnTo>
                  <a:lnTo>
                    <a:pt x="750" y="502"/>
                  </a:lnTo>
                  <a:lnTo>
                    <a:pt x="750" y="536"/>
                  </a:lnTo>
                  <a:lnTo>
                    <a:pt x="719" y="571"/>
                  </a:lnTo>
                  <a:lnTo>
                    <a:pt x="714" y="680"/>
                  </a:lnTo>
                  <a:lnTo>
                    <a:pt x="726" y="703"/>
                  </a:lnTo>
                  <a:lnTo>
                    <a:pt x="745" y="694"/>
                  </a:lnTo>
                  <a:lnTo>
                    <a:pt x="750" y="769"/>
                  </a:lnTo>
                  <a:lnTo>
                    <a:pt x="776" y="759"/>
                  </a:lnTo>
                  <a:lnTo>
                    <a:pt x="807" y="782"/>
                  </a:lnTo>
                  <a:lnTo>
                    <a:pt x="864" y="847"/>
                  </a:lnTo>
                  <a:lnTo>
                    <a:pt x="864" y="870"/>
                  </a:lnTo>
                  <a:lnTo>
                    <a:pt x="864" y="847"/>
                  </a:lnTo>
                  <a:lnTo>
                    <a:pt x="914" y="859"/>
                  </a:lnTo>
                  <a:lnTo>
                    <a:pt x="914" y="947"/>
                  </a:lnTo>
                  <a:lnTo>
                    <a:pt x="925" y="982"/>
                  </a:lnTo>
                  <a:lnTo>
                    <a:pt x="914" y="993"/>
                  </a:lnTo>
                  <a:lnTo>
                    <a:pt x="939" y="1005"/>
                  </a:lnTo>
                  <a:lnTo>
                    <a:pt x="933" y="1037"/>
                  </a:lnTo>
                  <a:lnTo>
                    <a:pt x="951" y="1026"/>
                  </a:lnTo>
                  <a:lnTo>
                    <a:pt x="983" y="982"/>
                  </a:lnTo>
                  <a:lnTo>
                    <a:pt x="970" y="970"/>
                  </a:lnTo>
                  <a:lnTo>
                    <a:pt x="951" y="882"/>
                  </a:lnTo>
                  <a:lnTo>
                    <a:pt x="1008" y="803"/>
                  </a:lnTo>
                  <a:lnTo>
                    <a:pt x="1001" y="803"/>
                  </a:lnTo>
                  <a:lnTo>
                    <a:pt x="989" y="715"/>
                  </a:lnTo>
                  <a:lnTo>
                    <a:pt x="970" y="694"/>
                  </a:lnTo>
                  <a:lnTo>
                    <a:pt x="994" y="646"/>
                  </a:lnTo>
                  <a:lnTo>
                    <a:pt x="989" y="636"/>
                  </a:lnTo>
                  <a:lnTo>
                    <a:pt x="989" y="601"/>
                  </a:lnTo>
                  <a:lnTo>
                    <a:pt x="976" y="592"/>
                  </a:lnTo>
                  <a:lnTo>
                    <a:pt x="989" y="557"/>
                  </a:lnTo>
                  <a:lnTo>
                    <a:pt x="976" y="536"/>
                  </a:lnTo>
                  <a:lnTo>
                    <a:pt x="983" y="513"/>
                  </a:lnTo>
                  <a:lnTo>
                    <a:pt x="1026" y="525"/>
                  </a:lnTo>
                  <a:lnTo>
                    <a:pt x="1045" y="513"/>
                  </a:lnTo>
                  <a:lnTo>
                    <a:pt x="1082" y="557"/>
                  </a:lnTo>
                  <a:lnTo>
                    <a:pt x="1082" y="580"/>
                  </a:lnTo>
                  <a:lnTo>
                    <a:pt x="1108" y="580"/>
                  </a:lnTo>
                  <a:lnTo>
                    <a:pt x="1114" y="625"/>
                  </a:lnTo>
                  <a:lnTo>
                    <a:pt x="1089" y="636"/>
                  </a:lnTo>
                  <a:lnTo>
                    <a:pt x="1108" y="636"/>
                  </a:lnTo>
                  <a:lnTo>
                    <a:pt x="1119" y="671"/>
                  </a:lnTo>
                  <a:lnTo>
                    <a:pt x="1095" y="703"/>
                  </a:lnTo>
                  <a:lnTo>
                    <a:pt x="1133" y="680"/>
                  </a:lnTo>
                  <a:lnTo>
                    <a:pt x="1133" y="724"/>
                  </a:lnTo>
                  <a:lnTo>
                    <a:pt x="1114" y="738"/>
                  </a:lnTo>
                  <a:lnTo>
                    <a:pt x="1139" y="694"/>
                  </a:lnTo>
                  <a:lnTo>
                    <a:pt x="1139" y="724"/>
                  </a:lnTo>
                  <a:lnTo>
                    <a:pt x="1158" y="694"/>
                  </a:lnTo>
                  <a:lnTo>
                    <a:pt x="1164" y="703"/>
                  </a:lnTo>
                  <a:lnTo>
                    <a:pt x="1183" y="659"/>
                  </a:lnTo>
                  <a:lnTo>
                    <a:pt x="1177" y="646"/>
                  </a:lnTo>
                  <a:lnTo>
                    <a:pt x="1188" y="615"/>
                  </a:lnTo>
                  <a:lnTo>
                    <a:pt x="1208" y="671"/>
                  </a:lnTo>
                  <a:lnTo>
                    <a:pt x="1195" y="680"/>
                  </a:lnTo>
                  <a:lnTo>
                    <a:pt x="1214" y="671"/>
                  </a:lnTo>
                  <a:lnTo>
                    <a:pt x="1220" y="694"/>
                  </a:lnTo>
                  <a:lnTo>
                    <a:pt x="1208" y="703"/>
                  </a:lnTo>
                  <a:lnTo>
                    <a:pt x="1220" y="703"/>
                  </a:lnTo>
                  <a:lnTo>
                    <a:pt x="1214" y="724"/>
                  </a:lnTo>
                  <a:lnTo>
                    <a:pt x="1220" y="724"/>
                  </a:lnTo>
                  <a:lnTo>
                    <a:pt x="1233" y="747"/>
                  </a:lnTo>
                  <a:lnTo>
                    <a:pt x="1227" y="747"/>
                  </a:lnTo>
                  <a:lnTo>
                    <a:pt x="1238" y="769"/>
                  </a:lnTo>
                  <a:lnTo>
                    <a:pt x="1214" y="792"/>
                  </a:lnTo>
                  <a:lnTo>
                    <a:pt x="1233" y="792"/>
                  </a:lnTo>
                  <a:lnTo>
                    <a:pt x="1233" y="803"/>
                  </a:lnTo>
                  <a:lnTo>
                    <a:pt x="1257" y="826"/>
                  </a:lnTo>
                  <a:lnTo>
                    <a:pt x="1264" y="870"/>
                  </a:lnTo>
                  <a:lnTo>
                    <a:pt x="1277" y="847"/>
                  </a:lnTo>
                  <a:lnTo>
                    <a:pt x="1302" y="882"/>
                  </a:lnTo>
                  <a:lnTo>
                    <a:pt x="1245" y="915"/>
                  </a:lnTo>
                  <a:lnTo>
                    <a:pt x="1257" y="938"/>
                  </a:lnTo>
                  <a:lnTo>
                    <a:pt x="1302" y="891"/>
                  </a:lnTo>
                  <a:lnTo>
                    <a:pt x="1302" y="926"/>
                  </a:lnTo>
                  <a:lnTo>
                    <a:pt x="1326" y="926"/>
                  </a:lnTo>
                  <a:lnTo>
                    <a:pt x="1326" y="938"/>
                  </a:lnTo>
                  <a:lnTo>
                    <a:pt x="1320" y="938"/>
                  </a:lnTo>
                  <a:lnTo>
                    <a:pt x="1326" y="982"/>
                  </a:lnTo>
                  <a:lnTo>
                    <a:pt x="1264" y="1070"/>
                  </a:lnTo>
                  <a:lnTo>
                    <a:pt x="1164" y="1070"/>
                  </a:lnTo>
                  <a:lnTo>
                    <a:pt x="1119" y="1128"/>
                  </a:lnTo>
                  <a:lnTo>
                    <a:pt x="1089" y="1205"/>
                  </a:lnTo>
                  <a:lnTo>
                    <a:pt x="1119" y="1137"/>
                  </a:lnTo>
                  <a:lnTo>
                    <a:pt x="1177" y="1105"/>
                  </a:lnTo>
                  <a:lnTo>
                    <a:pt x="1195" y="1137"/>
                  </a:lnTo>
                  <a:lnTo>
                    <a:pt x="1158" y="1160"/>
                  </a:lnTo>
                  <a:lnTo>
                    <a:pt x="1188" y="1172"/>
                  </a:lnTo>
                  <a:lnTo>
                    <a:pt x="1183" y="1193"/>
                  </a:lnTo>
                  <a:lnTo>
                    <a:pt x="1202" y="1237"/>
                  </a:lnTo>
                  <a:lnTo>
                    <a:pt x="1238" y="1249"/>
                  </a:lnTo>
                  <a:lnTo>
                    <a:pt x="1252" y="1193"/>
                  </a:lnTo>
                  <a:lnTo>
                    <a:pt x="1252" y="1237"/>
                  </a:lnTo>
                  <a:lnTo>
                    <a:pt x="1264" y="1228"/>
                  </a:lnTo>
                  <a:lnTo>
                    <a:pt x="1245" y="1272"/>
                  </a:lnTo>
                  <a:lnTo>
                    <a:pt x="1195" y="1295"/>
                  </a:lnTo>
                  <a:lnTo>
                    <a:pt x="1177" y="1339"/>
                  </a:lnTo>
                  <a:lnTo>
                    <a:pt x="1164" y="1295"/>
                  </a:lnTo>
                  <a:lnTo>
                    <a:pt x="1208" y="1260"/>
                  </a:lnTo>
                  <a:lnTo>
                    <a:pt x="1188" y="1260"/>
                  </a:lnTo>
                  <a:lnTo>
                    <a:pt x="1188" y="1237"/>
                  </a:lnTo>
                  <a:lnTo>
                    <a:pt x="1151" y="1272"/>
                  </a:lnTo>
                  <a:lnTo>
                    <a:pt x="1139" y="1249"/>
                  </a:lnTo>
                  <a:lnTo>
                    <a:pt x="1139" y="1193"/>
                  </a:lnTo>
                  <a:lnTo>
                    <a:pt x="1114" y="1183"/>
                  </a:lnTo>
                  <a:lnTo>
                    <a:pt x="1095" y="1260"/>
                  </a:lnTo>
                  <a:lnTo>
                    <a:pt x="1013" y="1295"/>
                  </a:lnTo>
                  <a:lnTo>
                    <a:pt x="963" y="1327"/>
                  </a:lnTo>
                  <a:lnTo>
                    <a:pt x="951" y="1339"/>
                  </a:lnTo>
                  <a:lnTo>
                    <a:pt x="963" y="1351"/>
                  </a:lnTo>
                  <a:lnTo>
                    <a:pt x="970" y="1360"/>
                  </a:lnTo>
                  <a:lnTo>
                    <a:pt x="901" y="1395"/>
                  </a:lnTo>
                  <a:lnTo>
                    <a:pt x="907" y="1383"/>
                  </a:lnTo>
                  <a:lnTo>
                    <a:pt x="907" y="1372"/>
                  </a:lnTo>
                  <a:lnTo>
                    <a:pt x="914" y="1351"/>
                  </a:lnTo>
                  <a:lnTo>
                    <a:pt x="920" y="1339"/>
                  </a:lnTo>
                  <a:lnTo>
                    <a:pt x="925" y="1272"/>
                  </a:lnTo>
                  <a:lnTo>
                    <a:pt x="939" y="1295"/>
                  </a:lnTo>
                  <a:lnTo>
                    <a:pt x="958" y="1283"/>
                  </a:lnTo>
                  <a:lnTo>
                    <a:pt x="939" y="1237"/>
                  </a:lnTo>
                  <a:lnTo>
                    <a:pt x="883" y="1216"/>
                  </a:lnTo>
                  <a:lnTo>
                    <a:pt x="875" y="1216"/>
                  </a:lnTo>
                  <a:lnTo>
                    <a:pt x="875" y="1160"/>
                  </a:lnTo>
                  <a:lnTo>
                    <a:pt x="864" y="1160"/>
                  </a:lnTo>
                  <a:lnTo>
                    <a:pt x="851" y="1128"/>
                  </a:lnTo>
                  <a:lnTo>
                    <a:pt x="838" y="1128"/>
                  </a:lnTo>
                  <a:lnTo>
                    <a:pt x="838" y="1149"/>
                  </a:lnTo>
                  <a:lnTo>
                    <a:pt x="826" y="1114"/>
                  </a:lnTo>
                  <a:lnTo>
                    <a:pt x="795" y="1160"/>
                  </a:lnTo>
                  <a:lnTo>
                    <a:pt x="726" y="1128"/>
                  </a:lnTo>
                  <a:lnTo>
                    <a:pt x="714" y="1105"/>
                  </a:lnTo>
                  <a:lnTo>
                    <a:pt x="714" y="1114"/>
                  </a:lnTo>
                  <a:lnTo>
                    <a:pt x="281" y="1114"/>
                  </a:lnTo>
                  <a:lnTo>
                    <a:pt x="281" y="1084"/>
                  </a:lnTo>
                  <a:lnTo>
                    <a:pt x="257" y="1084"/>
                  </a:lnTo>
                  <a:lnTo>
                    <a:pt x="257" y="1061"/>
                  </a:lnTo>
                  <a:lnTo>
                    <a:pt x="207" y="1026"/>
                  </a:lnTo>
                  <a:lnTo>
                    <a:pt x="212" y="1014"/>
                  </a:lnTo>
                  <a:lnTo>
                    <a:pt x="200" y="970"/>
                  </a:lnTo>
                  <a:lnTo>
                    <a:pt x="188" y="970"/>
                  </a:lnTo>
                  <a:lnTo>
                    <a:pt x="162" y="882"/>
                  </a:lnTo>
                  <a:lnTo>
                    <a:pt x="170" y="859"/>
                  </a:lnTo>
                  <a:lnTo>
                    <a:pt x="170" y="815"/>
                  </a:lnTo>
                  <a:lnTo>
                    <a:pt x="144" y="792"/>
                  </a:lnTo>
                  <a:lnTo>
                    <a:pt x="87" y="636"/>
                  </a:lnTo>
                  <a:lnTo>
                    <a:pt x="56" y="680"/>
                  </a:lnTo>
                  <a:lnTo>
                    <a:pt x="44" y="659"/>
                  </a:lnTo>
                  <a:lnTo>
                    <a:pt x="32" y="615"/>
                  </a:lnTo>
                  <a:lnTo>
                    <a:pt x="0" y="61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67" name="Freeform 110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1720563" y="2561795"/>
              <a:ext cx="2453993" cy="1106488"/>
            </a:xfrm>
            <a:custGeom>
              <a:avLst/>
              <a:gdLst>
                <a:gd name="T0" fmla="*/ 2147483647 w 1326"/>
                <a:gd name="T1" fmla="*/ 2147483647 h 1395"/>
                <a:gd name="T2" fmla="*/ 2147483647 w 1326"/>
                <a:gd name="T3" fmla="*/ 2147483647 h 1395"/>
                <a:gd name="T4" fmla="*/ 2147483647 w 1326"/>
                <a:gd name="T5" fmla="*/ 2147483647 h 1395"/>
                <a:gd name="T6" fmla="*/ 2147483647 w 1326"/>
                <a:gd name="T7" fmla="*/ 2147483647 h 1395"/>
                <a:gd name="T8" fmla="*/ 2147483647 w 1326"/>
                <a:gd name="T9" fmla="*/ 2147483647 h 1395"/>
                <a:gd name="T10" fmla="*/ 2147483647 w 1326"/>
                <a:gd name="T11" fmla="*/ 2147483647 h 1395"/>
                <a:gd name="T12" fmla="*/ 2147483647 w 1326"/>
                <a:gd name="T13" fmla="*/ 2147483647 h 1395"/>
                <a:gd name="T14" fmla="*/ 2147483647 w 1326"/>
                <a:gd name="T15" fmla="*/ 2147483647 h 1395"/>
                <a:gd name="T16" fmla="*/ 2147483647 w 1326"/>
                <a:gd name="T17" fmla="*/ 2147483647 h 1395"/>
                <a:gd name="T18" fmla="*/ 2147483647 w 1326"/>
                <a:gd name="T19" fmla="*/ 2147483647 h 1395"/>
                <a:gd name="T20" fmla="*/ 2147483647 w 1326"/>
                <a:gd name="T21" fmla="*/ 2147483647 h 1395"/>
                <a:gd name="T22" fmla="*/ 2147483647 w 1326"/>
                <a:gd name="T23" fmla="*/ 2147483647 h 1395"/>
                <a:gd name="T24" fmla="*/ 2147483647 w 1326"/>
                <a:gd name="T25" fmla="*/ 0 h 1395"/>
                <a:gd name="T26" fmla="*/ 2147483647 w 1326"/>
                <a:gd name="T27" fmla="*/ 2147483647 h 1395"/>
                <a:gd name="T28" fmla="*/ 2147483647 w 1326"/>
                <a:gd name="T29" fmla="*/ 2147483647 h 1395"/>
                <a:gd name="T30" fmla="*/ 2147483647 w 1326"/>
                <a:gd name="T31" fmla="*/ 2147483647 h 1395"/>
                <a:gd name="T32" fmla="*/ 2147483647 w 1326"/>
                <a:gd name="T33" fmla="*/ 2147483647 h 1395"/>
                <a:gd name="T34" fmla="*/ 2147483647 w 1326"/>
                <a:gd name="T35" fmla="*/ 2147483647 h 1395"/>
                <a:gd name="T36" fmla="*/ 2147483647 w 1326"/>
                <a:gd name="T37" fmla="*/ 2147483647 h 1395"/>
                <a:gd name="T38" fmla="*/ 2147483647 w 1326"/>
                <a:gd name="T39" fmla="*/ 2147483647 h 1395"/>
                <a:gd name="T40" fmla="*/ 2147483647 w 1326"/>
                <a:gd name="T41" fmla="*/ 2147483647 h 1395"/>
                <a:gd name="T42" fmla="*/ 2147483647 w 1326"/>
                <a:gd name="T43" fmla="*/ 2147483647 h 1395"/>
                <a:gd name="T44" fmla="*/ 2147483647 w 1326"/>
                <a:gd name="T45" fmla="*/ 2147483647 h 1395"/>
                <a:gd name="T46" fmla="*/ 2147483647 w 1326"/>
                <a:gd name="T47" fmla="*/ 2147483647 h 1395"/>
                <a:gd name="T48" fmla="*/ 2147483647 w 1326"/>
                <a:gd name="T49" fmla="*/ 2147483647 h 1395"/>
                <a:gd name="T50" fmla="*/ 2147483647 w 1326"/>
                <a:gd name="T51" fmla="*/ 2147483647 h 1395"/>
                <a:gd name="T52" fmla="*/ 2147483647 w 1326"/>
                <a:gd name="T53" fmla="*/ 2147483647 h 1395"/>
                <a:gd name="T54" fmla="*/ 2147483647 w 1326"/>
                <a:gd name="T55" fmla="*/ 2147483647 h 1395"/>
                <a:gd name="T56" fmla="*/ 2147483647 w 1326"/>
                <a:gd name="T57" fmla="*/ 2147483647 h 1395"/>
                <a:gd name="T58" fmla="*/ 2147483647 w 1326"/>
                <a:gd name="T59" fmla="*/ 2147483647 h 1395"/>
                <a:gd name="T60" fmla="*/ 2147483647 w 1326"/>
                <a:gd name="T61" fmla="*/ 2147483647 h 1395"/>
                <a:gd name="T62" fmla="*/ 2147483647 w 1326"/>
                <a:gd name="T63" fmla="*/ 2147483647 h 1395"/>
                <a:gd name="T64" fmla="*/ 2147483647 w 1326"/>
                <a:gd name="T65" fmla="*/ 2147483647 h 1395"/>
                <a:gd name="T66" fmla="*/ 2147483647 w 1326"/>
                <a:gd name="T67" fmla="*/ 2147483647 h 1395"/>
                <a:gd name="T68" fmla="*/ 2147483647 w 1326"/>
                <a:gd name="T69" fmla="*/ 2147483647 h 1395"/>
                <a:gd name="T70" fmla="*/ 2147483647 w 1326"/>
                <a:gd name="T71" fmla="*/ 2147483647 h 1395"/>
                <a:gd name="T72" fmla="*/ 2147483647 w 1326"/>
                <a:gd name="T73" fmla="*/ 2147483647 h 1395"/>
                <a:gd name="T74" fmla="*/ 2147483647 w 1326"/>
                <a:gd name="T75" fmla="*/ 2147483647 h 1395"/>
                <a:gd name="T76" fmla="*/ 2147483647 w 1326"/>
                <a:gd name="T77" fmla="*/ 2147483647 h 1395"/>
                <a:gd name="T78" fmla="*/ 2147483647 w 1326"/>
                <a:gd name="T79" fmla="*/ 2147483647 h 1395"/>
                <a:gd name="T80" fmla="*/ 2147483647 w 1326"/>
                <a:gd name="T81" fmla="*/ 2147483647 h 1395"/>
                <a:gd name="T82" fmla="*/ 2147483647 w 1326"/>
                <a:gd name="T83" fmla="*/ 2147483647 h 1395"/>
                <a:gd name="T84" fmla="*/ 2147483647 w 1326"/>
                <a:gd name="T85" fmla="*/ 2147483647 h 1395"/>
                <a:gd name="T86" fmla="*/ 2147483647 w 1326"/>
                <a:gd name="T87" fmla="*/ 2147483647 h 1395"/>
                <a:gd name="T88" fmla="*/ 2147483647 w 1326"/>
                <a:gd name="T89" fmla="*/ 2147483647 h 1395"/>
                <a:gd name="T90" fmla="*/ 2147483647 w 1326"/>
                <a:gd name="T91" fmla="*/ 2147483647 h 1395"/>
                <a:gd name="T92" fmla="*/ 2147483647 w 1326"/>
                <a:gd name="T93" fmla="*/ 2147483647 h 1395"/>
                <a:gd name="T94" fmla="*/ 2147483647 w 1326"/>
                <a:gd name="T95" fmla="*/ 2147483647 h 1395"/>
                <a:gd name="T96" fmla="*/ 2147483647 w 1326"/>
                <a:gd name="T97" fmla="*/ 2147483647 h 1395"/>
                <a:gd name="T98" fmla="*/ 2147483647 w 1326"/>
                <a:gd name="T99" fmla="*/ 2147483647 h 1395"/>
                <a:gd name="T100" fmla="*/ 2147483647 w 1326"/>
                <a:gd name="T101" fmla="*/ 2147483647 h 1395"/>
                <a:gd name="T102" fmla="*/ 2147483647 w 1326"/>
                <a:gd name="T103" fmla="*/ 2147483647 h 1395"/>
                <a:gd name="T104" fmla="*/ 2147483647 w 1326"/>
                <a:gd name="T105" fmla="*/ 2147483647 h 1395"/>
                <a:gd name="T106" fmla="*/ 2147483647 w 1326"/>
                <a:gd name="T107" fmla="*/ 2147483647 h 1395"/>
                <a:gd name="T108" fmla="*/ 2147483647 w 1326"/>
                <a:gd name="T109" fmla="*/ 2147483647 h 1395"/>
                <a:gd name="T110" fmla="*/ 2147483647 w 1326"/>
                <a:gd name="T111" fmla="*/ 2147483647 h 1395"/>
                <a:gd name="T112" fmla="*/ 2147483647 w 1326"/>
                <a:gd name="T113" fmla="*/ 2147483647 h 1395"/>
                <a:gd name="T114" fmla="*/ 2147483647 w 1326"/>
                <a:gd name="T115" fmla="*/ 2147483647 h 1395"/>
                <a:gd name="T116" fmla="*/ 2147483647 w 1326"/>
                <a:gd name="T117" fmla="*/ 2147483647 h 1395"/>
                <a:gd name="T118" fmla="*/ 2147483647 w 1326"/>
                <a:gd name="T119" fmla="*/ 2147483647 h 1395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326" h="1395">
                  <a:moveTo>
                    <a:pt x="0" y="615"/>
                  </a:moveTo>
                  <a:lnTo>
                    <a:pt x="0" y="135"/>
                  </a:lnTo>
                  <a:lnTo>
                    <a:pt x="106" y="190"/>
                  </a:lnTo>
                  <a:lnTo>
                    <a:pt x="101" y="167"/>
                  </a:lnTo>
                  <a:lnTo>
                    <a:pt x="112" y="156"/>
                  </a:lnTo>
                  <a:lnTo>
                    <a:pt x="175" y="102"/>
                  </a:lnTo>
                  <a:lnTo>
                    <a:pt x="125" y="167"/>
                  </a:lnTo>
                  <a:lnTo>
                    <a:pt x="156" y="146"/>
                  </a:lnTo>
                  <a:lnTo>
                    <a:pt x="156" y="156"/>
                  </a:lnTo>
                  <a:lnTo>
                    <a:pt x="207" y="102"/>
                  </a:lnTo>
                  <a:lnTo>
                    <a:pt x="200" y="79"/>
                  </a:lnTo>
                  <a:lnTo>
                    <a:pt x="238" y="146"/>
                  </a:lnTo>
                  <a:lnTo>
                    <a:pt x="262" y="112"/>
                  </a:lnTo>
                  <a:lnTo>
                    <a:pt x="257" y="146"/>
                  </a:lnTo>
                  <a:lnTo>
                    <a:pt x="287" y="123"/>
                  </a:lnTo>
                  <a:lnTo>
                    <a:pt x="363" y="167"/>
                  </a:lnTo>
                  <a:lnTo>
                    <a:pt x="400" y="167"/>
                  </a:lnTo>
                  <a:lnTo>
                    <a:pt x="419" y="202"/>
                  </a:lnTo>
                  <a:lnTo>
                    <a:pt x="395" y="225"/>
                  </a:lnTo>
                  <a:lnTo>
                    <a:pt x="414" y="235"/>
                  </a:lnTo>
                  <a:lnTo>
                    <a:pt x="482" y="225"/>
                  </a:lnTo>
                  <a:lnTo>
                    <a:pt x="514" y="269"/>
                  </a:lnTo>
                  <a:lnTo>
                    <a:pt x="520" y="290"/>
                  </a:lnTo>
                  <a:lnTo>
                    <a:pt x="525" y="269"/>
                  </a:lnTo>
                  <a:lnTo>
                    <a:pt x="514" y="235"/>
                  </a:lnTo>
                  <a:lnTo>
                    <a:pt x="544" y="190"/>
                  </a:lnTo>
                  <a:lnTo>
                    <a:pt x="514" y="212"/>
                  </a:lnTo>
                  <a:lnTo>
                    <a:pt x="501" y="202"/>
                  </a:lnTo>
                  <a:lnTo>
                    <a:pt x="544" y="167"/>
                  </a:lnTo>
                  <a:lnTo>
                    <a:pt x="563" y="212"/>
                  </a:lnTo>
                  <a:lnTo>
                    <a:pt x="589" y="212"/>
                  </a:lnTo>
                  <a:lnTo>
                    <a:pt x="601" y="246"/>
                  </a:lnTo>
                  <a:lnTo>
                    <a:pt x="663" y="235"/>
                  </a:lnTo>
                  <a:lnTo>
                    <a:pt x="663" y="212"/>
                  </a:lnTo>
                  <a:lnTo>
                    <a:pt x="681" y="246"/>
                  </a:lnTo>
                  <a:lnTo>
                    <a:pt x="681" y="225"/>
                  </a:lnTo>
                  <a:lnTo>
                    <a:pt x="670" y="235"/>
                  </a:lnTo>
                  <a:lnTo>
                    <a:pt x="657" y="202"/>
                  </a:lnTo>
                  <a:lnTo>
                    <a:pt x="681" y="202"/>
                  </a:lnTo>
                  <a:lnTo>
                    <a:pt x="689" y="225"/>
                  </a:lnTo>
                  <a:lnTo>
                    <a:pt x="700" y="212"/>
                  </a:lnTo>
                  <a:lnTo>
                    <a:pt x="695" y="246"/>
                  </a:lnTo>
                  <a:lnTo>
                    <a:pt x="714" y="269"/>
                  </a:lnTo>
                  <a:lnTo>
                    <a:pt x="707" y="212"/>
                  </a:lnTo>
                  <a:lnTo>
                    <a:pt x="738" y="190"/>
                  </a:lnTo>
                  <a:lnTo>
                    <a:pt x="732" y="167"/>
                  </a:lnTo>
                  <a:lnTo>
                    <a:pt x="719" y="179"/>
                  </a:lnTo>
                  <a:lnTo>
                    <a:pt x="738" y="146"/>
                  </a:lnTo>
                  <a:lnTo>
                    <a:pt x="695" y="112"/>
                  </a:lnTo>
                  <a:lnTo>
                    <a:pt x="695" y="45"/>
                  </a:lnTo>
                  <a:lnTo>
                    <a:pt x="707" y="45"/>
                  </a:lnTo>
                  <a:lnTo>
                    <a:pt x="714" y="0"/>
                  </a:lnTo>
                  <a:lnTo>
                    <a:pt x="745" y="45"/>
                  </a:lnTo>
                  <a:lnTo>
                    <a:pt x="750" y="68"/>
                  </a:lnTo>
                  <a:lnTo>
                    <a:pt x="769" y="102"/>
                  </a:lnTo>
                  <a:lnTo>
                    <a:pt x="757" y="102"/>
                  </a:lnTo>
                  <a:lnTo>
                    <a:pt x="764" y="112"/>
                  </a:lnTo>
                  <a:lnTo>
                    <a:pt x="750" y="135"/>
                  </a:lnTo>
                  <a:lnTo>
                    <a:pt x="783" y="146"/>
                  </a:lnTo>
                  <a:lnTo>
                    <a:pt x="769" y="146"/>
                  </a:lnTo>
                  <a:lnTo>
                    <a:pt x="788" y="212"/>
                  </a:lnTo>
                  <a:lnTo>
                    <a:pt x="801" y="156"/>
                  </a:lnTo>
                  <a:lnTo>
                    <a:pt x="826" y="179"/>
                  </a:lnTo>
                  <a:lnTo>
                    <a:pt x="826" y="212"/>
                  </a:lnTo>
                  <a:lnTo>
                    <a:pt x="819" y="225"/>
                  </a:lnTo>
                  <a:lnTo>
                    <a:pt x="838" y="269"/>
                  </a:lnTo>
                  <a:lnTo>
                    <a:pt x="845" y="256"/>
                  </a:lnTo>
                  <a:lnTo>
                    <a:pt x="864" y="190"/>
                  </a:lnTo>
                  <a:lnTo>
                    <a:pt x="875" y="179"/>
                  </a:lnTo>
                  <a:lnTo>
                    <a:pt x="864" y="123"/>
                  </a:lnTo>
                  <a:lnTo>
                    <a:pt x="907" y="135"/>
                  </a:lnTo>
                  <a:lnTo>
                    <a:pt x="925" y="167"/>
                  </a:lnTo>
                  <a:lnTo>
                    <a:pt x="920" y="179"/>
                  </a:lnTo>
                  <a:lnTo>
                    <a:pt x="925" y="190"/>
                  </a:lnTo>
                  <a:lnTo>
                    <a:pt x="907" y="202"/>
                  </a:lnTo>
                  <a:lnTo>
                    <a:pt x="925" y="279"/>
                  </a:lnTo>
                  <a:lnTo>
                    <a:pt x="901" y="313"/>
                  </a:lnTo>
                  <a:lnTo>
                    <a:pt x="889" y="290"/>
                  </a:lnTo>
                  <a:lnTo>
                    <a:pt x="894" y="325"/>
                  </a:lnTo>
                  <a:lnTo>
                    <a:pt x="851" y="302"/>
                  </a:lnTo>
                  <a:lnTo>
                    <a:pt x="857" y="325"/>
                  </a:lnTo>
                  <a:lnTo>
                    <a:pt x="838" y="369"/>
                  </a:lnTo>
                  <a:lnTo>
                    <a:pt x="795" y="335"/>
                  </a:lnTo>
                  <a:lnTo>
                    <a:pt x="807" y="369"/>
                  </a:lnTo>
                  <a:lnTo>
                    <a:pt x="845" y="369"/>
                  </a:lnTo>
                  <a:lnTo>
                    <a:pt x="819" y="436"/>
                  </a:lnTo>
                  <a:lnTo>
                    <a:pt x="795" y="425"/>
                  </a:lnTo>
                  <a:lnTo>
                    <a:pt x="783" y="469"/>
                  </a:lnTo>
                  <a:lnTo>
                    <a:pt x="738" y="436"/>
                  </a:lnTo>
                  <a:lnTo>
                    <a:pt x="783" y="469"/>
                  </a:lnTo>
                  <a:lnTo>
                    <a:pt x="788" y="492"/>
                  </a:lnTo>
                  <a:lnTo>
                    <a:pt x="757" y="502"/>
                  </a:lnTo>
                  <a:lnTo>
                    <a:pt x="764" y="502"/>
                  </a:lnTo>
                  <a:lnTo>
                    <a:pt x="750" y="502"/>
                  </a:lnTo>
                  <a:lnTo>
                    <a:pt x="750" y="536"/>
                  </a:lnTo>
                  <a:lnTo>
                    <a:pt x="719" y="571"/>
                  </a:lnTo>
                  <a:lnTo>
                    <a:pt x="714" y="680"/>
                  </a:lnTo>
                  <a:lnTo>
                    <a:pt x="726" y="703"/>
                  </a:lnTo>
                  <a:lnTo>
                    <a:pt x="745" y="694"/>
                  </a:lnTo>
                  <a:lnTo>
                    <a:pt x="750" y="769"/>
                  </a:lnTo>
                  <a:lnTo>
                    <a:pt x="776" y="759"/>
                  </a:lnTo>
                  <a:lnTo>
                    <a:pt x="807" y="782"/>
                  </a:lnTo>
                  <a:lnTo>
                    <a:pt x="864" y="847"/>
                  </a:lnTo>
                  <a:lnTo>
                    <a:pt x="864" y="870"/>
                  </a:lnTo>
                  <a:lnTo>
                    <a:pt x="864" y="847"/>
                  </a:lnTo>
                  <a:lnTo>
                    <a:pt x="914" y="859"/>
                  </a:lnTo>
                  <a:lnTo>
                    <a:pt x="914" y="947"/>
                  </a:lnTo>
                  <a:lnTo>
                    <a:pt x="925" y="982"/>
                  </a:lnTo>
                  <a:lnTo>
                    <a:pt x="914" y="993"/>
                  </a:lnTo>
                  <a:lnTo>
                    <a:pt x="939" y="1005"/>
                  </a:lnTo>
                  <a:lnTo>
                    <a:pt x="933" y="1037"/>
                  </a:lnTo>
                  <a:lnTo>
                    <a:pt x="951" y="1026"/>
                  </a:lnTo>
                  <a:lnTo>
                    <a:pt x="983" y="982"/>
                  </a:lnTo>
                  <a:lnTo>
                    <a:pt x="970" y="970"/>
                  </a:lnTo>
                  <a:lnTo>
                    <a:pt x="951" y="882"/>
                  </a:lnTo>
                  <a:lnTo>
                    <a:pt x="1008" y="803"/>
                  </a:lnTo>
                  <a:lnTo>
                    <a:pt x="1001" y="803"/>
                  </a:lnTo>
                  <a:lnTo>
                    <a:pt x="989" y="715"/>
                  </a:lnTo>
                  <a:lnTo>
                    <a:pt x="970" y="694"/>
                  </a:lnTo>
                  <a:lnTo>
                    <a:pt x="994" y="646"/>
                  </a:lnTo>
                  <a:lnTo>
                    <a:pt x="989" y="636"/>
                  </a:lnTo>
                  <a:lnTo>
                    <a:pt x="989" y="601"/>
                  </a:lnTo>
                  <a:lnTo>
                    <a:pt x="976" y="592"/>
                  </a:lnTo>
                  <a:lnTo>
                    <a:pt x="989" y="557"/>
                  </a:lnTo>
                  <a:lnTo>
                    <a:pt x="976" y="536"/>
                  </a:lnTo>
                  <a:lnTo>
                    <a:pt x="983" y="513"/>
                  </a:lnTo>
                  <a:lnTo>
                    <a:pt x="1026" y="525"/>
                  </a:lnTo>
                  <a:lnTo>
                    <a:pt x="1045" y="513"/>
                  </a:lnTo>
                  <a:lnTo>
                    <a:pt x="1082" y="557"/>
                  </a:lnTo>
                  <a:lnTo>
                    <a:pt x="1082" y="580"/>
                  </a:lnTo>
                  <a:lnTo>
                    <a:pt x="1108" y="580"/>
                  </a:lnTo>
                  <a:lnTo>
                    <a:pt x="1114" y="625"/>
                  </a:lnTo>
                  <a:lnTo>
                    <a:pt x="1089" y="636"/>
                  </a:lnTo>
                  <a:lnTo>
                    <a:pt x="1108" y="636"/>
                  </a:lnTo>
                  <a:lnTo>
                    <a:pt x="1119" y="671"/>
                  </a:lnTo>
                  <a:lnTo>
                    <a:pt x="1095" y="703"/>
                  </a:lnTo>
                  <a:lnTo>
                    <a:pt x="1133" y="680"/>
                  </a:lnTo>
                  <a:lnTo>
                    <a:pt x="1133" y="724"/>
                  </a:lnTo>
                  <a:lnTo>
                    <a:pt x="1114" y="738"/>
                  </a:lnTo>
                  <a:lnTo>
                    <a:pt x="1139" y="694"/>
                  </a:lnTo>
                  <a:lnTo>
                    <a:pt x="1139" y="724"/>
                  </a:lnTo>
                  <a:lnTo>
                    <a:pt x="1158" y="694"/>
                  </a:lnTo>
                  <a:lnTo>
                    <a:pt x="1164" y="703"/>
                  </a:lnTo>
                  <a:lnTo>
                    <a:pt x="1183" y="659"/>
                  </a:lnTo>
                  <a:lnTo>
                    <a:pt x="1177" y="646"/>
                  </a:lnTo>
                  <a:lnTo>
                    <a:pt x="1188" y="615"/>
                  </a:lnTo>
                  <a:lnTo>
                    <a:pt x="1208" y="671"/>
                  </a:lnTo>
                  <a:lnTo>
                    <a:pt x="1195" y="680"/>
                  </a:lnTo>
                  <a:lnTo>
                    <a:pt x="1214" y="671"/>
                  </a:lnTo>
                  <a:lnTo>
                    <a:pt x="1220" y="694"/>
                  </a:lnTo>
                  <a:lnTo>
                    <a:pt x="1208" y="703"/>
                  </a:lnTo>
                  <a:lnTo>
                    <a:pt x="1220" y="703"/>
                  </a:lnTo>
                  <a:lnTo>
                    <a:pt x="1214" y="724"/>
                  </a:lnTo>
                  <a:lnTo>
                    <a:pt x="1220" y="724"/>
                  </a:lnTo>
                  <a:lnTo>
                    <a:pt x="1233" y="747"/>
                  </a:lnTo>
                  <a:lnTo>
                    <a:pt x="1227" y="747"/>
                  </a:lnTo>
                  <a:lnTo>
                    <a:pt x="1238" y="769"/>
                  </a:lnTo>
                  <a:lnTo>
                    <a:pt x="1214" y="792"/>
                  </a:lnTo>
                  <a:lnTo>
                    <a:pt x="1233" y="792"/>
                  </a:lnTo>
                  <a:lnTo>
                    <a:pt x="1233" y="803"/>
                  </a:lnTo>
                  <a:lnTo>
                    <a:pt x="1257" y="826"/>
                  </a:lnTo>
                  <a:lnTo>
                    <a:pt x="1264" y="870"/>
                  </a:lnTo>
                  <a:lnTo>
                    <a:pt x="1277" y="847"/>
                  </a:lnTo>
                  <a:lnTo>
                    <a:pt x="1302" y="882"/>
                  </a:lnTo>
                  <a:lnTo>
                    <a:pt x="1245" y="915"/>
                  </a:lnTo>
                  <a:lnTo>
                    <a:pt x="1257" y="938"/>
                  </a:lnTo>
                  <a:lnTo>
                    <a:pt x="1302" y="891"/>
                  </a:lnTo>
                  <a:lnTo>
                    <a:pt x="1302" y="926"/>
                  </a:lnTo>
                  <a:lnTo>
                    <a:pt x="1326" y="926"/>
                  </a:lnTo>
                  <a:lnTo>
                    <a:pt x="1326" y="938"/>
                  </a:lnTo>
                  <a:lnTo>
                    <a:pt x="1320" y="938"/>
                  </a:lnTo>
                  <a:lnTo>
                    <a:pt x="1326" y="982"/>
                  </a:lnTo>
                  <a:lnTo>
                    <a:pt x="1264" y="1070"/>
                  </a:lnTo>
                  <a:lnTo>
                    <a:pt x="1164" y="1070"/>
                  </a:lnTo>
                  <a:lnTo>
                    <a:pt x="1119" y="1128"/>
                  </a:lnTo>
                  <a:lnTo>
                    <a:pt x="1089" y="1205"/>
                  </a:lnTo>
                  <a:lnTo>
                    <a:pt x="1119" y="1137"/>
                  </a:lnTo>
                  <a:lnTo>
                    <a:pt x="1177" y="1105"/>
                  </a:lnTo>
                  <a:lnTo>
                    <a:pt x="1195" y="1137"/>
                  </a:lnTo>
                  <a:lnTo>
                    <a:pt x="1158" y="1160"/>
                  </a:lnTo>
                  <a:lnTo>
                    <a:pt x="1188" y="1172"/>
                  </a:lnTo>
                  <a:lnTo>
                    <a:pt x="1183" y="1193"/>
                  </a:lnTo>
                  <a:lnTo>
                    <a:pt x="1202" y="1237"/>
                  </a:lnTo>
                  <a:lnTo>
                    <a:pt x="1238" y="1249"/>
                  </a:lnTo>
                  <a:lnTo>
                    <a:pt x="1252" y="1193"/>
                  </a:lnTo>
                  <a:lnTo>
                    <a:pt x="1252" y="1237"/>
                  </a:lnTo>
                  <a:lnTo>
                    <a:pt x="1264" y="1228"/>
                  </a:lnTo>
                  <a:lnTo>
                    <a:pt x="1245" y="1272"/>
                  </a:lnTo>
                  <a:lnTo>
                    <a:pt x="1195" y="1295"/>
                  </a:lnTo>
                  <a:lnTo>
                    <a:pt x="1177" y="1339"/>
                  </a:lnTo>
                  <a:lnTo>
                    <a:pt x="1164" y="1295"/>
                  </a:lnTo>
                  <a:lnTo>
                    <a:pt x="1208" y="1260"/>
                  </a:lnTo>
                  <a:lnTo>
                    <a:pt x="1188" y="1260"/>
                  </a:lnTo>
                  <a:lnTo>
                    <a:pt x="1188" y="1237"/>
                  </a:lnTo>
                  <a:lnTo>
                    <a:pt x="1151" y="1272"/>
                  </a:lnTo>
                  <a:lnTo>
                    <a:pt x="1139" y="1249"/>
                  </a:lnTo>
                  <a:lnTo>
                    <a:pt x="1139" y="1193"/>
                  </a:lnTo>
                  <a:lnTo>
                    <a:pt x="1114" y="1183"/>
                  </a:lnTo>
                  <a:lnTo>
                    <a:pt x="1095" y="1260"/>
                  </a:lnTo>
                  <a:lnTo>
                    <a:pt x="1013" y="1295"/>
                  </a:lnTo>
                  <a:lnTo>
                    <a:pt x="963" y="1327"/>
                  </a:lnTo>
                  <a:lnTo>
                    <a:pt x="951" y="1339"/>
                  </a:lnTo>
                  <a:lnTo>
                    <a:pt x="963" y="1351"/>
                  </a:lnTo>
                  <a:lnTo>
                    <a:pt x="970" y="1360"/>
                  </a:lnTo>
                  <a:lnTo>
                    <a:pt x="901" y="1395"/>
                  </a:lnTo>
                  <a:lnTo>
                    <a:pt x="907" y="1383"/>
                  </a:lnTo>
                  <a:lnTo>
                    <a:pt x="907" y="1372"/>
                  </a:lnTo>
                  <a:lnTo>
                    <a:pt x="914" y="1351"/>
                  </a:lnTo>
                  <a:lnTo>
                    <a:pt x="920" y="1339"/>
                  </a:lnTo>
                  <a:lnTo>
                    <a:pt x="925" y="1272"/>
                  </a:lnTo>
                  <a:lnTo>
                    <a:pt x="939" y="1295"/>
                  </a:lnTo>
                  <a:lnTo>
                    <a:pt x="958" y="1283"/>
                  </a:lnTo>
                  <a:lnTo>
                    <a:pt x="939" y="1237"/>
                  </a:lnTo>
                  <a:lnTo>
                    <a:pt x="883" y="1216"/>
                  </a:lnTo>
                  <a:lnTo>
                    <a:pt x="875" y="1216"/>
                  </a:lnTo>
                  <a:lnTo>
                    <a:pt x="875" y="1160"/>
                  </a:lnTo>
                  <a:lnTo>
                    <a:pt x="864" y="1160"/>
                  </a:lnTo>
                  <a:lnTo>
                    <a:pt x="851" y="1128"/>
                  </a:lnTo>
                  <a:lnTo>
                    <a:pt x="838" y="1128"/>
                  </a:lnTo>
                  <a:lnTo>
                    <a:pt x="838" y="1149"/>
                  </a:lnTo>
                  <a:lnTo>
                    <a:pt x="826" y="1114"/>
                  </a:lnTo>
                  <a:lnTo>
                    <a:pt x="795" y="1160"/>
                  </a:lnTo>
                  <a:lnTo>
                    <a:pt x="726" y="1128"/>
                  </a:lnTo>
                  <a:lnTo>
                    <a:pt x="714" y="1105"/>
                  </a:lnTo>
                  <a:lnTo>
                    <a:pt x="714" y="1114"/>
                  </a:lnTo>
                  <a:lnTo>
                    <a:pt x="281" y="1114"/>
                  </a:lnTo>
                  <a:lnTo>
                    <a:pt x="281" y="1084"/>
                  </a:lnTo>
                  <a:lnTo>
                    <a:pt x="257" y="1084"/>
                  </a:lnTo>
                  <a:lnTo>
                    <a:pt x="257" y="1061"/>
                  </a:lnTo>
                  <a:lnTo>
                    <a:pt x="207" y="1026"/>
                  </a:lnTo>
                  <a:lnTo>
                    <a:pt x="212" y="1014"/>
                  </a:lnTo>
                  <a:lnTo>
                    <a:pt x="200" y="970"/>
                  </a:lnTo>
                  <a:lnTo>
                    <a:pt x="188" y="970"/>
                  </a:lnTo>
                  <a:lnTo>
                    <a:pt x="162" y="882"/>
                  </a:lnTo>
                  <a:lnTo>
                    <a:pt x="170" y="859"/>
                  </a:lnTo>
                  <a:lnTo>
                    <a:pt x="170" y="815"/>
                  </a:lnTo>
                  <a:lnTo>
                    <a:pt x="144" y="792"/>
                  </a:lnTo>
                  <a:lnTo>
                    <a:pt x="87" y="636"/>
                  </a:lnTo>
                  <a:lnTo>
                    <a:pt x="56" y="680"/>
                  </a:lnTo>
                  <a:lnTo>
                    <a:pt x="44" y="659"/>
                  </a:lnTo>
                  <a:lnTo>
                    <a:pt x="32" y="615"/>
                  </a:lnTo>
                  <a:lnTo>
                    <a:pt x="0" y="61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68" name="Freeform 111"/>
            <p:cNvSpPr>
              <a:spLocks/>
            </p:cNvSpPr>
            <p:nvPr>
              <p:custDataLst>
                <p:tags r:id="rId92"/>
              </p:custDataLst>
            </p:nvPr>
          </p:nvSpPr>
          <p:spPr bwMode="auto">
            <a:xfrm>
              <a:off x="2081432" y="3393680"/>
              <a:ext cx="150367" cy="73025"/>
            </a:xfrm>
            <a:custGeom>
              <a:avLst/>
              <a:gdLst>
                <a:gd name="T0" fmla="*/ 0 w 81"/>
                <a:gd name="T1" fmla="*/ 0 h 90"/>
                <a:gd name="T2" fmla="*/ 2147483647 w 81"/>
                <a:gd name="T3" fmla="*/ 2147483647 h 90"/>
                <a:gd name="T4" fmla="*/ 2147483647 w 81"/>
                <a:gd name="T5" fmla="*/ 2147483647 h 90"/>
                <a:gd name="T6" fmla="*/ 2147483647 w 81"/>
                <a:gd name="T7" fmla="*/ 2147483647 h 90"/>
                <a:gd name="T8" fmla="*/ 0 w 81"/>
                <a:gd name="T9" fmla="*/ 0 h 9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1" h="90">
                  <a:moveTo>
                    <a:pt x="0" y="0"/>
                  </a:moveTo>
                  <a:lnTo>
                    <a:pt x="43" y="10"/>
                  </a:lnTo>
                  <a:lnTo>
                    <a:pt x="81" y="90"/>
                  </a:lnTo>
                  <a:lnTo>
                    <a:pt x="62" y="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69" name="Freeform 112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2081432" y="3393680"/>
              <a:ext cx="150367" cy="73025"/>
            </a:xfrm>
            <a:custGeom>
              <a:avLst/>
              <a:gdLst>
                <a:gd name="T0" fmla="*/ 0 w 81"/>
                <a:gd name="T1" fmla="*/ 0 h 90"/>
                <a:gd name="T2" fmla="*/ 2147483647 w 81"/>
                <a:gd name="T3" fmla="*/ 2147483647 h 90"/>
                <a:gd name="T4" fmla="*/ 2147483647 w 81"/>
                <a:gd name="T5" fmla="*/ 2147483647 h 90"/>
                <a:gd name="T6" fmla="*/ 2147483647 w 81"/>
                <a:gd name="T7" fmla="*/ 2147483647 h 90"/>
                <a:gd name="T8" fmla="*/ 0 w 81"/>
                <a:gd name="T9" fmla="*/ 0 h 9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1" h="90">
                  <a:moveTo>
                    <a:pt x="0" y="0"/>
                  </a:moveTo>
                  <a:lnTo>
                    <a:pt x="43" y="10"/>
                  </a:lnTo>
                  <a:lnTo>
                    <a:pt x="81" y="90"/>
                  </a:lnTo>
                  <a:lnTo>
                    <a:pt x="62" y="79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70" name="Freeform 113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2081432" y="3393680"/>
              <a:ext cx="150367" cy="73025"/>
            </a:xfrm>
            <a:custGeom>
              <a:avLst/>
              <a:gdLst>
                <a:gd name="T0" fmla="*/ 0 w 81"/>
                <a:gd name="T1" fmla="*/ 0 h 90"/>
                <a:gd name="T2" fmla="*/ 2147483647 w 81"/>
                <a:gd name="T3" fmla="*/ 2147483647 h 90"/>
                <a:gd name="T4" fmla="*/ 2147483647 w 81"/>
                <a:gd name="T5" fmla="*/ 2147483647 h 90"/>
                <a:gd name="T6" fmla="*/ 2147483647 w 81"/>
                <a:gd name="T7" fmla="*/ 2147483647 h 90"/>
                <a:gd name="T8" fmla="*/ 0 w 81"/>
                <a:gd name="T9" fmla="*/ 0 h 9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1" h="90">
                  <a:moveTo>
                    <a:pt x="0" y="0"/>
                  </a:moveTo>
                  <a:lnTo>
                    <a:pt x="43" y="10"/>
                  </a:lnTo>
                  <a:lnTo>
                    <a:pt x="81" y="90"/>
                  </a:lnTo>
                  <a:lnTo>
                    <a:pt x="62" y="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71" name="Freeform 114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2081432" y="3393680"/>
              <a:ext cx="150367" cy="73025"/>
            </a:xfrm>
            <a:custGeom>
              <a:avLst/>
              <a:gdLst>
                <a:gd name="T0" fmla="*/ 0 w 81"/>
                <a:gd name="T1" fmla="*/ 0 h 90"/>
                <a:gd name="T2" fmla="*/ 2147483647 w 81"/>
                <a:gd name="T3" fmla="*/ 2147483647 h 90"/>
                <a:gd name="T4" fmla="*/ 2147483647 w 81"/>
                <a:gd name="T5" fmla="*/ 2147483647 h 90"/>
                <a:gd name="T6" fmla="*/ 2147483647 w 81"/>
                <a:gd name="T7" fmla="*/ 2147483647 h 90"/>
                <a:gd name="T8" fmla="*/ 0 w 81"/>
                <a:gd name="T9" fmla="*/ 0 h 9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81" h="90">
                  <a:moveTo>
                    <a:pt x="0" y="0"/>
                  </a:moveTo>
                  <a:lnTo>
                    <a:pt x="43" y="10"/>
                  </a:lnTo>
                  <a:lnTo>
                    <a:pt x="81" y="90"/>
                  </a:lnTo>
                  <a:lnTo>
                    <a:pt x="62" y="79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77" name="Freeform 115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2147617" y="2431620"/>
              <a:ext cx="302740" cy="166688"/>
            </a:xfrm>
            <a:custGeom>
              <a:avLst/>
              <a:gdLst>
                <a:gd name="T0" fmla="*/ 0 w 163"/>
                <a:gd name="T1" fmla="*/ 2147483647 h 211"/>
                <a:gd name="T2" fmla="*/ 2147483647 w 163"/>
                <a:gd name="T3" fmla="*/ 2147483647 h 211"/>
                <a:gd name="T4" fmla="*/ 2147483647 w 163"/>
                <a:gd name="T5" fmla="*/ 2147483647 h 211"/>
                <a:gd name="T6" fmla="*/ 2147483647 w 163"/>
                <a:gd name="T7" fmla="*/ 2147483647 h 211"/>
                <a:gd name="T8" fmla="*/ 2147483647 w 163"/>
                <a:gd name="T9" fmla="*/ 0 h 211"/>
                <a:gd name="T10" fmla="*/ 2147483647 w 163"/>
                <a:gd name="T11" fmla="*/ 2147483647 h 211"/>
                <a:gd name="T12" fmla="*/ 2147483647 w 163"/>
                <a:gd name="T13" fmla="*/ 2147483647 h 211"/>
                <a:gd name="T14" fmla="*/ 2147483647 w 163"/>
                <a:gd name="T15" fmla="*/ 2147483647 h 211"/>
                <a:gd name="T16" fmla="*/ 2147483647 w 163"/>
                <a:gd name="T17" fmla="*/ 2147483647 h 211"/>
                <a:gd name="T18" fmla="*/ 2147483647 w 163"/>
                <a:gd name="T19" fmla="*/ 2147483647 h 211"/>
                <a:gd name="T20" fmla="*/ 2147483647 w 163"/>
                <a:gd name="T21" fmla="*/ 2147483647 h 211"/>
                <a:gd name="T22" fmla="*/ 2147483647 w 163"/>
                <a:gd name="T23" fmla="*/ 2147483647 h 211"/>
                <a:gd name="T24" fmla="*/ 0 w 163"/>
                <a:gd name="T25" fmla="*/ 2147483647 h 2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3" h="211">
                  <a:moveTo>
                    <a:pt x="0" y="167"/>
                  </a:moveTo>
                  <a:lnTo>
                    <a:pt x="13" y="135"/>
                  </a:lnTo>
                  <a:lnTo>
                    <a:pt x="31" y="56"/>
                  </a:lnTo>
                  <a:lnTo>
                    <a:pt x="26" y="12"/>
                  </a:lnTo>
                  <a:lnTo>
                    <a:pt x="76" y="0"/>
                  </a:lnTo>
                  <a:lnTo>
                    <a:pt x="106" y="46"/>
                  </a:lnTo>
                  <a:lnTo>
                    <a:pt x="131" y="23"/>
                  </a:lnTo>
                  <a:lnTo>
                    <a:pt x="163" y="67"/>
                  </a:lnTo>
                  <a:lnTo>
                    <a:pt x="88" y="146"/>
                  </a:lnTo>
                  <a:lnTo>
                    <a:pt x="81" y="190"/>
                  </a:lnTo>
                  <a:lnTo>
                    <a:pt x="50" y="211"/>
                  </a:lnTo>
                  <a:lnTo>
                    <a:pt x="31" y="179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78" name="Freeform 116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2147617" y="2431620"/>
              <a:ext cx="302740" cy="166688"/>
            </a:xfrm>
            <a:custGeom>
              <a:avLst/>
              <a:gdLst>
                <a:gd name="T0" fmla="*/ 0 w 163"/>
                <a:gd name="T1" fmla="*/ 2147483647 h 211"/>
                <a:gd name="T2" fmla="*/ 2147483647 w 163"/>
                <a:gd name="T3" fmla="*/ 2147483647 h 211"/>
                <a:gd name="T4" fmla="*/ 2147483647 w 163"/>
                <a:gd name="T5" fmla="*/ 2147483647 h 211"/>
                <a:gd name="T6" fmla="*/ 2147483647 w 163"/>
                <a:gd name="T7" fmla="*/ 2147483647 h 211"/>
                <a:gd name="T8" fmla="*/ 2147483647 w 163"/>
                <a:gd name="T9" fmla="*/ 0 h 211"/>
                <a:gd name="T10" fmla="*/ 2147483647 w 163"/>
                <a:gd name="T11" fmla="*/ 2147483647 h 211"/>
                <a:gd name="T12" fmla="*/ 2147483647 w 163"/>
                <a:gd name="T13" fmla="*/ 2147483647 h 211"/>
                <a:gd name="T14" fmla="*/ 2147483647 w 163"/>
                <a:gd name="T15" fmla="*/ 2147483647 h 211"/>
                <a:gd name="T16" fmla="*/ 2147483647 w 163"/>
                <a:gd name="T17" fmla="*/ 2147483647 h 211"/>
                <a:gd name="T18" fmla="*/ 2147483647 w 163"/>
                <a:gd name="T19" fmla="*/ 2147483647 h 211"/>
                <a:gd name="T20" fmla="*/ 2147483647 w 163"/>
                <a:gd name="T21" fmla="*/ 2147483647 h 211"/>
                <a:gd name="T22" fmla="*/ 2147483647 w 163"/>
                <a:gd name="T23" fmla="*/ 2147483647 h 211"/>
                <a:gd name="T24" fmla="*/ 0 w 163"/>
                <a:gd name="T25" fmla="*/ 2147483647 h 2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3" h="211">
                  <a:moveTo>
                    <a:pt x="0" y="167"/>
                  </a:moveTo>
                  <a:lnTo>
                    <a:pt x="13" y="135"/>
                  </a:lnTo>
                  <a:lnTo>
                    <a:pt x="31" y="56"/>
                  </a:lnTo>
                  <a:lnTo>
                    <a:pt x="26" y="12"/>
                  </a:lnTo>
                  <a:lnTo>
                    <a:pt x="76" y="0"/>
                  </a:lnTo>
                  <a:lnTo>
                    <a:pt x="106" y="46"/>
                  </a:lnTo>
                  <a:lnTo>
                    <a:pt x="131" y="23"/>
                  </a:lnTo>
                  <a:lnTo>
                    <a:pt x="163" y="67"/>
                  </a:lnTo>
                  <a:lnTo>
                    <a:pt x="88" y="146"/>
                  </a:lnTo>
                  <a:lnTo>
                    <a:pt x="81" y="190"/>
                  </a:lnTo>
                  <a:lnTo>
                    <a:pt x="50" y="211"/>
                  </a:lnTo>
                  <a:lnTo>
                    <a:pt x="31" y="179"/>
                  </a:lnTo>
                  <a:lnTo>
                    <a:pt x="0" y="16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79" name="Freeform 117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2147617" y="2431620"/>
              <a:ext cx="302740" cy="166688"/>
            </a:xfrm>
            <a:custGeom>
              <a:avLst/>
              <a:gdLst>
                <a:gd name="T0" fmla="*/ 0 w 163"/>
                <a:gd name="T1" fmla="*/ 2147483647 h 211"/>
                <a:gd name="T2" fmla="*/ 2147483647 w 163"/>
                <a:gd name="T3" fmla="*/ 2147483647 h 211"/>
                <a:gd name="T4" fmla="*/ 2147483647 w 163"/>
                <a:gd name="T5" fmla="*/ 2147483647 h 211"/>
                <a:gd name="T6" fmla="*/ 2147483647 w 163"/>
                <a:gd name="T7" fmla="*/ 2147483647 h 211"/>
                <a:gd name="T8" fmla="*/ 2147483647 w 163"/>
                <a:gd name="T9" fmla="*/ 0 h 211"/>
                <a:gd name="T10" fmla="*/ 2147483647 w 163"/>
                <a:gd name="T11" fmla="*/ 2147483647 h 211"/>
                <a:gd name="T12" fmla="*/ 2147483647 w 163"/>
                <a:gd name="T13" fmla="*/ 2147483647 h 211"/>
                <a:gd name="T14" fmla="*/ 2147483647 w 163"/>
                <a:gd name="T15" fmla="*/ 2147483647 h 211"/>
                <a:gd name="T16" fmla="*/ 2147483647 w 163"/>
                <a:gd name="T17" fmla="*/ 2147483647 h 211"/>
                <a:gd name="T18" fmla="*/ 2147483647 w 163"/>
                <a:gd name="T19" fmla="*/ 2147483647 h 211"/>
                <a:gd name="T20" fmla="*/ 2147483647 w 163"/>
                <a:gd name="T21" fmla="*/ 2147483647 h 211"/>
                <a:gd name="T22" fmla="*/ 2147483647 w 163"/>
                <a:gd name="T23" fmla="*/ 2147483647 h 211"/>
                <a:gd name="T24" fmla="*/ 0 w 163"/>
                <a:gd name="T25" fmla="*/ 2147483647 h 2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3" h="211">
                  <a:moveTo>
                    <a:pt x="0" y="167"/>
                  </a:moveTo>
                  <a:lnTo>
                    <a:pt x="13" y="135"/>
                  </a:lnTo>
                  <a:lnTo>
                    <a:pt x="31" y="56"/>
                  </a:lnTo>
                  <a:lnTo>
                    <a:pt x="26" y="12"/>
                  </a:lnTo>
                  <a:lnTo>
                    <a:pt x="76" y="0"/>
                  </a:lnTo>
                  <a:lnTo>
                    <a:pt x="106" y="46"/>
                  </a:lnTo>
                  <a:lnTo>
                    <a:pt x="131" y="23"/>
                  </a:lnTo>
                  <a:lnTo>
                    <a:pt x="163" y="67"/>
                  </a:lnTo>
                  <a:lnTo>
                    <a:pt x="88" y="146"/>
                  </a:lnTo>
                  <a:lnTo>
                    <a:pt x="81" y="190"/>
                  </a:lnTo>
                  <a:lnTo>
                    <a:pt x="50" y="211"/>
                  </a:lnTo>
                  <a:lnTo>
                    <a:pt x="31" y="179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80" name="Freeform 118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2147617" y="2431620"/>
              <a:ext cx="302740" cy="166688"/>
            </a:xfrm>
            <a:custGeom>
              <a:avLst/>
              <a:gdLst>
                <a:gd name="T0" fmla="*/ 0 w 163"/>
                <a:gd name="T1" fmla="*/ 2147483647 h 211"/>
                <a:gd name="T2" fmla="*/ 2147483647 w 163"/>
                <a:gd name="T3" fmla="*/ 2147483647 h 211"/>
                <a:gd name="T4" fmla="*/ 2147483647 w 163"/>
                <a:gd name="T5" fmla="*/ 2147483647 h 211"/>
                <a:gd name="T6" fmla="*/ 2147483647 w 163"/>
                <a:gd name="T7" fmla="*/ 2147483647 h 211"/>
                <a:gd name="T8" fmla="*/ 2147483647 w 163"/>
                <a:gd name="T9" fmla="*/ 0 h 211"/>
                <a:gd name="T10" fmla="*/ 2147483647 w 163"/>
                <a:gd name="T11" fmla="*/ 2147483647 h 211"/>
                <a:gd name="T12" fmla="*/ 2147483647 w 163"/>
                <a:gd name="T13" fmla="*/ 2147483647 h 211"/>
                <a:gd name="T14" fmla="*/ 2147483647 w 163"/>
                <a:gd name="T15" fmla="*/ 2147483647 h 211"/>
                <a:gd name="T16" fmla="*/ 2147483647 w 163"/>
                <a:gd name="T17" fmla="*/ 2147483647 h 211"/>
                <a:gd name="T18" fmla="*/ 2147483647 w 163"/>
                <a:gd name="T19" fmla="*/ 2147483647 h 211"/>
                <a:gd name="T20" fmla="*/ 2147483647 w 163"/>
                <a:gd name="T21" fmla="*/ 2147483647 h 211"/>
                <a:gd name="T22" fmla="*/ 2147483647 w 163"/>
                <a:gd name="T23" fmla="*/ 2147483647 h 211"/>
                <a:gd name="T24" fmla="*/ 0 w 163"/>
                <a:gd name="T25" fmla="*/ 2147483647 h 2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3" h="211">
                  <a:moveTo>
                    <a:pt x="0" y="167"/>
                  </a:moveTo>
                  <a:lnTo>
                    <a:pt x="13" y="135"/>
                  </a:lnTo>
                  <a:lnTo>
                    <a:pt x="31" y="56"/>
                  </a:lnTo>
                  <a:lnTo>
                    <a:pt x="26" y="12"/>
                  </a:lnTo>
                  <a:lnTo>
                    <a:pt x="76" y="0"/>
                  </a:lnTo>
                  <a:lnTo>
                    <a:pt x="106" y="46"/>
                  </a:lnTo>
                  <a:lnTo>
                    <a:pt x="131" y="23"/>
                  </a:lnTo>
                  <a:lnTo>
                    <a:pt x="163" y="67"/>
                  </a:lnTo>
                  <a:lnTo>
                    <a:pt x="88" y="146"/>
                  </a:lnTo>
                  <a:lnTo>
                    <a:pt x="81" y="190"/>
                  </a:lnTo>
                  <a:lnTo>
                    <a:pt x="50" y="211"/>
                  </a:lnTo>
                  <a:lnTo>
                    <a:pt x="31" y="179"/>
                  </a:lnTo>
                  <a:lnTo>
                    <a:pt x="0" y="16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1982" name="Freeform 119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2239826" y="2280808"/>
              <a:ext cx="210515" cy="88900"/>
            </a:xfrm>
            <a:custGeom>
              <a:avLst/>
              <a:gdLst>
                <a:gd name="T0" fmla="*/ 0 w 113"/>
                <a:gd name="T1" fmla="*/ 2147483647 h 113"/>
                <a:gd name="T2" fmla="*/ 2147483647 w 113"/>
                <a:gd name="T3" fmla="*/ 2147483647 h 113"/>
                <a:gd name="T4" fmla="*/ 2147483647 w 113"/>
                <a:gd name="T5" fmla="*/ 2147483647 h 113"/>
                <a:gd name="T6" fmla="*/ 2147483647 w 113"/>
                <a:gd name="T7" fmla="*/ 2147483647 h 113"/>
                <a:gd name="T8" fmla="*/ 2147483647 w 113"/>
                <a:gd name="T9" fmla="*/ 2147483647 h 113"/>
                <a:gd name="T10" fmla="*/ 2147483647 w 113"/>
                <a:gd name="T11" fmla="*/ 2147483647 h 113"/>
                <a:gd name="T12" fmla="*/ 2147483647 w 113"/>
                <a:gd name="T13" fmla="*/ 2147483647 h 113"/>
                <a:gd name="T14" fmla="*/ 2147483647 w 113"/>
                <a:gd name="T15" fmla="*/ 2147483647 h 113"/>
                <a:gd name="T16" fmla="*/ 2147483647 w 113"/>
                <a:gd name="T17" fmla="*/ 2147483647 h 113"/>
                <a:gd name="T18" fmla="*/ 2147483647 w 113"/>
                <a:gd name="T19" fmla="*/ 2147483647 h 113"/>
                <a:gd name="T20" fmla="*/ 2147483647 w 113"/>
                <a:gd name="T21" fmla="*/ 2147483647 h 113"/>
                <a:gd name="T22" fmla="*/ 2147483647 w 113"/>
                <a:gd name="T23" fmla="*/ 2147483647 h 113"/>
                <a:gd name="T24" fmla="*/ 2147483647 w 113"/>
                <a:gd name="T25" fmla="*/ 2147483647 h 113"/>
                <a:gd name="T26" fmla="*/ 2147483647 w 113"/>
                <a:gd name="T27" fmla="*/ 0 h 113"/>
                <a:gd name="T28" fmla="*/ 2147483647 w 113"/>
                <a:gd name="T29" fmla="*/ 2147483647 h 113"/>
                <a:gd name="T30" fmla="*/ 0 w 113"/>
                <a:gd name="T31" fmla="*/ 2147483647 h 1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3" h="113">
                  <a:moveTo>
                    <a:pt x="0" y="90"/>
                  </a:moveTo>
                  <a:lnTo>
                    <a:pt x="24" y="113"/>
                  </a:lnTo>
                  <a:lnTo>
                    <a:pt x="31" y="90"/>
                  </a:lnTo>
                  <a:lnTo>
                    <a:pt x="38" y="113"/>
                  </a:lnTo>
                  <a:lnTo>
                    <a:pt x="50" y="113"/>
                  </a:lnTo>
                  <a:lnTo>
                    <a:pt x="50" y="79"/>
                  </a:lnTo>
                  <a:lnTo>
                    <a:pt x="63" y="90"/>
                  </a:lnTo>
                  <a:lnTo>
                    <a:pt x="69" y="56"/>
                  </a:lnTo>
                  <a:lnTo>
                    <a:pt x="81" y="46"/>
                  </a:lnTo>
                  <a:lnTo>
                    <a:pt x="81" y="90"/>
                  </a:lnTo>
                  <a:lnTo>
                    <a:pt x="107" y="56"/>
                  </a:lnTo>
                  <a:lnTo>
                    <a:pt x="100" y="23"/>
                  </a:lnTo>
                  <a:lnTo>
                    <a:pt x="113" y="23"/>
                  </a:lnTo>
                  <a:lnTo>
                    <a:pt x="100" y="0"/>
                  </a:lnTo>
                  <a:lnTo>
                    <a:pt x="56" y="23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015" name="Freeform 120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2239826" y="2280808"/>
              <a:ext cx="210515" cy="88900"/>
            </a:xfrm>
            <a:custGeom>
              <a:avLst/>
              <a:gdLst>
                <a:gd name="T0" fmla="*/ 0 w 113"/>
                <a:gd name="T1" fmla="*/ 2147483647 h 113"/>
                <a:gd name="T2" fmla="*/ 2147483647 w 113"/>
                <a:gd name="T3" fmla="*/ 2147483647 h 113"/>
                <a:gd name="T4" fmla="*/ 2147483647 w 113"/>
                <a:gd name="T5" fmla="*/ 2147483647 h 113"/>
                <a:gd name="T6" fmla="*/ 2147483647 w 113"/>
                <a:gd name="T7" fmla="*/ 2147483647 h 113"/>
                <a:gd name="T8" fmla="*/ 2147483647 w 113"/>
                <a:gd name="T9" fmla="*/ 2147483647 h 113"/>
                <a:gd name="T10" fmla="*/ 2147483647 w 113"/>
                <a:gd name="T11" fmla="*/ 2147483647 h 113"/>
                <a:gd name="T12" fmla="*/ 2147483647 w 113"/>
                <a:gd name="T13" fmla="*/ 2147483647 h 113"/>
                <a:gd name="T14" fmla="*/ 2147483647 w 113"/>
                <a:gd name="T15" fmla="*/ 2147483647 h 113"/>
                <a:gd name="T16" fmla="*/ 2147483647 w 113"/>
                <a:gd name="T17" fmla="*/ 2147483647 h 113"/>
                <a:gd name="T18" fmla="*/ 2147483647 w 113"/>
                <a:gd name="T19" fmla="*/ 2147483647 h 113"/>
                <a:gd name="T20" fmla="*/ 2147483647 w 113"/>
                <a:gd name="T21" fmla="*/ 2147483647 h 113"/>
                <a:gd name="T22" fmla="*/ 2147483647 w 113"/>
                <a:gd name="T23" fmla="*/ 2147483647 h 113"/>
                <a:gd name="T24" fmla="*/ 2147483647 w 113"/>
                <a:gd name="T25" fmla="*/ 2147483647 h 113"/>
                <a:gd name="T26" fmla="*/ 2147483647 w 113"/>
                <a:gd name="T27" fmla="*/ 0 h 113"/>
                <a:gd name="T28" fmla="*/ 2147483647 w 113"/>
                <a:gd name="T29" fmla="*/ 2147483647 h 113"/>
                <a:gd name="T30" fmla="*/ 0 w 113"/>
                <a:gd name="T31" fmla="*/ 2147483647 h 1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3" h="113">
                  <a:moveTo>
                    <a:pt x="0" y="90"/>
                  </a:moveTo>
                  <a:lnTo>
                    <a:pt x="24" y="113"/>
                  </a:lnTo>
                  <a:lnTo>
                    <a:pt x="31" y="90"/>
                  </a:lnTo>
                  <a:lnTo>
                    <a:pt x="38" y="113"/>
                  </a:lnTo>
                  <a:lnTo>
                    <a:pt x="50" y="113"/>
                  </a:lnTo>
                  <a:lnTo>
                    <a:pt x="50" y="79"/>
                  </a:lnTo>
                  <a:lnTo>
                    <a:pt x="63" y="90"/>
                  </a:lnTo>
                  <a:lnTo>
                    <a:pt x="69" y="56"/>
                  </a:lnTo>
                  <a:lnTo>
                    <a:pt x="81" y="46"/>
                  </a:lnTo>
                  <a:lnTo>
                    <a:pt x="81" y="90"/>
                  </a:lnTo>
                  <a:lnTo>
                    <a:pt x="107" y="56"/>
                  </a:lnTo>
                  <a:lnTo>
                    <a:pt x="100" y="23"/>
                  </a:lnTo>
                  <a:lnTo>
                    <a:pt x="113" y="23"/>
                  </a:lnTo>
                  <a:lnTo>
                    <a:pt x="100" y="0"/>
                  </a:lnTo>
                  <a:lnTo>
                    <a:pt x="56" y="23"/>
                  </a:lnTo>
                  <a:lnTo>
                    <a:pt x="0" y="9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016" name="Freeform 121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2239826" y="2280808"/>
              <a:ext cx="210515" cy="88900"/>
            </a:xfrm>
            <a:custGeom>
              <a:avLst/>
              <a:gdLst>
                <a:gd name="T0" fmla="*/ 0 w 113"/>
                <a:gd name="T1" fmla="*/ 2147483647 h 113"/>
                <a:gd name="T2" fmla="*/ 2147483647 w 113"/>
                <a:gd name="T3" fmla="*/ 2147483647 h 113"/>
                <a:gd name="T4" fmla="*/ 2147483647 w 113"/>
                <a:gd name="T5" fmla="*/ 2147483647 h 113"/>
                <a:gd name="T6" fmla="*/ 2147483647 w 113"/>
                <a:gd name="T7" fmla="*/ 2147483647 h 113"/>
                <a:gd name="T8" fmla="*/ 2147483647 w 113"/>
                <a:gd name="T9" fmla="*/ 2147483647 h 113"/>
                <a:gd name="T10" fmla="*/ 2147483647 w 113"/>
                <a:gd name="T11" fmla="*/ 2147483647 h 113"/>
                <a:gd name="T12" fmla="*/ 2147483647 w 113"/>
                <a:gd name="T13" fmla="*/ 2147483647 h 113"/>
                <a:gd name="T14" fmla="*/ 2147483647 w 113"/>
                <a:gd name="T15" fmla="*/ 2147483647 h 113"/>
                <a:gd name="T16" fmla="*/ 2147483647 w 113"/>
                <a:gd name="T17" fmla="*/ 2147483647 h 113"/>
                <a:gd name="T18" fmla="*/ 2147483647 w 113"/>
                <a:gd name="T19" fmla="*/ 2147483647 h 113"/>
                <a:gd name="T20" fmla="*/ 2147483647 w 113"/>
                <a:gd name="T21" fmla="*/ 2147483647 h 113"/>
                <a:gd name="T22" fmla="*/ 2147483647 w 113"/>
                <a:gd name="T23" fmla="*/ 2147483647 h 113"/>
                <a:gd name="T24" fmla="*/ 2147483647 w 113"/>
                <a:gd name="T25" fmla="*/ 2147483647 h 113"/>
                <a:gd name="T26" fmla="*/ 2147483647 w 113"/>
                <a:gd name="T27" fmla="*/ 0 h 113"/>
                <a:gd name="T28" fmla="*/ 2147483647 w 113"/>
                <a:gd name="T29" fmla="*/ 2147483647 h 113"/>
                <a:gd name="T30" fmla="*/ 0 w 113"/>
                <a:gd name="T31" fmla="*/ 2147483647 h 1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3" h="113">
                  <a:moveTo>
                    <a:pt x="0" y="90"/>
                  </a:moveTo>
                  <a:lnTo>
                    <a:pt x="24" y="113"/>
                  </a:lnTo>
                  <a:lnTo>
                    <a:pt x="31" y="90"/>
                  </a:lnTo>
                  <a:lnTo>
                    <a:pt x="38" y="113"/>
                  </a:lnTo>
                  <a:lnTo>
                    <a:pt x="50" y="113"/>
                  </a:lnTo>
                  <a:lnTo>
                    <a:pt x="50" y="79"/>
                  </a:lnTo>
                  <a:lnTo>
                    <a:pt x="63" y="90"/>
                  </a:lnTo>
                  <a:lnTo>
                    <a:pt x="69" y="56"/>
                  </a:lnTo>
                  <a:lnTo>
                    <a:pt x="81" y="46"/>
                  </a:lnTo>
                  <a:lnTo>
                    <a:pt x="81" y="90"/>
                  </a:lnTo>
                  <a:lnTo>
                    <a:pt x="107" y="56"/>
                  </a:lnTo>
                  <a:lnTo>
                    <a:pt x="100" y="23"/>
                  </a:lnTo>
                  <a:lnTo>
                    <a:pt x="113" y="23"/>
                  </a:lnTo>
                  <a:lnTo>
                    <a:pt x="100" y="0"/>
                  </a:lnTo>
                  <a:lnTo>
                    <a:pt x="56" y="23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017" name="Freeform 122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2239826" y="2280808"/>
              <a:ext cx="210515" cy="88900"/>
            </a:xfrm>
            <a:custGeom>
              <a:avLst/>
              <a:gdLst>
                <a:gd name="T0" fmla="*/ 0 w 113"/>
                <a:gd name="T1" fmla="*/ 2147483647 h 113"/>
                <a:gd name="T2" fmla="*/ 2147483647 w 113"/>
                <a:gd name="T3" fmla="*/ 2147483647 h 113"/>
                <a:gd name="T4" fmla="*/ 2147483647 w 113"/>
                <a:gd name="T5" fmla="*/ 2147483647 h 113"/>
                <a:gd name="T6" fmla="*/ 2147483647 w 113"/>
                <a:gd name="T7" fmla="*/ 2147483647 h 113"/>
                <a:gd name="T8" fmla="*/ 2147483647 w 113"/>
                <a:gd name="T9" fmla="*/ 2147483647 h 113"/>
                <a:gd name="T10" fmla="*/ 2147483647 w 113"/>
                <a:gd name="T11" fmla="*/ 2147483647 h 113"/>
                <a:gd name="T12" fmla="*/ 2147483647 w 113"/>
                <a:gd name="T13" fmla="*/ 2147483647 h 113"/>
                <a:gd name="T14" fmla="*/ 2147483647 w 113"/>
                <a:gd name="T15" fmla="*/ 2147483647 h 113"/>
                <a:gd name="T16" fmla="*/ 2147483647 w 113"/>
                <a:gd name="T17" fmla="*/ 2147483647 h 113"/>
                <a:gd name="T18" fmla="*/ 2147483647 w 113"/>
                <a:gd name="T19" fmla="*/ 2147483647 h 113"/>
                <a:gd name="T20" fmla="*/ 2147483647 w 113"/>
                <a:gd name="T21" fmla="*/ 2147483647 h 113"/>
                <a:gd name="T22" fmla="*/ 2147483647 w 113"/>
                <a:gd name="T23" fmla="*/ 2147483647 h 113"/>
                <a:gd name="T24" fmla="*/ 2147483647 w 113"/>
                <a:gd name="T25" fmla="*/ 2147483647 h 113"/>
                <a:gd name="T26" fmla="*/ 2147483647 w 113"/>
                <a:gd name="T27" fmla="*/ 0 h 113"/>
                <a:gd name="T28" fmla="*/ 2147483647 w 113"/>
                <a:gd name="T29" fmla="*/ 2147483647 h 113"/>
                <a:gd name="T30" fmla="*/ 0 w 113"/>
                <a:gd name="T31" fmla="*/ 2147483647 h 11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3" h="113">
                  <a:moveTo>
                    <a:pt x="0" y="90"/>
                  </a:moveTo>
                  <a:lnTo>
                    <a:pt x="24" y="113"/>
                  </a:lnTo>
                  <a:lnTo>
                    <a:pt x="31" y="90"/>
                  </a:lnTo>
                  <a:lnTo>
                    <a:pt x="38" y="113"/>
                  </a:lnTo>
                  <a:lnTo>
                    <a:pt x="50" y="113"/>
                  </a:lnTo>
                  <a:lnTo>
                    <a:pt x="50" y="79"/>
                  </a:lnTo>
                  <a:lnTo>
                    <a:pt x="63" y="90"/>
                  </a:lnTo>
                  <a:lnTo>
                    <a:pt x="69" y="56"/>
                  </a:lnTo>
                  <a:lnTo>
                    <a:pt x="81" y="46"/>
                  </a:lnTo>
                  <a:lnTo>
                    <a:pt x="81" y="90"/>
                  </a:lnTo>
                  <a:lnTo>
                    <a:pt x="107" y="56"/>
                  </a:lnTo>
                  <a:lnTo>
                    <a:pt x="100" y="23"/>
                  </a:lnTo>
                  <a:lnTo>
                    <a:pt x="113" y="23"/>
                  </a:lnTo>
                  <a:lnTo>
                    <a:pt x="100" y="0"/>
                  </a:lnTo>
                  <a:lnTo>
                    <a:pt x="56" y="23"/>
                  </a:lnTo>
                  <a:lnTo>
                    <a:pt x="0" y="9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124" name="Freeform 123"/>
            <p:cNvSpPr>
              <a:spLocks/>
            </p:cNvSpPr>
            <p:nvPr>
              <p:custDataLst>
                <p:tags r:id="rId104"/>
              </p:custDataLst>
            </p:nvPr>
          </p:nvSpPr>
          <p:spPr bwMode="auto">
            <a:xfrm>
              <a:off x="2358108" y="2491945"/>
              <a:ext cx="519267" cy="230188"/>
            </a:xfrm>
            <a:custGeom>
              <a:avLst/>
              <a:gdLst>
                <a:gd name="T0" fmla="*/ 0 w 281"/>
                <a:gd name="T1" fmla="*/ 2147483647 h 290"/>
                <a:gd name="T2" fmla="*/ 2147483647 w 281"/>
                <a:gd name="T3" fmla="*/ 2147483647 h 290"/>
                <a:gd name="T4" fmla="*/ 2147483647 w 281"/>
                <a:gd name="T5" fmla="*/ 2147483647 h 290"/>
                <a:gd name="T6" fmla="*/ 2147483647 w 281"/>
                <a:gd name="T7" fmla="*/ 2147483647 h 290"/>
                <a:gd name="T8" fmla="*/ 2147483647 w 281"/>
                <a:gd name="T9" fmla="*/ 0 h 290"/>
                <a:gd name="T10" fmla="*/ 2147483647 w 281"/>
                <a:gd name="T11" fmla="*/ 2147483647 h 290"/>
                <a:gd name="T12" fmla="*/ 2147483647 w 281"/>
                <a:gd name="T13" fmla="*/ 2147483647 h 290"/>
                <a:gd name="T14" fmla="*/ 2147483647 w 281"/>
                <a:gd name="T15" fmla="*/ 2147483647 h 290"/>
                <a:gd name="T16" fmla="*/ 2147483647 w 281"/>
                <a:gd name="T17" fmla="*/ 2147483647 h 290"/>
                <a:gd name="T18" fmla="*/ 2147483647 w 281"/>
                <a:gd name="T19" fmla="*/ 2147483647 h 290"/>
                <a:gd name="T20" fmla="*/ 2147483647 w 281"/>
                <a:gd name="T21" fmla="*/ 2147483647 h 290"/>
                <a:gd name="T22" fmla="*/ 2147483647 w 281"/>
                <a:gd name="T23" fmla="*/ 2147483647 h 290"/>
                <a:gd name="T24" fmla="*/ 2147483647 w 281"/>
                <a:gd name="T25" fmla="*/ 2147483647 h 290"/>
                <a:gd name="T26" fmla="*/ 2147483647 w 281"/>
                <a:gd name="T27" fmla="*/ 2147483647 h 290"/>
                <a:gd name="T28" fmla="*/ 2147483647 w 281"/>
                <a:gd name="T29" fmla="*/ 2147483647 h 290"/>
                <a:gd name="T30" fmla="*/ 2147483647 w 281"/>
                <a:gd name="T31" fmla="*/ 2147483647 h 290"/>
                <a:gd name="T32" fmla="*/ 2147483647 w 281"/>
                <a:gd name="T33" fmla="*/ 2147483647 h 290"/>
                <a:gd name="T34" fmla="*/ 2147483647 w 281"/>
                <a:gd name="T35" fmla="*/ 2147483647 h 290"/>
                <a:gd name="T36" fmla="*/ 2147483647 w 281"/>
                <a:gd name="T37" fmla="*/ 2147483647 h 290"/>
                <a:gd name="T38" fmla="*/ 2147483647 w 281"/>
                <a:gd name="T39" fmla="*/ 2147483647 h 290"/>
                <a:gd name="T40" fmla="*/ 2147483647 w 281"/>
                <a:gd name="T41" fmla="*/ 2147483647 h 290"/>
                <a:gd name="T42" fmla="*/ 2147483647 w 281"/>
                <a:gd name="T43" fmla="*/ 2147483647 h 290"/>
                <a:gd name="T44" fmla="*/ 2147483647 w 281"/>
                <a:gd name="T45" fmla="*/ 2147483647 h 290"/>
                <a:gd name="T46" fmla="*/ 2147483647 w 281"/>
                <a:gd name="T47" fmla="*/ 2147483647 h 290"/>
                <a:gd name="T48" fmla="*/ 2147483647 w 281"/>
                <a:gd name="T49" fmla="*/ 2147483647 h 290"/>
                <a:gd name="T50" fmla="*/ 2147483647 w 281"/>
                <a:gd name="T51" fmla="*/ 2147483647 h 290"/>
                <a:gd name="T52" fmla="*/ 2147483647 w 281"/>
                <a:gd name="T53" fmla="*/ 2147483647 h 290"/>
                <a:gd name="T54" fmla="*/ 2147483647 w 281"/>
                <a:gd name="T55" fmla="*/ 2147483647 h 290"/>
                <a:gd name="T56" fmla="*/ 2147483647 w 281"/>
                <a:gd name="T57" fmla="*/ 2147483647 h 290"/>
                <a:gd name="T58" fmla="*/ 2147483647 w 281"/>
                <a:gd name="T59" fmla="*/ 2147483647 h 290"/>
                <a:gd name="T60" fmla="*/ 2147483647 w 281"/>
                <a:gd name="T61" fmla="*/ 2147483647 h 290"/>
                <a:gd name="T62" fmla="*/ 2147483647 w 281"/>
                <a:gd name="T63" fmla="*/ 2147483647 h 290"/>
                <a:gd name="T64" fmla="*/ 2147483647 w 281"/>
                <a:gd name="T65" fmla="*/ 2147483647 h 290"/>
                <a:gd name="T66" fmla="*/ 2147483647 w 281"/>
                <a:gd name="T67" fmla="*/ 2147483647 h 290"/>
                <a:gd name="T68" fmla="*/ 2147483647 w 281"/>
                <a:gd name="T69" fmla="*/ 2147483647 h 290"/>
                <a:gd name="T70" fmla="*/ 2147483647 w 281"/>
                <a:gd name="T71" fmla="*/ 2147483647 h 290"/>
                <a:gd name="T72" fmla="*/ 2147483647 w 281"/>
                <a:gd name="T73" fmla="*/ 2147483647 h 290"/>
                <a:gd name="T74" fmla="*/ 2147483647 w 281"/>
                <a:gd name="T75" fmla="*/ 2147483647 h 290"/>
                <a:gd name="T76" fmla="*/ 0 w 281"/>
                <a:gd name="T77" fmla="*/ 2147483647 h 29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1" h="290">
                  <a:moveTo>
                    <a:pt x="0" y="88"/>
                  </a:moveTo>
                  <a:lnTo>
                    <a:pt x="12" y="67"/>
                  </a:lnTo>
                  <a:lnTo>
                    <a:pt x="6" y="58"/>
                  </a:lnTo>
                  <a:lnTo>
                    <a:pt x="37" y="12"/>
                  </a:lnTo>
                  <a:lnTo>
                    <a:pt x="69" y="0"/>
                  </a:lnTo>
                  <a:lnTo>
                    <a:pt x="75" y="35"/>
                  </a:lnTo>
                  <a:lnTo>
                    <a:pt x="62" y="58"/>
                  </a:lnTo>
                  <a:lnTo>
                    <a:pt x="94" y="23"/>
                  </a:lnTo>
                  <a:lnTo>
                    <a:pt x="119" y="44"/>
                  </a:lnTo>
                  <a:lnTo>
                    <a:pt x="106" y="67"/>
                  </a:lnTo>
                  <a:lnTo>
                    <a:pt x="137" y="58"/>
                  </a:lnTo>
                  <a:lnTo>
                    <a:pt x="131" y="35"/>
                  </a:lnTo>
                  <a:lnTo>
                    <a:pt x="144" y="35"/>
                  </a:lnTo>
                  <a:lnTo>
                    <a:pt x="168" y="111"/>
                  </a:lnTo>
                  <a:lnTo>
                    <a:pt x="181" y="88"/>
                  </a:lnTo>
                  <a:lnTo>
                    <a:pt x="168" y="12"/>
                  </a:lnTo>
                  <a:lnTo>
                    <a:pt x="186" y="12"/>
                  </a:lnTo>
                  <a:lnTo>
                    <a:pt x="212" y="35"/>
                  </a:lnTo>
                  <a:lnTo>
                    <a:pt x="225" y="146"/>
                  </a:lnTo>
                  <a:lnTo>
                    <a:pt x="281" y="190"/>
                  </a:lnTo>
                  <a:lnTo>
                    <a:pt x="281" y="225"/>
                  </a:lnTo>
                  <a:lnTo>
                    <a:pt x="262" y="202"/>
                  </a:lnTo>
                  <a:lnTo>
                    <a:pt x="250" y="225"/>
                  </a:lnTo>
                  <a:lnTo>
                    <a:pt x="269" y="246"/>
                  </a:lnTo>
                  <a:lnTo>
                    <a:pt x="250" y="269"/>
                  </a:lnTo>
                  <a:lnTo>
                    <a:pt x="212" y="257"/>
                  </a:lnTo>
                  <a:lnTo>
                    <a:pt x="194" y="234"/>
                  </a:lnTo>
                  <a:lnTo>
                    <a:pt x="144" y="280"/>
                  </a:lnTo>
                  <a:lnTo>
                    <a:pt x="87" y="290"/>
                  </a:lnTo>
                  <a:lnTo>
                    <a:pt x="75" y="234"/>
                  </a:lnTo>
                  <a:lnTo>
                    <a:pt x="44" y="234"/>
                  </a:lnTo>
                  <a:lnTo>
                    <a:pt x="25" y="202"/>
                  </a:lnTo>
                  <a:lnTo>
                    <a:pt x="106" y="181"/>
                  </a:lnTo>
                  <a:lnTo>
                    <a:pt x="18" y="167"/>
                  </a:lnTo>
                  <a:lnTo>
                    <a:pt x="6" y="146"/>
                  </a:lnTo>
                  <a:lnTo>
                    <a:pt x="50" y="111"/>
                  </a:lnTo>
                  <a:lnTo>
                    <a:pt x="12" y="123"/>
                  </a:lnTo>
                  <a:lnTo>
                    <a:pt x="12" y="111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127" name="Freeform 124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2358108" y="2491945"/>
              <a:ext cx="519267" cy="230188"/>
            </a:xfrm>
            <a:custGeom>
              <a:avLst/>
              <a:gdLst>
                <a:gd name="T0" fmla="*/ 0 w 281"/>
                <a:gd name="T1" fmla="*/ 2147483647 h 290"/>
                <a:gd name="T2" fmla="*/ 2147483647 w 281"/>
                <a:gd name="T3" fmla="*/ 2147483647 h 290"/>
                <a:gd name="T4" fmla="*/ 2147483647 w 281"/>
                <a:gd name="T5" fmla="*/ 2147483647 h 290"/>
                <a:gd name="T6" fmla="*/ 2147483647 w 281"/>
                <a:gd name="T7" fmla="*/ 2147483647 h 290"/>
                <a:gd name="T8" fmla="*/ 2147483647 w 281"/>
                <a:gd name="T9" fmla="*/ 0 h 290"/>
                <a:gd name="T10" fmla="*/ 2147483647 w 281"/>
                <a:gd name="T11" fmla="*/ 2147483647 h 290"/>
                <a:gd name="T12" fmla="*/ 2147483647 w 281"/>
                <a:gd name="T13" fmla="*/ 2147483647 h 290"/>
                <a:gd name="T14" fmla="*/ 2147483647 w 281"/>
                <a:gd name="T15" fmla="*/ 2147483647 h 290"/>
                <a:gd name="T16" fmla="*/ 2147483647 w 281"/>
                <a:gd name="T17" fmla="*/ 2147483647 h 290"/>
                <a:gd name="T18" fmla="*/ 2147483647 w 281"/>
                <a:gd name="T19" fmla="*/ 2147483647 h 290"/>
                <a:gd name="T20" fmla="*/ 2147483647 w 281"/>
                <a:gd name="T21" fmla="*/ 2147483647 h 290"/>
                <a:gd name="T22" fmla="*/ 2147483647 w 281"/>
                <a:gd name="T23" fmla="*/ 2147483647 h 290"/>
                <a:gd name="T24" fmla="*/ 2147483647 w 281"/>
                <a:gd name="T25" fmla="*/ 2147483647 h 290"/>
                <a:gd name="T26" fmla="*/ 2147483647 w 281"/>
                <a:gd name="T27" fmla="*/ 2147483647 h 290"/>
                <a:gd name="T28" fmla="*/ 2147483647 w 281"/>
                <a:gd name="T29" fmla="*/ 2147483647 h 290"/>
                <a:gd name="T30" fmla="*/ 2147483647 w 281"/>
                <a:gd name="T31" fmla="*/ 2147483647 h 290"/>
                <a:gd name="T32" fmla="*/ 2147483647 w 281"/>
                <a:gd name="T33" fmla="*/ 2147483647 h 290"/>
                <a:gd name="T34" fmla="*/ 2147483647 w 281"/>
                <a:gd name="T35" fmla="*/ 2147483647 h 290"/>
                <a:gd name="T36" fmla="*/ 2147483647 w 281"/>
                <a:gd name="T37" fmla="*/ 2147483647 h 290"/>
                <a:gd name="T38" fmla="*/ 2147483647 w 281"/>
                <a:gd name="T39" fmla="*/ 2147483647 h 290"/>
                <a:gd name="T40" fmla="*/ 2147483647 w 281"/>
                <a:gd name="T41" fmla="*/ 2147483647 h 290"/>
                <a:gd name="T42" fmla="*/ 2147483647 w 281"/>
                <a:gd name="T43" fmla="*/ 2147483647 h 290"/>
                <a:gd name="T44" fmla="*/ 2147483647 w 281"/>
                <a:gd name="T45" fmla="*/ 2147483647 h 290"/>
                <a:gd name="T46" fmla="*/ 2147483647 w 281"/>
                <a:gd name="T47" fmla="*/ 2147483647 h 290"/>
                <a:gd name="T48" fmla="*/ 2147483647 w 281"/>
                <a:gd name="T49" fmla="*/ 2147483647 h 290"/>
                <a:gd name="T50" fmla="*/ 2147483647 w 281"/>
                <a:gd name="T51" fmla="*/ 2147483647 h 290"/>
                <a:gd name="T52" fmla="*/ 2147483647 w 281"/>
                <a:gd name="T53" fmla="*/ 2147483647 h 290"/>
                <a:gd name="T54" fmla="*/ 2147483647 w 281"/>
                <a:gd name="T55" fmla="*/ 2147483647 h 290"/>
                <a:gd name="T56" fmla="*/ 2147483647 w 281"/>
                <a:gd name="T57" fmla="*/ 2147483647 h 290"/>
                <a:gd name="T58" fmla="*/ 2147483647 w 281"/>
                <a:gd name="T59" fmla="*/ 2147483647 h 290"/>
                <a:gd name="T60" fmla="*/ 2147483647 w 281"/>
                <a:gd name="T61" fmla="*/ 2147483647 h 290"/>
                <a:gd name="T62" fmla="*/ 2147483647 w 281"/>
                <a:gd name="T63" fmla="*/ 2147483647 h 290"/>
                <a:gd name="T64" fmla="*/ 2147483647 w 281"/>
                <a:gd name="T65" fmla="*/ 2147483647 h 290"/>
                <a:gd name="T66" fmla="*/ 2147483647 w 281"/>
                <a:gd name="T67" fmla="*/ 2147483647 h 290"/>
                <a:gd name="T68" fmla="*/ 2147483647 w 281"/>
                <a:gd name="T69" fmla="*/ 2147483647 h 290"/>
                <a:gd name="T70" fmla="*/ 2147483647 w 281"/>
                <a:gd name="T71" fmla="*/ 2147483647 h 290"/>
                <a:gd name="T72" fmla="*/ 2147483647 w 281"/>
                <a:gd name="T73" fmla="*/ 2147483647 h 290"/>
                <a:gd name="T74" fmla="*/ 2147483647 w 281"/>
                <a:gd name="T75" fmla="*/ 2147483647 h 290"/>
                <a:gd name="T76" fmla="*/ 0 w 281"/>
                <a:gd name="T77" fmla="*/ 2147483647 h 29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1" h="290">
                  <a:moveTo>
                    <a:pt x="0" y="88"/>
                  </a:moveTo>
                  <a:lnTo>
                    <a:pt x="12" y="67"/>
                  </a:lnTo>
                  <a:lnTo>
                    <a:pt x="6" y="58"/>
                  </a:lnTo>
                  <a:lnTo>
                    <a:pt x="37" y="12"/>
                  </a:lnTo>
                  <a:lnTo>
                    <a:pt x="69" y="0"/>
                  </a:lnTo>
                  <a:lnTo>
                    <a:pt x="75" y="35"/>
                  </a:lnTo>
                  <a:lnTo>
                    <a:pt x="62" y="58"/>
                  </a:lnTo>
                  <a:lnTo>
                    <a:pt x="94" y="23"/>
                  </a:lnTo>
                  <a:lnTo>
                    <a:pt x="119" y="44"/>
                  </a:lnTo>
                  <a:lnTo>
                    <a:pt x="106" y="67"/>
                  </a:lnTo>
                  <a:lnTo>
                    <a:pt x="137" y="58"/>
                  </a:lnTo>
                  <a:lnTo>
                    <a:pt x="131" y="35"/>
                  </a:lnTo>
                  <a:lnTo>
                    <a:pt x="144" y="35"/>
                  </a:lnTo>
                  <a:lnTo>
                    <a:pt x="168" y="111"/>
                  </a:lnTo>
                  <a:lnTo>
                    <a:pt x="181" y="88"/>
                  </a:lnTo>
                  <a:lnTo>
                    <a:pt x="168" y="12"/>
                  </a:lnTo>
                  <a:lnTo>
                    <a:pt x="186" y="12"/>
                  </a:lnTo>
                  <a:lnTo>
                    <a:pt x="212" y="35"/>
                  </a:lnTo>
                  <a:lnTo>
                    <a:pt x="225" y="146"/>
                  </a:lnTo>
                  <a:lnTo>
                    <a:pt x="281" y="190"/>
                  </a:lnTo>
                  <a:lnTo>
                    <a:pt x="281" y="225"/>
                  </a:lnTo>
                  <a:lnTo>
                    <a:pt x="262" y="202"/>
                  </a:lnTo>
                  <a:lnTo>
                    <a:pt x="250" y="225"/>
                  </a:lnTo>
                  <a:lnTo>
                    <a:pt x="269" y="246"/>
                  </a:lnTo>
                  <a:lnTo>
                    <a:pt x="250" y="269"/>
                  </a:lnTo>
                  <a:lnTo>
                    <a:pt x="212" y="257"/>
                  </a:lnTo>
                  <a:lnTo>
                    <a:pt x="194" y="234"/>
                  </a:lnTo>
                  <a:lnTo>
                    <a:pt x="144" y="280"/>
                  </a:lnTo>
                  <a:lnTo>
                    <a:pt x="87" y="290"/>
                  </a:lnTo>
                  <a:lnTo>
                    <a:pt x="75" y="234"/>
                  </a:lnTo>
                  <a:lnTo>
                    <a:pt x="44" y="234"/>
                  </a:lnTo>
                  <a:lnTo>
                    <a:pt x="25" y="202"/>
                  </a:lnTo>
                  <a:lnTo>
                    <a:pt x="106" y="181"/>
                  </a:lnTo>
                  <a:lnTo>
                    <a:pt x="18" y="167"/>
                  </a:lnTo>
                  <a:lnTo>
                    <a:pt x="6" y="146"/>
                  </a:lnTo>
                  <a:lnTo>
                    <a:pt x="50" y="111"/>
                  </a:lnTo>
                  <a:lnTo>
                    <a:pt x="12" y="123"/>
                  </a:lnTo>
                  <a:lnTo>
                    <a:pt x="12" y="111"/>
                  </a:lnTo>
                  <a:lnTo>
                    <a:pt x="0" y="88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298" name="Freeform 125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2358108" y="2491945"/>
              <a:ext cx="519267" cy="230188"/>
            </a:xfrm>
            <a:custGeom>
              <a:avLst/>
              <a:gdLst>
                <a:gd name="T0" fmla="*/ 0 w 281"/>
                <a:gd name="T1" fmla="*/ 2147483647 h 290"/>
                <a:gd name="T2" fmla="*/ 2147483647 w 281"/>
                <a:gd name="T3" fmla="*/ 2147483647 h 290"/>
                <a:gd name="T4" fmla="*/ 2147483647 w 281"/>
                <a:gd name="T5" fmla="*/ 2147483647 h 290"/>
                <a:gd name="T6" fmla="*/ 2147483647 w 281"/>
                <a:gd name="T7" fmla="*/ 2147483647 h 290"/>
                <a:gd name="T8" fmla="*/ 2147483647 w 281"/>
                <a:gd name="T9" fmla="*/ 0 h 290"/>
                <a:gd name="T10" fmla="*/ 2147483647 w 281"/>
                <a:gd name="T11" fmla="*/ 2147483647 h 290"/>
                <a:gd name="T12" fmla="*/ 2147483647 w 281"/>
                <a:gd name="T13" fmla="*/ 2147483647 h 290"/>
                <a:gd name="T14" fmla="*/ 2147483647 w 281"/>
                <a:gd name="T15" fmla="*/ 2147483647 h 290"/>
                <a:gd name="T16" fmla="*/ 2147483647 w 281"/>
                <a:gd name="T17" fmla="*/ 2147483647 h 290"/>
                <a:gd name="T18" fmla="*/ 2147483647 w 281"/>
                <a:gd name="T19" fmla="*/ 2147483647 h 290"/>
                <a:gd name="T20" fmla="*/ 2147483647 w 281"/>
                <a:gd name="T21" fmla="*/ 2147483647 h 290"/>
                <a:gd name="T22" fmla="*/ 2147483647 w 281"/>
                <a:gd name="T23" fmla="*/ 2147483647 h 290"/>
                <a:gd name="T24" fmla="*/ 2147483647 w 281"/>
                <a:gd name="T25" fmla="*/ 2147483647 h 290"/>
                <a:gd name="T26" fmla="*/ 2147483647 w 281"/>
                <a:gd name="T27" fmla="*/ 2147483647 h 290"/>
                <a:gd name="T28" fmla="*/ 2147483647 w 281"/>
                <a:gd name="T29" fmla="*/ 2147483647 h 290"/>
                <a:gd name="T30" fmla="*/ 2147483647 w 281"/>
                <a:gd name="T31" fmla="*/ 2147483647 h 290"/>
                <a:gd name="T32" fmla="*/ 2147483647 w 281"/>
                <a:gd name="T33" fmla="*/ 2147483647 h 290"/>
                <a:gd name="T34" fmla="*/ 2147483647 w 281"/>
                <a:gd name="T35" fmla="*/ 2147483647 h 290"/>
                <a:gd name="T36" fmla="*/ 2147483647 w 281"/>
                <a:gd name="T37" fmla="*/ 2147483647 h 290"/>
                <a:gd name="T38" fmla="*/ 2147483647 w 281"/>
                <a:gd name="T39" fmla="*/ 2147483647 h 290"/>
                <a:gd name="T40" fmla="*/ 2147483647 w 281"/>
                <a:gd name="T41" fmla="*/ 2147483647 h 290"/>
                <a:gd name="T42" fmla="*/ 2147483647 w 281"/>
                <a:gd name="T43" fmla="*/ 2147483647 h 290"/>
                <a:gd name="T44" fmla="*/ 2147483647 w 281"/>
                <a:gd name="T45" fmla="*/ 2147483647 h 290"/>
                <a:gd name="T46" fmla="*/ 2147483647 w 281"/>
                <a:gd name="T47" fmla="*/ 2147483647 h 290"/>
                <a:gd name="T48" fmla="*/ 2147483647 w 281"/>
                <a:gd name="T49" fmla="*/ 2147483647 h 290"/>
                <a:gd name="T50" fmla="*/ 2147483647 w 281"/>
                <a:gd name="T51" fmla="*/ 2147483647 h 290"/>
                <a:gd name="T52" fmla="*/ 2147483647 w 281"/>
                <a:gd name="T53" fmla="*/ 2147483647 h 290"/>
                <a:gd name="T54" fmla="*/ 2147483647 w 281"/>
                <a:gd name="T55" fmla="*/ 2147483647 h 290"/>
                <a:gd name="T56" fmla="*/ 2147483647 w 281"/>
                <a:gd name="T57" fmla="*/ 2147483647 h 290"/>
                <a:gd name="T58" fmla="*/ 2147483647 w 281"/>
                <a:gd name="T59" fmla="*/ 2147483647 h 290"/>
                <a:gd name="T60" fmla="*/ 2147483647 w 281"/>
                <a:gd name="T61" fmla="*/ 2147483647 h 290"/>
                <a:gd name="T62" fmla="*/ 2147483647 w 281"/>
                <a:gd name="T63" fmla="*/ 2147483647 h 290"/>
                <a:gd name="T64" fmla="*/ 2147483647 w 281"/>
                <a:gd name="T65" fmla="*/ 2147483647 h 290"/>
                <a:gd name="T66" fmla="*/ 2147483647 w 281"/>
                <a:gd name="T67" fmla="*/ 2147483647 h 290"/>
                <a:gd name="T68" fmla="*/ 2147483647 w 281"/>
                <a:gd name="T69" fmla="*/ 2147483647 h 290"/>
                <a:gd name="T70" fmla="*/ 2147483647 w 281"/>
                <a:gd name="T71" fmla="*/ 2147483647 h 290"/>
                <a:gd name="T72" fmla="*/ 2147483647 w 281"/>
                <a:gd name="T73" fmla="*/ 2147483647 h 290"/>
                <a:gd name="T74" fmla="*/ 2147483647 w 281"/>
                <a:gd name="T75" fmla="*/ 2147483647 h 290"/>
                <a:gd name="T76" fmla="*/ 0 w 281"/>
                <a:gd name="T77" fmla="*/ 2147483647 h 29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1" h="290">
                  <a:moveTo>
                    <a:pt x="0" y="88"/>
                  </a:moveTo>
                  <a:lnTo>
                    <a:pt x="12" y="67"/>
                  </a:lnTo>
                  <a:lnTo>
                    <a:pt x="6" y="58"/>
                  </a:lnTo>
                  <a:lnTo>
                    <a:pt x="37" y="12"/>
                  </a:lnTo>
                  <a:lnTo>
                    <a:pt x="69" y="0"/>
                  </a:lnTo>
                  <a:lnTo>
                    <a:pt x="75" y="35"/>
                  </a:lnTo>
                  <a:lnTo>
                    <a:pt x="62" y="58"/>
                  </a:lnTo>
                  <a:lnTo>
                    <a:pt x="94" y="23"/>
                  </a:lnTo>
                  <a:lnTo>
                    <a:pt x="119" y="44"/>
                  </a:lnTo>
                  <a:lnTo>
                    <a:pt x="106" y="67"/>
                  </a:lnTo>
                  <a:lnTo>
                    <a:pt x="137" y="58"/>
                  </a:lnTo>
                  <a:lnTo>
                    <a:pt x="131" y="35"/>
                  </a:lnTo>
                  <a:lnTo>
                    <a:pt x="144" y="35"/>
                  </a:lnTo>
                  <a:lnTo>
                    <a:pt x="168" y="111"/>
                  </a:lnTo>
                  <a:lnTo>
                    <a:pt x="181" y="88"/>
                  </a:lnTo>
                  <a:lnTo>
                    <a:pt x="168" y="12"/>
                  </a:lnTo>
                  <a:lnTo>
                    <a:pt x="186" y="12"/>
                  </a:lnTo>
                  <a:lnTo>
                    <a:pt x="212" y="35"/>
                  </a:lnTo>
                  <a:lnTo>
                    <a:pt x="225" y="146"/>
                  </a:lnTo>
                  <a:lnTo>
                    <a:pt x="281" y="190"/>
                  </a:lnTo>
                  <a:lnTo>
                    <a:pt x="281" y="225"/>
                  </a:lnTo>
                  <a:lnTo>
                    <a:pt x="262" y="202"/>
                  </a:lnTo>
                  <a:lnTo>
                    <a:pt x="250" y="225"/>
                  </a:lnTo>
                  <a:lnTo>
                    <a:pt x="269" y="246"/>
                  </a:lnTo>
                  <a:lnTo>
                    <a:pt x="250" y="269"/>
                  </a:lnTo>
                  <a:lnTo>
                    <a:pt x="212" y="257"/>
                  </a:lnTo>
                  <a:lnTo>
                    <a:pt x="194" y="234"/>
                  </a:lnTo>
                  <a:lnTo>
                    <a:pt x="144" y="280"/>
                  </a:lnTo>
                  <a:lnTo>
                    <a:pt x="87" y="290"/>
                  </a:lnTo>
                  <a:lnTo>
                    <a:pt x="75" y="234"/>
                  </a:lnTo>
                  <a:lnTo>
                    <a:pt x="44" y="234"/>
                  </a:lnTo>
                  <a:lnTo>
                    <a:pt x="25" y="202"/>
                  </a:lnTo>
                  <a:lnTo>
                    <a:pt x="106" y="181"/>
                  </a:lnTo>
                  <a:lnTo>
                    <a:pt x="18" y="167"/>
                  </a:lnTo>
                  <a:lnTo>
                    <a:pt x="6" y="146"/>
                  </a:lnTo>
                  <a:lnTo>
                    <a:pt x="50" y="111"/>
                  </a:lnTo>
                  <a:lnTo>
                    <a:pt x="12" y="123"/>
                  </a:lnTo>
                  <a:lnTo>
                    <a:pt x="12" y="111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299" name="Freeform 126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2358108" y="2491945"/>
              <a:ext cx="519267" cy="230188"/>
            </a:xfrm>
            <a:custGeom>
              <a:avLst/>
              <a:gdLst>
                <a:gd name="T0" fmla="*/ 0 w 281"/>
                <a:gd name="T1" fmla="*/ 2147483647 h 290"/>
                <a:gd name="T2" fmla="*/ 2147483647 w 281"/>
                <a:gd name="T3" fmla="*/ 2147483647 h 290"/>
                <a:gd name="T4" fmla="*/ 2147483647 w 281"/>
                <a:gd name="T5" fmla="*/ 2147483647 h 290"/>
                <a:gd name="T6" fmla="*/ 2147483647 w 281"/>
                <a:gd name="T7" fmla="*/ 2147483647 h 290"/>
                <a:gd name="T8" fmla="*/ 2147483647 w 281"/>
                <a:gd name="T9" fmla="*/ 0 h 290"/>
                <a:gd name="T10" fmla="*/ 2147483647 w 281"/>
                <a:gd name="T11" fmla="*/ 2147483647 h 290"/>
                <a:gd name="T12" fmla="*/ 2147483647 w 281"/>
                <a:gd name="T13" fmla="*/ 2147483647 h 290"/>
                <a:gd name="T14" fmla="*/ 2147483647 w 281"/>
                <a:gd name="T15" fmla="*/ 2147483647 h 290"/>
                <a:gd name="T16" fmla="*/ 2147483647 w 281"/>
                <a:gd name="T17" fmla="*/ 2147483647 h 290"/>
                <a:gd name="T18" fmla="*/ 2147483647 w 281"/>
                <a:gd name="T19" fmla="*/ 2147483647 h 290"/>
                <a:gd name="T20" fmla="*/ 2147483647 w 281"/>
                <a:gd name="T21" fmla="*/ 2147483647 h 290"/>
                <a:gd name="T22" fmla="*/ 2147483647 w 281"/>
                <a:gd name="T23" fmla="*/ 2147483647 h 290"/>
                <a:gd name="T24" fmla="*/ 2147483647 w 281"/>
                <a:gd name="T25" fmla="*/ 2147483647 h 290"/>
                <a:gd name="T26" fmla="*/ 2147483647 w 281"/>
                <a:gd name="T27" fmla="*/ 2147483647 h 290"/>
                <a:gd name="T28" fmla="*/ 2147483647 w 281"/>
                <a:gd name="T29" fmla="*/ 2147483647 h 290"/>
                <a:gd name="T30" fmla="*/ 2147483647 w 281"/>
                <a:gd name="T31" fmla="*/ 2147483647 h 290"/>
                <a:gd name="T32" fmla="*/ 2147483647 w 281"/>
                <a:gd name="T33" fmla="*/ 2147483647 h 290"/>
                <a:gd name="T34" fmla="*/ 2147483647 w 281"/>
                <a:gd name="T35" fmla="*/ 2147483647 h 290"/>
                <a:gd name="T36" fmla="*/ 2147483647 w 281"/>
                <a:gd name="T37" fmla="*/ 2147483647 h 290"/>
                <a:gd name="T38" fmla="*/ 2147483647 w 281"/>
                <a:gd name="T39" fmla="*/ 2147483647 h 290"/>
                <a:gd name="T40" fmla="*/ 2147483647 w 281"/>
                <a:gd name="T41" fmla="*/ 2147483647 h 290"/>
                <a:gd name="T42" fmla="*/ 2147483647 w 281"/>
                <a:gd name="T43" fmla="*/ 2147483647 h 290"/>
                <a:gd name="T44" fmla="*/ 2147483647 w 281"/>
                <a:gd name="T45" fmla="*/ 2147483647 h 290"/>
                <a:gd name="T46" fmla="*/ 2147483647 w 281"/>
                <a:gd name="T47" fmla="*/ 2147483647 h 290"/>
                <a:gd name="T48" fmla="*/ 2147483647 w 281"/>
                <a:gd name="T49" fmla="*/ 2147483647 h 290"/>
                <a:gd name="T50" fmla="*/ 2147483647 w 281"/>
                <a:gd name="T51" fmla="*/ 2147483647 h 290"/>
                <a:gd name="T52" fmla="*/ 2147483647 w 281"/>
                <a:gd name="T53" fmla="*/ 2147483647 h 290"/>
                <a:gd name="T54" fmla="*/ 2147483647 w 281"/>
                <a:gd name="T55" fmla="*/ 2147483647 h 290"/>
                <a:gd name="T56" fmla="*/ 2147483647 w 281"/>
                <a:gd name="T57" fmla="*/ 2147483647 h 290"/>
                <a:gd name="T58" fmla="*/ 2147483647 w 281"/>
                <a:gd name="T59" fmla="*/ 2147483647 h 290"/>
                <a:gd name="T60" fmla="*/ 2147483647 w 281"/>
                <a:gd name="T61" fmla="*/ 2147483647 h 290"/>
                <a:gd name="T62" fmla="*/ 2147483647 w 281"/>
                <a:gd name="T63" fmla="*/ 2147483647 h 290"/>
                <a:gd name="T64" fmla="*/ 2147483647 w 281"/>
                <a:gd name="T65" fmla="*/ 2147483647 h 290"/>
                <a:gd name="T66" fmla="*/ 2147483647 w 281"/>
                <a:gd name="T67" fmla="*/ 2147483647 h 290"/>
                <a:gd name="T68" fmla="*/ 2147483647 w 281"/>
                <a:gd name="T69" fmla="*/ 2147483647 h 290"/>
                <a:gd name="T70" fmla="*/ 2147483647 w 281"/>
                <a:gd name="T71" fmla="*/ 2147483647 h 290"/>
                <a:gd name="T72" fmla="*/ 2147483647 w 281"/>
                <a:gd name="T73" fmla="*/ 2147483647 h 290"/>
                <a:gd name="T74" fmla="*/ 2147483647 w 281"/>
                <a:gd name="T75" fmla="*/ 2147483647 h 290"/>
                <a:gd name="T76" fmla="*/ 0 w 281"/>
                <a:gd name="T77" fmla="*/ 2147483647 h 29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81" h="290">
                  <a:moveTo>
                    <a:pt x="0" y="88"/>
                  </a:moveTo>
                  <a:lnTo>
                    <a:pt x="12" y="67"/>
                  </a:lnTo>
                  <a:lnTo>
                    <a:pt x="6" y="58"/>
                  </a:lnTo>
                  <a:lnTo>
                    <a:pt x="37" y="12"/>
                  </a:lnTo>
                  <a:lnTo>
                    <a:pt x="69" y="0"/>
                  </a:lnTo>
                  <a:lnTo>
                    <a:pt x="75" y="35"/>
                  </a:lnTo>
                  <a:lnTo>
                    <a:pt x="62" y="58"/>
                  </a:lnTo>
                  <a:lnTo>
                    <a:pt x="94" y="23"/>
                  </a:lnTo>
                  <a:lnTo>
                    <a:pt x="119" y="44"/>
                  </a:lnTo>
                  <a:lnTo>
                    <a:pt x="106" y="67"/>
                  </a:lnTo>
                  <a:lnTo>
                    <a:pt x="137" y="58"/>
                  </a:lnTo>
                  <a:lnTo>
                    <a:pt x="131" y="35"/>
                  </a:lnTo>
                  <a:lnTo>
                    <a:pt x="144" y="35"/>
                  </a:lnTo>
                  <a:lnTo>
                    <a:pt x="168" y="111"/>
                  </a:lnTo>
                  <a:lnTo>
                    <a:pt x="181" y="88"/>
                  </a:lnTo>
                  <a:lnTo>
                    <a:pt x="168" y="12"/>
                  </a:lnTo>
                  <a:lnTo>
                    <a:pt x="186" y="12"/>
                  </a:lnTo>
                  <a:lnTo>
                    <a:pt x="212" y="35"/>
                  </a:lnTo>
                  <a:lnTo>
                    <a:pt x="225" y="146"/>
                  </a:lnTo>
                  <a:lnTo>
                    <a:pt x="281" y="190"/>
                  </a:lnTo>
                  <a:lnTo>
                    <a:pt x="281" y="225"/>
                  </a:lnTo>
                  <a:lnTo>
                    <a:pt x="262" y="202"/>
                  </a:lnTo>
                  <a:lnTo>
                    <a:pt x="250" y="225"/>
                  </a:lnTo>
                  <a:lnTo>
                    <a:pt x="269" y="246"/>
                  </a:lnTo>
                  <a:lnTo>
                    <a:pt x="250" y="269"/>
                  </a:lnTo>
                  <a:lnTo>
                    <a:pt x="212" y="257"/>
                  </a:lnTo>
                  <a:lnTo>
                    <a:pt x="194" y="234"/>
                  </a:lnTo>
                  <a:lnTo>
                    <a:pt x="144" y="280"/>
                  </a:lnTo>
                  <a:lnTo>
                    <a:pt x="87" y="290"/>
                  </a:lnTo>
                  <a:lnTo>
                    <a:pt x="75" y="234"/>
                  </a:lnTo>
                  <a:lnTo>
                    <a:pt x="44" y="234"/>
                  </a:lnTo>
                  <a:lnTo>
                    <a:pt x="25" y="202"/>
                  </a:lnTo>
                  <a:lnTo>
                    <a:pt x="106" y="181"/>
                  </a:lnTo>
                  <a:lnTo>
                    <a:pt x="18" y="167"/>
                  </a:lnTo>
                  <a:lnTo>
                    <a:pt x="6" y="146"/>
                  </a:lnTo>
                  <a:lnTo>
                    <a:pt x="50" y="111"/>
                  </a:lnTo>
                  <a:lnTo>
                    <a:pt x="12" y="123"/>
                  </a:lnTo>
                  <a:lnTo>
                    <a:pt x="12" y="111"/>
                  </a:lnTo>
                  <a:lnTo>
                    <a:pt x="0" y="88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00" name="Freeform 127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2392203" y="2315760"/>
              <a:ext cx="348852" cy="123825"/>
            </a:xfrm>
            <a:custGeom>
              <a:avLst/>
              <a:gdLst>
                <a:gd name="T0" fmla="*/ 0 w 188"/>
                <a:gd name="T1" fmla="*/ 2147483647 h 158"/>
                <a:gd name="T2" fmla="*/ 2147483647 w 188"/>
                <a:gd name="T3" fmla="*/ 2147483647 h 158"/>
                <a:gd name="T4" fmla="*/ 2147483647 w 188"/>
                <a:gd name="T5" fmla="*/ 2147483647 h 158"/>
                <a:gd name="T6" fmla="*/ 2147483647 w 188"/>
                <a:gd name="T7" fmla="*/ 2147483647 h 158"/>
                <a:gd name="T8" fmla="*/ 2147483647 w 188"/>
                <a:gd name="T9" fmla="*/ 2147483647 h 158"/>
                <a:gd name="T10" fmla="*/ 2147483647 w 188"/>
                <a:gd name="T11" fmla="*/ 2147483647 h 158"/>
                <a:gd name="T12" fmla="*/ 2147483647 w 188"/>
                <a:gd name="T13" fmla="*/ 2147483647 h 158"/>
                <a:gd name="T14" fmla="*/ 2147483647 w 188"/>
                <a:gd name="T15" fmla="*/ 2147483647 h 158"/>
                <a:gd name="T16" fmla="*/ 2147483647 w 188"/>
                <a:gd name="T17" fmla="*/ 2147483647 h 158"/>
                <a:gd name="T18" fmla="*/ 2147483647 w 188"/>
                <a:gd name="T19" fmla="*/ 2147483647 h 158"/>
                <a:gd name="T20" fmla="*/ 2147483647 w 188"/>
                <a:gd name="T21" fmla="*/ 2147483647 h 158"/>
                <a:gd name="T22" fmla="*/ 2147483647 w 188"/>
                <a:gd name="T23" fmla="*/ 2147483647 h 158"/>
                <a:gd name="T24" fmla="*/ 2147483647 w 188"/>
                <a:gd name="T25" fmla="*/ 2147483647 h 158"/>
                <a:gd name="T26" fmla="*/ 2147483647 w 188"/>
                <a:gd name="T27" fmla="*/ 2147483647 h 158"/>
                <a:gd name="T28" fmla="*/ 2147483647 w 188"/>
                <a:gd name="T29" fmla="*/ 2147483647 h 158"/>
                <a:gd name="T30" fmla="*/ 2147483647 w 188"/>
                <a:gd name="T31" fmla="*/ 2147483647 h 158"/>
                <a:gd name="T32" fmla="*/ 2147483647 w 188"/>
                <a:gd name="T33" fmla="*/ 0 h 158"/>
                <a:gd name="T34" fmla="*/ 2147483647 w 188"/>
                <a:gd name="T35" fmla="*/ 2147483647 h 158"/>
                <a:gd name="T36" fmla="*/ 2147483647 w 188"/>
                <a:gd name="T37" fmla="*/ 2147483647 h 158"/>
                <a:gd name="T38" fmla="*/ 2147483647 w 188"/>
                <a:gd name="T39" fmla="*/ 2147483647 h 158"/>
                <a:gd name="T40" fmla="*/ 2147483647 w 188"/>
                <a:gd name="T41" fmla="*/ 2147483647 h 158"/>
                <a:gd name="T42" fmla="*/ 2147483647 w 188"/>
                <a:gd name="T43" fmla="*/ 2147483647 h 158"/>
                <a:gd name="T44" fmla="*/ 2147483647 w 188"/>
                <a:gd name="T45" fmla="*/ 2147483647 h 158"/>
                <a:gd name="T46" fmla="*/ 2147483647 w 188"/>
                <a:gd name="T47" fmla="*/ 2147483647 h 158"/>
                <a:gd name="T48" fmla="*/ 2147483647 w 188"/>
                <a:gd name="T49" fmla="*/ 2147483647 h 158"/>
                <a:gd name="T50" fmla="*/ 2147483647 w 188"/>
                <a:gd name="T51" fmla="*/ 2147483647 h 158"/>
                <a:gd name="T52" fmla="*/ 2147483647 w 188"/>
                <a:gd name="T53" fmla="*/ 2147483647 h 158"/>
                <a:gd name="T54" fmla="*/ 2147483647 w 188"/>
                <a:gd name="T55" fmla="*/ 2147483647 h 158"/>
                <a:gd name="T56" fmla="*/ 2147483647 w 188"/>
                <a:gd name="T57" fmla="*/ 2147483647 h 158"/>
                <a:gd name="T58" fmla="*/ 2147483647 w 188"/>
                <a:gd name="T59" fmla="*/ 2147483647 h 158"/>
                <a:gd name="T60" fmla="*/ 2147483647 w 188"/>
                <a:gd name="T61" fmla="*/ 2147483647 h 158"/>
                <a:gd name="T62" fmla="*/ 2147483647 w 188"/>
                <a:gd name="T63" fmla="*/ 2147483647 h 158"/>
                <a:gd name="T64" fmla="*/ 2147483647 w 188"/>
                <a:gd name="T65" fmla="*/ 2147483647 h 158"/>
                <a:gd name="T66" fmla="*/ 0 w 188"/>
                <a:gd name="T67" fmla="*/ 2147483647 h 15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8" h="158">
                  <a:moveTo>
                    <a:pt x="0" y="102"/>
                  </a:moveTo>
                  <a:lnTo>
                    <a:pt x="7" y="90"/>
                  </a:lnTo>
                  <a:lnTo>
                    <a:pt x="38" y="79"/>
                  </a:lnTo>
                  <a:lnTo>
                    <a:pt x="7" y="79"/>
                  </a:lnTo>
                  <a:lnTo>
                    <a:pt x="43" y="67"/>
                  </a:lnTo>
                  <a:lnTo>
                    <a:pt x="13" y="67"/>
                  </a:lnTo>
                  <a:lnTo>
                    <a:pt x="19" y="44"/>
                  </a:lnTo>
                  <a:lnTo>
                    <a:pt x="43" y="44"/>
                  </a:lnTo>
                  <a:lnTo>
                    <a:pt x="26" y="44"/>
                  </a:lnTo>
                  <a:lnTo>
                    <a:pt x="43" y="23"/>
                  </a:lnTo>
                  <a:lnTo>
                    <a:pt x="82" y="44"/>
                  </a:lnTo>
                  <a:lnTo>
                    <a:pt x="101" y="90"/>
                  </a:lnTo>
                  <a:lnTo>
                    <a:pt x="131" y="90"/>
                  </a:lnTo>
                  <a:lnTo>
                    <a:pt x="119" y="67"/>
                  </a:lnTo>
                  <a:lnTo>
                    <a:pt x="131" y="56"/>
                  </a:lnTo>
                  <a:lnTo>
                    <a:pt x="113" y="35"/>
                  </a:lnTo>
                  <a:lnTo>
                    <a:pt x="138" y="0"/>
                  </a:lnTo>
                  <a:lnTo>
                    <a:pt x="151" y="35"/>
                  </a:lnTo>
                  <a:lnTo>
                    <a:pt x="144" y="56"/>
                  </a:lnTo>
                  <a:lnTo>
                    <a:pt x="157" y="56"/>
                  </a:lnTo>
                  <a:lnTo>
                    <a:pt x="151" y="79"/>
                  </a:lnTo>
                  <a:lnTo>
                    <a:pt x="169" y="79"/>
                  </a:lnTo>
                  <a:lnTo>
                    <a:pt x="176" y="56"/>
                  </a:lnTo>
                  <a:lnTo>
                    <a:pt x="188" y="79"/>
                  </a:lnTo>
                  <a:lnTo>
                    <a:pt x="182" y="123"/>
                  </a:lnTo>
                  <a:lnTo>
                    <a:pt x="138" y="114"/>
                  </a:lnTo>
                  <a:lnTo>
                    <a:pt x="76" y="158"/>
                  </a:lnTo>
                  <a:lnTo>
                    <a:pt x="51" y="135"/>
                  </a:lnTo>
                  <a:lnTo>
                    <a:pt x="107" y="102"/>
                  </a:lnTo>
                  <a:lnTo>
                    <a:pt x="57" y="123"/>
                  </a:lnTo>
                  <a:lnTo>
                    <a:pt x="69" y="90"/>
                  </a:lnTo>
                  <a:lnTo>
                    <a:pt x="43" y="123"/>
                  </a:lnTo>
                  <a:lnTo>
                    <a:pt x="19" y="114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01" name="Freeform 128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2392203" y="2315760"/>
              <a:ext cx="348852" cy="123825"/>
            </a:xfrm>
            <a:custGeom>
              <a:avLst/>
              <a:gdLst>
                <a:gd name="T0" fmla="*/ 0 w 188"/>
                <a:gd name="T1" fmla="*/ 2147483647 h 158"/>
                <a:gd name="T2" fmla="*/ 2147483647 w 188"/>
                <a:gd name="T3" fmla="*/ 2147483647 h 158"/>
                <a:gd name="T4" fmla="*/ 2147483647 w 188"/>
                <a:gd name="T5" fmla="*/ 2147483647 h 158"/>
                <a:gd name="T6" fmla="*/ 2147483647 w 188"/>
                <a:gd name="T7" fmla="*/ 2147483647 h 158"/>
                <a:gd name="T8" fmla="*/ 2147483647 w 188"/>
                <a:gd name="T9" fmla="*/ 2147483647 h 158"/>
                <a:gd name="T10" fmla="*/ 2147483647 w 188"/>
                <a:gd name="T11" fmla="*/ 2147483647 h 158"/>
                <a:gd name="T12" fmla="*/ 2147483647 w 188"/>
                <a:gd name="T13" fmla="*/ 2147483647 h 158"/>
                <a:gd name="T14" fmla="*/ 2147483647 w 188"/>
                <a:gd name="T15" fmla="*/ 2147483647 h 158"/>
                <a:gd name="T16" fmla="*/ 2147483647 w 188"/>
                <a:gd name="T17" fmla="*/ 2147483647 h 158"/>
                <a:gd name="T18" fmla="*/ 2147483647 w 188"/>
                <a:gd name="T19" fmla="*/ 2147483647 h 158"/>
                <a:gd name="T20" fmla="*/ 2147483647 w 188"/>
                <a:gd name="T21" fmla="*/ 2147483647 h 158"/>
                <a:gd name="T22" fmla="*/ 2147483647 w 188"/>
                <a:gd name="T23" fmla="*/ 2147483647 h 158"/>
                <a:gd name="T24" fmla="*/ 2147483647 w 188"/>
                <a:gd name="T25" fmla="*/ 2147483647 h 158"/>
                <a:gd name="T26" fmla="*/ 2147483647 w 188"/>
                <a:gd name="T27" fmla="*/ 2147483647 h 158"/>
                <a:gd name="T28" fmla="*/ 2147483647 w 188"/>
                <a:gd name="T29" fmla="*/ 2147483647 h 158"/>
                <a:gd name="T30" fmla="*/ 2147483647 w 188"/>
                <a:gd name="T31" fmla="*/ 2147483647 h 158"/>
                <a:gd name="T32" fmla="*/ 2147483647 w 188"/>
                <a:gd name="T33" fmla="*/ 0 h 158"/>
                <a:gd name="T34" fmla="*/ 2147483647 w 188"/>
                <a:gd name="T35" fmla="*/ 2147483647 h 158"/>
                <a:gd name="T36" fmla="*/ 2147483647 w 188"/>
                <a:gd name="T37" fmla="*/ 2147483647 h 158"/>
                <a:gd name="T38" fmla="*/ 2147483647 w 188"/>
                <a:gd name="T39" fmla="*/ 2147483647 h 158"/>
                <a:gd name="T40" fmla="*/ 2147483647 w 188"/>
                <a:gd name="T41" fmla="*/ 2147483647 h 158"/>
                <a:gd name="T42" fmla="*/ 2147483647 w 188"/>
                <a:gd name="T43" fmla="*/ 2147483647 h 158"/>
                <a:gd name="T44" fmla="*/ 2147483647 w 188"/>
                <a:gd name="T45" fmla="*/ 2147483647 h 158"/>
                <a:gd name="T46" fmla="*/ 2147483647 w 188"/>
                <a:gd name="T47" fmla="*/ 2147483647 h 158"/>
                <a:gd name="T48" fmla="*/ 2147483647 w 188"/>
                <a:gd name="T49" fmla="*/ 2147483647 h 158"/>
                <a:gd name="T50" fmla="*/ 2147483647 w 188"/>
                <a:gd name="T51" fmla="*/ 2147483647 h 158"/>
                <a:gd name="T52" fmla="*/ 2147483647 w 188"/>
                <a:gd name="T53" fmla="*/ 2147483647 h 158"/>
                <a:gd name="T54" fmla="*/ 2147483647 w 188"/>
                <a:gd name="T55" fmla="*/ 2147483647 h 158"/>
                <a:gd name="T56" fmla="*/ 2147483647 w 188"/>
                <a:gd name="T57" fmla="*/ 2147483647 h 158"/>
                <a:gd name="T58" fmla="*/ 2147483647 w 188"/>
                <a:gd name="T59" fmla="*/ 2147483647 h 158"/>
                <a:gd name="T60" fmla="*/ 2147483647 w 188"/>
                <a:gd name="T61" fmla="*/ 2147483647 h 158"/>
                <a:gd name="T62" fmla="*/ 2147483647 w 188"/>
                <a:gd name="T63" fmla="*/ 2147483647 h 158"/>
                <a:gd name="T64" fmla="*/ 2147483647 w 188"/>
                <a:gd name="T65" fmla="*/ 2147483647 h 158"/>
                <a:gd name="T66" fmla="*/ 0 w 188"/>
                <a:gd name="T67" fmla="*/ 2147483647 h 15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8" h="158">
                  <a:moveTo>
                    <a:pt x="0" y="102"/>
                  </a:moveTo>
                  <a:lnTo>
                    <a:pt x="7" y="90"/>
                  </a:lnTo>
                  <a:lnTo>
                    <a:pt x="38" y="79"/>
                  </a:lnTo>
                  <a:lnTo>
                    <a:pt x="7" y="79"/>
                  </a:lnTo>
                  <a:lnTo>
                    <a:pt x="43" y="67"/>
                  </a:lnTo>
                  <a:lnTo>
                    <a:pt x="13" y="67"/>
                  </a:lnTo>
                  <a:lnTo>
                    <a:pt x="19" y="44"/>
                  </a:lnTo>
                  <a:lnTo>
                    <a:pt x="43" y="44"/>
                  </a:lnTo>
                  <a:lnTo>
                    <a:pt x="26" y="44"/>
                  </a:lnTo>
                  <a:lnTo>
                    <a:pt x="43" y="23"/>
                  </a:lnTo>
                  <a:lnTo>
                    <a:pt x="82" y="44"/>
                  </a:lnTo>
                  <a:lnTo>
                    <a:pt x="101" y="90"/>
                  </a:lnTo>
                  <a:lnTo>
                    <a:pt x="131" y="90"/>
                  </a:lnTo>
                  <a:lnTo>
                    <a:pt x="119" y="67"/>
                  </a:lnTo>
                  <a:lnTo>
                    <a:pt x="131" y="56"/>
                  </a:lnTo>
                  <a:lnTo>
                    <a:pt x="113" y="35"/>
                  </a:lnTo>
                  <a:lnTo>
                    <a:pt x="138" y="0"/>
                  </a:lnTo>
                  <a:lnTo>
                    <a:pt x="151" y="35"/>
                  </a:lnTo>
                  <a:lnTo>
                    <a:pt x="144" y="56"/>
                  </a:lnTo>
                  <a:lnTo>
                    <a:pt x="157" y="56"/>
                  </a:lnTo>
                  <a:lnTo>
                    <a:pt x="151" y="79"/>
                  </a:lnTo>
                  <a:lnTo>
                    <a:pt x="169" y="79"/>
                  </a:lnTo>
                  <a:lnTo>
                    <a:pt x="176" y="56"/>
                  </a:lnTo>
                  <a:lnTo>
                    <a:pt x="188" y="79"/>
                  </a:lnTo>
                  <a:lnTo>
                    <a:pt x="182" y="123"/>
                  </a:lnTo>
                  <a:lnTo>
                    <a:pt x="138" y="114"/>
                  </a:lnTo>
                  <a:lnTo>
                    <a:pt x="76" y="158"/>
                  </a:lnTo>
                  <a:lnTo>
                    <a:pt x="51" y="135"/>
                  </a:lnTo>
                  <a:lnTo>
                    <a:pt x="107" y="102"/>
                  </a:lnTo>
                  <a:lnTo>
                    <a:pt x="57" y="123"/>
                  </a:lnTo>
                  <a:lnTo>
                    <a:pt x="69" y="90"/>
                  </a:lnTo>
                  <a:lnTo>
                    <a:pt x="43" y="123"/>
                  </a:lnTo>
                  <a:lnTo>
                    <a:pt x="19" y="114"/>
                  </a:lnTo>
                  <a:lnTo>
                    <a:pt x="0" y="10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02" name="Freeform 129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2392203" y="2315760"/>
              <a:ext cx="348852" cy="123825"/>
            </a:xfrm>
            <a:custGeom>
              <a:avLst/>
              <a:gdLst>
                <a:gd name="T0" fmla="*/ 0 w 188"/>
                <a:gd name="T1" fmla="*/ 2147483647 h 158"/>
                <a:gd name="T2" fmla="*/ 2147483647 w 188"/>
                <a:gd name="T3" fmla="*/ 2147483647 h 158"/>
                <a:gd name="T4" fmla="*/ 2147483647 w 188"/>
                <a:gd name="T5" fmla="*/ 2147483647 h 158"/>
                <a:gd name="T6" fmla="*/ 2147483647 w 188"/>
                <a:gd name="T7" fmla="*/ 2147483647 h 158"/>
                <a:gd name="T8" fmla="*/ 2147483647 w 188"/>
                <a:gd name="T9" fmla="*/ 2147483647 h 158"/>
                <a:gd name="T10" fmla="*/ 2147483647 w 188"/>
                <a:gd name="T11" fmla="*/ 2147483647 h 158"/>
                <a:gd name="T12" fmla="*/ 2147483647 w 188"/>
                <a:gd name="T13" fmla="*/ 2147483647 h 158"/>
                <a:gd name="T14" fmla="*/ 2147483647 w 188"/>
                <a:gd name="T15" fmla="*/ 2147483647 h 158"/>
                <a:gd name="T16" fmla="*/ 2147483647 w 188"/>
                <a:gd name="T17" fmla="*/ 2147483647 h 158"/>
                <a:gd name="T18" fmla="*/ 2147483647 w 188"/>
                <a:gd name="T19" fmla="*/ 2147483647 h 158"/>
                <a:gd name="T20" fmla="*/ 2147483647 w 188"/>
                <a:gd name="T21" fmla="*/ 2147483647 h 158"/>
                <a:gd name="T22" fmla="*/ 2147483647 w 188"/>
                <a:gd name="T23" fmla="*/ 2147483647 h 158"/>
                <a:gd name="T24" fmla="*/ 2147483647 w 188"/>
                <a:gd name="T25" fmla="*/ 2147483647 h 158"/>
                <a:gd name="T26" fmla="*/ 2147483647 w 188"/>
                <a:gd name="T27" fmla="*/ 2147483647 h 158"/>
                <a:gd name="T28" fmla="*/ 2147483647 w 188"/>
                <a:gd name="T29" fmla="*/ 2147483647 h 158"/>
                <a:gd name="T30" fmla="*/ 2147483647 w 188"/>
                <a:gd name="T31" fmla="*/ 2147483647 h 158"/>
                <a:gd name="T32" fmla="*/ 2147483647 w 188"/>
                <a:gd name="T33" fmla="*/ 0 h 158"/>
                <a:gd name="T34" fmla="*/ 2147483647 w 188"/>
                <a:gd name="T35" fmla="*/ 2147483647 h 158"/>
                <a:gd name="T36" fmla="*/ 2147483647 w 188"/>
                <a:gd name="T37" fmla="*/ 2147483647 h 158"/>
                <a:gd name="T38" fmla="*/ 2147483647 w 188"/>
                <a:gd name="T39" fmla="*/ 2147483647 h 158"/>
                <a:gd name="T40" fmla="*/ 2147483647 w 188"/>
                <a:gd name="T41" fmla="*/ 2147483647 h 158"/>
                <a:gd name="T42" fmla="*/ 2147483647 w 188"/>
                <a:gd name="T43" fmla="*/ 2147483647 h 158"/>
                <a:gd name="T44" fmla="*/ 2147483647 w 188"/>
                <a:gd name="T45" fmla="*/ 2147483647 h 158"/>
                <a:gd name="T46" fmla="*/ 2147483647 w 188"/>
                <a:gd name="T47" fmla="*/ 2147483647 h 158"/>
                <a:gd name="T48" fmla="*/ 2147483647 w 188"/>
                <a:gd name="T49" fmla="*/ 2147483647 h 158"/>
                <a:gd name="T50" fmla="*/ 2147483647 w 188"/>
                <a:gd name="T51" fmla="*/ 2147483647 h 158"/>
                <a:gd name="T52" fmla="*/ 2147483647 w 188"/>
                <a:gd name="T53" fmla="*/ 2147483647 h 158"/>
                <a:gd name="T54" fmla="*/ 2147483647 w 188"/>
                <a:gd name="T55" fmla="*/ 2147483647 h 158"/>
                <a:gd name="T56" fmla="*/ 2147483647 w 188"/>
                <a:gd name="T57" fmla="*/ 2147483647 h 158"/>
                <a:gd name="T58" fmla="*/ 2147483647 w 188"/>
                <a:gd name="T59" fmla="*/ 2147483647 h 158"/>
                <a:gd name="T60" fmla="*/ 2147483647 w 188"/>
                <a:gd name="T61" fmla="*/ 2147483647 h 158"/>
                <a:gd name="T62" fmla="*/ 2147483647 w 188"/>
                <a:gd name="T63" fmla="*/ 2147483647 h 158"/>
                <a:gd name="T64" fmla="*/ 2147483647 w 188"/>
                <a:gd name="T65" fmla="*/ 2147483647 h 158"/>
                <a:gd name="T66" fmla="*/ 0 w 188"/>
                <a:gd name="T67" fmla="*/ 2147483647 h 15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8" h="158">
                  <a:moveTo>
                    <a:pt x="0" y="102"/>
                  </a:moveTo>
                  <a:lnTo>
                    <a:pt x="7" y="90"/>
                  </a:lnTo>
                  <a:lnTo>
                    <a:pt x="38" y="79"/>
                  </a:lnTo>
                  <a:lnTo>
                    <a:pt x="7" y="79"/>
                  </a:lnTo>
                  <a:lnTo>
                    <a:pt x="43" y="67"/>
                  </a:lnTo>
                  <a:lnTo>
                    <a:pt x="13" y="67"/>
                  </a:lnTo>
                  <a:lnTo>
                    <a:pt x="19" y="44"/>
                  </a:lnTo>
                  <a:lnTo>
                    <a:pt x="43" y="44"/>
                  </a:lnTo>
                  <a:lnTo>
                    <a:pt x="26" y="44"/>
                  </a:lnTo>
                  <a:lnTo>
                    <a:pt x="43" y="23"/>
                  </a:lnTo>
                  <a:lnTo>
                    <a:pt x="82" y="44"/>
                  </a:lnTo>
                  <a:lnTo>
                    <a:pt x="101" y="90"/>
                  </a:lnTo>
                  <a:lnTo>
                    <a:pt x="131" y="90"/>
                  </a:lnTo>
                  <a:lnTo>
                    <a:pt x="119" y="67"/>
                  </a:lnTo>
                  <a:lnTo>
                    <a:pt x="131" y="56"/>
                  </a:lnTo>
                  <a:lnTo>
                    <a:pt x="113" y="35"/>
                  </a:lnTo>
                  <a:lnTo>
                    <a:pt x="138" y="0"/>
                  </a:lnTo>
                  <a:lnTo>
                    <a:pt x="151" y="35"/>
                  </a:lnTo>
                  <a:lnTo>
                    <a:pt x="144" y="56"/>
                  </a:lnTo>
                  <a:lnTo>
                    <a:pt x="157" y="56"/>
                  </a:lnTo>
                  <a:lnTo>
                    <a:pt x="151" y="79"/>
                  </a:lnTo>
                  <a:lnTo>
                    <a:pt x="169" y="79"/>
                  </a:lnTo>
                  <a:lnTo>
                    <a:pt x="176" y="56"/>
                  </a:lnTo>
                  <a:lnTo>
                    <a:pt x="188" y="79"/>
                  </a:lnTo>
                  <a:lnTo>
                    <a:pt x="182" y="123"/>
                  </a:lnTo>
                  <a:lnTo>
                    <a:pt x="138" y="114"/>
                  </a:lnTo>
                  <a:lnTo>
                    <a:pt x="76" y="158"/>
                  </a:lnTo>
                  <a:lnTo>
                    <a:pt x="51" y="135"/>
                  </a:lnTo>
                  <a:lnTo>
                    <a:pt x="107" y="102"/>
                  </a:lnTo>
                  <a:lnTo>
                    <a:pt x="57" y="123"/>
                  </a:lnTo>
                  <a:lnTo>
                    <a:pt x="69" y="90"/>
                  </a:lnTo>
                  <a:lnTo>
                    <a:pt x="43" y="123"/>
                  </a:lnTo>
                  <a:lnTo>
                    <a:pt x="19" y="114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03" name="Freeform 130"/>
            <p:cNvSpPr>
              <a:spLocks/>
            </p:cNvSpPr>
            <p:nvPr>
              <p:custDataLst>
                <p:tags r:id="rId111"/>
              </p:custDataLst>
            </p:nvPr>
          </p:nvSpPr>
          <p:spPr bwMode="auto">
            <a:xfrm>
              <a:off x="2392203" y="2315760"/>
              <a:ext cx="348852" cy="123825"/>
            </a:xfrm>
            <a:custGeom>
              <a:avLst/>
              <a:gdLst>
                <a:gd name="T0" fmla="*/ 0 w 188"/>
                <a:gd name="T1" fmla="*/ 2147483647 h 158"/>
                <a:gd name="T2" fmla="*/ 2147483647 w 188"/>
                <a:gd name="T3" fmla="*/ 2147483647 h 158"/>
                <a:gd name="T4" fmla="*/ 2147483647 w 188"/>
                <a:gd name="T5" fmla="*/ 2147483647 h 158"/>
                <a:gd name="T6" fmla="*/ 2147483647 w 188"/>
                <a:gd name="T7" fmla="*/ 2147483647 h 158"/>
                <a:gd name="T8" fmla="*/ 2147483647 w 188"/>
                <a:gd name="T9" fmla="*/ 2147483647 h 158"/>
                <a:gd name="T10" fmla="*/ 2147483647 w 188"/>
                <a:gd name="T11" fmla="*/ 2147483647 h 158"/>
                <a:gd name="T12" fmla="*/ 2147483647 w 188"/>
                <a:gd name="T13" fmla="*/ 2147483647 h 158"/>
                <a:gd name="T14" fmla="*/ 2147483647 w 188"/>
                <a:gd name="T15" fmla="*/ 2147483647 h 158"/>
                <a:gd name="T16" fmla="*/ 2147483647 w 188"/>
                <a:gd name="T17" fmla="*/ 2147483647 h 158"/>
                <a:gd name="T18" fmla="*/ 2147483647 w 188"/>
                <a:gd name="T19" fmla="*/ 2147483647 h 158"/>
                <a:gd name="T20" fmla="*/ 2147483647 w 188"/>
                <a:gd name="T21" fmla="*/ 2147483647 h 158"/>
                <a:gd name="T22" fmla="*/ 2147483647 w 188"/>
                <a:gd name="T23" fmla="*/ 2147483647 h 158"/>
                <a:gd name="T24" fmla="*/ 2147483647 w 188"/>
                <a:gd name="T25" fmla="*/ 2147483647 h 158"/>
                <a:gd name="T26" fmla="*/ 2147483647 w 188"/>
                <a:gd name="T27" fmla="*/ 2147483647 h 158"/>
                <a:gd name="T28" fmla="*/ 2147483647 w 188"/>
                <a:gd name="T29" fmla="*/ 2147483647 h 158"/>
                <a:gd name="T30" fmla="*/ 2147483647 w 188"/>
                <a:gd name="T31" fmla="*/ 2147483647 h 158"/>
                <a:gd name="T32" fmla="*/ 2147483647 w 188"/>
                <a:gd name="T33" fmla="*/ 0 h 158"/>
                <a:gd name="T34" fmla="*/ 2147483647 w 188"/>
                <a:gd name="T35" fmla="*/ 2147483647 h 158"/>
                <a:gd name="T36" fmla="*/ 2147483647 w 188"/>
                <a:gd name="T37" fmla="*/ 2147483647 h 158"/>
                <a:gd name="T38" fmla="*/ 2147483647 w 188"/>
                <a:gd name="T39" fmla="*/ 2147483647 h 158"/>
                <a:gd name="T40" fmla="*/ 2147483647 w 188"/>
                <a:gd name="T41" fmla="*/ 2147483647 h 158"/>
                <a:gd name="T42" fmla="*/ 2147483647 w 188"/>
                <a:gd name="T43" fmla="*/ 2147483647 h 158"/>
                <a:gd name="T44" fmla="*/ 2147483647 w 188"/>
                <a:gd name="T45" fmla="*/ 2147483647 h 158"/>
                <a:gd name="T46" fmla="*/ 2147483647 w 188"/>
                <a:gd name="T47" fmla="*/ 2147483647 h 158"/>
                <a:gd name="T48" fmla="*/ 2147483647 w 188"/>
                <a:gd name="T49" fmla="*/ 2147483647 h 158"/>
                <a:gd name="T50" fmla="*/ 2147483647 w 188"/>
                <a:gd name="T51" fmla="*/ 2147483647 h 158"/>
                <a:gd name="T52" fmla="*/ 2147483647 w 188"/>
                <a:gd name="T53" fmla="*/ 2147483647 h 158"/>
                <a:gd name="T54" fmla="*/ 2147483647 w 188"/>
                <a:gd name="T55" fmla="*/ 2147483647 h 158"/>
                <a:gd name="T56" fmla="*/ 2147483647 w 188"/>
                <a:gd name="T57" fmla="*/ 2147483647 h 158"/>
                <a:gd name="T58" fmla="*/ 2147483647 w 188"/>
                <a:gd name="T59" fmla="*/ 2147483647 h 158"/>
                <a:gd name="T60" fmla="*/ 2147483647 w 188"/>
                <a:gd name="T61" fmla="*/ 2147483647 h 158"/>
                <a:gd name="T62" fmla="*/ 2147483647 w 188"/>
                <a:gd name="T63" fmla="*/ 2147483647 h 158"/>
                <a:gd name="T64" fmla="*/ 2147483647 w 188"/>
                <a:gd name="T65" fmla="*/ 2147483647 h 158"/>
                <a:gd name="T66" fmla="*/ 0 w 188"/>
                <a:gd name="T67" fmla="*/ 2147483647 h 15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8" h="158">
                  <a:moveTo>
                    <a:pt x="0" y="102"/>
                  </a:moveTo>
                  <a:lnTo>
                    <a:pt x="7" y="90"/>
                  </a:lnTo>
                  <a:lnTo>
                    <a:pt x="38" y="79"/>
                  </a:lnTo>
                  <a:lnTo>
                    <a:pt x="7" y="79"/>
                  </a:lnTo>
                  <a:lnTo>
                    <a:pt x="43" y="67"/>
                  </a:lnTo>
                  <a:lnTo>
                    <a:pt x="13" y="67"/>
                  </a:lnTo>
                  <a:lnTo>
                    <a:pt x="19" y="44"/>
                  </a:lnTo>
                  <a:lnTo>
                    <a:pt x="43" y="44"/>
                  </a:lnTo>
                  <a:lnTo>
                    <a:pt x="26" y="44"/>
                  </a:lnTo>
                  <a:lnTo>
                    <a:pt x="43" y="23"/>
                  </a:lnTo>
                  <a:lnTo>
                    <a:pt x="82" y="44"/>
                  </a:lnTo>
                  <a:lnTo>
                    <a:pt x="101" y="90"/>
                  </a:lnTo>
                  <a:lnTo>
                    <a:pt x="131" y="90"/>
                  </a:lnTo>
                  <a:lnTo>
                    <a:pt x="119" y="67"/>
                  </a:lnTo>
                  <a:lnTo>
                    <a:pt x="131" y="56"/>
                  </a:lnTo>
                  <a:lnTo>
                    <a:pt x="113" y="35"/>
                  </a:lnTo>
                  <a:lnTo>
                    <a:pt x="138" y="0"/>
                  </a:lnTo>
                  <a:lnTo>
                    <a:pt x="151" y="35"/>
                  </a:lnTo>
                  <a:lnTo>
                    <a:pt x="144" y="56"/>
                  </a:lnTo>
                  <a:lnTo>
                    <a:pt x="157" y="56"/>
                  </a:lnTo>
                  <a:lnTo>
                    <a:pt x="151" y="79"/>
                  </a:lnTo>
                  <a:lnTo>
                    <a:pt x="169" y="79"/>
                  </a:lnTo>
                  <a:lnTo>
                    <a:pt x="176" y="56"/>
                  </a:lnTo>
                  <a:lnTo>
                    <a:pt x="188" y="79"/>
                  </a:lnTo>
                  <a:lnTo>
                    <a:pt x="182" y="123"/>
                  </a:lnTo>
                  <a:lnTo>
                    <a:pt x="138" y="114"/>
                  </a:lnTo>
                  <a:lnTo>
                    <a:pt x="76" y="158"/>
                  </a:lnTo>
                  <a:lnTo>
                    <a:pt x="51" y="135"/>
                  </a:lnTo>
                  <a:lnTo>
                    <a:pt x="107" y="102"/>
                  </a:lnTo>
                  <a:lnTo>
                    <a:pt x="57" y="123"/>
                  </a:lnTo>
                  <a:lnTo>
                    <a:pt x="69" y="90"/>
                  </a:lnTo>
                  <a:lnTo>
                    <a:pt x="43" y="123"/>
                  </a:lnTo>
                  <a:lnTo>
                    <a:pt x="19" y="114"/>
                  </a:lnTo>
                  <a:lnTo>
                    <a:pt x="0" y="10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04" name="Freeform 131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2741045" y="2182383"/>
              <a:ext cx="182446" cy="80962"/>
            </a:xfrm>
            <a:custGeom>
              <a:avLst/>
              <a:gdLst>
                <a:gd name="T0" fmla="*/ 0 w 99"/>
                <a:gd name="T1" fmla="*/ 0 h 102"/>
                <a:gd name="T2" fmla="*/ 2147483647 w 99"/>
                <a:gd name="T3" fmla="*/ 2147483647 h 102"/>
                <a:gd name="T4" fmla="*/ 2147483647 w 99"/>
                <a:gd name="T5" fmla="*/ 2147483647 h 102"/>
                <a:gd name="T6" fmla="*/ 2147483647 w 99"/>
                <a:gd name="T7" fmla="*/ 2147483647 h 102"/>
                <a:gd name="T8" fmla="*/ 2147483647 w 99"/>
                <a:gd name="T9" fmla="*/ 2147483647 h 102"/>
                <a:gd name="T10" fmla="*/ 2147483647 w 99"/>
                <a:gd name="T11" fmla="*/ 2147483647 h 102"/>
                <a:gd name="T12" fmla="*/ 2147483647 w 99"/>
                <a:gd name="T13" fmla="*/ 2147483647 h 102"/>
                <a:gd name="T14" fmla="*/ 2147483647 w 99"/>
                <a:gd name="T15" fmla="*/ 2147483647 h 102"/>
                <a:gd name="T16" fmla="*/ 2147483647 w 99"/>
                <a:gd name="T17" fmla="*/ 2147483647 h 102"/>
                <a:gd name="T18" fmla="*/ 2147483647 w 99"/>
                <a:gd name="T19" fmla="*/ 2147483647 h 102"/>
                <a:gd name="T20" fmla="*/ 2147483647 w 99"/>
                <a:gd name="T21" fmla="*/ 2147483647 h 102"/>
                <a:gd name="T22" fmla="*/ 2147483647 w 99"/>
                <a:gd name="T23" fmla="*/ 0 h 102"/>
                <a:gd name="T24" fmla="*/ 0 w 99"/>
                <a:gd name="T25" fmla="*/ 0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9" h="102">
                  <a:moveTo>
                    <a:pt x="0" y="0"/>
                  </a:moveTo>
                  <a:lnTo>
                    <a:pt x="12" y="35"/>
                  </a:lnTo>
                  <a:lnTo>
                    <a:pt x="38" y="35"/>
                  </a:lnTo>
                  <a:lnTo>
                    <a:pt x="25" y="44"/>
                  </a:lnTo>
                  <a:lnTo>
                    <a:pt x="30" y="58"/>
                  </a:lnTo>
                  <a:lnTo>
                    <a:pt x="12" y="67"/>
                  </a:lnTo>
                  <a:lnTo>
                    <a:pt x="43" y="79"/>
                  </a:lnTo>
                  <a:lnTo>
                    <a:pt x="99" y="102"/>
                  </a:lnTo>
                  <a:lnTo>
                    <a:pt x="93" y="44"/>
                  </a:lnTo>
                  <a:lnTo>
                    <a:pt x="56" y="12"/>
                  </a:lnTo>
                  <a:lnTo>
                    <a:pt x="43" y="23"/>
                  </a:lnTo>
                  <a:lnTo>
                    <a:pt x="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05" name="Freeform 132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2741045" y="2182383"/>
              <a:ext cx="182446" cy="80962"/>
            </a:xfrm>
            <a:custGeom>
              <a:avLst/>
              <a:gdLst>
                <a:gd name="T0" fmla="*/ 0 w 99"/>
                <a:gd name="T1" fmla="*/ 0 h 102"/>
                <a:gd name="T2" fmla="*/ 2147483647 w 99"/>
                <a:gd name="T3" fmla="*/ 2147483647 h 102"/>
                <a:gd name="T4" fmla="*/ 2147483647 w 99"/>
                <a:gd name="T5" fmla="*/ 2147483647 h 102"/>
                <a:gd name="T6" fmla="*/ 2147483647 w 99"/>
                <a:gd name="T7" fmla="*/ 2147483647 h 102"/>
                <a:gd name="T8" fmla="*/ 2147483647 w 99"/>
                <a:gd name="T9" fmla="*/ 2147483647 h 102"/>
                <a:gd name="T10" fmla="*/ 2147483647 w 99"/>
                <a:gd name="T11" fmla="*/ 2147483647 h 102"/>
                <a:gd name="T12" fmla="*/ 2147483647 w 99"/>
                <a:gd name="T13" fmla="*/ 2147483647 h 102"/>
                <a:gd name="T14" fmla="*/ 2147483647 w 99"/>
                <a:gd name="T15" fmla="*/ 2147483647 h 102"/>
                <a:gd name="T16" fmla="*/ 2147483647 w 99"/>
                <a:gd name="T17" fmla="*/ 2147483647 h 102"/>
                <a:gd name="T18" fmla="*/ 2147483647 w 99"/>
                <a:gd name="T19" fmla="*/ 2147483647 h 102"/>
                <a:gd name="T20" fmla="*/ 2147483647 w 99"/>
                <a:gd name="T21" fmla="*/ 2147483647 h 102"/>
                <a:gd name="T22" fmla="*/ 2147483647 w 99"/>
                <a:gd name="T23" fmla="*/ 0 h 102"/>
                <a:gd name="T24" fmla="*/ 0 w 99"/>
                <a:gd name="T25" fmla="*/ 0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9" h="102">
                  <a:moveTo>
                    <a:pt x="0" y="0"/>
                  </a:moveTo>
                  <a:lnTo>
                    <a:pt x="12" y="35"/>
                  </a:lnTo>
                  <a:lnTo>
                    <a:pt x="38" y="35"/>
                  </a:lnTo>
                  <a:lnTo>
                    <a:pt x="25" y="44"/>
                  </a:lnTo>
                  <a:lnTo>
                    <a:pt x="30" y="58"/>
                  </a:lnTo>
                  <a:lnTo>
                    <a:pt x="12" y="67"/>
                  </a:lnTo>
                  <a:lnTo>
                    <a:pt x="43" y="79"/>
                  </a:lnTo>
                  <a:lnTo>
                    <a:pt x="99" y="102"/>
                  </a:lnTo>
                  <a:lnTo>
                    <a:pt x="93" y="44"/>
                  </a:lnTo>
                  <a:lnTo>
                    <a:pt x="56" y="12"/>
                  </a:lnTo>
                  <a:lnTo>
                    <a:pt x="43" y="23"/>
                  </a:lnTo>
                  <a:lnTo>
                    <a:pt x="38" y="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06" name="Freeform 133"/>
            <p:cNvSpPr>
              <a:spLocks/>
            </p:cNvSpPr>
            <p:nvPr>
              <p:custDataLst>
                <p:tags r:id="rId114"/>
              </p:custDataLst>
            </p:nvPr>
          </p:nvSpPr>
          <p:spPr bwMode="auto">
            <a:xfrm>
              <a:off x="2741045" y="2182383"/>
              <a:ext cx="182446" cy="80962"/>
            </a:xfrm>
            <a:custGeom>
              <a:avLst/>
              <a:gdLst>
                <a:gd name="T0" fmla="*/ 0 w 99"/>
                <a:gd name="T1" fmla="*/ 0 h 102"/>
                <a:gd name="T2" fmla="*/ 2147483647 w 99"/>
                <a:gd name="T3" fmla="*/ 2147483647 h 102"/>
                <a:gd name="T4" fmla="*/ 2147483647 w 99"/>
                <a:gd name="T5" fmla="*/ 2147483647 h 102"/>
                <a:gd name="T6" fmla="*/ 2147483647 w 99"/>
                <a:gd name="T7" fmla="*/ 2147483647 h 102"/>
                <a:gd name="T8" fmla="*/ 2147483647 w 99"/>
                <a:gd name="T9" fmla="*/ 2147483647 h 102"/>
                <a:gd name="T10" fmla="*/ 2147483647 w 99"/>
                <a:gd name="T11" fmla="*/ 2147483647 h 102"/>
                <a:gd name="T12" fmla="*/ 2147483647 w 99"/>
                <a:gd name="T13" fmla="*/ 2147483647 h 102"/>
                <a:gd name="T14" fmla="*/ 2147483647 w 99"/>
                <a:gd name="T15" fmla="*/ 2147483647 h 102"/>
                <a:gd name="T16" fmla="*/ 2147483647 w 99"/>
                <a:gd name="T17" fmla="*/ 2147483647 h 102"/>
                <a:gd name="T18" fmla="*/ 2147483647 w 99"/>
                <a:gd name="T19" fmla="*/ 2147483647 h 102"/>
                <a:gd name="T20" fmla="*/ 2147483647 w 99"/>
                <a:gd name="T21" fmla="*/ 2147483647 h 102"/>
                <a:gd name="T22" fmla="*/ 2147483647 w 99"/>
                <a:gd name="T23" fmla="*/ 0 h 102"/>
                <a:gd name="T24" fmla="*/ 0 w 99"/>
                <a:gd name="T25" fmla="*/ 0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9" h="102">
                  <a:moveTo>
                    <a:pt x="0" y="0"/>
                  </a:moveTo>
                  <a:lnTo>
                    <a:pt x="12" y="35"/>
                  </a:lnTo>
                  <a:lnTo>
                    <a:pt x="38" y="35"/>
                  </a:lnTo>
                  <a:lnTo>
                    <a:pt x="25" y="44"/>
                  </a:lnTo>
                  <a:lnTo>
                    <a:pt x="30" y="58"/>
                  </a:lnTo>
                  <a:lnTo>
                    <a:pt x="12" y="67"/>
                  </a:lnTo>
                  <a:lnTo>
                    <a:pt x="43" y="79"/>
                  </a:lnTo>
                  <a:lnTo>
                    <a:pt x="99" y="102"/>
                  </a:lnTo>
                  <a:lnTo>
                    <a:pt x="93" y="44"/>
                  </a:lnTo>
                  <a:lnTo>
                    <a:pt x="56" y="12"/>
                  </a:lnTo>
                  <a:lnTo>
                    <a:pt x="43" y="23"/>
                  </a:lnTo>
                  <a:lnTo>
                    <a:pt x="38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07" name="Freeform 134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2741045" y="2182383"/>
              <a:ext cx="182446" cy="80962"/>
            </a:xfrm>
            <a:custGeom>
              <a:avLst/>
              <a:gdLst>
                <a:gd name="T0" fmla="*/ 0 w 99"/>
                <a:gd name="T1" fmla="*/ 0 h 102"/>
                <a:gd name="T2" fmla="*/ 2147483647 w 99"/>
                <a:gd name="T3" fmla="*/ 2147483647 h 102"/>
                <a:gd name="T4" fmla="*/ 2147483647 w 99"/>
                <a:gd name="T5" fmla="*/ 2147483647 h 102"/>
                <a:gd name="T6" fmla="*/ 2147483647 w 99"/>
                <a:gd name="T7" fmla="*/ 2147483647 h 102"/>
                <a:gd name="T8" fmla="*/ 2147483647 w 99"/>
                <a:gd name="T9" fmla="*/ 2147483647 h 102"/>
                <a:gd name="T10" fmla="*/ 2147483647 w 99"/>
                <a:gd name="T11" fmla="*/ 2147483647 h 102"/>
                <a:gd name="T12" fmla="*/ 2147483647 w 99"/>
                <a:gd name="T13" fmla="*/ 2147483647 h 102"/>
                <a:gd name="T14" fmla="*/ 2147483647 w 99"/>
                <a:gd name="T15" fmla="*/ 2147483647 h 102"/>
                <a:gd name="T16" fmla="*/ 2147483647 w 99"/>
                <a:gd name="T17" fmla="*/ 2147483647 h 102"/>
                <a:gd name="T18" fmla="*/ 2147483647 w 99"/>
                <a:gd name="T19" fmla="*/ 2147483647 h 102"/>
                <a:gd name="T20" fmla="*/ 2147483647 w 99"/>
                <a:gd name="T21" fmla="*/ 2147483647 h 102"/>
                <a:gd name="T22" fmla="*/ 2147483647 w 99"/>
                <a:gd name="T23" fmla="*/ 0 h 102"/>
                <a:gd name="T24" fmla="*/ 0 w 99"/>
                <a:gd name="T25" fmla="*/ 0 h 10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99" h="102">
                  <a:moveTo>
                    <a:pt x="0" y="0"/>
                  </a:moveTo>
                  <a:lnTo>
                    <a:pt x="12" y="35"/>
                  </a:lnTo>
                  <a:lnTo>
                    <a:pt x="38" y="35"/>
                  </a:lnTo>
                  <a:lnTo>
                    <a:pt x="25" y="44"/>
                  </a:lnTo>
                  <a:lnTo>
                    <a:pt x="30" y="58"/>
                  </a:lnTo>
                  <a:lnTo>
                    <a:pt x="12" y="67"/>
                  </a:lnTo>
                  <a:lnTo>
                    <a:pt x="43" y="79"/>
                  </a:lnTo>
                  <a:lnTo>
                    <a:pt x="99" y="102"/>
                  </a:lnTo>
                  <a:lnTo>
                    <a:pt x="93" y="44"/>
                  </a:lnTo>
                  <a:lnTo>
                    <a:pt x="56" y="12"/>
                  </a:lnTo>
                  <a:lnTo>
                    <a:pt x="43" y="23"/>
                  </a:lnTo>
                  <a:lnTo>
                    <a:pt x="38" y="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08" name="Freeform 135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2833269" y="2333223"/>
              <a:ext cx="138338" cy="79375"/>
            </a:xfrm>
            <a:custGeom>
              <a:avLst/>
              <a:gdLst>
                <a:gd name="T0" fmla="*/ 0 w 75"/>
                <a:gd name="T1" fmla="*/ 2147483647 h 100"/>
                <a:gd name="T2" fmla="*/ 2147483647 w 75"/>
                <a:gd name="T3" fmla="*/ 2147483647 h 100"/>
                <a:gd name="T4" fmla="*/ 2147483647 w 75"/>
                <a:gd name="T5" fmla="*/ 2147483647 h 100"/>
                <a:gd name="T6" fmla="*/ 2147483647 w 75"/>
                <a:gd name="T7" fmla="*/ 2147483647 h 100"/>
                <a:gd name="T8" fmla="*/ 2147483647 w 75"/>
                <a:gd name="T9" fmla="*/ 2147483647 h 100"/>
                <a:gd name="T10" fmla="*/ 2147483647 w 75"/>
                <a:gd name="T11" fmla="*/ 2147483647 h 100"/>
                <a:gd name="T12" fmla="*/ 2147483647 w 75"/>
                <a:gd name="T13" fmla="*/ 2147483647 h 100"/>
                <a:gd name="T14" fmla="*/ 2147483647 w 75"/>
                <a:gd name="T15" fmla="*/ 0 h 100"/>
                <a:gd name="T16" fmla="*/ 2147483647 w 75"/>
                <a:gd name="T17" fmla="*/ 2147483647 h 100"/>
                <a:gd name="T18" fmla="*/ 2147483647 w 75"/>
                <a:gd name="T19" fmla="*/ 2147483647 h 100"/>
                <a:gd name="T20" fmla="*/ 2147483647 w 75"/>
                <a:gd name="T21" fmla="*/ 2147483647 h 100"/>
                <a:gd name="T22" fmla="*/ 2147483647 w 75"/>
                <a:gd name="T23" fmla="*/ 2147483647 h 100"/>
                <a:gd name="T24" fmla="*/ 2147483647 w 75"/>
                <a:gd name="T25" fmla="*/ 2147483647 h 100"/>
                <a:gd name="T26" fmla="*/ 2147483647 w 75"/>
                <a:gd name="T27" fmla="*/ 2147483647 h 100"/>
                <a:gd name="T28" fmla="*/ 2147483647 w 75"/>
                <a:gd name="T29" fmla="*/ 2147483647 h 100"/>
                <a:gd name="T30" fmla="*/ 0 w 75"/>
                <a:gd name="T31" fmla="*/ 2147483647 h 1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5" h="100">
                  <a:moveTo>
                    <a:pt x="0" y="66"/>
                  </a:moveTo>
                  <a:lnTo>
                    <a:pt x="6" y="44"/>
                  </a:lnTo>
                  <a:lnTo>
                    <a:pt x="19" y="44"/>
                  </a:lnTo>
                  <a:lnTo>
                    <a:pt x="6" y="21"/>
                  </a:lnTo>
                  <a:lnTo>
                    <a:pt x="6" y="10"/>
                  </a:lnTo>
                  <a:lnTo>
                    <a:pt x="38" y="44"/>
                  </a:lnTo>
                  <a:lnTo>
                    <a:pt x="19" y="10"/>
                  </a:lnTo>
                  <a:lnTo>
                    <a:pt x="69" y="0"/>
                  </a:lnTo>
                  <a:lnTo>
                    <a:pt x="75" y="79"/>
                  </a:lnTo>
                  <a:lnTo>
                    <a:pt x="69" y="66"/>
                  </a:lnTo>
                  <a:lnTo>
                    <a:pt x="69" y="100"/>
                  </a:lnTo>
                  <a:lnTo>
                    <a:pt x="25" y="100"/>
                  </a:lnTo>
                  <a:lnTo>
                    <a:pt x="38" y="89"/>
                  </a:lnTo>
                  <a:lnTo>
                    <a:pt x="25" y="66"/>
                  </a:lnTo>
                  <a:lnTo>
                    <a:pt x="56" y="56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09" name="Freeform 136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2833269" y="2333223"/>
              <a:ext cx="138338" cy="79375"/>
            </a:xfrm>
            <a:custGeom>
              <a:avLst/>
              <a:gdLst>
                <a:gd name="T0" fmla="*/ 0 w 75"/>
                <a:gd name="T1" fmla="*/ 2147483647 h 100"/>
                <a:gd name="T2" fmla="*/ 2147483647 w 75"/>
                <a:gd name="T3" fmla="*/ 2147483647 h 100"/>
                <a:gd name="T4" fmla="*/ 2147483647 w 75"/>
                <a:gd name="T5" fmla="*/ 2147483647 h 100"/>
                <a:gd name="T6" fmla="*/ 2147483647 w 75"/>
                <a:gd name="T7" fmla="*/ 2147483647 h 100"/>
                <a:gd name="T8" fmla="*/ 2147483647 w 75"/>
                <a:gd name="T9" fmla="*/ 2147483647 h 100"/>
                <a:gd name="T10" fmla="*/ 2147483647 w 75"/>
                <a:gd name="T11" fmla="*/ 2147483647 h 100"/>
                <a:gd name="T12" fmla="*/ 2147483647 w 75"/>
                <a:gd name="T13" fmla="*/ 2147483647 h 100"/>
                <a:gd name="T14" fmla="*/ 2147483647 w 75"/>
                <a:gd name="T15" fmla="*/ 0 h 100"/>
                <a:gd name="T16" fmla="*/ 2147483647 w 75"/>
                <a:gd name="T17" fmla="*/ 2147483647 h 100"/>
                <a:gd name="T18" fmla="*/ 2147483647 w 75"/>
                <a:gd name="T19" fmla="*/ 2147483647 h 100"/>
                <a:gd name="T20" fmla="*/ 2147483647 w 75"/>
                <a:gd name="T21" fmla="*/ 2147483647 h 100"/>
                <a:gd name="T22" fmla="*/ 2147483647 w 75"/>
                <a:gd name="T23" fmla="*/ 2147483647 h 100"/>
                <a:gd name="T24" fmla="*/ 2147483647 w 75"/>
                <a:gd name="T25" fmla="*/ 2147483647 h 100"/>
                <a:gd name="T26" fmla="*/ 2147483647 w 75"/>
                <a:gd name="T27" fmla="*/ 2147483647 h 100"/>
                <a:gd name="T28" fmla="*/ 2147483647 w 75"/>
                <a:gd name="T29" fmla="*/ 2147483647 h 100"/>
                <a:gd name="T30" fmla="*/ 0 w 75"/>
                <a:gd name="T31" fmla="*/ 2147483647 h 1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5" h="100">
                  <a:moveTo>
                    <a:pt x="0" y="66"/>
                  </a:moveTo>
                  <a:lnTo>
                    <a:pt x="6" y="44"/>
                  </a:lnTo>
                  <a:lnTo>
                    <a:pt x="19" y="44"/>
                  </a:lnTo>
                  <a:lnTo>
                    <a:pt x="6" y="21"/>
                  </a:lnTo>
                  <a:lnTo>
                    <a:pt x="6" y="10"/>
                  </a:lnTo>
                  <a:lnTo>
                    <a:pt x="38" y="44"/>
                  </a:lnTo>
                  <a:lnTo>
                    <a:pt x="19" y="10"/>
                  </a:lnTo>
                  <a:lnTo>
                    <a:pt x="69" y="0"/>
                  </a:lnTo>
                  <a:lnTo>
                    <a:pt x="75" y="79"/>
                  </a:lnTo>
                  <a:lnTo>
                    <a:pt x="69" y="66"/>
                  </a:lnTo>
                  <a:lnTo>
                    <a:pt x="69" y="100"/>
                  </a:lnTo>
                  <a:lnTo>
                    <a:pt x="25" y="100"/>
                  </a:lnTo>
                  <a:lnTo>
                    <a:pt x="38" y="89"/>
                  </a:lnTo>
                  <a:lnTo>
                    <a:pt x="25" y="66"/>
                  </a:lnTo>
                  <a:lnTo>
                    <a:pt x="56" y="56"/>
                  </a:lnTo>
                  <a:lnTo>
                    <a:pt x="0" y="6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10" name="Freeform 137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2833269" y="2333223"/>
              <a:ext cx="138338" cy="79375"/>
            </a:xfrm>
            <a:custGeom>
              <a:avLst/>
              <a:gdLst>
                <a:gd name="T0" fmla="*/ 0 w 75"/>
                <a:gd name="T1" fmla="*/ 2147483647 h 100"/>
                <a:gd name="T2" fmla="*/ 2147483647 w 75"/>
                <a:gd name="T3" fmla="*/ 2147483647 h 100"/>
                <a:gd name="T4" fmla="*/ 2147483647 w 75"/>
                <a:gd name="T5" fmla="*/ 2147483647 h 100"/>
                <a:gd name="T6" fmla="*/ 2147483647 w 75"/>
                <a:gd name="T7" fmla="*/ 2147483647 h 100"/>
                <a:gd name="T8" fmla="*/ 2147483647 w 75"/>
                <a:gd name="T9" fmla="*/ 2147483647 h 100"/>
                <a:gd name="T10" fmla="*/ 2147483647 w 75"/>
                <a:gd name="T11" fmla="*/ 2147483647 h 100"/>
                <a:gd name="T12" fmla="*/ 2147483647 w 75"/>
                <a:gd name="T13" fmla="*/ 2147483647 h 100"/>
                <a:gd name="T14" fmla="*/ 2147483647 w 75"/>
                <a:gd name="T15" fmla="*/ 0 h 100"/>
                <a:gd name="T16" fmla="*/ 2147483647 w 75"/>
                <a:gd name="T17" fmla="*/ 2147483647 h 100"/>
                <a:gd name="T18" fmla="*/ 2147483647 w 75"/>
                <a:gd name="T19" fmla="*/ 2147483647 h 100"/>
                <a:gd name="T20" fmla="*/ 2147483647 w 75"/>
                <a:gd name="T21" fmla="*/ 2147483647 h 100"/>
                <a:gd name="T22" fmla="*/ 2147483647 w 75"/>
                <a:gd name="T23" fmla="*/ 2147483647 h 100"/>
                <a:gd name="T24" fmla="*/ 2147483647 w 75"/>
                <a:gd name="T25" fmla="*/ 2147483647 h 100"/>
                <a:gd name="T26" fmla="*/ 2147483647 w 75"/>
                <a:gd name="T27" fmla="*/ 2147483647 h 100"/>
                <a:gd name="T28" fmla="*/ 2147483647 w 75"/>
                <a:gd name="T29" fmla="*/ 2147483647 h 100"/>
                <a:gd name="T30" fmla="*/ 0 w 75"/>
                <a:gd name="T31" fmla="*/ 2147483647 h 1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5" h="100">
                  <a:moveTo>
                    <a:pt x="0" y="66"/>
                  </a:moveTo>
                  <a:lnTo>
                    <a:pt x="6" y="44"/>
                  </a:lnTo>
                  <a:lnTo>
                    <a:pt x="19" y="44"/>
                  </a:lnTo>
                  <a:lnTo>
                    <a:pt x="6" y="21"/>
                  </a:lnTo>
                  <a:lnTo>
                    <a:pt x="6" y="10"/>
                  </a:lnTo>
                  <a:lnTo>
                    <a:pt x="38" y="44"/>
                  </a:lnTo>
                  <a:lnTo>
                    <a:pt x="19" y="10"/>
                  </a:lnTo>
                  <a:lnTo>
                    <a:pt x="69" y="0"/>
                  </a:lnTo>
                  <a:lnTo>
                    <a:pt x="75" y="79"/>
                  </a:lnTo>
                  <a:lnTo>
                    <a:pt x="69" y="66"/>
                  </a:lnTo>
                  <a:lnTo>
                    <a:pt x="69" y="100"/>
                  </a:lnTo>
                  <a:lnTo>
                    <a:pt x="25" y="100"/>
                  </a:lnTo>
                  <a:lnTo>
                    <a:pt x="38" y="89"/>
                  </a:lnTo>
                  <a:lnTo>
                    <a:pt x="25" y="66"/>
                  </a:lnTo>
                  <a:lnTo>
                    <a:pt x="56" y="56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11" name="Freeform 138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2833269" y="2333223"/>
              <a:ext cx="138338" cy="79375"/>
            </a:xfrm>
            <a:custGeom>
              <a:avLst/>
              <a:gdLst>
                <a:gd name="T0" fmla="*/ 0 w 75"/>
                <a:gd name="T1" fmla="*/ 2147483647 h 100"/>
                <a:gd name="T2" fmla="*/ 2147483647 w 75"/>
                <a:gd name="T3" fmla="*/ 2147483647 h 100"/>
                <a:gd name="T4" fmla="*/ 2147483647 w 75"/>
                <a:gd name="T5" fmla="*/ 2147483647 h 100"/>
                <a:gd name="T6" fmla="*/ 2147483647 w 75"/>
                <a:gd name="T7" fmla="*/ 2147483647 h 100"/>
                <a:gd name="T8" fmla="*/ 2147483647 w 75"/>
                <a:gd name="T9" fmla="*/ 2147483647 h 100"/>
                <a:gd name="T10" fmla="*/ 2147483647 w 75"/>
                <a:gd name="T11" fmla="*/ 2147483647 h 100"/>
                <a:gd name="T12" fmla="*/ 2147483647 w 75"/>
                <a:gd name="T13" fmla="*/ 2147483647 h 100"/>
                <a:gd name="T14" fmla="*/ 2147483647 w 75"/>
                <a:gd name="T15" fmla="*/ 0 h 100"/>
                <a:gd name="T16" fmla="*/ 2147483647 w 75"/>
                <a:gd name="T17" fmla="*/ 2147483647 h 100"/>
                <a:gd name="T18" fmla="*/ 2147483647 w 75"/>
                <a:gd name="T19" fmla="*/ 2147483647 h 100"/>
                <a:gd name="T20" fmla="*/ 2147483647 w 75"/>
                <a:gd name="T21" fmla="*/ 2147483647 h 100"/>
                <a:gd name="T22" fmla="*/ 2147483647 w 75"/>
                <a:gd name="T23" fmla="*/ 2147483647 h 100"/>
                <a:gd name="T24" fmla="*/ 2147483647 w 75"/>
                <a:gd name="T25" fmla="*/ 2147483647 h 100"/>
                <a:gd name="T26" fmla="*/ 2147483647 w 75"/>
                <a:gd name="T27" fmla="*/ 2147483647 h 100"/>
                <a:gd name="T28" fmla="*/ 2147483647 w 75"/>
                <a:gd name="T29" fmla="*/ 2147483647 h 100"/>
                <a:gd name="T30" fmla="*/ 0 w 75"/>
                <a:gd name="T31" fmla="*/ 2147483647 h 10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75" h="100">
                  <a:moveTo>
                    <a:pt x="0" y="66"/>
                  </a:moveTo>
                  <a:lnTo>
                    <a:pt x="6" y="44"/>
                  </a:lnTo>
                  <a:lnTo>
                    <a:pt x="19" y="44"/>
                  </a:lnTo>
                  <a:lnTo>
                    <a:pt x="6" y="21"/>
                  </a:lnTo>
                  <a:lnTo>
                    <a:pt x="6" y="10"/>
                  </a:lnTo>
                  <a:lnTo>
                    <a:pt x="38" y="44"/>
                  </a:lnTo>
                  <a:lnTo>
                    <a:pt x="19" y="10"/>
                  </a:lnTo>
                  <a:lnTo>
                    <a:pt x="69" y="0"/>
                  </a:lnTo>
                  <a:lnTo>
                    <a:pt x="75" y="79"/>
                  </a:lnTo>
                  <a:lnTo>
                    <a:pt x="69" y="66"/>
                  </a:lnTo>
                  <a:lnTo>
                    <a:pt x="69" y="100"/>
                  </a:lnTo>
                  <a:lnTo>
                    <a:pt x="25" y="100"/>
                  </a:lnTo>
                  <a:lnTo>
                    <a:pt x="38" y="89"/>
                  </a:lnTo>
                  <a:lnTo>
                    <a:pt x="25" y="66"/>
                  </a:lnTo>
                  <a:lnTo>
                    <a:pt x="56" y="56"/>
                  </a:lnTo>
                  <a:lnTo>
                    <a:pt x="0" y="6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12" name="Freeform 139"/>
            <p:cNvSpPr>
              <a:spLocks/>
            </p:cNvSpPr>
            <p:nvPr>
              <p:custDataLst>
                <p:tags r:id="rId120"/>
              </p:custDataLst>
            </p:nvPr>
          </p:nvSpPr>
          <p:spPr bwMode="auto">
            <a:xfrm>
              <a:off x="2833272" y="2466545"/>
              <a:ext cx="174427" cy="122238"/>
            </a:xfrm>
            <a:custGeom>
              <a:avLst/>
              <a:gdLst>
                <a:gd name="T0" fmla="*/ 0 w 94"/>
                <a:gd name="T1" fmla="*/ 2147483647 h 156"/>
                <a:gd name="T2" fmla="*/ 2147483647 w 94"/>
                <a:gd name="T3" fmla="*/ 2147483647 h 156"/>
                <a:gd name="T4" fmla="*/ 2147483647 w 94"/>
                <a:gd name="T5" fmla="*/ 2147483647 h 156"/>
                <a:gd name="T6" fmla="*/ 2147483647 w 94"/>
                <a:gd name="T7" fmla="*/ 2147483647 h 156"/>
                <a:gd name="T8" fmla="*/ 2147483647 w 94"/>
                <a:gd name="T9" fmla="*/ 2147483647 h 156"/>
                <a:gd name="T10" fmla="*/ 2147483647 w 94"/>
                <a:gd name="T11" fmla="*/ 2147483647 h 156"/>
                <a:gd name="T12" fmla="*/ 2147483647 w 94"/>
                <a:gd name="T13" fmla="*/ 2147483647 h 156"/>
                <a:gd name="T14" fmla="*/ 2147483647 w 94"/>
                <a:gd name="T15" fmla="*/ 2147483647 h 156"/>
                <a:gd name="T16" fmla="*/ 2147483647 w 94"/>
                <a:gd name="T17" fmla="*/ 0 h 156"/>
                <a:gd name="T18" fmla="*/ 2147483647 w 94"/>
                <a:gd name="T19" fmla="*/ 2147483647 h 156"/>
                <a:gd name="T20" fmla="*/ 2147483647 w 94"/>
                <a:gd name="T21" fmla="*/ 2147483647 h 156"/>
                <a:gd name="T22" fmla="*/ 2147483647 w 94"/>
                <a:gd name="T23" fmla="*/ 2147483647 h 156"/>
                <a:gd name="T24" fmla="*/ 2147483647 w 94"/>
                <a:gd name="T25" fmla="*/ 2147483647 h 156"/>
                <a:gd name="T26" fmla="*/ 2147483647 w 94"/>
                <a:gd name="T27" fmla="*/ 2147483647 h 156"/>
                <a:gd name="T28" fmla="*/ 2147483647 w 94"/>
                <a:gd name="T29" fmla="*/ 2147483647 h 156"/>
                <a:gd name="T30" fmla="*/ 0 w 94"/>
                <a:gd name="T31" fmla="*/ 2147483647 h 1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4" h="156">
                  <a:moveTo>
                    <a:pt x="0" y="77"/>
                  </a:moveTo>
                  <a:lnTo>
                    <a:pt x="6" y="66"/>
                  </a:lnTo>
                  <a:lnTo>
                    <a:pt x="38" y="77"/>
                  </a:lnTo>
                  <a:lnTo>
                    <a:pt x="30" y="45"/>
                  </a:lnTo>
                  <a:lnTo>
                    <a:pt x="38" y="56"/>
                  </a:lnTo>
                  <a:lnTo>
                    <a:pt x="19" y="33"/>
                  </a:lnTo>
                  <a:lnTo>
                    <a:pt x="25" y="33"/>
                  </a:lnTo>
                  <a:lnTo>
                    <a:pt x="19" y="21"/>
                  </a:lnTo>
                  <a:lnTo>
                    <a:pt x="75" y="0"/>
                  </a:lnTo>
                  <a:lnTo>
                    <a:pt x="80" y="45"/>
                  </a:lnTo>
                  <a:lnTo>
                    <a:pt x="62" y="66"/>
                  </a:lnTo>
                  <a:lnTo>
                    <a:pt x="88" y="77"/>
                  </a:lnTo>
                  <a:lnTo>
                    <a:pt x="94" y="135"/>
                  </a:lnTo>
                  <a:lnTo>
                    <a:pt x="49" y="156"/>
                  </a:lnTo>
                  <a:lnTo>
                    <a:pt x="38" y="121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13" name="Freeform 140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2833272" y="2466545"/>
              <a:ext cx="174427" cy="122238"/>
            </a:xfrm>
            <a:custGeom>
              <a:avLst/>
              <a:gdLst>
                <a:gd name="T0" fmla="*/ 0 w 94"/>
                <a:gd name="T1" fmla="*/ 2147483647 h 156"/>
                <a:gd name="T2" fmla="*/ 2147483647 w 94"/>
                <a:gd name="T3" fmla="*/ 2147483647 h 156"/>
                <a:gd name="T4" fmla="*/ 2147483647 w 94"/>
                <a:gd name="T5" fmla="*/ 2147483647 h 156"/>
                <a:gd name="T6" fmla="*/ 2147483647 w 94"/>
                <a:gd name="T7" fmla="*/ 2147483647 h 156"/>
                <a:gd name="T8" fmla="*/ 2147483647 w 94"/>
                <a:gd name="T9" fmla="*/ 2147483647 h 156"/>
                <a:gd name="T10" fmla="*/ 2147483647 w 94"/>
                <a:gd name="T11" fmla="*/ 2147483647 h 156"/>
                <a:gd name="T12" fmla="*/ 2147483647 w 94"/>
                <a:gd name="T13" fmla="*/ 2147483647 h 156"/>
                <a:gd name="T14" fmla="*/ 2147483647 w 94"/>
                <a:gd name="T15" fmla="*/ 2147483647 h 156"/>
                <a:gd name="T16" fmla="*/ 2147483647 w 94"/>
                <a:gd name="T17" fmla="*/ 0 h 156"/>
                <a:gd name="T18" fmla="*/ 2147483647 w 94"/>
                <a:gd name="T19" fmla="*/ 2147483647 h 156"/>
                <a:gd name="T20" fmla="*/ 2147483647 w 94"/>
                <a:gd name="T21" fmla="*/ 2147483647 h 156"/>
                <a:gd name="T22" fmla="*/ 2147483647 w 94"/>
                <a:gd name="T23" fmla="*/ 2147483647 h 156"/>
                <a:gd name="T24" fmla="*/ 2147483647 w 94"/>
                <a:gd name="T25" fmla="*/ 2147483647 h 156"/>
                <a:gd name="T26" fmla="*/ 2147483647 w 94"/>
                <a:gd name="T27" fmla="*/ 2147483647 h 156"/>
                <a:gd name="T28" fmla="*/ 2147483647 w 94"/>
                <a:gd name="T29" fmla="*/ 2147483647 h 156"/>
                <a:gd name="T30" fmla="*/ 0 w 94"/>
                <a:gd name="T31" fmla="*/ 2147483647 h 1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4" h="156">
                  <a:moveTo>
                    <a:pt x="0" y="77"/>
                  </a:moveTo>
                  <a:lnTo>
                    <a:pt x="6" y="66"/>
                  </a:lnTo>
                  <a:lnTo>
                    <a:pt x="38" y="77"/>
                  </a:lnTo>
                  <a:lnTo>
                    <a:pt x="30" y="45"/>
                  </a:lnTo>
                  <a:lnTo>
                    <a:pt x="38" y="56"/>
                  </a:lnTo>
                  <a:lnTo>
                    <a:pt x="19" y="33"/>
                  </a:lnTo>
                  <a:lnTo>
                    <a:pt x="25" y="33"/>
                  </a:lnTo>
                  <a:lnTo>
                    <a:pt x="19" y="21"/>
                  </a:lnTo>
                  <a:lnTo>
                    <a:pt x="75" y="0"/>
                  </a:lnTo>
                  <a:lnTo>
                    <a:pt x="80" y="45"/>
                  </a:lnTo>
                  <a:lnTo>
                    <a:pt x="62" y="66"/>
                  </a:lnTo>
                  <a:lnTo>
                    <a:pt x="88" y="77"/>
                  </a:lnTo>
                  <a:lnTo>
                    <a:pt x="94" y="135"/>
                  </a:lnTo>
                  <a:lnTo>
                    <a:pt x="49" y="156"/>
                  </a:lnTo>
                  <a:lnTo>
                    <a:pt x="38" y="121"/>
                  </a:lnTo>
                  <a:lnTo>
                    <a:pt x="0" y="7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14" name="Freeform 141"/>
            <p:cNvSpPr>
              <a:spLocks/>
            </p:cNvSpPr>
            <p:nvPr>
              <p:custDataLst>
                <p:tags r:id="rId122"/>
              </p:custDataLst>
            </p:nvPr>
          </p:nvSpPr>
          <p:spPr bwMode="auto">
            <a:xfrm>
              <a:off x="2833272" y="2466545"/>
              <a:ext cx="174427" cy="122238"/>
            </a:xfrm>
            <a:custGeom>
              <a:avLst/>
              <a:gdLst>
                <a:gd name="T0" fmla="*/ 0 w 94"/>
                <a:gd name="T1" fmla="*/ 2147483647 h 156"/>
                <a:gd name="T2" fmla="*/ 2147483647 w 94"/>
                <a:gd name="T3" fmla="*/ 2147483647 h 156"/>
                <a:gd name="T4" fmla="*/ 2147483647 w 94"/>
                <a:gd name="T5" fmla="*/ 2147483647 h 156"/>
                <a:gd name="T6" fmla="*/ 2147483647 w 94"/>
                <a:gd name="T7" fmla="*/ 2147483647 h 156"/>
                <a:gd name="T8" fmla="*/ 2147483647 w 94"/>
                <a:gd name="T9" fmla="*/ 2147483647 h 156"/>
                <a:gd name="T10" fmla="*/ 2147483647 w 94"/>
                <a:gd name="T11" fmla="*/ 2147483647 h 156"/>
                <a:gd name="T12" fmla="*/ 2147483647 w 94"/>
                <a:gd name="T13" fmla="*/ 2147483647 h 156"/>
                <a:gd name="T14" fmla="*/ 2147483647 w 94"/>
                <a:gd name="T15" fmla="*/ 2147483647 h 156"/>
                <a:gd name="T16" fmla="*/ 2147483647 w 94"/>
                <a:gd name="T17" fmla="*/ 0 h 156"/>
                <a:gd name="T18" fmla="*/ 2147483647 w 94"/>
                <a:gd name="T19" fmla="*/ 2147483647 h 156"/>
                <a:gd name="T20" fmla="*/ 2147483647 w 94"/>
                <a:gd name="T21" fmla="*/ 2147483647 h 156"/>
                <a:gd name="T22" fmla="*/ 2147483647 w 94"/>
                <a:gd name="T23" fmla="*/ 2147483647 h 156"/>
                <a:gd name="T24" fmla="*/ 2147483647 w 94"/>
                <a:gd name="T25" fmla="*/ 2147483647 h 156"/>
                <a:gd name="T26" fmla="*/ 2147483647 w 94"/>
                <a:gd name="T27" fmla="*/ 2147483647 h 156"/>
                <a:gd name="T28" fmla="*/ 2147483647 w 94"/>
                <a:gd name="T29" fmla="*/ 2147483647 h 156"/>
                <a:gd name="T30" fmla="*/ 0 w 94"/>
                <a:gd name="T31" fmla="*/ 2147483647 h 1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4" h="156">
                  <a:moveTo>
                    <a:pt x="0" y="77"/>
                  </a:moveTo>
                  <a:lnTo>
                    <a:pt x="6" y="66"/>
                  </a:lnTo>
                  <a:lnTo>
                    <a:pt x="38" y="77"/>
                  </a:lnTo>
                  <a:lnTo>
                    <a:pt x="30" y="45"/>
                  </a:lnTo>
                  <a:lnTo>
                    <a:pt x="38" y="56"/>
                  </a:lnTo>
                  <a:lnTo>
                    <a:pt x="19" y="33"/>
                  </a:lnTo>
                  <a:lnTo>
                    <a:pt x="25" y="33"/>
                  </a:lnTo>
                  <a:lnTo>
                    <a:pt x="19" y="21"/>
                  </a:lnTo>
                  <a:lnTo>
                    <a:pt x="75" y="0"/>
                  </a:lnTo>
                  <a:lnTo>
                    <a:pt x="80" y="45"/>
                  </a:lnTo>
                  <a:lnTo>
                    <a:pt x="62" y="66"/>
                  </a:lnTo>
                  <a:lnTo>
                    <a:pt x="88" y="77"/>
                  </a:lnTo>
                  <a:lnTo>
                    <a:pt x="94" y="135"/>
                  </a:lnTo>
                  <a:lnTo>
                    <a:pt x="49" y="156"/>
                  </a:lnTo>
                  <a:lnTo>
                    <a:pt x="38" y="121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15" name="Freeform 142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2833272" y="2466545"/>
              <a:ext cx="174427" cy="122238"/>
            </a:xfrm>
            <a:custGeom>
              <a:avLst/>
              <a:gdLst>
                <a:gd name="T0" fmla="*/ 0 w 94"/>
                <a:gd name="T1" fmla="*/ 2147483647 h 156"/>
                <a:gd name="T2" fmla="*/ 2147483647 w 94"/>
                <a:gd name="T3" fmla="*/ 2147483647 h 156"/>
                <a:gd name="T4" fmla="*/ 2147483647 w 94"/>
                <a:gd name="T5" fmla="*/ 2147483647 h 156"/>
                <a:gd name="T6" fmla="*/ 2147483647 w 94"/>
                <a:gd name="T7" fmla="*/ 2147483647 h 156"/>
                <a:gd name="T8" fmla="*/ 2147483647 w 94"/>
                <a:gd name="T9" fmla="*/ 2147483647 h 156"/>
                <a:gd name="T10" fmla="*/ 2147483647 w 94"/>
                <a:gd name="T11" fmla="*/ 2147483647 h 156"/>
                <a:gd name="T12" fmla="*/ 2147483647 w 94"/>
                <a:gd name="T13" fmla="*/ 2147483647 h 156"/>
                <a:gd name="T14" fmla="*/ 2147483647 w 94"/>
                <a:gd name="T15" fmla="*/ 2147483647 h 156"/>
                <a:gd name="T16" fmla="*/ 2147483647 w 94"/>
                <a:gd name="T17" fmla="*/ 0 h 156"/>
                <a:gd name="T18" fmla="*/ 2147483647 w 94"/>
                <a:gd name="T19" fmla="*/ 2147483647 h 156"/>
                <a:gd name="T20" fmla="*/ 2147483647 w 94"/>
                <a:gd name="T21" fmla="*/ 2147483647 h 156"/>
                <a:gd name="T22" fmla="*/ 2147483647 w 94"/>
                <a:gd name="T23" fmla="*/ 2147483647 h 156"/>
                <a:gd name="T24" fmla="*/ 2147483647 w 94"/>
                <a:gd name="T25" fmla="*/ 2147483647 h 156"/>
                <a:gd name="T26" fmla="*/ 2147483647 w 94"/>
                <a:gd name="T27" fmla="*/ 2147483647 h 156"/>
                <a:gd name="T28" fmla="*/ 2147483647 w 94"/>
                <a:gd name="T29" fmla="*/ 2147483647 h 156"/>
                <a:gd name="T30" fmla="*/ 0 w 94"/>
                <a:gd name="T31" fmla="*/ 2147483647 h 15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94" h="156">
                  <a:moveTo>
                    <a:pt x="0" y="77"/>
                  </a:moveTo>
                  <a:lnTo>
                    <a:pt x="6" y="66"/>
                  </a:lnTo>
                  <a:lnTo>
                    <a:pt x="38" y="77"/>
                  </a:lnTo>
                  <a:lnTo>
                    <a:pt x="30" y="45"/>
                  </a:lnTo>
                  <a:lnTo>
                    <a:pt x="38" y="56"/>
                  </a:lnTo>
                  <a:lnTo>
                    <a:pt x="19" y="33"/>
                  </a:lnTo>
                  <a:lnTo>
                    <a:pt x="25" y="33"/>
                  </a:lnTo>
                  <a:lnTo>
                    <a:pt x="19" y="21"/>
                  </a:lnTo>
                  <a:lnTo>
                    <a:pt x="75" y="0"/>
                  </a:lnTo>
                  <a:lnTo>
                    <a:pt x="80" y="45"/>
                  </a:lnTo>
                  <a:lnTo>
                    <a:pt x="62" y="66"/>
                  </a:lnTo>
                  <a:lnTo>
                    <a:pt x="88" y="77"/>
                  </a:lnTo>
                  <a:lnTo>
                    <a:pt x="94" y="135"/>
                  </a:lnTo>
                  <a:lnTo>
                    <a:pt x="49" y="156"/>
                  </a:lnTo>
                  <a:lnTo>
                    <a:pt x="38" y="121"/>
                  </a:lnTo>
                  <a:lnTo>
                    <a:pt x="0" y="7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16" name="Freeform 143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2947551" y="2209397"/>
              <a:ext cx="104255" cy="61913"/>
            </a:xfrm>
            <a:custGeom>
              <a:avLst/>
              <a:gdLst>
                <a:gd name="T0" fmla="*/ 0 w 56"/>
                <a:gd name="T1" fmla="*/ 0 h 77"/>
                <a:gd name="T2" fmla="*/ 2147483647 w 56"/>
                <a:gd name="T3" fmla="*/ 2147483647 h 77"/>
                <a:gd name="T4" fmla="*/ 2147483647 w 56"/>
                <a:gd name="T5" fmla="*/ 2147483647 h 77"/>
                <a:gd name="T6" fmla="*/ 2147483647 w 56"/>
                <a:gd name="T7" fmla="*/ 2147483647 h 77"/>
                <a:gd name="T8" fmla="*/ 2147483647 w 56"/>
                <a:gd name="T9" fmla="*/ 2147483647 h 77"/>
                <a:gd name="T10" fmla="*/ 2147483647 w 56"/>
                <a:gd name="T11" fmla="*/ 2147483647 h 77"/>
                <a:gd name="T12" fmla="*/ 2147483647 w 56"/>
                <a:gd name="T13" fmla="*/ 2147483647 h 77"/>
                <a:gd name="T14" fmla="*/ 0 w 56"/>
                <a:gd name="T15" fmla="*/ 0 h 7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77">
                  <a:moveTo>
                    <a:pt x="0" y="0"/>
                  </a:moveTo>
                  <a:lnTo>
                    <a:pt x="7" y="44"/>
                  </a:lnTo>
                  <a:lnTo>
                    <a:pt x="26" y="44"/>
                  </a:lnTo>
                  <a:lnTo>
                    <a:pt x="13" y="53"/>
                  </a:lnTo>
                  <a:lnTo>
                    <a:pt x="18" y="77"/>
                  </a:lnTo>
                  <a:lnTo>
                    <a:pt x="50" y="67"/>
                  </a:lnTo>
                  <a:lnTo>
                    <a:pt x="56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17" name="Freeform 144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2947551" y="2209397"/>
              <a:ext cx="104255" cy="61913"/>
            </a:xfrm>
            <a:custGeom>
              <a:avLst/>
              <a:gdLst>
                <a:gd name="T0" fmla="*/ 0 w 56"/>
                <a:gd name="T1" fmla="*/ 0 h 77"/>
                <a:gd name="T2" fmla="*/ 2147483647 w 56"/>
                <a:gd name="T3" fmla="*/ 2147483647 h 77"/>
                <a:gd name="T4" fmla="*/ 2147483647 w 56"/>
                <a:gd name="T5" fmla="*/ 2147483647 h 77"/>
                <a:gd name="T6" fmla="*/ 2147483647 w 56"/>
                <a:gd name="T7" fmla="*/ 2147483647 h 77"/>
                <a:gd name="T8" fmla="*/ 2147483647 w 56"/>
                <a:gd name="T9" fmla="*/ 2147483647 h 77"/>
                <a:gd name="T10" fmla="*/ 2147483647 w 56"/>
                <a:gd name="T11" fmla="*/ 2147483647 h 77"/>
                <a:gd name="T12" fmla="*/ 2147483647 w 56"/>
                <a:gd name="T13" fmla="*/ 2147483647 h 77"/>
                <a:gd name="T14" fmla="*/ 0 w 56"/>
                <a:gd name="T15" fmla="*/ 0 h 7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77">
                  <a:moveTo>
                    <a:pt x="0" y="0"/>
                  </a:moveTo>
                  <a:lnTo>
                    <a:pt x="7" y="44"/>
                  </a:lnTo>
                  <a:lnTo>
                    <a:pt x="26" y="44"/>
                  </a:lnTo>
                  <a:lnTo>
                    <a:pt x="13" y="53"/>
                  </a:lnTo>
                  <a:lnTo>
                    <a:pt x="18" y="77"/>
                  </a:lnTo>
                  <a:lnTo>
                    <a:pt x="50" y="67"/>
                  </a:lnTo>
                  <a:lnTo>
                    <a:pt x="56" y="32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18" name="Freeform 145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2947551" y="2209397"/>
              <a:ext cx="104255" cy="61913"/>
            </a:xfrm>
            <a:custGeom>
              <a:avLst/>
              <a:gdLst>
                <a:gd name="T0" fmla="*/ 0 w 56"/>
                <a:gd name="T1" fmla="*/ 0 h 77"/>
                <a:gd name="T2" fmla="*/ 2147483647 w 56"/>
                <a:gd name="T3" fmla="*/ 2147483647 h 77"/>
                <a:gd name="T4" fmla="*/ 2147483647 w 56"/>
                <a:gd name="T5" fmla="*/ 2147483647 h 77"/>
                <a:gd name="T6" fmla="*/ 2147483647 w 56"/>
                <a:gd name="T7" fmla="*/ 2147483647 h 77"/>
                <a:gd name="T8" fmla="*/ 2147483647 w 56"/>
                <a:gd name="T9" fmla="*/ 2147483647 h 77"/>
                <a:gd name="T10" fmla="*/ 2147483647 w 56"/>
                <a:gd name="T11" fmla="*/ 2147483647 h 77"/>
                <a:gd name="T12" fmla="*/ 2147483647 w 56"/>
                <a:gd name="T13" fmla="*/ 2147483647 h 77"/>
                <a:gd name="T14" fmla="*/ 0 w 56"/>
                <a:gd name="T15" fmla="*/ 0 h 7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77">
                  <a:moveTo>
                    <a:pt x="0" y="0"/>
                  </a:moveTo>
                  <a:lnTo>
                    <a:pt x="7" y="44"/>
                  </a:lnTo>
                  <a:lnTo>
                    <a:pt x="26" y="44"/>
                  </a:lnTo>
                  <a:lnTo>
                    <a:pt x="13" y="53"/>
                  </a:lnTo>
                  <a:lnTo>
                    <a:pt x="18" y="77"/>
                  </a:lnTo>
                  <a:lnTo>
                    <a:pt x="50" y="67"/>
                  </a:lnTo>
                  <a:lnTo>
                    <a:pt x="56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19" name="Freeform 146"/>
            <p:cNvSpPr>
              <a:spLocks/>
            </p:cNvSpPr>
            <p:nvPr>
              <p:custDataLst>
                <p:tags r:id="rId127"/>
              </p:custDataLst>
            </p:nvPr>
          </p:nvSpPr>
          <p:spPr bwMode="auto">
            <a:xfrm>
              <a:off x="2947551" y="2209397"/>
              <a:ext cx="104255" cy="61913"/>
            </a:xfrm>
            <a:custGeom>
              <a:avLst/>
              <a:gdLst>
                <a:gd name="T0" fmla="*/ 0 w 56"/>
                <a:gd name="T1" fmla="*/ 0 h 77"/>
                <a:gd name="T2" fmla="*/ 2147483647 w 56"/>
                <a:gd name="T3" fmla="*/ 2147483647 h 77"/>
                <a:gd name="T4" fmla="*/ 2147483647 w 56"/>
                <a:gd name="T5" fmla="*/ 2147483647 h 77"/>
                <a:gd name="T6" fmla="*/ 2147483647 w 56"/>
                <a:gd name="T7" fmla="*/ 2147483647 h 77"/>
                <a:gd name="T8" fmla="*/ 2147483647 w 56"/>
                <a:gd name="T9" fmla="*/ 2147483647 h 77"/>
                <a:gd name="T10" fmla="*/ 2147483647 w 56"/>
                <a:gd name="T11" fmla="*/ 2147483647 h 77"/>
                <a:gd name="T12" fmla="*/ 2147483647 w 56"/>
                <a:gd name="T13" fmla="*/ 2147483647 h 77"/>
                <a:gd name="T14" fmla="*/ 0 w 56"/>
                <a:gd name="T15" fmla="*/ 0 h 7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77">
                  <a:moveTo>
                    <a:pt x="0" y="0"/>
                  </a:moveTo>
                  <a:lnTo>
                    <a:pt x="7" y="44"/>
                  </a:lnTo>
                  <a:lnTo>
                    <a:pt x="26" y="44"/>
                  </a:lnTo>
                  <a:lnTo>
                    <a:pt x="13" y="53"/>
                  </a:lnTo>
                  <a:lnTo>
                    <a:pt x="18" y="77"/>
                  </a:lnTo>
                  <a:lnTo>
                    <a:pt x="50" y="67"/>
                  </a:lnTo>
                  <a:lnTo>
                    <a:pt x="56" y="32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20" name="Freeform 147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2981638" y="2307821"/>
              <a:ext cx="499220" cy="131763"/>
            </a:xfrm>
            <a:custGeom>
              <a:avLst/>
              <a:gdLst>
                <a:gd name="T0" fmla="*/ 0 w 270"/>
                <a:gd name="T1" fmla="*/ 2147483647 h 167"/>
                <a:gd name="T2" fmla="*/ 2147483647 w 270"/>
                <a:gd name="T3" fmla="*/ 0 h 167"/>
                <a:gd name="T4" fmla="*/ 2147483647 w 270"/>
                <a:gd name="T5" fmla="*/ 2147483647 h 167"/>
                <a:gd name="T6" fmla="*/ 2147483647 w 270"/>
                <a:gd name="T7" fmla="*/ 2147483647 h 167"/>
                <a:gd name="T8" fmla="*/ 2147483647 w 270"/>
                <a:gd name="T9" fmla="*/ 2147483647 h 167"/>
                <a:gd name="T10" fmla="*/ 2147483647 w 270"/>
                <a:gd name="T11" fmla="*/ 2147483647 h 167"/>
                <a:gd name="T12" fmla="*/ 2147483647 w 270"/>
                <a:gd name="T13" fmla="*/ 2147483647 h 167"/>
                <a:gd name="T14" fmla="*/ 2147483647 w 270"/>
                <a:gd name="T15" fmla="*/ 2147483647 h 167"/>
                <a:gd name="T16" fmla="*/ 2147483647 w 270"/>
                <a:gd name="T17" fmla="*/ 2147483647 h 167"/>
                <a:gd name="T18" fmla="*/ 2147483647 w 270"/>
                <a:gd name="T19" fmla="*/ 2147483647 h 167"/>
                <a:gd name="T20" fmla="*/ 2147483647 w 270"/>
                <a:gd name="T21" fmla="*/ 2147483647 h 167"/>
                <a:gd name="T22" fmla="*/ 2147483647 w 270"/>
                <a:gd name="T23" fmla="*/ 2147483647 h 167"/>
                <a:gd name="T24" fmla="*/ 2147483647 w 270"/>
                <a:gd name="T25" fmla="*/ 2147483647 h 167"/>
                <a:gd name="T26" fmla="*/ 2147483647 w 270"/>
                <a:gd name="T27" fmla="*/ 2147483647 h 167"/>
                <a:gd name="T28" fmla="*/ 2147483647 w 270"/>
                <a:gd name="T29" fmla="*/ 2147483647 h 167"/>
                <a:gd name="T30" fmla="*/ 2147483647 w 270"/>
                <a:gd name="T31" fmla="*/ 2147483647 h 167"/>
                <a:gd name="T32" fmla="*/ 2147483647 w 270"/>
                <a:gd name="T33" fmla="*/ 2147483647 h 167"/>
                <a:gd name="T34" fmla="*/ 2147483647 w 270"/>
                <a:gd name="T35" fmla="*/ 2147483647 h 167"/>
                <a:gd name="T36" fmla="*/ 2147483647 w 270"/>
                <a:gd name="T37" fmla="*/ 2147483647 h 167"/>
                <a:gd name="T38" fmla="*/ 2147483647 w 270"/>
                <a:gd name="T39" fmla="*/ 2147483647 h 167"/>
                <a:gd name="T40" fmla="*/ 2147483647 w 270"/>
                <a:gd name="T41" fmla="*/ 2147483647 h 167"/>
                <a:gd name="T42" fmla="*/ 2147483647 w 270"/>
                <a:gd name="T43" fmla="*/ 2147483647 h 167"/>
                <a:gd name="T44" fmla="*/ 2147483647 w 270"/>
                <a:gd name="T45" fmla="*/ 2147483647 h 167"/>
                <a:gd name="T46" fmla="*/ 2147483647 w 270"/>
                <a:gd name="T47" fmla="*/ 2147483647 h 167"/>
                <a:gd name="T48" fmla="*/ 2147483647 w 270"/>
                <a:gd name="T49" fmla="*/ 2147483647 h 167"/>
                <a:gd name="T50" fmla="*/ 2147483647 w 270"/>
                <a:gd name="T51" fmla="*/ 2147483647 h 167"/>
                <a:gd name="T52" fmla="*/ 2147483647 w 270"/>
                <a:gd name="T53" fmla="*/ 2147483647 h 167"/>
                <a:gd name="T54" fmla="*/ 2147483647 w 270"/>
                <a:gd name="T55" fmla="*/ 2147483647 h 167"/>
                <a:gd name="T56" fmla="*/ 2147483647 w 270"/>
                <a:gd name="T57" fmla="*/ 2147483647 h 167"/>
                <a:gd name="T58" fmla="*/ 2147483647 w 270"/>
                <a:gd name="T59" fmla="*/ 2147483647 h 167"/>
                <a:gd name="T60" fmla="*/ 2147483647 w 270"/>
                <a:gd name="T61" fmla="*/ 2147483647 h 167"/>
                <a:gd name="T62" fmla="*/ 0 w 270"/>
                <a:gd name="T63" fmla="*/ 2147483647 h 1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70" h="167">
                  <a:moveTo>
                    <a:pt x="0" y="21"/>
                  </a:moveTo>
                  <a:lnTo>
                    <a:pt x="19" y="0"/>
                  </a:lnTo>
                  <a:lnTo>
                    <a:pt x="45" y="11"/>
                  </a:lnTo>
                  <a:lnTo>
                    <a:pt x="57" y="21"/>
                  </a:lnTo>
                  <a:lnTo>
                    <a:pt x="50" y="44"/>
                  </a:lnTo>
                  <a:lnTo>
                    <a:pt x="83" y="21"/>
                  </a:lnTo>
                  <a:lnTo>
                    <a:pt x="107" y="44"/>
                  </a:lnTo>
                  <a:lnTo>
                    <a:pt x="88" y="44"/>
                  </a:lnTo>
                  <a:lnTo>
                    <a:pt x="119" y="55"/>
                  </a:lnTo>
                  <a:lnTo>
                    <a:pt x="83" y="65"/>
                  </a:lnTo>
                  <a:lnTo>
                    <a:pt x="107" y="78"/>
                  </a:lnTo>
                  <a:lnTo>
                    <a:pt x="88" y="88"/>
                  </a:lnTo>
                  <a:lnTo>
                    <a:pt x="107" y="78"/>
                  </a:lnTo>
                  <a:lnTo>
                    <a:pt x="126" y="111"/>
                  </a:lnTo>
                  <a:lnTo>
                    <a:pt x="133" y="99"/>
                  </a:lnTo>
                  <a:lnTo>
                    <a:pt x="176" y="111"/>
                  </a:lnTo>
                  <a:lnTo>
                    <a:pt x="233" y="78"/>
                  </a:lnTo>
                  <a:lnTo>
                    <a:pt x="270" y="123"/>
                  </a:lnTo>
                  <a:lnTo>
                    <a:pt x="258" y="132"/>
                  </a:lnTo>
                  <a:lnTo>
                    <a:pt x="264" y="167"/>
                  </a:lnTo>
                  <a:lnTo>
                    <a:pt x="239" y="167"/>
                  </a:lnTo>
                  <a:lnTo>
                    <a:pt x="213" y="144"/>
                  </a:lnTo>
                  <a:lnTo>
                    <a:pt x="213" y="167"/>
                  </a:lnTo>
                  <a:lnTo>
                    <a:pt x="194" y="167"/>
                  </a:lnTo>
                  <a:lnTo>
                    <a:pt x="138" y="167"/>
                  </a:lnTo>
                  <a:lnTo>
                    <a:pt x="133" y="144"/>
                  </a:lnTo>
                  <a:lnTo>
                    <a:pt x="114" y="167"/>
                  </a:lnTo>
                  <a:lnTo>
                    <a:pt x="95" y="144"/>
                  </a:lnTo>
                  <a:lnTo>
                    <a:pt x="83" y="155"/>
                  </a:lnTo>
                  <a:lnTo>
                    <a:pt x="64" y="44"/>
                  </a:lnTo>
                  <a:lnTo>
                    <a:pt x="32" y="55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21" name="Freeform 148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2981638" y="2307821"/>
              <a:ext cx="499220" cy="131763"/>
            </a:xfrm>
            <a:custGeom>
              <a:avLst/>
              <a:gdLst>
                <a:gd name="T0" fmla="*/ 0 w 270"/>
                <a:gd name="T1" fmla="*/ 2147483647 h 167"/>
                <a:gd name="T2" fmla="*/ 2147483647 w 270"/>
                <a:gd name="T3" fmla="*/ 0 h 167"/>
                <a:gd name="T4" fmla="*/ 2147483647 w 270"/>
                <a:gd name="T5" fmla="*/ 2147483647 h 167"/>
                <a:gd name="T6" fmla="*/ 2147483647 w 270"/>
                <a:gd name="T7" fmla="*/ 2147483647 h 167"/>
                <a:gd name="T8" fmla="*/ 2147483647 w 270"/>
                <a:gd name="T9" fmla="*/ 2147483647 h 167"/>
                <a:gd name="T10" fmla="*/ 2147483647 w 270"/>
                <a:gd name="T11" fmla="*/ 2147483647 h 167"/>
                <a:gd name="T12" fmla="*/ 2147483647 w 270"/>
                <a:gd name="T13" fmla="*/ 2147483647 h 167"/>
                <a:gd name="T14" fmla="*/ 2147483647 w 270"/>
                <a:gd name="T15" fmla="*/ 2147483647 h 167"/>
                <a:gd name="T16" fmla="*/ 2147483647 w 270"/>
                <a:gd name="T17" fmla="*/ 2147483647 h 167"/>
                <a:gd name="T18" fmla="*/ 2147483647 w 270"/>
                <a:gd name="T19" fmla="*/ 2147483647 h 167"/>
                <a:gd name="T20" fmla="*/ 2147483647 w 270"/>
                <a:gd name="T21" fmla="*/ 2147483647 h 167"/>
                <a:gd name="T22" fmla="*/ 2147483647 w 270"/>
                <a:gd name="T23" fmla="*/ 2147483647 h 167"/>
                <a:gd name="T24" fmla="*/ 2147483647 w 270"/>
                <a:gd name="T25" fmla="*/ 2147483647 h 167"/>
                <a:gd name="T26" fmla="*/ 2147483647 w 270"/>
                <a:gd name="T27" fmla="*/ 2147483647 h 167"/>
                <a:gd name="T28" fmla="*/ 2147483647 w 270"/>
                <a:gd name="T29" fmla="*/ 2147483647 h 167"/>
                <a:gd name="T30" fmla="*/ 2147483647 w 270"/>
                <a:gd name="T31" fmla="*/ 2147483647 h 167"/>
                <a:gd name="T32" fmla="*/ 2147483647 w 270"/>
                <a:gd name="T33" fmla="*/ 2147483647 h 167"/>
                <a:gd name="T34" fmla="*/ 2147483647 w 270"/>
                <a:gd name="T35" fmla="*/ 2147483647 h 167"/>
                <a:gd name="T36" fmla="*/ 2147483647 w 270"/>
                <a:gd name="T37" fmla="*/ 2147483647 h 167"/>
                <a:gd name="T38" fmla="*/ 2147483647 w 270"/>
                <a:gd name="T39" fmla="*/ 2147483647 h 167"/>
                <a:gd name="T40" fmla="*/ 2147483647 w 270"/>
                <a:gd name="T41" fmla="*/ 2147483647 h 167"/>
                <a:gd name="T42" fmla="*/ 2147483647 w 270"/>
                <a:gd name="T43" fmla="*/ 2147483647 h 167"/>
                <a:gd name="T44" fmla="*/ 2147483647 w 270"/>
                <a:gd name="T45" fmla="*/ 2147483647 h 167"/>
                <a:gd name="T46" fmla="*/ 2147483647 w 270"/>
                <a:gd name="T47" fmla="*/ 2147483647 h 167"/>
                <a:gd name="T48" fmla="*/ 2147483647 w 270"/>
                <a:gd name="T49" fmla="*/ 2147483647 h 167"/>
                <a:gd name="T50" fmla="*/ 2147483647 w 270"/>
                <a:gd name="T51" fmla="*/ 2147483647 h 167"/>
                <a:gd name="T52" fmla="*/ 2147483647 w 270"/>
                <a:gd name="T53" fmla="*/ 2147483647 h 167"/>
                <a:gd name="T54" fmla="*/ 2147483647 w 270"/>
                <a:gd name="T55" fmla="*/ 2147483647 h 167"/>
                <a:gd name="T56" fmla="*/ 2147483647 w 270"/>
                <a:gd name="T57" fmla="*/ 2147483647 h 167"/>
                <a:gd name="T58" fmla="*/ 2147483647 w 270"/>
                <a:gd name="T59" fmla="*/ 2147483647 h 167"/>
                <a:gd name="T60" fmla="*/ 2147483647 w 270"/>
                <a:gd name="T61" fmla="*/ 2147483647 h 167"/>
                <a:gd name="T62" fmla="*/ 0 w 270"/>
                <a:gd name="T63" fmla="*/ 2147483647 h 1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70" h="167">
                  <a:moveTo>
                    <a:pt x="0" y="21"/>
                  </a:moveTo>
                  <a:lnTo>
                    <a:pt x="19" y="0"/>
                  </a:lnTo>
                  <a:lnTo>
                    <a:pt x="45" y="11"/>
                  </a:lnTo>
                  <a:lnTo>
                    <a:pt x="57" y="21"/>
                  </a:lnTo>
                  <a:lnTo>
                    <a:pt x="50" y="44"/>
                  </a:lnTo>
                  <a:lnTo>
                    <a:pt x="83" y="21"/>
                  </a:lnTo>
                  <a:lnTo>
                    <a:pt x="107" y="44"/>
                  </a:lnTo>
                  <a:lnTo>
                    <a:pt x="88" y="44"/>
                  </a:lnTo>
                  <a:lnTo>
                    <a:pt x="119" y="55"/>
                  </a:lnTo>
                  <a:lnTo>
                    <a:pt x="83" y="65"/>
                  </a:lnTo>
                  <a:lnTo>
                    <a:pt x="107" y="78"/>
                  </a:lnTo>
                  <a:lnTo>
                    <a:pt x="88" y="88"/>
                  </a:lnTo>
                  <a:lnTo>
                    <a:pt x="107" y="78"/>
                  </a:lnTo>
                  <a:lnTo>
                    <a:pt x="126" y="111"/>
                  </a:lnTo>
                  <a:lnTo>
                    <a:pt x="133" y="99"/>
                  </a:lnTo>
                  <a:lnTo>
                    <a:pt x="176" y="111"/>
                  </a:lnTo>
                  <a:lnTo>
                    <a:pt x="233" y="78"/>
                  </a:lnTo>
                  <a:lnTo>
                    <a:pt x="270" y="123"/>
                  </a:lnTo>
                  <a:lnTo>
                    <a:pt x="258" y="132"/>
                  </a:lnTo>
                  <a:lnTo>
                    <a:pt x="264" y="167"/>
                  </a:lnTo>
                  <a:lnTo>
                    <a:pt x="239" y="167"/>
                  </a:lnTo>
                  <a:lnTo>
                    <a:pt x="213" y="144"/>
                  </a:lnTo>
                  <a:lnTo>
                    <a:pt x="213" y="167"/>
                  </a:lnTo>
                  <a:lnTo>
                    <a:pt x="194" y="167"/>
                  </a:lnTo>
                  <a:lnTo>
                    <a:pt x="138" y="167"/>
                  </a:lnTo>
                  <a:lnTo>
                    <a:pt x="133" y="144"/>
                  </a:lnTo>
                  <a:lnTo>
                    <a:pt x="114" y="167"/>
                  </a:lnTo>
                  <a:lnTo>
                    <a:pt x="95" y="144"/>
                  </a:lnTo>
                  <a:lnTo>
                    <a:pt x="83" y="155"/>
                  </a:lnTo>
                  <a:lnTo>
                    <a:pt x="64" y="44"/>
                  </a:lnTo>
                  <a:lnTo>
                    <a:pt x="32" y="55"/>
                  </a:lnTo>
                  <a:lnTo>
                    <a:pt x="0" y="2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22" name="Freeform 149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2981638" y="2307821"/>
              <a:ext cx="499220" cy="131763"/>
            </a:xfrm>
            <a:custGeom>
              <a:avLst/>
              <a:gdLst>
                <a:gd name="T0" fmla="*/ 0 w 270"/>
                <a:gd name="T1" fmla="*/ 2147483647 h 167"/>
                <a:gd name="T2" fmla="*/ 2147483647 w 270"/>
                <a:gd name="T3" fmla="*/ 0 h 167"/>
                <a:gd name="T4" fmla="*/ 2147483647 w 270"/>
                <a:gd name="T5" fmla="*/ 2147483647 h 167"/>
                <a:gd name="T6" fmla="*/ 2147483647 w 270"/>
                <a:gd name="T7" fmla="*/ 2147483647 h 167"/>
                <a:gd name="T8" fmla="*/ 2147483647 w 270"/>
                <a:gd name="T9" fmla="*/ 2147483647 h 167"/>
                <a:gd name="T10" fmla="*/ 2147483647 w 270"/>
                <a:gd name="T11" fmla="*/ 2147483647 h 167"/>
                <a:gd name="T12" fmla="*/ 2147483647 w 270"/>
                <a:gd name="T13" fmla="*/ 2147483647 h 167"/>
                <a:gd name="T14" fmla="*/ 2147483647 w 270"/>
                <a:gd name="T15" fmla="*/ 2147483647 h 167"/>
                <a:gd name="T16" fmla="*/ 2147483647 w 270"/>
                <a:gd name="T17" fmla="*/ 2147483647 h 167"/>
                <a:gd name="T18" fmla="*/ 2147483647 w 270"/>
                <a:gd name="T19" fmla="*/ 2147483647 h 167"/>
                <a:gd name="T20" fmla="*/ 2147483647 w 270"/>
                <a:gd name="T21" fmla="*/ 2147483647 h 167"/>
                <a:gd name="T22" fmla="*/ 2147483647 w 270"/>
                <a:gd name="T23" fmla="*/ 2147483647 h 167"/>
                <a:gd name="T24" fmla="*/ 2147483647 w 270"/>
                <a:gd name="T25" fmla="*/ 2147483647 h 167"/>
                <a:gd name="T26" fmla="*/ 2147483647 w 270"/>
                <a:gd name="T27" fmla="*/ 2147483647 h 167"/>
                <a:gd name="T28" fmla="*/ 2147483647 w 270"/>
                <a:gd name="T29" fmla="*/ 2147483647 h 167"/>
                <a:gd name="T30" fmla="*/ 2147483647 w 270"/>
                <a:gd name="T31" fmla="*/ 2147483647 h 167"/>
                <a:gd name="T32" fmla="*/ 2147483647 w 270"/>
                <a:gd name="T33" fmla="*/ 2147483647 h 167"/>
                <a:gd name="T34" fmla="*/ 2147483647 w 270"/>
                <a:gd name="T35" fmla="*/ 2147483647 h 167"/>
                <a:gd name="T36" fmla="*/ 2147483647 w 270"/>
                <a:gd name="T37" fmla="*/ 2147483647 h 167"/>
                <a:gd name="T38" fmla="*/ 2147483647 w 270"/>
                <a:gd name="T39" fmla="*/ 2147483647 h 167"/>
                <a:gd name="T40" fmla="*/ 2147483647 w 270"/>
                <a:gd name="T41" fmla="*/ 2147483647 h 167"/>
                <a:gd name="T42" fmla="*/ 2147483647 w 270"/>
                <a:gd name="T43" fmla="*/ 2147483647 h 167"/>
                <a:gd name="T44" fmla="*/ 2147483647 w 270"/>
                <a:gd name="T45" fmla="*/ 2147483647 h 167"/>
                <a:gd name="T46" fmla="*/ 2147483647 w 270"/>
                <a:gd name="T47" fmla="*/ 2147483647 h 167"/>
                <a:gd name="T48" fmla="*/ 2147483647 w 270"/>
                <a:gd name="T49" fmla="*/ 2147483647 h 167"/>
                <a:gd name="T50" fmla="*/ 2147483647 w 270"/>
                <a:gd name="T51" fmla="*/ 2147483647 h 167"/>
                <a:gd name="T52" fmla="*/ 2147483647 w 270"/>
                <a:gd name="T53" fmla="*/ 2147483647 h 167"/>
                <a:gd name="T54" fmla="*/ 2147483647 w 270"/>
                <a:gd name="T55" fmla="*/ 2147483647 h 167"/>
                <a:gd name="T56" fmla="*/ 2147483647 w 270"/>
                <a:gd name="T57" fmla="*/ 2147483647 h 167"/>
                <a:gd name="T58" fmla="*/ 2147483647 w 270"/>
                <a:gd name="T59" fmla="*/ 2147483647 h 167"/>
                <a:gd name="T60" fmla="*/ 2147483647 w 270"/>
                <a:gd name="T61" fmla="*/ 2147483647 h 167"/>
                <a:gd name="T62" fmla="*/ 0 w 270"/>
                <a:gd name="T63" fmla="*/ 2147483647 h 1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70" h="167">
                  <a:moveTo>
                    <a:pt x="0" y="21"/>
                  </a:moveTo>
                  <a:lnTo>
                    <a:pt x="19" y="0"/>
                  </a:lnTo>
                  <a:lnTo>
                    <a:pt x="45" y="11"/>
                  </a:lnTo>
                  <a:lnTo>
                    <a:pt x="57" y="21"/>
                  </a:lnTo>
                  <a:lnTo>
                    <a:pt x="50" y="44"/>
                  </a:lnTo>
                  <a:lnTo>
                    <a:pt x="83" y="21"/>
                  </a:lnTo>
                  <a:lnTo>
                    <a:pt x="107" y="44"/>
                  </a:lnTo>
                  <a:lnTo>
                    <a:pt x="88" y="44"/>
                  </a:lnTo>
                  <a:lnTo>
                    <a:pt x="119" y="55"/>
                  </a:lnTo>
                  <a:lnTo>
                    <a:pt x="83" y="65"/>
                  </a:lnTo>
                  <a:lnTo>
                    <a:pt x="107" y="78"/>
                  </a:lnTo>
                  <a:lnTo>
                    <a:pt x="88" y="88"/>
                  </a:lnTo>
                  <a:lnTo>
                    <a:pt x="107" y="78"/>
                  </a:lnTo>
                  <a:lnTo>
                    <a:pt x="126" y="111"/>
                  </a:lnTo>
                  <a:lnTo>
                    <a:pt x="133" y="99"/>
                  </a:lnTo>
                  <a:lnTo>
                    <a:pt x="176" y="111"/>
                  </a:lnTo>
                  <a:lnTo>
                    <a:pt x="233" y="78"/>
                  </a:lnTo>
                  <a:lnTo>
                    <a:pt x="270" y="123"/>
                  </a:lnTo>
                  <a:lnTo>
                    <a:pt x="258" y="132"/>
                  </a:lnTo>
                  <a:lnTo>
                    <a:pt x="264" y="167"/>
                  </a:lnTo>
                  <a:lnTo>
                    <a:pt x="239" y="167"/>
                  </a:lnTo>
                  <a:lnTo>
                    <a:pt x="213" y="144"/>
                  </a:lnTo>
                  <a:lnTo>
                    <a:pt x="213" y="167"/>
                  </a:lnTo>
                  <a:lnTo>
                    <a:pt x="194" y="167"/>
                  </a:lnTo>
                  <a:lnTo>
                    <a:pt x="138" y="167"/>
                  </a:lnTo>
                  <a:lnTo>
                    <a:pt x="133" y="144"/>
                  </a:lnTo>
                  <a:lnTo>
                    <a:pt x="114" y="167"/>
                  </a:lnTo>
                  <a:lnTo>
                    <a:pt x="95" y="144"/>
                  </a:lnTo>
                  <a:lnTo>
                    <a:pt x="83" y="155"/>
                  </a:lnTo>
                  <a:lnTo>
                    <a:pt x="64" y="44"/>
                  </a:lnTo>
                  <a:lnTo>
                    <a:pt x="32" y="55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23" name="Freeform 150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2981638" y="2307821"/>
              <a:ext cx="499220" cy="131763"/>
            </a:xfrm>
            <a:custGeom>
              <a:avLst/>
              <a:gdLst>
                <a:gd name="T0" fmla="*/ 0 w 270"/>
                <a:gd name="T1" fmla="*/ 2147483647 h 167"/>
                <a:gd name="T2" fmla="*/ 2147483647 w 270"/>
                <a:gd name="T3" fmla="*/ 0 h 167"/>
                <a:gd name="T4" fmla="*/ 2147483647 w 270"/>
                <a:gd name="T5" fmla="*/ 2147483647 h 167"/>
                <a:gd name="T6" fmla="*/ 2147483647 w 270"/>
                <a:gd name="T7" fmla="*/ 2147483647 h 167"/>
                <a:gd name="T8" fmla="*/ 2147483647 w 270"/>
                <a:gd name="T9" fmla="*/ 2147483647 h 167"/>
                <a:gd name="T10" fmla="*/ 2147483647 w 270"/>
                <a:gd name="T11" fmla="*/ 2147483647 h 167"/>
                <a:gd name="T12" fmla="*/ 2147483647 w 270"/>
                <a:gd name="T13" fmla="*/ 2147483647 h 167"/>
                <a:gd name="T14" fmla="*/ 2147483647 w 270"/>
                <a:gd name="T15" fmla="*/ 2147483647 h 167"/>
                <a:gd name="T16" fmla="*/ 2147483647 w 270"/>
                <a:gd name="T17" fmla="*/ 2147483647 h 167"/>
                <a:gd name="T18" fmla="*/ 2147483647 w 270"/>
                <a:gd name="T19" fmla="*/ 2147483647 h 167"/>
                <a:gd name="T20" fmla="*/ 2147483647 w 270"/>
                <a:gd name="T21" fmla="*/ 2147483647 h 167"/>
                <a:gd name="T22" fmla="*/ 2147483647 w 270"/>
                <a:gd name="T23" fmla="*/ 2147483647 h 167"/>
                <a:gd name="T24" fmla="*/ 2147483647 w 270"/>
                <a:gd name="T25" fmla="*/ 2147483647 h 167"/>
                <a:gd name="T26" fmla="*/ 2147483647 w 270"/>
                <a:gd name="T27" fmla="*/ 2147483647 h 167"/>
                <a:gd name="T28" fmla="*/ 2147483647 w 270"/>
                <a:gd name="T29" fmla="*/ 2147483647 h 167"/>
                <a:gd name="T30" fmla="*/ 2147483647 w 270"/>
                <a:gd name="T31" fmla="*/ 2147483647 h 167"/>
                <a:gd name="T32" fmla="*/ 2147483647 w 270"/>
                <a:gd name="T33" fmla="*/ 2147483647 h 167"/>
                <a:gd name="T34" fmla="*/ 2147483647 w 270"/>
                <a:gd name="T35" fmla="*/ 2147483647 h 167"/>
                <a:gd name="T36" fmla="*/ 2147483647 w 270"/>
                <a:gd name="T37" fmla="*/ 2147483647 h 167"/>
                <a:gd name="T38" fmla="*/ 2147483647 w 270"/>
                <a:gd name="T39" fmla="*/ 2147483647 h 167"/>
                <a:gd name="T40" fmla="*/ 2147483647 w 270"/>
                <a:gd name="T41" fmla="*/ 2147483647 h 167"/>
                <a:gd name="T42" fmla="*/ 2147483647 w 270"/>
                <a:gd name="T43" fmla="*/ 2147483647 h 167"/>
                <a:gd name="T44" fmla="*/ 2147483647 w 270"/>
                <a:gd name="T45" fmla="*/ 2147483647 h 167"/>
                <a:gd name="T46" fmla="*/ 2147483647 w 270"/>
                <a:gd name="T47" fmla="*/ 2147483647 h 167"/>
                <a:gd name="T48" fmla="*/ 2147483647 w 270"/>
                <a:gd name="T49" fmla="*/ 2147483647 h 167"/>
                <a:gd name="T50" fmla="*/ 2147483647 w 270"/>
                <a:gd name="T51" fmla="*/ 2147483647 h 167"/>
                <a:gd name="T52" fmla="*/ 2147483647 w 270"/>
                <a:gd name="T53" fmla="*/ 2147483647 h 167"/>
                <a:gd name="T54" fmla="*/ 2147483647 w 270"/>
                <a:gd name="T55" fmla="*/ 2147483647 h 167"/>
                <a:gd name="T56" fmla="*/ 2147483647 w 270"/>
                <a:gd name="T57" fmla="*/ 2147483647 h 167"/>
                <a:gd name="T58" fmla="*/ 2147483647 w 270"/>
                <a:gd name="T59" fmla="*/ 2147483647 h 167"/>
                <a:gd name="T60" fmla="*/ 2147483647 w 270"/>
                <a:gd name="T61" fmla="*/ 2147483647 h 167"/>
                <a:gd name="T62" fmla="*/ 0 w 270"/>
                <a:gd name="T63" fmla="*/ 2147483647 h 167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70" h="167">
                  <a:moveTo>
                    <a:pt x="0" y="21"/>
                  </a:moveTo>
                  <a:lnTo>
                    <a:pt x="19" y="0"/>
                  </a:lnTo>
                  <a:lnTo>
                    <a:pt x="45" y="11"/>
                  </a:lnTo>
                  <a:lnTo>
                    <a:pt x="57" y="21"/>
                  </a:lnTo>
                  <a:lnTo>
                    <a:pt x="50" y="44"/>
                  </a:lnTo>
                  <a:lnTo>
                    <a:pt x="83" y="21"/>
                  </a:lnTo>
                  <a:lnTo>
                    <a:pt x="107" y="44"/>
                  </a:lnTo>
                  <a:lnTo>
                    <a:pt x="88" y="44"/>
                  </a:lnTo>
                  <a:lnTo>
                    <a:pt x="119" y="55"/>
                  </a:lnTo>
                  <a:lnTo>
                    <a:pt x="83" y="65"/>
                  </a:lnTo>
                  <a:lnTo>
                    <a:pt x="107" y="78"/>
                  </a:lnTo>
                  <a:lnTo>
                    <a:pt x="88" y="88"/>
                  </a:lnTo>
                  <a:lnTo>
                    <a:pt x="107" y="78"/>
                  </a:lnTo>
                  <a:lnTo>
                    <a:pt x="126" y="111"/>
                  </a:lnTo>
                  <a:lnTo>
                    <a:pt x="133" y="99"/>
                  </a:lnTo>
                  <a:lnTo>
                    <a:pt x="176" y="111"/>
                  </a:lnTo>
                  <a:lnTo>
                    <a:pt x="233" y="78"/>
                  </a:lnTo>
                  <a:lnTo>
                    <a:pt x="270" y="123"/>
                  </a:lnTo>
                  <a:lnTo>
                    <a:pt x="258" y="132"/>
                  </a:lnTo>
                  <a:lnTo>
                    <a:pt x="264" y="167"/>
                  </a:lnTo>
                  <a:lnTo>
                    <a:pt x="239" y="167"/>
                  </a:lnTo>
                  <a:lnTo>
                    <a:pt x="213" y="144"/>
                  </a:lnTo>
                  <a:lnTo>
                    <a:pt x="213" y="167"/>
                  </a:lnTo>
                  <a:lnTo>
                    <a:pt x="194" y="167"/>
                  </a:lnTo>
                  <a:lnTo>
                    <a:pt x="138" y="167"/>
                  </a:lnTo>
                  <a:lnTo>
                    <a:pt x="133" y="144"/>
                  </a:lnTo>
                  <a:lnTo>
                    <a:pt x="114" y="167"/>
                  </a:lnTo>
                  <a:lnTo>
                    <a:pt x="95" y="144"/>
                  </a:lnTo>
                  <a:lnTo>
                    <a:pt x="83" y="155"/>
                  </a:lnTo>
                  <a:lnTo>
                    <a:pt x="64" y="44"/>
                  </a:lnTo>
                  <a:lnTo>
                    <a:pt x="32" y="55"/>
                  </a:lnTo>
                  <a:lnTo>
                    <a:pt x="0" y="2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24" name="Freeform 151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3007705" y="2068095"/>
              <a:ext cx="320783" cy="185737"/>
            </a:xfrm>
            <a:custGeom>
              <a:avLst/>
              <a:gdLst>
                <a:gd name="T0" fmla="*/ 0 w 174"/>
                <a:gd name="T1" fmla="*/ 2147483647 h 234"/>
                <a:gd name="T2" fmla="*/ 2147483647 w 174"/>
                <a:gd name="T3" fmla="*/ 2147483647 h 234"/>
                <a:gd name="T4" fmla="*/ 2147483647 w 174"/>
                <a:gd name="T5" fmla="*/ 2147483647 h 234"/>
                <a:gd name="T6" fmla="*/ 2147483647 w 174"/>
                <a:gd name="T7" fmla="*/ 2147483647 h 234"/>
                <a:gd name="T8" fmla="*/ 2147483647 w 174"/>
                <a:gd name="T9" fmla="*/ 0 h 234"/>
                <a:gd name="T10" fmla="*/ 2147483647 w 174"/>
                <a:gd name="T11" fmla="*/ 2147483647 h 234"/>
                <a:gd name="T12" fmla="*/ 2147483647 w 174"/>
                <a:gd name="T13" fmla="*/ 2147483647 h 234"/>
                <a:gd name="T14" fmla="*/ 2147483647 w 174"/>
                <a:gd name="T15" fmla="*/ 2147483647 h 234"/>
                <a:gd name="T16" fmla="*/ 2147483647 w 174"/>
                <a:gd name="T17" fmla="*/ 2147483647 h 234"/>
                <a:gd name="T18" fmla="*/ 2147483647 w 174"/>
                <a:gd name="T19" fmla="*/ 2147483647 h 234"/>
                <a:gd name="T20" fmla="*/ 2147483647 w 174"/>
                <a:gd name="T21" fmla="*/ 2147483647 h 234"/>
                <a:gd name="T22" fmla="*/ 2147483647 w 174"/>
                <a:gd name="T23" fmla="*/ 2147483647 h 234"/>
                <a:gd name="T24" fmla="*/ 2147483647 w 174"/>
                <a:gd name="T25" fmla="*/ 2147483647 h 234"/>
                <a:gd name="T26" fmla="*/ 2147483647 w 174"/>
                <a:gd name="T27" fmla="*/ 2147483647 h 234"/>
                <a:gd name="T28" fmla="*/ 2147483647 w 174"/>
                <a:gd name="T29" fmla="*/ 2147483647 h 234"/>
                <a:gd name="T30" fmla="*/ 2147483647 w 174"/>
                <a:gd name="T31" fmla="*/ 2147483647 h 234"/>
                <a:gd name="T32" fmla="*/ 2147483647 w 174"/>
                <a:gd name="T33" fmla="*/ 2147483647 h 234"/>
                <a:gd name="T34" fmla="*/ 2147483647 w 174"/>
                <a:gd name="T35" fmla="*/ 2147483647 h 234"/>
                <a:gd name="T36" fmla="*/ 2147483647 w 174"/>
                <a:gd name="T37" fmla="*/ 2147483647 h 234"/>
                <a:gd name="T38" fmla="*/ 2147483647 w 174"/>
                <a:gd name="T39" fmla="*/ 2147483647 h 234"/>
                <a:gd name="T40" fmla="*/ 2147483647 w 174"/>
                <a:gd name="T41" fmla="*/ 2147483647 h 234"/>
                <a:gd name="T42" fmla="*/ 2147483647 w 174"/>
                <a:gd name="T43" fmla="*/ 2147483647 h 234"/>
                <a:gd name="T44" fmla="*/ 2147483647 w 174"/>
                <a:gd name="T45" fmla="*/ 2147483647 h 234"/>
                <a:gd name="T46" fmla="*/ 2147483647 w 174"/>
                <a:gd name="T47" fmla="*/ 2147483647 h 234"/>
                <a:gd name="T48" fmla="*/ 2147483647 w 174"/>
                <a:gd name="T49" fmla="*/ 2147483647 h 234"/>
                <a:gd name="T50" fmla="*/ 2147483647 w 174"/>
                <a:gd name="T51" fmla="*/ 2147483647 h 234"/>
                <a:gd name="T52" fmla="*/ 2147483647 w 174"/>
                <a:gd name="T53" fmla="*/ 2147483647 h 234"/>
                <a:gd name="T54" fmla="*/ 2147483647 w 174"/>
                <a:gd name="T55" fmla="*/ 2147483647 h 234"/>
                <a:gd name="T56" fmla="*/ 2147483647 w 174"/>
                <a:gd name="T57" fmla="*/ 2147483647 h 234"/>
                <a:gd name="T58" fmla="*/ 2147483647 w 174"/>
                <a:gd name="T59" fmla="*/ 2147483647 h 234"/>
                <a:gd name="T60" fmla="*/ 2147483647 w 174"/>
                <a:gd name="T61" fmla="*/ 2147483647 h 234"/>
                <a:gd name="T62" fmla="*/ 2147483647 w 174"/>
                <a:gd name="T63" fmla="*/ 2147483647 h 234"/>
                <a:gd name="T64" fmla="*/ 2147483647 w 174"/>
                <a:gd name="T65" fmla="*/ 2147483647 h 234"/>
                <a:gd name="T66" fmla="*/ 2147483647 w 174"/>
                <a:gd name="T67" fmla="*/ 2147483647 h 234"/>
                <a:gd name="T68" fmla="*/ 2147483647 w 174"/>
                <a:gd name="T69" fmla="*/ 2147483647 h 234"/>
                <a:gd name="T70" fmla="*/ 0 w 174"/>
                <a:gd name="T71" fmla="*/ 2147483647 h 234"/>
                <a:gd name="T72" fmla="*/ 2147483647 w 174"/>
                <a:gd name="T73" fmla="*/ 2147483647 h 234"/>
                <a:gd name="T74" fmla="*/ 0 w 174"/>
                <a:gd name="T75" fmla="*/ 2147483647 h 2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74" h="234">
                  <a:moveTo>
                    <a:pt x="0" y="65"/>
                  </a:moveTo>
                  <a:lnTo>
                    <a:pt x="43" y="56"/>
                  </a:lnTo>
                  <a:lnTo>
                    <a:pt x="18" y="21"/>
                  </a:lnTo>
                  <a:lnTo>
                    <a:pt x="55" y="10"/>
                  </a:lnTo>
                  <a:lnTo>
                    <a:pt x="31" y="0"/>
                  </a:lnTo>
                  <a:lnTo>
                    <a:pt x="74" y="10"/>
                  </a:lnTo>
                  <a:lnTo>
                    <a:pt x="87" y="56"/>
                  </a:lnTo>
                  <a:lnTo>
                    <a:pt x="112" y="56"/>
                  </a:lnTo>
                  <a:lnTo>
                    <a:pt x="118" y="88"/>
                  </a:lnTo>
                  <a:lnTo>
                    <a:pt x="124" y="65"/>
                  </a:lnTo>
                  <a:lnTo>
                    <a:pt x="137" y="65"/>
                  </a:lnTo>
                  <a:lnTo>
                    <a:pt x="131" y="88"/>
                  </a:lnTo>
                  <a:lnTo>
                    <a:pt x="143" y="100"/>
                  </a:lnTo>
                  <a:lnTo>
                    <a:pt x="137" y="123"/>
                  </a:lnTo>
                  <a:lnTo>
                    <a:pt x="162" y="123"/>
                  </a:lnTo>
                  <a:lnTo>
                    <a:pt x="174" y="158"/>
                  </a:lnTo>
                  <a:lnTo>
                    <a:pt x="143" y="167"/>
                  </a:lnTo>
                  <a:lnTo>
                    <a:pt x="131" y="190"/>
                  </a:lnTo>
                  <a:lnTo>
                    <a:pt x="131" y="167"/>
                  </a:lnTo>
                  <a:lnTo>
                    <a:pt x="118" y="234"/>
                  </a:lnTo>
                  <a:lnTo>
                    <a:pt x="100" y="190"/>
                  </a:lnTo>
                  <a:lnTo>
                    <a:pt x="105" y="234"/>
                  </a:lnTo>
                  <a:lnTo>
                    <a:pt x="68" y="223"/>
                  </a:lnTo>
                  <a:lnTo>
                    <a:pt x="55" y="213"/>
                  </a:lnTo>
                  <a:lnTo>
                    <a:pt x="74" y="202"/>
                  </a:lnTo>
                  <a:lnTo>
                    <a:pt x="55" y="202"/>
                  </a:lnTo>
                  <a:lnTo>
                    <a:pt x="50" y="190"/>
                  </a:lnTo>
                  <a:lnTo>
                    <a:pt x="55" y="190"/>
                  </a:lnTo>
                  <a:lnTo>
                    <a:pt x="43" y="167"/>
                  </a:lnTo>
                  <a:lnTo>
                    <a:pt x="93" y="144"/>
                  </a:lnTo>
                  <a:lnTo>
                    <a:pt x="31" y="158"/>
                  </a:lnTo>
                  <a:lnTo>
                    <a:pt x="18" y="135"/>
                  </a:lnTo>
                  <a:lnTo>
                    <a:pt x="43" y="123"/>
                  </a:lnTo>
                  <a:lnTo>
                    <a:pt x="5" y="100"/>
                  </a:lnTo>
                  <a:lnTo>
                    <a:pt x="12" y="100"/>
                  </a:lnTo>
                  <a:lnTo>
                    <a:pt x="0" y="88"/>
                  </a:lnTo>
                  <a:lnTo>
                    <a:pt x="43" y="88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25" name="Freeform 152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3007705" y="2068095"/>
              <a:ext cx="320783" cy="185737"/>
            </a:xfrm>
            <a:custGeom>
              <a:avLst/>
              <a:gdLst>
                <a:gd name="T0" fmla="*/ 0 w 174"/>
                <a:gd name="T1" fmla="*/ 2147483647 h 234"/>
                <a:gd name="T2" fmla="*/ 2147483647 w 174"/>
                <a:gd name="T3" fmla="*/ 2147483647 h 234"/>
                <a:gd name="T4" fmla="*/ 2147483647 w 174"/>
                <a:gd name="T5" fmla="*/ 2147483647 h 234"/>
                <a:gd name="T6" fmla="*/ 2147483647 w 174"/>
                <a:gd name="T7" fmla="*/ 2147483647 h 234"/>
                <a:gd name="T8" fmla="*/ 2147483647 w 174"/>
                <a:gd name="T9" fmla="*/ 0 h 234"/>
                <a:gd name="T10" fmla="*/ 2147483647 w 174"/>
                <a:gd name="T11" fmla="*/ 2147483647 h 234"/>
                <a:gd name="T12" fmla="*/ 2147483647 w 174"/>
                <a:gd name="T13" fmla="*/ 2147483647 h 234"/>
                <a:gd name="T14" fmla="*/ 2147483647 w 174"/>
                <a:gd name="T15" fmla="*/ 2147483647 h 234"/>
                <a:gd name="T16" fmla="*/ 2147483647 w 174"/>
                <a:gd name="T17" fmla="*/ 2147483647 h 234"/>
                <a:gd name="T18" fmla="*/ 2147483647 w 174"/>
                <a:gd name="T19" fmla="*/ 2147483647 h 234"/>
                <a:gd name="T20" fmla="*/ 2147483647 w 174"/>
                <a:gd name="T21" fmla="*/ 2147483647 h 234"/>
                <a:gd name="T22" fmla="*/ 2147483647 w 174"/>
                <a:gd name="T23" fmla="*/ 2147483647 h 234"/>
                <a:gd name="T24" fmla="*/ 2147483647 w 174"/>
                <a:gd name="T25" fmla="*/ 2147483647 h 234"/>
                <a:gd name="T26" fmla="*/ 2147483647 w 174"/>
                <a:gd name="T27" fmla="*/ 2147483647 h 234"/>
                <a:gd name="T28" fmla="*/ 2147483647 w 174"/>
                <a:gd name="T29" fmla="*/ 2147483647 h 234"/>
                <a:gd name="T30" fmla="*/ 2147483647 w 174"/>
                <a:gd name="T31" fmla="*/ 2147483647 h 234"/>
                <a:gd name="T32" fmla="*/ 2147483647 w 174"/>
                <a:gd name="T33" fmla="*/ 2147483647 h 234"/>
                <a:gd name="T34" fmla="*/ 2147483647 w 174"/>
                <a:gd name="T35" fmla="*/ 2147483647 h 234"/>
                <a:gd name="T36" fmla="*/ 2147483647 w 174"/>
                <a:gd name="T37" fmla="*/ 2147483647 h 234"/>
                <a:gd name="T38" fmla="*/ 2147483647 w 174"/>
                <a:gd name="T39" fmla="*/ 2147483647 h 234"/>
                <a:gd name="T40" fmla="*/ 2147483647 w 174"/>
                <a:gd name="T41" fmla="*/ 2147483647 h 234"/>
                <a:gd name="T42" fmla="*/ 2147483647 w 174"/>
                <a:gd name="T43" fmla="*/ 2147483647 h 234"/>
                <a:gd name="T44" fmla="*/ 2147483647 w 174"/>
                <a:gd name="T45" fmla="*/ 2147483647 h 234"/>
                <a:gd name="T46" fmla="*/ 2147483647 w 174"/>
                <a:gd name="T47" fmla="*/ 2147483647 h 234"/>
                <a:gd name="T48" fmla="*/ 2147483647 w 174"/>
                <a:gd name="T49" fmla="*/ 2147483647 h 234"/>
                <a:gd name="T50" fmla="*/ 2147483647 w 174"/>
                <a:gd name="T51" fmla="*/ 2147483647 h 234"/>
                <a:gd name="T52" fmla="*/ 2147483647 w 174"/>
                <a:gd name="T53" fmla="*/ 2147483647 h 234"/>
                <a:gd name="T54" fmla="*/ 2147483647 w 174"/>
                <a:gd name="T55" fmla="*/ 2147483647 h 234"/>
                <a:gd name="T56" fmla="*/ 2147483647 w 174"/>
                <a:gd name="T57" fmla="*/ 2147483647 h 234"/>
                <a:gd name="T58" fmla="*/ 2147483647 w 174"/>
                <a:gd name="T59" fmla="*/ 2147483647 h 234"/>
                <a:gd name="T60" fmla="*/ 2147483647 w 174"/>
                <a:gd name="T61" fmla="*/ 2147483647 h 234"/>
                <a:gd name="T62" fmla="*/ 2147483647 w 174"/>
                <a:gd name="T63" fmla="*/ 2147483647 h 234"/>
                <a:gd name="T64" fmla="*/ 2147483647 w 174"/>
                <a:gd name="T65" fmla="*/ 2147483647 h 234"/>
                <a:gd name="T66" fmla="*/ 2147483647 w 174"/>
                <a:gd name="T67" fmla="*/ 2147483647 h 234"/>
                <a:gd name="T68" fmla="*/ 2147483647 w 174"/>
                <a:gd name="T69" fmla="*/ 2147483647 h 234"/>
                <a:gd name="T70" fmla="*/ 0 w 174"/>
                <a:gd name="T71" fmla="*/ 2147483647 h 234"/>
                <a:gd name="T72" fmla="*/ 2147483647 w 174"/>
                <a:gd name="T73" fmla="*/ 2147483647 h 234"/>
                <a:gd name="T74" fmla="*/ 0 w 174"/>
                <a:gd name="T75" fmla="*/ 2147483647 h 2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74" h="234">
                  <a:moveTo>
                    <a:pt x="0" y="65"/>
                  </a:moveTo>
                  <a:lnTo>
                    <a:pt x="43" y="56"/>
                  </a:lnTo>
                  <a:lnTo>
                    <a:pt x="18" y="21"/>
                  </a:lnTo>
                  <a:lnTo>
                    <a:pt x="55" y="10"/>
                  </a:lnTo>
                  <a:lnTo>
                    <a:pt x="31" y="0"/>
                  </a:lnTo>
                  <a:lnTo>
                    <a:pt x="74" y="10"/>
                  </a:lnTo>
                  <a:lnTo>
                    <a:pt x="87" y="56"/>
                  </a:lnTo>
                  <a:lnTo>
                    <a:pt x="112" y="56"/>
                  </a:lnTo>
                  <a:lnTo>
                    <a:pt x="118" y="88"/>
                  </a:lnTo>
                  <a:lnTo>
                    <a:pt x="124" y="65"/>
                  </a:lnTo>
                  <a:lnTo>
                    <a:pt x="137" y="65"/>
                  </a:lnTo>
                  <a:lnTo>
                    <a:pt x="131" y="88"/>
                  </a:lnTo>
                  <a:lnTo>
                    <a:pt x="143" y="100"/>
                  </a:lnTo>
                  <a:lnTo>
                    <a:pt x="137" y="123"/>
                  </a:lnTo>
                  <a:lnTo>
                    <a:pt x="162" y="123"/>
                  </a:lnTo>
                  <a:lnTo>
                    <a:pt x="174" y="158"/>
                  </a:lnTo>
                  <a:lnTo>
                    <a:pt x="143" y="167"/>
                  </a:lnTo>
                  <a:lnTo>
                    <a:pt x="131" y="190"/>
                  </a:lnTo>
                  <a:lnTo>
                    <a:pt x="131" y="167"/>
                  </a:lnTo>
                  <a:lnTo>
                    <a:pt x="118" y="234"/>
                  </a:lnTo>
                  <a:lnTo>
                    <a:pt x="100" y="190"/>
                  </a:lnTo>
                  <a:lnTo>
                    <a:pt x="105" y="234"/>
                  </a:lnTo>
                  <a:lnTo>
                    <a:pt x="68" y="223"/>
                  </a:lnTo>
                  <a:lnTo>
                    <a:pt x="55" y="213"/>
                  </a:lnTo>
                  <a:lnTo>
                    <a:pt x="74" y="202"/>
                  </a:lnTo>
                  <a:lnTo>
                    <a:pt x="55" y="202"/>
                  </a:lnTo>
                  <a:lnTo>
                    <a:pt x="50" y="190"/>
                  </a:lnTo>
                  <a:lnTo>
                    <a:pt x="55" y="190"/>
                  </a:lnTo>
                  <a:lnTo>
                    <a:pt x="43" y="167"/>
                  </a:lnTo>
                  <a:lnTo>
                    <a:pt x="93" y="144"/>
                  </a:lnTo>
                  <a:lnTo>
                    <a:pt x="31" y="158"/>
                  </a:lnTo>
                  <a:lnTo>
                    <a:pt x="18" y="135"/>
                  </a:lnTo>
                  <a:lnTo>
                    <a:pt x="43" y="123"/>
                  </a:lnTo>
                  <a:lnTo>
                    <a:pt x="5" y="100"/>
                  </a:lnTo>
                  <a:lnTo>
                    <a:pt x="12" y="100"/>
                  </a:lnTo>
                  <a:lnTo>
                    <a:pt x="0" y="88"/>
                  </a:lnTo>
                  <a:lnTo>
                    <a:pt x="43" y="88"/>
                  </a:lnTo>
                  <a:lnTo>
                    <a:pt x="0" y="6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26" name="Freeform 153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3007705" y="2068095"/>
              <a:ext cx="320783" cy="185737"/>
            </a:xfrm>
            <a:custGeom>
              <a:avLst/>
              <a:gdLst>
                <a:gd name="T0" fmla="*/ 0 w 174"/>
                <a:gd name="T1" fmla="*/ 2147483647 h 234"/>
                <a:gd name="T2" fmla="*/ 2147483647 w 174"/>
                <a:gd name="T3" fmla="*/ 2147483647 h 234"/>
                <a:gd name="T4" fmla="*/ 2147483647 w 174"/>
                <a:gd name="T5" fmla="*/ 2147483647 h 234"/>
                <a:gd name="T6" fmla="*/ 2147483647 w 174"/>
                <a:gd name="T7" fmla="*/ 2147483647 h 234"/>
                <a:gd name="T8" fmla="*/ 2147483647 w 174"/>
                <a:gd name="T9" fmla="*/ 0 h 234"/>
                <a:gd name="T10" fmla="*/ 2147483647 w 174"/>
                <a:gd name="T11" fmla="*/ 2147483647 h 234"/>
                <a:gd name="T12" fmla="*/ 2147483647 w 174"/>
                <a:gd name="T13" fmla="*/ 2147483647 h 234"/>
                <a:gd name="T14" fmla="*/ 2147483647 w 174"/>
                <a:gd name="T15" fmla="*/ 2147483647 h 234"/>
                <a:gd name="T16" fmla="*/ 2147483647 w 174"/>
                <a:gd name="T17" fmla="*/ 2147483647 h 234"/>
                <a:gd name="T18" fmla="*/ 2147483647 w 174"/>
                <a:gd name="T19" fmla="*/ 2147483647 h 234"/>
                <a:gd name="T20" fmla="*/ 2147483647 w 174"/>
                <a:gd name="T21" fmla="*/ 2147483647 h 234"/>
                <a:gd name="T22" fmla="*/ 2147483647 w 174"/>
                <a:gd name="T23" fmla="*/ 2147483647 h 234"/>
                <a:gd name="T24" fmla="*/ 2147483647 w 174"/>
                <a:gd name="T25" fmla="*/ 2147483647 h 234"/>
                <a:gd name="T26" fmla="*/ 2147483647 w 174"/>
                <a:gd name="T27" fmla="*/ 2147483647 h 234"/>
                <a:gd name="T28" fmla="*/ 2147483647 w 174"/>
                <a:gd name="T29" fmla="*/ 2147483647 h 234"/>
                <a:gd name="T30" fmla="*/ 2147483647 w 174"/>
                <a:gd name="T31" fmla="*/ 2147483647 h 234"/>
                <a:gd name="T32" fmla="*/ 2147483647 w 174"/>
                <a:gd name="T33" fmla="*/ 2147483647 h 234"/>
                <a:gd name="T34" fmla="*/ 2147483647 w 174"/>
                <a:gd name="T35" fmla="*/ 2147483647 h 234"/>
                <a:gd name="T36" fmla="*/ 2147483647 w 174"/>
                <a:gd name="T37" fmla="*/ 2147483647 h 234"/>
                <a:gd name="T38" fmla="*/ 2147483647 w 174"/>
                <a:gd name="T39" fmla="*/ 2147483647 h 234"/>
                <a:gd name="T40" fmla="*/ 2147483647 w 174"/>
                <a:gd name="T41" fmla="*/ 2147483647 h 234"/>
                <a:gd name="T42" fmla="*/ 2147483647 w 174"/>
                <a:gd name="T43" fmla="*/ 2147483647 h 234"/>
                <a:gd name="T44" fmla="*/ 2147483647 w 174"/>
                <a:gd name="T45" fmla="*/ 2147483647 h 234"/>
                <a:gd name="T46" fmla="*/ 2147483647 w 174"/>
                <a:gd name="T47" fmla="*/ 2147483647 h 234"/>
                <a:gd name="T48" fmla="*/ 2147483647 w 174"/>
                <a:gd name="T49" fmla="*/ 2147483647 h 234"/>
                <a:gd name="T50" fmla="*/ 2147483647 w 174"/>
                <a:gd name="T51" fmla="*/ 2147483647 h 234"/>
                <a:gd name="T52" fmla="*/ 2147483647 w 174"/>
                <a:gd name="T53" fmla="*/ 2147483647 h 234"/>
                <a:gd name="T54" fmla="*/ 2147483647 w 174"/>
                <a:gd name="T55" fmla="*/ 2147483647 h 234"/>
                <a:gd name="T56" fmla="*/ 2147483647 w 174"/>
                <a:gd name="T57" fmla="*/ 2147483647 h 234"/>
                <a:gd name="T58" fmla="*/ 2147483647 w 174"/>
                <a:gd name="T59" fmla="*/ 2147483647 h 234"/>
                <a:gd name="T60" fmla="*/ 2147483647 w 174"/>
                <a:gd name="T61" fmla="*/ 2147483647 h 234"/>
                <a:gd name="T62" fmla="*/ 2147483647 w 174"/>
                <a:gd name="T63" fmla="*/ 2147483647 h 234"/>
                <a:gd name="T64" fmla="*/ 2147483647 w 174"/>
                <a:gd name="T65" fmla="*/ 2147483647 h 234"/>
                <a:gd name="T66" fmla="*/ 2147483647 w 174"/>
                <a:gd name="T67" fmla="*/ 2147483647 h 234"/>
                <a:gd name="T68" fmla="*/ 2147483647 w 174"/>
                <a:gd name="T69" fmla="*/ 2147483647 h 234"/>
                <a:gd name="T70" fmla="*/ 0 w 174"/>
                <a:gd name="T71" fmla="*/ 2147483647 h 234"/>
                <a:gd name="T72" fmla="*/ 2147483647 w 174"/>
                <a:gd name="T73" fmla="*/ 2147483647 h 234"/>
                <a:gd name="T74" fmla="*/ 0 w 174"/>
                <a:gd name="T75" fmla="*/ 2147483647 h 2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74" h="234">
                  <a:moveTo>
                    <a:pt x="0" y="65"/>
                  </a:moveTo>
                  <a:lnTo>
                    <a:pt x="43" y="56"/>
                  </a:lnTo>
                  <a:lnTo>
                    <a:pt x="18" y="21"/>
                  </a:lnTo>
                  <a:lnTo>
                    <a:pt x="55" y="10"/>
                  </a:lnTo>
                  <a:lnTo>
                    <a:pt x="31" y="0"/>
                  </a:lnTo>
                  <a:lnTo>
                    <a:pt x="74" y="10"/>
                  </a:lnTo>
                  <a:lnTo>
                    <a:pt x="87" y="56"/>
                  </a:lnTo>
                  <a:lnTo>
                    <a:pt x="112" y="56"/>
                  </a:lnTo>
                  <a:lnTo>
                    <a:pt x="118" y="88"/>
                  </a:lnTo>
                  <a:lnTo>
                    <a:pt x="124" y="65"/>
                  </a:lnTo>
                  <a:lnTo>
                    <a:pt x="137" y="65"/>
                  </a:lnTo>
                  <a:lnTo>
                    <a:pt x="131" y="88"/>
                  </a:lnTo>
                  <a:lnTo>
                    <a:pt x="143" y="100"/>
                  </a:lnTo>
                  <a:lnTo>
                    <a:pt x="137" y="123"/>
                  </a:lnTo>
                  <a:lnTo>
                    <a:pt x="162" y="123"/>
                  </a:lnTo>
                  <a:lnTo>
                    <a:pt x="174" y="158"/>
                  </a:lnTo>
                  <a:lnTo>
                    <a:pt x="143" y="167"/>
                  </a:lnTo>
                  <a:lnTo>
                    <a:pt x="131" y="190"/>
                  </a:lnTo>
                  <a:lnTo>
                    <a:pt x="131" y="167"/>
                  </a:lnTo>
                  <a:lnTo>
                    <a:pt x="118" y="234"/>
                  </a:lnTo>
                  <a:lnTo>
                    <a:pt x="100" y="190"/>
                  </a:lnTo>
                  <a:lnTo>
                    <a:pt x="105" y="234"/>
                  </a:lnTo>
                  <a:lnTo>
                    <a:pt x="68" y="223"/>
                  </a:lnTo>
                  <a:lnTo>
                    <a:pt x="55" y="213"/>
                  </a:lnTo>
                  <a:lnTo>
                    <a:pt x="74" y="202"/>
                  </a:lnTo>
                  <a:lnTo>
                    <a:pt x="55" y="202"/>
                  </a:lnTo>
                  <a:lnTo>
                    <a:pt x="50" y="190"/>
                  </a:lnTo>
                  <a:lnTo>
                    <a:pt x="55" y="190"/>
                  </a:lnTo>
                  <a:lnTo>
                    <a:pt x="43" y="167"/>
                  </a:lnTo>
                  <a:lnTo>
                    <a:pt x="93" y="144"/>
                  </a:lnTo>
                  <a:lnTo>
                    <a:pt x="31" y="158"/>
                  </a:lnTo>
                  <a:lnTo>
                    <a:pt x="18" y="135"/>
                  </a:lnTo>
                  <a:lnTo>
                    <a:pt x="43" y="123"/>
                  </a:lnTo>
                  <a:lnTo>
                    <a:pt x="5" y="100"/>
                  </a:lnTo>
                  <a:lnTo>
                    <a:pt x="12" y="100"/>
                  </a:lnTo>
                  <a:lnTo>
                    <a:pt x="0" y="88"/>
                  </a:lnTo>
                  <a:lnTo>
                    <a:pt x="43" y="88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27" name="Freeform 154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3007705" y="2068095"/>
              <a:ext cx="320783" cy="185737"/>
            </a:xfrm>
            <a:custGeom>
              <a:avLst/>
              <a:gdLst>
                <a:gd name="T0" fmla="*/ 0 w 174"/>
                <a:gd name="T1" fmla="*/ 2147483647 h 234"/>
                <a:gd name="T2" fmla="*/ 2147483647 w 174"/>
                <a:gd name="T3" fmla="*/ 2147483647 h 234"/>
                <a:gd name="T4" fmla="*/ 2147483647 w 174"/>
                <a:gd name="T5" fmla="*/ 2147483647 h 234"/>
                <a:gd name="T6" fmla="*/ 2147483647 w 174"/>
                <a:gd name="T7" fmla="*/ 2147483647 h 234"/>
                <a:gd name="T8" fmla="*/ 2147483647 w 174"/>
                <a:gd name="T9" fmla="*/ 0 h 234"/>
                <a:gd name="T10" fmla="*/ 2147483647 w 174"/>
                <a:gd name="T11" fmla="*/ 2147483647 h 234"/>
                <a:gd name="T12" fmla="*/ 2147483647 w 174"/>
                <a:gd name="T13" fmla="*/ 2147483647 h 234"/>
                <a:gd name="T14" fmla="*/ 2147483647 w 174"/>
                <a:gd name="T15" fmla="*/ 2147483647 h 234"/>
                <a:gd name="T16" fmla="*/ 2147483647 w 174"/>
                <a:gd name="T17" fmla="*/ 2147483647 h 234"/>
                <a:gd name="T18" fmla="*/ 2147483647 w 174"/>
                <a:gd name="T19" fmla="*/ 2147483647 h 234"/>
                <a:gd name="T20" fmla="*/ 2147483647 w 174"/>
                <a:gd name="T21" fmla="*/ 2147483647 h 234"/>
                <a:gd name="T22" fmla="*/ 2147483647 w 174"/>
                <a:gd name="T23" fmla="*/ 2147483647 h 234"/>
                <a:gd name="T24" fmla="*/ 2147483647 w 174"/>
                <a:gd name="T25" fmla="*/ 2147483647 h 234"/>
                <a:gd name="T26" fmla="*/ 2147483647 w 174"/>
                <a:gd name="T27" fmla="*/ 2147483647 h 234"/>
                <a:gd name="T28" fmla="*/ 2147483647 w 174"/>
                <a:gd name="T29" fmla="*/ 2147483647 h 234"/>
                <a:gd name="T30" fmla="*/ 2147483647 w 174"/>
                <a:gd name="T31" fmla="*/ 2147483647 h 234"/>
                <a:gd name="T32" fmla="*/ 2147483647 w 174"/>
                <a:gd name="T33" fmla="*/ 2147483647 h 234"/>
                <a:gd name="T34" fmla="*/ 2147483647 w 174"/>
                <a:gd name="T35" fmla="*/ 2147483647 h 234"/>
                <a:gd name="T36" fmla="*/ 2147483647 w 174"/>
                <a:gd name="T37" fmla="*/ 2147483647 h 234"/>
                <a:gd name="T38" fmla="*/ 2147483647 w 174"/>
                <a:gd name="T39" fmla="*/ 2147483647 h 234"/>
                <a:gd name="T40" fmla="*/ 2147483647 w 174"/>
                <a:gd name="T41" fmla="*/ 2147483647 h 234"/>
                <a:gd name="T42" fmla="*/ 2147483647 w 174"/>
                <a:gd name="T43" fmla="*/ 2147483647 h 234"/>
                <a:gd name="T44" fmla="*/ 2147483647 w 174"/>
                <a:gd name="T45" fmla="*/ 2147483647 h 234"/>
                <a:gd name="T46" fmla="*/ 2147483647 w 174"/>
                <a:gd name="T47" fmla="*/ 2147483647 h 234"/>
                <a:gd name="T48" fmla="*/ 2147483647 w 174"/>
                <a:gd name="T49" fmla="*/ 2147483647 h 234"/>
                <a:gd name="T50" fmla="*/ 2147483647 w 174"/>
                <a:gd name="T51" fmla="*/ 2147483647 h 234"/>
                <a:gd name="T52" fmla="*/ 2147483647 w 174"/>
                <a:gd name="T53" fmla="*/ 2147483647 h 234"/>
                <a:gd name="T54" fmla="*/ 2147483647 w 174"/>
                <a:gd name="T55" fmla="*/ 2147483647 h 234"/>
                <a:gd name="T56" fmla="*/ 2147483647 w 174"/>
                <a:gd name="T57" fmla="*/ 2147483647 h 234"/>
                <a:gd name="T58" fmla="*/ 2147483647 w 174"/>
                <a:gd name="T59" fmla="*/ 2147483647 h 234"/>
                <a:gd name="T60" fmla="*/ 2147483647 w 174"/>
                <a:gd name="T61" fmla="*/ 2147483647 h 234"/>
                <a:gd name="T62" fmla="*/ 2147483647 w 174"/>
                <a:gd name="T63" fmla="*/ 2147483647 h 234"/>
                <a:gd name="T64" fmla="*/ 2147483647 w 174"/>
                <a:gd name="T65" fmla="*/ 2147483647 h 234"/>
                <a:gd name="T66" fmla="*/ 2147483647 w 174"/>
                <a:gd name="T67" fmla="*/ 2147483647 h 234"/>
                <a:gd name="T68" fmla="*/ 2147483647 w 174"/>
                <a:gd name="T69" fmla="*/ 2147483647 h 234"/>
                <a:gd name="T70" fmla="*/ 0 w 174"/>
                <a:gd name="T71" fmla="*/ 2147483647 h 234"/>
                <a:gd name="T72" fmla="*/ 2147483647 w 174"/>
                <a:gd name="T73" fmla="*/ 2147483647 h 234"/>
                <a:gd name="T74" fmla="*/ 0 w 174"/>
                <a:gd name="T75" fmla="*/ 2147483647 h 23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74" h="234">
                  <a:moveTo>
                    <a:pt x="0" y="65"/>
                  </a:moveTo>
                  <a:lnTo>
                    <a:pt x="43" y="56"/>
                  </a:lnTo>
                  <a:lnTo>
                    <a:pt x="18" y="21"/>
                  </a:lnTo>
                  <a:lnTo>
                    <a:pt x="55" y="10"/>
                  </a:lnTo>
                  <a:lnTo>
                    <a:pt x="31" y="0"/>
                  </a:lnTo>
                  <a:lnTo>
                    <a:pt x="74" y="10"/>
                  </a:lnTo>
                  <a:lnTo>
                    <a:pt x="87" y="56"/>
                  </a:lnTo>
                  <a:lnTo>
                    <a:pt x="112" y="56"/>
                  </a:lnTo>
                  <a:lnTo>
                    <a:pt x="118" y="88"/>
                  </a:lnTo>
                  <a:lnTo>
                    <a:pt x="124" y="65"/>
                  </a:lnTo>
                  <a:lnTo>
                    <a:pt x="137" y="65"/>
                  </a:lnTo>
                  <a:lnTo>
                    <a:pt x="131" y="88"/>
                  </a:lnTo>
                  <a:lnTo>
                    <a:pt x="143" y="100"/>
                  </a:lnTo>
                  <a:lnTo>
                    <a:pt x="137" y="123"/>
                  </a:lnTo>
                  <a:lnTo>
                    <a:pt x="162" y="123"/>
                  </a:lnTo>
                  <a:lnTo>
                    <a:pt x="174" y="158"/>
                  </a:lnTo>
                  <a:lnTo>
                    <a:pt x="143" y="167"/>
                  </a:lnTo>
                  <a:lnTo>
                    <a:pt x="131" y="190"/>
                  </a:lnTo>
                  <a:lnTo>
                    <a:pt x="131" y="167"/>
                  </a:lnTo>
                  <a:lnTo>
                    <a:pt x="118" y="234"/>
                  </a:lnTo>
                  <a:lnTo>
                    <a:pt x="100" y="190"/>
                  </a:lnTo>
                  <a:lnTo>
                    <a:pt x="105" y="234"/>
                  </a:lnTo>
                  <a:lnTo>
                    <a:pt x="68" y="223"/>
                  </a:lnTo>
                  <a:lnTo>
                    <a:pt x="55" y="213"/>
                  </a:lnTo>
                  <a:lnTo>
                    <a:pt x="74" y="202"/>
                  </a:lnTo>
                  <a:lnTo>
                    <a:pt x="55" y="202"/>
                  </a:lnTo>
                  <a:lnTo>
                    <a:pt x="50" y="190"/>
                  </a:lnTo>
                  <a:lnTo>
                    <a:pt x="55" y="190"/>
                  </a:lnTo>
                  <a:lnTo>
                    <a:pt x="43" y="167"/>
                  </a:lnTo>
                  <a:lnTo>
                    <a:pt x="93" y="144"/>
                  </a:lnTo>
                  <a:lnTo>
                    <a:pt x="31" y="158"/>
                  </a:lnTo>
                  <a:lnTo>
                    <a:pt x="18" y="135"/>
                  </a:lnTo>
                  <a:lnTo>
                    <a:pt x="43" y="123"/>
                  </a:lnTo>
                  <a:lnTo>
                    <a:pt x="5" y="100"/>
                  </a:lnTo>
                  <a:lnTo>
                    <a:pt x="12" y="100"/>
                  </a:lnTo>
                  <a:lnTo>
                    <a:pt x="0" y="88"/>
                  </a:lnTo>
                  <a:lnTo>
                    <a:pt x="43" y="88"/>
                  </a:lnTo>
                  <a:lnTo>
                    <a:pt x="0" y="6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28" name="Freeform 155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007700" y="2385609"/>
              <a:ext cx="78190" cy="46037"/>
            </a:xfrm>
            <a:custGeom>
              <a:avLst/>
              <a:gdLst>
                <a:gd name="T0" fmla="*/ 0 w 43"/>
                <a:gd name="T1" fmla="*/ 2147483647 h 57"/>
                <a:gd name="T2" fmla="*/ 2147483647 w 43"/>
                <a:gd name="T3" fmla="*/ 0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0 w 43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7">
                  <a:moveTo>
                    <a:pt x="0" y="34"/>
                  </a:moveTo>
                  <a:lnTo>
                    <a:pt x="5" y="0"/>
                  </a:lnTo>
                  <a:lnTo>
                    <a:pt x="37" y="13"/>
                  </a:lnTo>
                  <a:lnTo>
                    <a:pt x="43" y="57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29" name="Freeform 156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3007700" y="2385609"/>
              <a:ext cx="78190" cy="46037"/>
            </a:xfrm>
            <a:custGeom>
              <a:avLst/>
              <a:gdLst>
                <a:gd name="T0" fmla="*/ 0 w 43"/>
                <a:gd name="T1" fmla="*/ 2147483647 h 57"/>
                <a:gd name="T2" fmla="*/ 2147483647 w 43"/>
                <a:gd name="T3" fmla="*/ 0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0 w 43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7">
                  <a:moveTo>
                    <a:pt x="0" y="34"/>
                  </a:moveTo>
                  <a:lnTo>
                    <a:pt x="5" y="0"/>
                  </a:lnTo>
                  <a:lnTo>
                    <a:pt x="37" y="13"/>
                  </a:lnTo>
                  <a:lnTo>
                    <a:pt x="43" y="57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30" name="Freeform 157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3007700" y="2385609"/>
              <a:ext cx="78190" cy="46037"/>
            </a:xfrm>
            <a:custGeom>
              <a:avLst/>
              <a:gdLst>
                <a:gd name="T0" fmla="*/ 0 w 43"/>
                <a:gd name="T1" fmla="*/ 2147483647 h 57"/>
                <a:gd name="T2" fmla="*/ 2147483647 w 43"/>
                <a:gd name="T3" fmla="*/ 0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0 w 43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7">
                  <a:moveTo>
                    <a:pt x="0" y="34"/>
                  </a:moveTo>
                  <a:lnTo>
                    <a:pt x="5" y="0"/>
                  </a:lnTo>
                  <a:lnTo>
                    <a:pt x="37" y="13"/>
                  </a:lnTo>
                  <a:lnTo>
                    <a:pt x="43" y="57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31" name="Freeform 158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3007700" y="2385609"/>
              <a:ext cx="78190" cy="46037"/>
            </a:xfrm>
            <a:custGeom>
              <a:avLst/>
              <a:gdLst>
                <a:gd name="T0" fmla="*/ 0 w 43"/>
                <a:gd name="T1" fmla="*/ 2147483647 h 57"/>
                <a:gd name="T2" fmla="*/ 2147483647 w 43"/>
                <a:gd name="T3" fmla="*/ 0 h 57"/>
                <a:gd name="T4" fmla="*/ 2147483647 w 43"/>
                <a:gd name="T5" fmla="*/ 2147483647 h 57"/>
                <a:gd name="T6" fmla="*/ 2147483647 w 43"/>
                <a:gd name="T7" fmla="*/ 2147483647 h 57"/>
                <a:gd name="T8" fmla="*/ 0 w 43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7">
                  <a:moveTo>
                    <a:pt x="0" y="34"/>
                  </a:moveTo>
                  <a:lnTo>
                    <a:pt x="5" y="0"/>
                  </a:lnTo>
                  <a:lnTo>
                    <a:pt x="37" y="13"/>
                  </a:lnTo>
                  <a:lnTo>
                    <a:pt x="43" y="57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32" name="Freeform 159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3007695" y="2271310"/>
              <a:ext cx="90220" cy="26987"/>
            </a:xfrm>
            <a:custGeom>
              <a:avLst/>
              <a:gdLst>
                <a:gd name="T0" fmla="*/ 0 w 49"/>
                <a:gd name="T1" fmla="*/ 2147483647 h 34"/>
                <a:gd name="T2" fmla="*/ 2147483647 w 49"/>
                <a:gd name="T3" fmla="*/ 2147483647 h 34"/>
                <a:gd name="T4" fmla="*/ 2147483647 w 49"/>
                <a:gd name="T5" fmla="*/ 2147483647 h 34"/>
                <a:gd name="T6" fmla="*/ 2147483647 w 49"/>
                <a:gd name="T7" fmla="*/ 0 h 34"/>
                <a:gd name="T8" fmla="*/ 0 w 49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4">
                  <a:moveTo>
                    <a:pt x="0" y="11"/>
                  </a:moveTo>
                  <a:lnTo>
                    <a:pt x="12" y="34"/>
                  </a:lnTo>
                  <a:lnTo>
                    <a:pt x="49" y="11"/>
                  </a:lnTo>
                  <a:lnTo>
                    <a:pt x="12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33" name="Freeform 160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3007695" y="2271310"/>
              <a:ext cx="90220" cy="26987"/>
            </a:xfrm>
            <a:custGeom>
              <a:avLst/>
              <a:gdLst>
                <a:gd name="T0" fmla="*/ 0 w 49"/>
                <a:gd name="T1" fmla="*/ 2147483647 h 34"/>
                <a:gd name="T2" fmla="*/ 2147483647 w 49"/>
                <a:gd name="T3" fmla="*/ 2147483647 h 34"/>
                <a:gd name="T4" fmla="*/ 2147483647 w 49"/>
                <a:gd name="T5" fmla="*/ 2147483647 h 34"/>
                <a:gd name="T6" fmla="*/ 2147483647 w 49"/>
                <a:gd name="T7" fmla="*/ 0 h 34"/>
                <a:gd name="T8" fmla="*/ 0 w 49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4">
                  <a:moveTo>
                    <a:pt x="0" y="11"/>
                  </a:moveTo>
                  <a:lnTo>
                    <a:pt x="12" y="34"/>
                  </a:lnTo>
                  <a:lnTo>
                    <a:pt x="49" y="11"/>
                  </a:lnTo>
                  <a:lnTo>
                    <a:pt x="12" y="0"/>
                  </a:lnTo>
                  <a:lnTo>
                    <a:pt x="0" y="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34" name="Freeform 161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3007695" y="2271310"/>
              <a:ext cx="90220" cy="26987"/>
            </a:xfrm>
            <a:custGeom>
              <a:avLst/>
              <a:gdLst>
                <a:gd name="T0" fmla="*/ 0 w 49"/>
                <a:gd name="T1" fmla="*/ 2147483647 h 34"/>
                <a:gd name="T2" fmla="*/ 2147483647 w 49"/>
                <a:gd name="T3" fmla="*/ 2147483647 h 34"/>
                <a:gd name="T4" fmla="*/ 2147483647 w 49"/>
                <a:gd name="T5" fmla="*/ 2147483647 h 34"/>
                <a:gd name="T6" fmla="*/ 2147483647 w 49"/>
                <a:gd name="T7" fmla="*/ 0 h 34"/>
                <a:gd name="T8" fmla="*/ 0 w 49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4">
                  <a:moveTo>
                    <a:pt x="0" y="11"/>
                  </a:moveTo>
                  <a:lnTo>
                    <a:pt x="12" y="34"/>
                  </a:lnTo>
                  <a:lnTo>
                    <a:pt x="49" y="11"/>
                  </a:lnTo>
                  <a:lnTo>
                    <a:pt x="12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35" name="Freeform 162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3007695" y="2271310"/>
              <a:ext cx="90220" cy="26987"/>
            </a:xfrm>
            <a:custGeom>
              <a:avLst/>
              <a:gdLst>
                <a:gd name="T0" fmla="*/ 0 w 49"/>
                <a:gd name="T1" fmla="*/ 2147483647 h 34"/>
                <a:gd name="T2" fmla="*/ 2147483647 w 49"/>
                <a:gd name="T3" fmla="*/ 2147483647 h 34"/>
                <a:gd name="T4" fmla="*/ 2147483647 w 49"/>
                <a:gd name="T5" fmla="*/ 2147483647 h 34"/>
                <a:gd name="T6" fmla="*/ 2147483647 w 49"/>
                <a:gd name="T7" fmla="*/ 0 h 34"/>
                <a:gd name="T8" fmla="*/ 0 w 49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4">
                  <a:moveTo>
                    <a:pt x="0" y="11"/>
                  </a:moveTo>
                  <a:lnTo>
                    <a:pt x="12" y="34"/>
                  </a:lnTo>
                  <a:lnTo>
                    <a:pt x="49" y="11"/>
                  </a:lnTo>
                  <a:lnTo>
                    <a:pt x="12" y="0"/>
                  </a:lnTo>
                  <a:lnTo>
                    <a:pt x="0" y="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36" name="Freeform 163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3029771" y="2466545"/>
              <a:ext cx="148362" cy="95250"/>
            </a:xfrm>
            <a:custGeom>
              <a:avLst/>
              <a:gdLst>
                <a:gd name="T0" fmla="*/ 0 w 81"/>
                <a:gd name="T1" fmla="*/ 2147483647 h 121"/>
                <a:gd name="T2" fmla="*/ 0 w 81"/>
                <a:gd name="T3" fmla="*/ 2147483647 h 121"/>
                <a:gd name="T4" fmla="*/ 2147483647 w 81"/>
                <a:gd name="T5" fmla="*/ 2147483647 h 121"/>
                <a:gd name="T6" fmla="*/ 2147483647 w 81"/>
                <a:gd name="T7" fmla="*/ 2147483647 h 121"/>
                <a:gd name="T8" fmla="*/ 2147483647 w 81"/>
                <a:gd name="T9" fmla="*/ 2147483647 h 121"/>
                <a:gd name="T10" fmla="*/ 2147483647 w 81"/>
                <a:gd name="T11" fmla="*/ 2147483647 h 121"/>
                <a:gd name="T12" fmla="*/ 2147483647 w 81"/>
                <a:gd name="T13" fmla="*/ 2147483647 h 121"/>
                <a:gd name="T14" fmla="*/ 2147483647 w 81"/>
                <a:gd name="T15" fmla="*/ 2147483647 h 121"/>
                <a:gd name="T16" fmla="*/ 2147483647 w 81"/>
                <a:gd name="T17" fmla="*/ 0 h 121"/>
                <a:gd name="T18" fmla="*/ 2147483647 w 81"/>
                <a:gd name="T19" fmla="*/ 0 h 121"/>
                <a:gd name="T20" fmla="*/ 2147483647 w 81"/>
                <a:gd name="T21" fmla="*/ 2147483647 h 121"/>
                <a:gd name="T22" fmla="*/ 0 w 81"/>
                <a:gd name="T23" fmla="*/ 2147483647 h 1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1" h="121">
                  <a:moveTo>
                    <a:pt x="0" y="21"/>
                  </a:moveTo>
                  <a:lnTo>
                    <a:pt x="0" y="66"/>
                  </a:lnTo>
                  <a:lnTo>
                    <a:pt x="7" y="89"/>
                  </a:lnTo>
                  <a:lnTo>
                    <a:pt x="7" y="121"/>
                  </a:lnTo>
                  <a:lnTo>
                    <a:pt x="19" y="121"/>
                  </a:lnTo>
                  <a:lnTo>
                    <a:pt x="31" y="89"/>
                  </a:lnTo>
                  <a:lnTo>
                    <a:pt x="19" y="66"/>
                  </a:lnTo>
                  <a:lnTo>
                    <a:pt x="57" y="66"/>
                  </a:lnTo>
                  <a:lnTo>
                    <a:pt x="81" y="0"/>
                  </a:lnTo>
                  <a:lnTo>
                    <a:pt x="7" y="0"/>
                  </a:lnTo>
                  <a:lnTo>
                    <a:pt x="12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37" name="Freeform 164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3029771" y="2466545"/>
              <a:ext cx="148362" cy="95250"/>
            </a:xfrm>
            <a:custGeom>
              <a:avLst/>
              <a:gdLst>
                <a:gd name="T0" fmla="*/ 0 w 81"/>
                <a:gd name="T1" fmla="*/ 2147483647 h 121"/>
                <a:gd name="T2" fmla="*/ 0 w 81"/>
                <a:gd name="T3" fmla="*/ 2147483647 h 121"/>
                <a:gd name="T4" fmla="*/ 2147483647 w 81"/>
                <a:gd name="T5" fmla="*/ 2147483647 h 121"/>
                <a:gd name="T6" fmla="*/ 2147483647 w 81"/>
                <a:gd name="T7" fmla="*/ 2147483647 h 121"/>
                <a:gd name="T8" fmla="*/ 2147483647 w 81"/>
                <a:gd name="T9" fmla="*/ 2147483647 h 121"/>
                <a:gd name="T10" fmla="*/ 2147483647 w 81"/>
                <a:gd name="T11" fmla="*/ 2147483647 h 121"/>
                <a:gd name="T12" fmla="*/ 2147483647 w 81"/>
                <a:gd name="T13" fmla="*/ 2147483647 h 121"/>
                <a:gd name="T14" fmla="*/ 2147483647 w 81"/>
                <a:gd name="T15" fmla="*/ 2147483647 h 121"/>
                <a:gd name="T16" fmla="*/ 2147483647 w 81"/>
                <a:gd name="T17" fmla="*/ 0 h 121"/>
                <a:gd name="T18" fmla="*/ 2147483647 w 81"/>
                <a:gd name="T19" fmla="*/ 0 h 121"/>
                <a:gd name="T20" fmla="*/ 2147483647 w 81"/>
                <a:gd name="T21" fmla="*/ 2147483647 h 121"/>
                <a:gd name="T22" fmla="*/ 0 w 81"/>
                <a:gd name="T23" fmla="*/ 2147483647 h 1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1" h="121">
                  <a:moveTo>
                    <a:pt x="0" y="21"/>
                  </a:moveTo>
                  <a:lnTo>
                    <a:pt x="0" y="66"/>
                  </a:lnTo>
                  <a:lnTo>
                    <a:pt x="7" y="89"/>
                  </a:lnTo>
                  <a:lnTo>
                    <a:pt x="7" y="121"/>
                  </a:lnTo>
                  <a:lnTo>
                    <a:pt x="19" y="121"/>
                  </a:lnTo>
                  <a:lnTo>
                    <a:pt x="31" y="89"/>
                  </a:lnTo>
                  <a:lnTo>
                    <a:pt x="19" y="66"/>
                  </a:lnTo>
                  <a:lnTo>
                    <a:pt x="57" y="66"/>
                  </a:lnTo>
                  <a:lnTo>
                    <a:pt x="81" y="0"/>
                  </a:lnTo>
                  <a:lnTo>
                    <a:pt x="7" y="0"/>
                  </a:lnTo>
                  <a:lnTo>
                    <a:pt x="12" y="21"/>
                  </a:lnTo>
                  <a:lnTo>
                    <a:pt x="0" y="2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38" name="Freeform 165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029771" y="2466545"/>
              <a:ext cx="148362" cy="95250"/>
            </a:xfrm>
            <a:custGeom>
              <a:avLst/>
              <a:gdLst>
                <a:gd name="T0" fmla="*/ 0 w 81"/>
                <a:gd name="T1" fmla="*/ 2147483647 h 121"/>
                <a:gd name="T2" fmla="*/ 0 w 81"/>
                <a:gd name="T3" fmla="*/ 2147483647 h 121"/>
                <a:gd name="T4" fmla="*/ 2147483647 w 81"/>
                <a:gd name="T5" fmla="*/ 2147483647 h 121"/>
                <a:gd name="T6" fmla="*/ 2147483647 w 81"/>
                <a:gd name="T7" fmla="*/ 2147483647 h 121"/>
                <a:gd name="T8" fmla="*/ 2147483647 w 81"/>
                <a:gd name="T9" fmla="*/ 2147483647 h 121"/>
                <a:gd name="T10" fmla="*/ 2147483647 w 81"/>
                <a:gd name="T11" fmla="*/ 2147483647 h 121"/>
                <a:gd name="T12" fmla="*/ 2147483647 w 81"/>
                <a:gd name="T13" fmla="*/ 2147483647 h 121"/>
                <a:gd name="T14" fmla="*/ 2147483647 w 81"/>
                <a:gd name="T15" fmla="*/ 2147483647 h 121"/>
                <a:gd name="T16" fmla="*/ 2147483647 w 81"/>
                <a:gd name="T17" fmla="*/ 0 h 121"/>
                <a:gd name="T18" fmla="*/ 2147483647 w 81"/>
                <a:gd name="T19" fmla="*/ 0 h 121"/>
                <a:gd name="T20" fmla="*/ 2147483647 w 81"/>
                <a:gd name="T21" fmla="*/ 2147483647 h 121"/>
                <a:gd name="T22" fmla="*/ 0 w 81"/>
                <a:gd name="T23" fmla="*/ 2147483647 h 1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1" h="121">
                  <a:moveTo>
                    <a:pt x="0" y="21"/>
                  </a:moveTo>
                  <a:lnTo>
                    <a:pt x="0" y="66"/>
                  </a:lnTo>
                  <a:lnTo>
                    <a:pt x="7" y="89"/>
                  </a:lnTo>
                  <a:lnTo>
                    <a:pt x="7" y="121"/>
                  </a:lnTo>
                  <a:lnTo>
                    <a:pt x="19" y="121"/>
                  </a:lnTo>
                  <a:lnTo>
                    <a:pt x="31" y="89"/>
                  </a:lnTo>
                  <a:lnTo>
                    <a:pt x="19" y="66"/>
                  </a:lnTo>
                  <a:lnTo>
                    <a:pt x="57" y="66"/>
                  </a:lnTo>
                  <a:lnTo>
                    <a:pt x="81" y="0"/>
                  </a:lnTo>
                  <a:lnTo>
                    <a:pt x="7" y="0"/>
                  </a:lnTo>
                  <a:lnTo>
                    <a:pt x="12" y="2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39" name="Freeform 166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029771" y="2466545"/>
              <a:ext cx="148362" cy="95250"/>
            </a:xfrm>
            <a:custGeom>
              <a:avLst/>
              <a:gdLst>
                <a:gd name="T0" fmla="*/ 0 w 81"/>
                <a:gd name="T1" fmla="*/ 2147483647 h 121"/>
                <a:gd name="T2" fmla="*/ 0 w 81"/>
                <a:gd name="T3" fmla="*/ 2147483647 h 121"/>
                <a:gd name="T4" fmla="*/ 2147483647 w 81"/>
                <a:gd name="T5" fmla="*/ 2147483647 h 121"/>
                <a:gd name="T6" fmla="*/ 2147483647 w 81"/>
                <a:gd name="T7" fmla="*/ 2147483647 h 121"/>
                <a:gd name="T8" fmla="*/ 2147483647 w 81"/>
                <a:gd name="T9" fmla="*/ 2147483647 h 121"/>
                <a:gd name="T10" fmla="*/ 2147483647 w 81"/>
                <a:gd name="T11" fmla="*/ 2147483647 h 121"/>
                <a:gd name="T12" fmla="*/ 2147483647 w 81"/>
                <a:gd name="T13" fmla="*/ 2147483647 h 121"/>
                <a:gd name="T14" fmla="*/ 2147483647 w 81"/>
                <a:gd name="T15" fmla="*/ 2147483647 h 121"/>
                <a:gd name="T16" fmla="*/ 2147483647 w 81"/>
                <a:gd name="T17" fmla="*/ 0 h 121"/>
                <a:gd name="T18" fmla="*/ 2147483647 w 81"/>
                <a:gd name="T19" fmla="*/ 0 h 121"/>
                <a:gd name="T20" fmla="*/ 2147483647 w 81"/>
                <a:gd name="T21" fmla="*/ 2147483647 h 121"/>
                <a:gd name="T22" fmla="*/ 0 w 81"/>
                <a:gd name="T23" fmla="*/ 2147483647 h 12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1" h="121">
                  <a:moveTo>
                    <a:pt x="0" y="21"/>
                  </a:moveTo>
                  <a:lnTo>
                    <a:pt x="0" y="66"/>
                  </a:lnTo>
                  <a:lnTo>
                    <a:pt x="7" y="89"/>
                  </a:lnTo>
                  <a:lnTo>
                    <a:pt x="7" y="121"/>
                  </a:lnTo>
                  <a:lnTo>
                    <a:pt x="19" y="121"/>
                  </a:lnTo>
                  <a:lnTo>
                    <a:pt x="31" y="89"/>
                  </a:lnTo>
                  <a:lnTo>
                    <a:pt x="19" y="66"/>
                  </a:lnTo>
                  <a:lnTo>
                    <a:pt x="57" y="66"/>
                  </a:lnTo>
                  <a:lnTo>
                    <a:pt x="81" y="0"/>
                  </a:lnTo>
                  <a:lnTo>
                    <a:pt x="7" y="0"/>
                  </a:lnTo>
                  <a:lnTo>
                    <a:pt x="12" y="21"/>
                  </a:lnTo>
                  <a:lnTo>
                    <a:pt x="0" y="2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40" name="Freeform 167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131997" y="1953783"/>
              <a:ext cx="880149" cy="404812"/>
            </a:xfrm>
            <a:custGeom>
              <a:avLst/>
              <a:gdLst>
                <a:gd name="T0" fmla="*/ 2147483647 w 475"/>
                <a:gd name="T1" fmla="*/ 2147483647 h 511"/>
                <a:gd name="T2" fmla="*/ 2147483647 w 475"/>
                <a:gd name="T3" fmla="*/ 2147483647 h 511"/>
                <a:gd name="T4" fmla="*/ 2147483647 w 475"/>
                <a:gd name="T5" fmla="*/ 2147483647 h 511"/>
                <a:gd name="T6" fmla="*/ 2147483647 w 475"/>
                <a:gd name="T7" fmla="*/ 2147483647 h 511"/>
                <a:gd name="T8" fmla="*/ 2147483647 w 475"/>
                <a:gd name="T9" fmla="*/ 2147483647 h 511"/>
                <a:gd name="T10" fmla="*/ 2147483647 w 475"/>
                <a:gd name="T11" fmla="*/ 2147483647 h 511"/>
                <a:gd name="T12" fmla="*/ 2147483647 w 475"/>
                <a:gd name="T13" fmla="*/ 2147483647 h 511"/>
                <a:gd name="T14" fmla="*/ 2147483647 w 475"/>
                <a:gd name="T15" fmla="*/ 2147483647 h 511"/>
                <a:gd name="T16" fmla="*/ 2147483647 w 475"/>
                <a:gd name="T17" fmla="*/ 2147483647 h 511"/>
                <a:gd name="T18" fmla="*/ 2147483647 w 475"/>
                <a:gd name="T19" fmla="*/ 2147483647 h 511"/>
                <a:gd name="T20" fmla="*/ 2147483647 w 475"/>
                <a:gd name="T21" fmla="*/ 2147483647 h 511"/>
                <a:gd name="T22" fmla="*/ 2147483647 w 475"/>
                <a:gd name="T23" fmla="*/ 2147483647 h 511"/>
                <a:gd name="T24" fmla="*/ 2147483647 w 475"/>
                <a:gd name="T25" fmla="*/ 2147483647 h 511"/>
                <a:gd name="T26" fmla="*/ 2147483647 w 475"/>
                <a:gd name="T27" fmla="*/ 2147483647 h 511"/>
                <a:gd name="T28" fmla="*/ 2147483647 w 475"/>
                <a:gd name="T29" fmla="*/ 2147483647 h 511"/>
                <a:gd name="T30" fmla="*/ 2147483647 w 475"/>
                <a:gd name="T31" fmla="*/ 2147483647 h 511"/>
                <a:gd name="T32" fmla="*/ 2147483647 w 475"/>
                <a:gd name="T33" fmla="*/ 2147483647 h 511"/>
                <a:gd name="T34" fmla="*/ 2147483647 w 475"/>
                <a:gd name="T35" fmla="*/ 2147483647 h 511"/>
                <a:gd name="T36" fmla="*/ 2147483647 w 475"/>
                <a:gd name="T37" fmla="*/ 2147483647 h 511"/>
                <a:gd name="T38" fmla="*/ 2147483647 w 475"/>
                <a:gd name="T39" fmla="*/ 2147483647 h 511"/>
                <a:gd name="T40" fmla="*/ 2147483647 w 475"/>
                <a:gd name="T41" fmla="*/ 2147483647 h 511"/>
                <a:gd name="T42" fmla="*/ 2147483647 w 475"/>
                <a:gd name="T43" fmla="*/ 2147483647 h 511"/>
                <a:gd name="T44" fmla="*/ 2147483647 w 475"/>
                <a:gd name="T45" fmla="*/ 2147483647 h 511"/>
                <a:gd name="T46" fmla="*/ 2147483647 w 475"/>
                <a:gd name="T47" fmla="*/ 2147483647 h 511"/>
                <a:gd name="T48" fmla="*/ 2147483647 w 475"/>
                <a:gd name="T49" fmla="*/ 2147483647 h 511"/>
                <a:gd name="T50" fmla="*/ 2147483647 w 475"/>
                <a:gd name="T51" fmla="*/ 2147483647 h 511"/>
                <a:gd name="T52" fmla="*/ 2147483647 w 475"/>
                <a:gd name="T53" fmla="*/ 2147483647 h 511"/>
                <a:gd name="T54" fmla="*/ 2147483647 w 475"/>
                <a:gd name="T55" fmla="*/ 2147483647 h 511"/>
                <a:gd name="T56" fmla="*/ 2147483647 w 475"/>
                <a:gd name="T57" fmla="*/ 2147483647 h 511"/>
                <a:gd name="T58" fmla="*/ 2147483647 w 475"/>
                <a:gd name="T59" fmla="*/ 2147483647 h 511"/>
                <a:gd name="T60" fmla="*/ 2147483647 w 475"/>
                <a:gd name="T61" fmla="*/ 2147483647 h 511"/>
                <a:gd name="T62" fmla="*/ 2147483647 w 475"/>
                <a:gd name="T63" fmla="*/ 2147483647 h 511"/>
                <a:gd name="T64" fmla="*/ 2147483647 w 475"/>
                <a:gd name="T65" fmla="*/ 2147483647 h 511"/>
                <a:gd name="T66" fmla="*/ 2147483647 w 475"/>
                <a:gd name="T67" fmla="*/ 2147483647 h 511"/>
                <a:gd name="T68" fmla="*/ 2147483647 w 475"/>
                <a:gd name="T69" fmla="*/ 2147483647 h 511"/>
                <a:gd name="T70" fmla="*/ 2147483647 w 475"/>
                <a:gd name="T71" fmla="*/ 2147483647 h 511"/>
                <a:gd name="T72" fmla="*/ 2147483647 w 475"/>
                <a:gd name="T73" fmla="*/ 2147483647 h 511"/>
                <a:gd name="T74" fmla="*/ 2147483647 w 475"/>
                <a:gd name="T75" fmla="*/ 0 h 511"/>
                <a:gd name="T76" fmla="*/ 2147483647 w 475"/>
                <a:gd name="T77" fmla="*/ 2147483647 h 511"/>
                <a:gd name="T78" fmla="*/ 2147483647 w 475"/>
                <a:gd name="T79" fmla="*/ 2147483647 h 511"/>
                <a:gd name="T80" fmla="*/ 2147483647 w 475"/>
                <a:gd name="T81" fmla="*/ 2147483647 h 511"/>
                <a:gd name="T82" fmla="*/ 2147483647 w 475"/>
                <a:gd name="T83" fmla="*/ 2147483647 h 511"/>
                <a:gd name="T84" fmla="*/ 2147483647 w 475"/>
                <a:gd name="T85" fmla="*/ 2147483647 h 511"/>
                <a:gd name="T86" fmla="*/ 2147483647 w 475"/>
                <a:gd name="T87" fmla="*/ 2147483647 h 51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5" h="511">
                  <a:moveTo>
                    <a:pt x="0" y="121"/>
                  </a:moveTo>
                  <a:lnTo>
                    <a:pt x="37" y="121"/>
                  </a:lnTo>
                  <a:lnTo>
                    <a:pt x="25" y="144"/>
                  </a:lnTo>
                  <a:lnTo>
                    <a:pt x="81" y="133"/>
                  </a:lnTo>
                  <a:lnTo>
                    <a:pt x="31" y="144"/>
                  </a:lnTo>
                  <a:lnTo>
                    <a:pt x="50" y="144"/>
                  </a:lnTo>
                  <a:lnTo>
                    <a:pt x="31" y="154"/>
                  </a:lnTo>
                  <a:lnTo>
                    <a:pt x="37" y="165"/>
                  </a:lnTo>
                  <a:lnTo>
                    <a:pt x="112" y="144"/>
                  </a:lnTo>
                  <a:lnTo>
                    <a:pt x="37" y="177"/>
                  </a:lnTo>
                  <a:lnTo>
                    <a:pt x="75" y="200"/>
                  </a:lnTo>
                  <a:lnTo>
                    <a:pt x="100" y="165"/>
                  </a:lnTo>
                  <a:lnTo>
                    <a:pt x="151" y="154"/>
                  </a:lnTo>
                  <a:lnTo>
                    <a:pt x="100" y="165"/>
                  </a:lnTo>
                  <a:lnTo>
                    <a:pt x="87" y="200"/>
                  </a:lnTo>
                  <a:lnTo>
                    <a:pt x="119" y="200"/>
                  </a:lnTo>
                  <a:lnTo>
                    <a:pt x="151" y="177"/>
                  </a:lnTo>
                  <a:lnTo>
                    <a:pt x="131" y="200"/>
                  </a:lnTo>
                  <a:lnTo>
                    <a:pt x="151" y="200"/>
                  </a:lnTo>
                  <a:lnTo>
                    <a:pt x="187" y="177"/>
                  </a:lnTo>
                  <a:lnTo>
                    <a:pt x="181" y="154"/>
                  </a:lnTo>
                  <a:lnTo>
                    <a:pt x="220" y="133"/>
                  </a:lnTo>
                  <a:lnTo>
                    <a:pt x="194" y="177"/>
                  </a:lnTo>
                  <a:lnTo>
                    <a:pt x="257" y="165"/>
                  </a:lnTo>
                  <a:lnTo>
                    <a:pt x="131" y="209"/>
                  </a:lnTo>
                  <a:lnTo>
                    <a:pt x="156" y="267"/>
                  </a:lnTo>
                  <a:lnTo>
                    <a:pt x="181" y="267"/>
                  </a:lnTo>
                  <a:lnTo>
                    <a:pt x="169" y="277"/>
                  </a:lnTo>
                  <a:lnTo>
                    <a:pt x="125" y="223"/>
                  </a:lnTo>
                  <a:lnTo>
                    <a:pt x="81" y="209"/>
                  </a:lnTo>
                  <a:lnTo>
                    <a:pt x="81" y="232"/>
                  </a:lnTo>
                  <a:lnTo>
                    <a:pt x="100" y="244"/>
                  </a:lnTo>
                  <a:lnTo>
                    <a:pt x="81" y="255"/>
                  </a:lnTo>
                  <a:lnTo>
                    <a:pt x="131" y="311"/>
                  </a:lnTo>
                  <a:lnTo>
                    <a:pt x="112" y="311"/>
                  </a:lnTo>
                  <a:lnTo>
                    <a:pt x="162" y="311"/>
                  </a:lnTo>
                  <a:lnTo>
                    <a:pt x="131" y="321"/>
                  </a:lnTo>
                  <a:lnTo>
                    <a:pt x="144" y="344"/>
                  </a:lnTo>
                  <a:lnTo>
                    <a:pt x="106" y="321"/>
                  </a:lnTo>
                  <a:lnTo>
                    <a:pt x="75" y="332"/>
                  </a:lnTo>
                  <a:lnTo>
                    <a:pt x="69" y="376"/>
                  </a:lnTo>
                  <a:lnTo>
                    <a:pt x="94" y="355"/>
                  </a:lnTo>
                  <a:lnTo>
                    <a:pt x="87" y="376"/>
                  </a:lnTo>
                  <a:lnTo>
                    <a:pt x="100" y="376"/>
                  </a:lnTo>
                  <a:lnTo>
                    <a:pt x="112" y="344"/>
                  </a:lnTo>
                  <a:lnTo>
                    <a:pt x="106" y="367"/>
                  </a:lnTo>
                  <a:lnTo>
                    <a:pt x="119" y="376"/>
                  </a:lnTo>
                  <a:lnTo>
                    <a:pt x="94" y="390"/>
                  </a:lnTo>
                  <a:lnTo>
                    <a:pt x="112" y="390"/>
                  </a:lnTo>
                  <a:lnTo>
                    <a:pt x="100" y="400"/>
                  </a:lnTo>
                  <a:lnTo>
                    <a:pt x="106" y="421"/>
                  </a:lnTo>
                  <a:lnTo>
                    <a:pt x="131" y="421"/>
                  </a:lnTo>
                  <a:lnTo>
                    <a:pt x="144" y="376"/>
                  </a:lnTo>
                  <a:lnTo>
                    <a:pt x="112" y="434"/>
                  </a:lnTo>
                  <a:lnTo>
                    <a:pt x="81" y="390"/>
                  </a:lnTo>
                  <a:lnTo>
                    <a:pt x="56" y="400"/>
                  </a:lnTo>
                  <a:lnTo>
                    <a:pt x="81" y="444"/>
                  </a:lnTo>
                  <a:lnTo>
                    <a:pt x="37" y="455"/>
                  </a:lnTo>
                  <a:lnTo>
                    <a:pt x="44" y="488"/>
                  </a:lnTo>
                  <a:lnTo>
                    <a:pt x="50" y="465"/>
                  </a:lnTo>
                  <a:lnTo>
                    <a:pt x="50" y="488"/>
                  </a:lnTo>
                  <a:lnTo>
                    <a:pt x="81" y="478"/>
                  </a:lnTo>
                  <a:lnTo>
                    <a:pt x="100" y="499"/>
                  </a:lnTo>
                  <a:lnTo>
                    <a:pt x="112" y="499"/>
                  </a:lnTo>
                  <a:lnTo>
                    <a:pt x="106" y="478"/>
                  </a:lnTo>
                  <a:lnTo>
                    <a:pt x="131" y="488"/>
                  </a:lnTo>
                  <a:lnTo>
                    <a:pt x="131" y="465"/>
                  </a:lnTo>
                  <a:lnTo>
                    <a:pt x="144" y="488"/>
                  </a:lnTo>
                  <a:lnTo>
                    <a:pt x="151" y="488"/>
                  </a:lnTo>
                  <a:lnTo>
                    <a:pt x="144" y="465"/>
                  </a:lnTo>
                  <a:lnTo>
                    <a:pt x="169" y="488"/>
                  </a:lnTo>
                  <a:lnTo>
                    <a:pt x="169" y="511"/>
                  </a:lnTo>
                  <a:lnTo>
                    <a:pt x="206" y="488"/>
                  </a:lnTo>
                  <a:lnTo>
                    <a:pt x="220" y="455"/>
                  </a:lnTo>
                  <a:lnTo>
                    <a:pt x="194" y="465"/>
                  </a:lnTo>
                  <a:lnTo>
                    <a:pt x="194" y="444"/>
                  </a:lnTo>
                  <a:lnTo>
                    <a:pt x="151" y="434"/>
                  </a:lnTo>
                  <a:lnTo>
                    <a:pt x="212" y="434"/>
                  </a:lnTo>
                  <a:lnTo>
                    <a:pt x="220" y="411"/>
                  </a:lnTo>
                  <a:lnTo>
                    <a:pt x="212" y="390"/>
                  </a:lnTo>
                  <a:lnTo>
                    <a:pt x="244" y="390"/>
                  </a:lnTo>
                  <a:lnTo>
                    <a:pt x="257" y="376"/>
                  </a:lnTo>
                  <a:lnTo>
                    <a:pt x="231" y="367"/>
                  </a:lnTo>
                  <a:lnTo>
                    <a:pt x="262" y="367"/>
                  </a:lnTo>
                  <a:lnTo>
                    <a:pt x="244" y="344"/>
                  </a:lnTo>
                  <a:lnTo>
                    <a:pt x="269" y="332"/>
                  </a:lnTo>
                  <a:lnTo>
                    <a:pt x="262" y="321"/>
                  </a:lnTo>
                  <a:lnTo>
                    <a:pt x="220" y="321"/>
                  </a:lnTo>
                  <a:lnTo>
                    <a:pt x="244" y="311"/>
                  </a:lnTo>
                  <a:lnTo>
                    <a:pt x="220" y="300"/>
                  </a:lnTo>
                  <a:lnTo>
                    <a:pt x="269" y="311"/>
                  </a:lnTo>
                  <a:lnTo>
                    <a:pt x="269" y="300"/>
                  </a:lnTo>
                  <a:lnTo>
                    <a:pt x="220" y="288"/>
                  </a:lnTo>
                  <a:lnTo>
                    <a:pt x="281" y="277"/>
                  </a:lnTo>
                  <a:lnTo>
                    <a:pt x="269" y="255"/>
                  </a:lnTo>
                  <a:lnTo>
                    <a:pt x="312" y="267"/>
                  </a:lnTo>
                  <a:lnTo>
                    <a:pt x="326" y="232"/>
                  </a:lnTo>
                  <a:lnTo>
                    <a:pt x="307" y="232"/>
                  </a:lnTo>
                  <a:lnTo>
                    <a:pt x="337" y="232"/>
                  </a:lnTo>
                  <a:lnTo>
                    <a:pt x="331" y="209"/>
                  </a:lnTo>
                  <a:lnTo>
                    <a:pt x="345" y="209"/>
                  </a:lnTo>
                  <a:lnTo>
                    <a:pt x="425" y="133"/>
                  </a:lnTo>
                  <a:lnTo>
                    <a:pt x="337" y="165"/>
                  </a:lnTo>
                  <a:lnTo>
                    <a:pt x="387" y="133"/>
                  </a:lnTo>
                  <a:lnTo>
                    <a:pt x="356" y="133"/>
                  </a:lnTo>
                  <a:lnTo>
                    <a:pt x="350" y="110"/>
                  </a:lnTo>
                  <a:lnTo>
                    <a:pt x="406" y="121"/>
                  </a:lnTo>
                  <a:lnTo>
                    <a:pt x="475" y="77"/>
                  </a:lnTo>
                  <a:lnTo>
                    <a:pt x="475" y="56"/>
                  </a:lnTo>
                  <a:lnTo>
                    <a:pt x="445" y="56"/>
                  </a:lnTo>
                  <a:lnTo>
                    <a:pt x="438" y="21"/>
                  </a:lnTo>
                  <a:lnTo>
                    <a:pt x="356" y="44"/>
                  </a:lnTo>
                  <a:lnTo>
                    <a:pt x="395" y="21"/>
                  </a:lnTo>
                  <a:lnTo>
                    <a:pt x="281" y="0"/>
                  </a:lnTo>
                  <a:lnTo>
                    <a:pt x="275" y="21"/>
                  </a:lnTo>
                  <a:lnTo>
                    <a:pt x="281" y="33"/>
                  </a:lnTo>
                  <a:lnTo>
                    <a:pt x="262" y="10"/>
                  </a:lnTo>
                  <a:lnTo>
                    <a:pt x="212" y="10"/>
                  </a:lnTo>
                  <a:lnTo>
                    <a:pt x="244" y="56"/>
                  </a:lnTo>
                  <a:lnTo>
                    <a:pt x="238" y="56"/>
                  </a:lnTo>
                  <a:lnTo>
                    <a:pt x="220" y="21"/>
                  </a:lnTo>
                  <a:lnTo>
                    <a:pt x="175" y="21"/>
                  </a:lnTo>
                  <a:lnTo>
                    <a:pt x="181" y="33"/>
                  </a:lnTo>
                  <a:lnTo>
                    <a:pt x="151" y="33"/>
                  </a:lnTo>
                  <a:lnTo>
                    <a:pt x="162" y="56"/>
                  </a:lnTo>
                  <a:lnTo>
                    <a:pt x="137" y="44"/>
                  </a:lnTo>
                  <a:lnTo>
                    <a:pt x="144" y="56"/>
                  </a:lnTo>
                  <a:lnTo>
                    <a:pt x="131" y="56"/>
                  </a:lnTo>
                  <a:lnTo>
                    <a:pt x="169" y="88"/>
                  </a:lnTo>
                  <a:lnTo>
                    <a:pt x="87" y="56"/>
                  </a:lnTo>
                  <a:lnTo>
                    <a:pt x="75" y="77"/>
                  </a:lnTo>
                  <a:lnTo>
                    <a:pt x="100" y="88"/>
                  </a:lnTo>
                  <a:lnTo>
                    <a:pt x="50" y="88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41" name="Freeform 168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131997" y="1953783"/>
              <a:ext cx="880149" cy="404812"/>
            </a:xfrm>
            <a:custGeom>
              <a:avLst/>
              <a:gdLst>
                <a:gd name="T0" fmla="*/ 2147483647 w 475"/>
                <a:gd name="T1" fmla="*/ 2147483647 h 511"/>
                <a:gd name="T2" fmla="*/ 2147483647 w 475"/>
                <a:gd name="T3" fmla="*/ 2147483647 h 511"/>
                <a:gd name="T4" fmla="*/ 2147483647 w 475"/>
                <a:gd name="T5" fmla="*/ 2147483647 h 511"/>
                <a:gd name="T6" fmla="*/ 2147483647 w 475"/>
                <a:gd name="T7" fmla="*/ 2147483647 h 511"/>
                <a:gd name="T8" fmla="*/ 2147483647 w 475"/>
                <a:gd name="T9" fmla="*/ 2147483647 h 511"/>
                <a:gd name="T10" fmla="*/ 2147483647 w 475"/>
                <a:gd name="T11" fmla="*/ 2147483647 h 511"/>
                <a:gd name="T12" fmla="*/ 2147483647 w 475"/>
                <a:gd name="T13" fmla="*/ 2147483647 h 511"/>
                <a:gd name="T14" fmla="*/ 2147483647 w 475"/>
                <a:gd name="T15" fmla="*/ 2147483647 h 511"/>
                <a:gd name="T16" fmla="*/ 2147483647 w 475"/>
                <a:gd name="T17" fmla="*/ 2147483647 h 511"/>
                <a:gd name="T18" fmla="*/ 2147483647 w 475"/>
                <a:gd name="T19" fmla="*/ 2147483647 h 511"/>
                <a:gd name="T20" fmla="*/ 2147483647 w 475"/>
                <a:gd name="T21" fmla="*/ 2147483647 h 511"/>
                <a:gd name="T22" fmla="*/ 2147483647 w 475"/>
                <a:gd name="T23" fmla="*/ 2147483647 h 511"/>
                <a:gd name="T24" fmla="*/ 2147483647 w 475"/>
                <a:gd name="T25" fmla="*/ 2147483647 h 511"/>
                <a:gd name="T26" fmla="*/ 2147483647 w 475"/>
                <a:gd name="T27" fmla="*/ 2147483647 h 511"/>
                <a:gd name="T28" fmla="*/ 2147483647 w 475"/>
                <a:gd name="T29" fmla="*/ 2147483647 h 511"/>
                <a:gd name="T30" fmla="*/ 2147483647 w 475"/>
                <a:gd name="T31" fmla="*/ 2147483647 h 511"/>
                <a:gd name="T32" fmla="*/ 2147483647 w 475"/>
                <a:gd name="T33" fmla="*/ 2147483647 h 511"/>
                <a:gd name="T34" fmla="*/ 2147483647 w 475"/>
                <a:gd name="T35" fmla="*/ 2147483647 h 511"/>
                <a:gd name="T36" fmla="*/ 2147483647 w 475"/>
                <a:gd name="T37" fmla="*/ 2147483647 h 511"/>
                <a:gd name="T38" fmla="*/ 2147483647 w 475"/>
                <a:gd name="T39" fmla="*/ 2147483647 h 511"/>
                <a:gd name="T40" fmla="*/ 2147483647 w 475"/>
                <a:gd name="T41" fmla="*/ 2147483647 h 511"/>
                <a:gd name="T42" fmla="*/ 2147483647 w 475"/>
                <a:gd name="T43" fmla="*/ 2147483647 h 511"/>
                <a:gd name="T44" fmla="*/ 2147483647 w 475"/>
                <a:gd name="T45" fmla="*/ 2147483647 h 511"/>
                <a:gd name="T46" fmla="*/ 2147483647 w 475"/>
                <a:gd name="T47" fmla="*/ 2147483647 h 511"/>
                <a:gd name="T48" fmla="*/ 2147483647 w 475"/>
                <a:gd name="T49" fmla="*/ 2147483647 h 511"/>
                <a:gd name="T50" fmla="*/ 2147483647 w 475"/>
                <a:gd name="T51" fmla="*/ 2147483647 h 511"/>
                <a:gd name="T52" fmla="*/ 2147483647 w 475"/>
                <a:gd name="T53" fmla="*/ 2147483647 h 511"/>
                <a:gd name="T54" fmla="*/ 2147483647 w 475"/>
                <a:gd name="T55" fmla="*/ 2147483647 h 511"/>
                <a:gd name="T56" fmla="*/ 2147483647 w 475"/>
                <a:gd name="T57" fmla="*/ 2147483647 h 511"/>
                <a:gd name="T58" fmla="*/ 2147483647 w 475"/>
                <a:gd name="T59" fmla="*/ 2147483647 h 511"/>
                <a:gd name="T60" fmla="*/ 2147483647 w 475"/>
                <a:gd name="T61" fmla="*/ 2147483647 h 511"/>
                <a:gd name="T62" fmla="*/ 2147483647 w 475"/>
                <a:gd name="T63" fmla="*/ 2147483647 h 511"/>
                <a:gd name="T64" fmla="*/ 2147483647 w 475"/>
                <a:gd name="T65" fmla="*/ 2147483647 h 511"/>
                <a:gd name="T66" fmla="*/ 2147483647 w 475"/>
                <a:gd name="T67" fmla="*/ 2147483647 h 511"/>
                <a:gd name="T68" fmla="*/ 2147483647 w 475"/>
                <a:gd name="T69" fmla="*/ 2147483647 h 511"/>
                <a:gd name="T70" fmla="*/ 2147483647 w 475"/>
                <a:gd name="T71" fmla="*/ 2147483647 h 511"/>
                <a:gd name="T72" fmla="*/ 2147483647 w 475"/>
                <a:gd name="T73" fmla="*/ 2147483647 h 511"/>
                <a:gd name="T74" fmla="*/ 2147483647 w 475"/>
                <a:gd name="T75" fmla="*/ 0 h 511"/>
                <a:gd name="T76" fmla="*/ 2147483647 w 475"/>
                <a:gd name="T77" fmla="*/ 2147483647 h 511"/>
                <a:gd name="T78" fmla="*/ 2147483647 w 475"/>
                <a:gd name="T79" fmla="*/ 2147483647 h 511"/>
                <a:gd name="T80" fmla="*/ 2147483647 w 475"/>
                <a:gd name="T81" fmla="*/ 2147483647 h 511"/>
                <a:gd name="T82" fmla="*/ 2147483647 w 475"/>
                <a:gd name="T83" fmla="*/ 2147483647 h 511"/>
                <a:gd name="T84" fmla="*/ 2147483647 w 475"/>
                <a:gd name="T85" fmla="*/ 2147483647 h 511"/>
                <a:gd name="T86" fmla="*/ 2147483647 w 475"/>
                <a:gd name="T87" fmla="*/ 2147483647 h 51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5" h="511">
                  <a:moveTo>
                    <a:pt x="0" y="121"/>
                  </a:moveTo>
                  <a:lnTo>
                    <a:pt x="37" y="121"/>
                  </a:lnTo>
                  <a:lnTo>
                    <a:pt x="25" y="144"/>
                  </a:lnTo>
                  <a:lnTo>
                    <a:pt x="81" y="133"/>
                  </a:lnTo>
                  <a:lnTo>
                    <a:pt x="31" y="144"/>
                  </a:lnTo>
                  <a:lnTo>
                    <a:pt x="50" y="144"/>
                  </a:lnTo>
                  <a:lnTo>
                    <a:pt x="31" y="154"/>
                  </a:lnTo>
                  <a:lnTo>
                    <a:pt x="37" y="165"/>
                  </a:lnTo>
                  <a:lnTo>
                    <a:pt x="112" y="144"/>
                  </a:lnTo>
                  <a:lnTo>
                    <a:pt x="37" y="177"/>
                  </a:lnTo>
                  <a:lnTo>
                    <a:pt x="75" y="200"/>
                  </a:lnTo>
                  <a:lnTo>
                    <a:pt x="100" y="165"/>
                  </a:lnTo>
                  <a:lnTo>
                    <a:pt x="151" y="154"/>
                  </a:lnTo>
                  <a:lnTo>
                    <a:pt x="100" y="165"/>
                  </a:lnTo>
                  <a:lnTo>
                    <a:pt x="87" y="200"/>
                  </a:lnTo>
                  <a:lnTo>
                    <a:pt x="119" y="200"/>
                  </a:lnTo>
                  <a:lnTo>
                    <a:pt x="151" y="177"/>
                  </a:lnTo>
                  <a:lnTo>
                    <a:pt x="131" y="200"/>
                  </a:lnTo>
                  <a:lnTo>
                    <a:pt x="151" y="200"/>
                  </a:lnTo>
                  <a:lnTo>
                    <a:pt x="187" y="177"/>
                  </a:lnTo>
                  <a:lnTo>
                    <a:pt x="181" y="154"/>
                  </a:lnTo>
                  <a:lnTo>
                    <a:pt x="220" y="133"/>
                  </a:lnTo>
                  <a:lnTo>
                    <a:pt x="194" y="177"/>
                  </a:lnTo>
                  <a:lnTo>
                    <a:pt x="257" y="165"/>
                  </a:lnTo>
                  <a:lnTo>
                    <a:pt x="131" y="209"/>
                  </a:lnTo>
                  <a:lnTo>
                    <a:pt x="156" y="267"/>
                  </a:lnTo>
                  <a:lnTo>
                    <a:pt x="181" y="267"/>
                  </a:lnTo>
                  <a:lnTo>
                    <a:pt x="169" y="277"/>
                  </a:lnTo>
                  <a:lnTo>
                    <a:pt x="125" y="223"/>
                  </a:lnTo>
                  <a:lnTo>
                    <a:pt x="81" y="209"/>
                  </a:lnTo>
                  <a:lnTo>
                    <a:pt x="81" y="232"/>
                  </a:lnTo>
                  <a:lnTo>
                    <a:pt x="100" y="244"/>
                  </a:lnTo>
                  <a:lnTo>
                    <a:pt x="81" y="255"/>
                  </a:lnTo>
                  <a:lnTo>
                    <a:pt x="131" y="311"/>
                  </a:lnTo>
                  <a:lnTo>
                    <a:pt x="112" y="311"/>
                  </a:lnTo>
                  <a:lnTo>
                    <a:pt x="162" y="311"/>
                  </a:lnTo>
                  <a:lnTo>
                    <a:pt x="131" y="321"/>
                  </a:lnTo>
                  <a:lnTo>
                    <a:pt x="144" y="344"/>
                  </a:lnTo>
                  <a:lnTo>
                    <a:pt x="106" y="321"/>
                  </a:lnTo>
                  <a:lnTo>
                    <a:pt x="75" y="332"/>
                  </a:lnTo>
                  <a:lnTo>
                    <a:pt x="69" y="376"/>
                  </a:lnTo>
                  <a:lnTo>
                    <a:pt x="94" y="355"/>
                  </a:lnTo>
                  <a:lnTo>
                    <a:pt x="87" y="376"/>
                  </a:lnTo>
                  <a:lnTo>
                    <a:pt x="100" y="376"/>
                  </a:lnTo>
                  <a:lnTo>
                    <a:pt x="112" y="344"/>
                  </a:lnTo>
                  <a:lnTo>
                    <a:pt x="106" y="367"/>
                  </a:lnTo>
                  <a:lnTo>
                    <a:pt x="119" y="376"/>
                  </a:lnTo>
                  <a:lnTo>
                    <a:pt x="94" y="390"/>
                  </a:lnTo>
                  <a:lnTo>
                    <a:pt x="112" y="390"/>
                  </a:lnTo>
                  <a:lnTo>
                    <a:pt x="100" y="400"/>
                  </a:lnTo>
                  <a:lnTo>
                    <a:pt x="106" y="421"/>
                  </a:lnTo>
                  <a:lnTo>
                    <a:pt x="131" y="421"/>
                  </a:lnTo>
                  <a:lnTo>
                    <a:pt x="144" y="376"/>
                  </a:lnTo>
                  <a:lnTo>
                    <a:pt x="112" y="434"/>
                  </a:lnTo>
                  <a:lnTo>
                    <a:pt x="81" y="390"/>
                  </a:lnTo>
                  <a:lnTo>
                    <a:pt x="56" y="400"/>
                  </a:lnTo>
                  <a:lnTo>
                    <a:pt x="81" y="444"/>
                  </a:lnTo>
                  <a:lnTo>
                    <a:pt x="37" y="455"/>
                  </a:lnTo>
                  <a:lnTo>
                    <a:pt x="44" y="488"/>
                  </a:lnTo>
                  <a:lnTo>
                    <a:pt x="50" y="465"/>
                  </a:lnTo>
                  <a:lnTo>
                    <a:pt x="50" y="488"/>
                  </a:lnTo>
                  <a:lnTo>
                    <a:pt x="81" y="478"/>
                  </a:lnTo>
                  <a:lnTo>
                    <a:pt x="100" y="499"/>
                  </a:lnTo>
                  <a:lnTo>
                    <a:pt x="112" y="499"/>
                  </a:lnTo>
                  <a:lnTo>
                    <a:pt x="106" y="478"/>
                  </a:lnTo>
                  <a:lnTo>
                    <a:pt x="131" y="488"/>
                  </a:lnTo>
                  <a:lnTo>
                    <a:pt x="131" y="465"/>
                  </a:lnTo>
                  <a:lnTo>
                    <a:pt x="144" y="488"/>
                  </a:lnTo>
                  <a:lnTo>
                    <a:pt x="151" y="488"/>
                  </a:lnTo>
                  <a:lnTo>
                    <a:pt x="144" y="465"/>
                  </a:lnTo>
                  <a:lnTo>
                    <a:pt x="169" y="488"/>
                  </a:lnTo>
                  <a:lnTo>
                    <a:pt x="169" y="511"/>
                  </a:lnTo>
                  <a:lnTo>
                    <a:pt x="206" y="488"/>
                  </a:lnTo>
                  <a:lnTo>
                    <a:pt x="220" y="455"/>
                  </a:lnTo>
                  <a:lnTo>
                    <a:pt x="194" y="465"/>
                  </a:lnTo>
                  <a:lnTo>
                    <a:pt x="194" y="444"/>
                  </a:lnTo>
                  <a:lnTo>
                    <a:pt x="151" y="434"/>
                  </a:lnTo>
                  <a:lnTo>
                    <a:pt x="212" y="434"/>
                  </a:lnTo>
                  <a:lnTo>
                    <a:pt x="220" y="411"/>
                  </a:lnTo>
                  <a:lnTo>
                    <a:pt x="212" y="390"/>
                  </a:lnTo>
                  <a:lnTo>
                    <a:pt x="244" y="390"/>
                  </a:lnTo>
                  <a:lnTo>
                    <a:pt x="257" y="376"/>
                  </a:lnTo>
                  <a:lnTo>
                    <a:pt x="231" y="367"/>
                  </a:lnTo>
                  <a:lnTo>
                    <a:pt x="262" y="367"/>
                  </a:lnTo>
                  <a:lnTo>
                    <a:pt x="244" y="344"/>
                  </a:lnTo>
                  <a:lnTo>
                    <a:pt x="269" y="332"/>
                  </a:lnTo>
                  <a:lnTo>
                    <a:pt x="262" y="321"/>
                  </a:lnTo>
                  <a:lnTo>
                    <a:pt x="220" y="321"/>
                  </a:lnTo>
                  <a:lnTo>
                    <a:pt x="244" y="311"/>
                  </a:lnTo>
                  <a:lnTo>
                    <a:pt x="220" y="300"/>
                  </a:lnTo>
                  <a:lnTo>
                    <a:pt x="269" y="311"/>
                  </a:lnTo>
                  <a:lnTo>
                    <a:pt x="269" y="300"/>
                  </a:lnTo>
                  <a:lnTo>
                    <a:pt x="220" y="288"/>
                  </a:lnTo>
                  <a:lnTo>
                    <a:pt x="281" y="277"/>
                  </a:lnTo>
                  <a:lnTo>
                    <a:pt x="269" y="255"/>
                  </a:lnTo>
                  <a:lnTo>
                    <a:pt x="312" y="267"/>
                  </a:lnTo>
                  <a:lnTo>
                    <a:pt x="326" y="232"/>
                  </a:lnTo>
                  <a:lnTo>
                    <a:pt x="307" y="232"/>
                  </a:lnTo>
                  <a:lnTo>
                    <a:pt x="337" y="232"/>
                  </a:lnTo>
                  <a:lnTo>
                    <a:pt x="331" y="209"/>
                  </a:lnTo>
                  <a:lnTo>
                    <a:pt x="345" y="209"/>
                  </a:lnTo>
                  <a:lnTo>
                    <a:pt x="425" y="133"/>
                  </a:lnTo>
                  <a:lnTo>
                    <a:pt x="337" y="165"/>
                  </a:lnTo>
                  <a:lnTo>
                    <a:pt x="387" y="133"/>
                  </a:lnTo>
                  <a:lnTo>
                    <a:pt x="356" y="133"/>
                  </a:lnTo>
                  <a:lnTo>
                    <a:pt x="350" y="110"/>
                  </a:lnTo>
                  <a:lnTo>
                    <a:pt x="406" y="121"/>
                  </a:lnTo>
                  <a:lnTo>
                    <a:pt x="475" y="77"/>
                  </a:lnTo>
                  <a:lnTo>
                    <a:pt x="475" y="56"/>
                  </a:lnTo>
                  <a:lnTo>
                    <a:pt x="445" y="56"/>
                  </a:lnTo>
                  <a:lnTo>
                    <a:pt x="438" y="21"/>
                  </a:lnTo>
                  <a:lnTo>
                    <a:pt x="356" y="44"/>
                  </a:lnTo>
                  <a:lnTo>
                    <a:pt x="395" y="21"/>
                  </a:lnTo>
                  <a:lnTo>
                    <a:pt x="281" y="0"/>
                  </a:lnTo>
                  <a:lnTo>
                    <a:pt x="275" y="21"/>
                  </a:lnTo>
                  <a:lnTo>
                    <a:pt x="281" y="33"/>
                  </a:lnTo>
                  <a:lnTo>
                    <a:pt x="262" y="10"/>
                  </a:lnTo>
                  <a:lnTo>
                    <a:pt x="212" y="10"/>
                  </a:lnTo>
                  <a:lnTo>
                    <a:pt x="244" y="56"/>
                  </a:lnTo>
                  <a:lnTo>
                    <a:pt x="238" y="56"/>
                  </a:lnTo>
                  <a:lnTo>
                    <a:pt x="220" y="21"/>
                  </a:lnTo>
                  <a:lnTo>
                    <a:pt x="175" y="21"/>
                  </a:lnTo>
                  <a:lnTo>
                    <a:pt x="181" y="33"/>
                  </a:lnTo>
                  <a:lnTo>
                    <a:pt x="151" y="33"/>
                  </a:lnTo>
                  <a:lnTo>
                    <a:pt x="162" y="56"/>
                  </a:lnTo>
                  <a:lnTo>
                    <a:pt x="137" y="44"/>
                  </a:lnTo>
                  <a:lnTo>
                    <a:pt x="144" y="56"/>
                  </a:lnTo>
                  <a:lnTo>
                    <a:pt x="131" y="56"/>
                  </a:lnTo>
                  <a:lnTo>
                    <a:pt x="169" y="88"/>
                  </a:lnTo>
                  <a:lnTo>
                    <a:pt x="87" y="56"/>
                  </a:lnTo>
                  <a:lnTo>
                    <a:pt x="75" y="77"/>
                  </a:lnTo>
                  <a:lnTo>
                    <a:pt x="100" y="88"/>
                  </a:lnTo>
                  <a:lnTo>
                    <a:pt x="50" y="88"/>
                  </a:lnTo>
                  <a:lnTo>
                    <a:pt x="0" y="12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42" name="Freeform 169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131997" y="1953783"/>
              <a:ext cx="880149" cy="404812"/>
            </a:xfrm>
            <a:custGeom>
              <a:avLst/>
              <a:gdLst>
                <a:gd name="T0" fmla="*/ 2147483647 w 475"/>
                <a:gd name="T1" fmla="*/ 2147483647 h 511"/>
                <a:gd name="T2" fmla="*/ 2147483647 w 475"/>
                <a:gd name="T3" fmla="*/ 2147483647 h 511"/>
                <a:gd name="T4" fmla="*/ 2147483647 w 475"/>
                <a:gd name="T5" fmla="*/ 2147483647 h 511"/>
                <a:gd name="T6" fmla="*/ 2147483647 w 475"/>
                <a:gd name="T7" fmla="*/ 2147483647 h 511"/>
                <a:gd name="T8" fmla="*/ 2147483647 w 475"/>
                <a:gd name="T9" fmla="*/ 2147483647 h 511"/>
                <a:gd name="T10" fmla="*/ 2147483647 w 475"/>
                <a:gd name="T11" fmla="*/ 2147483647 h 511"/>
                <a:gd name="T12" fmla="*/ 2147483647 w 475"/>
                <a:gd name="T13" fmla="*/ 2147483647 h 511"/>
                <a:gd name="T14" fmla="*/ 2147483647 w 475"/>
                <a:gd name="T15" fmla="*/ 2147483647 h 511"/>
                <a:gd name="T16" fmla="*/ 2147483647 w 475"/>
                <a:gd name="T17" fmla="*/ 2147483647 h 511"/>
                <a:gd name="T18" fmla="*/ 2147483647 w 475"/>
                <a:gd name="T19" fmla="*/ 2147483647 h 511"/>
                <a:gd name="T20" fmla="*/ 2147483647 w 475"/>
                <a:gd name="T21" fmla="*/ 2147483647 h 511"/>
                <a:gd name="T22" fmla="*/ 2147483647 w 475"/>
                <a:gd name="T23" fmla="*/ 2147483647 h 511"/>
                <a:gd name="T24" fmla="*/ 2147483647 w 475"/>
                <a:gd name="T25" fmla="*/ 2147483647 h 511"/>
                <a:gd name="T26" fmla="*/ 2147483647 w 475"/>
                <a:gd name="T27" fmla="*/ 2147483647 h 511"/>
                <a:gd name="T28" fmla="*/ 2147483647 w 475"/>
                <a:gd name="T29" fmla="*/ 2147483647 h 511"/>
                <a:gd name="T30" fmla="*/ 2147483647 w 475"/>
                <a:gd name="T31" fmla="*/ 2147483647 h 511"/>
                <a:gd name="T32" fmla="*/ 2147483647 w 475"/>
                <a:gd name="T33" fmla="*/ 2147483647 h 511"/>
                <a:gd name="T34" fmla="*/ 2147483647 w 475"/>
                <a:gd name="T35" fmla="*/ 2147483647 h 511"/>
                <a:gd name="T36" fmla="*/ 2147483647 w 475"/>
                <a:gd name="T37" fmla="*/ 2147483647 h 511"/>
                <a:gd name="T38" fmla="*/ 2147483647 w 475"/>
                <a:gd name="T39" fmla="*/ 2147483647 h 511"/>
                <a:gd name="T40" fmla="*/ 2147483647 w 475"/>
                <a:gd name="T41" fmla="*/ 2147483647 h 511"/>
                <a:gd name="T42" fmla="*/ 2147483647 w 475"/>
                <a:gd name="T43" fmla="*/ 2147483647 h 511"/>
                <a:gd name="T44" fmla="*/ 2147483647 w 475"/>
                <a:gd name="T45" fmla="*/ 2147483647 h 511"/>
                <a:gd name="T46" fmla="*/ 2147483647 w 475"/>
                <a:gd name="T47" fmla="*/ 2147483647 h 511"/>
                <a:gd name="T48" fmla="*/ 2147483647 w 475"/>
                <a:gd name="T49" fmla="*/ 2147483647 h 511"/>
                <a:gd name="T50" fmla="*/ 2147483647 w 475"/>
                <a:gd name="T51" fmla="*/ 2147483647 h 511"/>
                <a:gd name="T52" fmla="*/ 2147483647 w 475"/>
                <a:gd name="T53" fmla="*/ 2147483647 h 511"/>
                <a:gd name="T54" fmla="*/ 2147483647 w 475"/>
                <a:gd name="T55" fmla="*/ 2147483647 h 511"/>
                <a:gd name="T56" fmla="*/ 2147483647 w 475"/>
                <a:gd name="T57" fmla="*/ 2147483647 h 511"/>
                <a:gd name="T58" fmla="*/ 2147483647 w 475"/>
                <a:gd name="T59" fmla="*/ 2147483647 h 511"/>
                <a:gd name="T60" fmla="*/ 2147483647 w 475"/>
                <a:gd name="T61" fmla="*/ 2147483647 h 511"/>
                <a:gd name="T62" fmla="*/ 2147483647 w 475"/>
                <a:gd name="T63" fmla="*/ 2147483647 h 511"/>
                <a:gd name="T64" fmla="*/ 2147483647 w 475"/>
                <a:gd name="T65" fmla="*/ 2147483647 h 511"/>
                <a:gd name="T66" fmla="*/ 2147483647 w 475"/>
                <a:gd name="T67" fmla="*/ 2147483647 h 511"/>
                <a:gd name="T68" fmla="*/ 2147483647 w 475"/>
                <a:gd name="T69" fmla="*/ 2147483647 h 511"/>
                <a:gd name="T70" fmla="*/ 2147483647 w 475"/>
                <a:gd name="T71" fmla="*/ 2147483647 h 511"/>
                <a:gd name="T72" fmla="*/ 2147483647 w 475"/>
                <a:gd name="T73" fmla="*/ 2147483647 h 511"/>
                <a:gd name="T74" fmla="*/ 2147483647 w 475"/>
                <a:gd name="T75" fmla="*/ 0 h 511"/>
                <a:gd name="T76" fmla="*/ 2147483647 w 475"/>
                <a:gd name="T77" fmla="*/ 2147483647 h 511"/>
                <a:gd name="T78" fmla="*/ 2147483647 w 475"/>
                <a:gd name="T79" fmla="*/ 2147483647 h 511"/>
                <a:gd name="T80" fmla="*/ 2147483647 w 475"/>
                <a:gd name="T81" fmla="*/ 2147483647 h 511"/>
                <a:gd name="T82" fmla="*/ 2147483647 w 475"/>
                <a:gd name="T83" fmla="*/ 2147483647 h 511"/>
                <a:gd name="T84" fmla="*/ 2147483647 w 475"/>
                <a:gd name="T85" fmla="*/ 2147483647 h 511"/>
                <a:gd name="T86" fmla="*/ 2147483647 w 475"/>
                <a:gd name="T87" fmla="*/ 2147483647 h 51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5" h="511">
                  <a:moveTo>
                    <a:pt x="0" y="121"/>
                  </a:moveTo>
                  <a:lnTo>
                    <a:pt x="37" y="121"/>
                  </a:lnTo>
                  <a:lnTo>
                    <a:pt x="25" y="144"/>
                  </a:lnTo>
                  <a:lnTo>
                    <a:pt x="81" y="133"/>
                  </a:lnTo>
                  <a:lnTo>
                    <a:pt x="31" y="144"/>
                  </a:lnTo>
                  <a:lnTo>
                    <a:pt x="50" y="144"/>
                  </a:lnTo>
                  <a:lnTo>
                    <a:pt x="31" y="154"/>
                  </a:lnTo>
                  <a:lnTo>
                    <a:pt x="37" y="165"/>
                  </a:lnTo>
                  <a:lnTo>
                    <a:pt x="112" y="144"/>
                  </a:lnTo>
                  <a:lnTo>
                    <a:pt x="37" y="177"/>
                  </a:lnTo>
                  <a:lnTo>
                    <a:pt x="75" y="200"/>
                  </a:lnTo>
                  <a:lnTo>
                    <a:pt x="100" y="165"/>
                  </a:lnTo>
                  <a:lnTo>
                    <a:pt x="151" y="154"/>
                  </a:lnTo>
                  <a:lnTo>
                    <a:pt x="100" y="165"/>
                  </a:lnTo>
                  <a:lnTo>
                    <a:pt x="87" y="200"/>
                  </a:lnTo>
                  <a:lnTo>
                    <a:pt x="119" y="200"/>
                  </a:lnTo>
                  <a:lnTo>
                    <a:pt x="151" y="177"/>
                  </a:lnTo>
                  <a:lnTo>
                    <a:pt x="131" y="200"/>
                  </a:lnTo>
                  <a:lnTo>
                    <a:pt x="151" y="200"/>
                  </a:lnTo>
                  <a:lnTo>
                    <a:pt x="187" y="177"/>
                  </a:lnTo>
                  <a:lnTo>
                    <a:pt x="181" y="154"/>
                  </a:lnTo>
                  <a:lnTo>
                    <a:pt x="220" y="133"/>
                  </a:lnTo>
                  <a:lnTo>
                    <a:pt x="194" y="177"/>
                  </a:lnTo>
                  <a:lnTo>
                    <a:pt x="257" y="165"/>
                  </a:lnTo>
                  <a:lnTo>
                    <a:pt x="131" y="209"/>
                  </a:lnTo>
                  <a:lnTo>
                    <a:pt x="156" y="267"/>
                  </a:lnTo>
                  <a:lnTo>
                    <a:pt x="181" y="267"/>
                  </a:lnTo>
                  <a:lnTo>
                    <a:pt x="169" y="277"/>
                  </a:lnTo>
                  <a:lnTo>
                    <a:pt x="125" y="223"/>
                  </a:lnTo>
                  <a:lnTo>
                    <a:pt x="81" y="209"/>
                  </a:lnTo>
                  <a:lnTo>
                    <a:pt x="81" y="232"/>
                  </a:lnTo>
                  <a:lnTo>
                    <a:pt x="100" y="244"/>
                  </a:lnTo>
                  <a:lnTo>
                    <a:pt x="81" y="255"/>
                  </a:lnTo>
                  <a:lnTo>
                    <a:pt x="131" y="311"/>
                  </a:lnTo>
                  <a:lnTo>
                    <a:pt x="112" y="311"/>
                  </a:lnTo>
                  <a:lnTo>
                    <a:pt x="162" y="311"/>
                  </a:lnTo>
                  <a:lnTo>
                    <a:pt x="131" y="321"/>
                  </a:lnTo>
                  <a:lnTo>
                    <a:pt x="144" y="344"/>
                  </a:lnTo>
                  <a:lnTo>
                    <a:pt x="106" y="321"/>
                  </a:lnTo>
                  <a:lnTo>
                    <a:pt x="75" y="332"/>
                  </a:lnTo>
                  <a:lnTo>
                    <a:pt x="69" y="376"/>
                  </a:lnTo>
                  <a:lnTo>
                    <a:pt x="94" y="355"/>
                  </a:lnTo>
                  <a:lnTo>
                    <a:pt x="87" y="376"/>
                  </a:lnTo>
                  <a:lnTo>
                    <a:pt x="100" y="376"/>
                  </a:lnTo>
                  <a:lnTo>
                    <a:pt x="112" y="344"/>
                  </a:lnTo>
                  <a:lnTo>
                    <a:pt x="106" y="367"/>
                  </a:lnTo>
                  <a:lnTo>
                    <a:pt x="119" y="376"/>
                  </a:lnTo>
                  <a:lnTo>
                    <a:pt x="94" y="390"/>
                  </a:lnTo>
                  <a:lnTo>
                    <a:pt x="112" y="390"/>
                  </a:lnTo>
                  <a:lnTo>
                    <a:pt x="100" y="400"/>
                  </a:lnTo>
                  <a:lnTo>
                    <a:pt x="106" y="421"/>
                  </a:lnTo>
                  <a:lnTo>
                    <a:pt x="131" y="421"/>
                  </a:lnTo>
                  <a:lnTo>
                    <a:pt x="144" y="376"/>
                  </a:lnTo>
                  <a:lnTo>
                    <a:pt x="112" y="434"/>
                  </a:lnTo>
                  <a:lnTo>
                    <a:pt x="81" y="390"/>
                  </a:lnTo>
                  <a:lnTo>
                    <a:pt x="56" y="400"/>
                  </a:lnTo>
                  <a:lnTo>
                    <a:pt x="81" y="444"/>
                  </a:lnTo>
                  <a:lnTo>
                    <a:pt x="37" y="455"/>
                  </a:lnTo>
                  <a:lnTo>
                    <a:pt x="44" y="488"/>
                  </a:lnTo>
                  <a:lnTo>
                    <a:pt x="50" y="465"/>
                  </a:lnTo>
                  <a:lnTo>
                    <a:pt x="50" y="488"/>
                  </a:lnTo>
                  <a:lnTo>
                    <a:pt x="81" y="478"/>
                  </a:lnTo>
                  <a:lnTo>
                    <a:pt x="100" y="499"/>
                  </a:lnTo>
                  <a:lnTo>
                    <a:pt x="112" y="499"/>
                  </a:lnTo>
                  <a:lnTo>
                    <a:pt x="106" y="478"/>
                  </a:lnTo>
                  <a:lnTo>
                    <a:pt x="131" y="488"/>
                  </a:lnTo>
                  <a:lnTo>
                    <a:pt x="131" y="465"/>
                  </a:lnTo>
                  <a:lnTo>
                    <a:pt x="144" y="488"/>
                  </a:lnTo>
                  <a:lnTo>
                    <a:pt x="151" y="488"/>
                  </a:lnTo>
                  <a:lnTo>
                    <a:pt x="144" y="465"/>
                  </a:lnTo>
                  <a:lnTo>
                    <a:pt x="169" y="488"/>
                  </a:lnTo>
                  <a:lnTo>
                    <a:pt x="169" y="511"/>
                  </a:lnTo>
                  <a:lnTo>
                    <a:pt x="206" y="488"/>
                  </a:lnTo>
                  <a:lnTo>
                    <a:pt x="220" y="455"/>
                  </a:lnTo>
                  <a:lnTo>
                    <a:pt x="194" y="465"/>
                  </a:lnTo>
                  <a:lnTo>
                    <a:pt x="194" y="444"/>
                  </a:lnTo>
                  <a:lnTo>
                    <a:pt x="151" y="434"/>
                  </a:lnTo>
                  <a:lnTo>
                    <a:pt x="212" y="434"/>
                  </a:lnTo>
                  <a:lnTo>
                    <a:pt x="220" y="411"/>
                  </a:lnTo>
                  <a:lnTo>
                    <a:pt x="212" y="390"/>
                  </a:lnTo>
                  <a:lnTo>
                    <a:pt x="244" y="390"/>
                  </a:lnTo>
                  <a:lnTo>
                    <a:pt x="257" y="376"/>
                  </a:lnTo>
                  <a:lnTo>
                    <a:pt x="231" y="367"/>
                  </a:lnTo>
                  <a:lnTo>
                    <a:pt x="262" y="367"/>
                  </a:lnTo>
                  <a:lnTo>
                    <a:pt x="244" y="344"/>
                  </a:lnTo>
                  <a:lnTo>
                    <a:pt x="269" y="332"/>
                  </a:lnTo>
                  <a:lnTo>
                    <a:pt x="262" y="321"/>
                  </a:lnTo>
                  <a:lnTo>
                    <a:pt x="220" y="321"/>
                  </a:lnTo>
                  <a:lnTo>
                    <a:pt x="244" y="311"/>
                  </a:lnTo>
                  <a:lnTo>
                    <a:pt x="220" y="300"/>
                  </a:lnTo>
                  <a:lnTo>
                    <a:pt x="269" y="311"/>
                  </a:lnTo>
                  <a:lnTo>
                    <a:pt x="269" y="300"/>
                  </a:lnTo>
                  <a:lnTo>
                    <a:pt x="220" y="288"/>
                  </a:lnTo>
                  <a:lnTo>
                    <a:pt x="281" y="277"/>
                  </a:lnTo>
                  <a:lnTo>
                    <a:pt x="269" y="255"/>
                  </a:lnTo>
                  <a:lnTo>
                    <a:pt x="312" y="267"/>
                  </a:lnTo>
                  <a:lnTo>
                    <a:pt x="326" y="232"/>
                  </a:lnTo>
                  <a:lnTo>
                    <a:pt x="307" y="232"/>
                  </a:lnTo>
                  <a:lnTo>
                    <a:pt x="337" y="232"/>
                  </a:lnTo>
                  <a:lnTo>
                    <a:pt x="331" y="209"/>
                  </a:lnTo>
                  <a:lnTo>
                    <a:pt x="345" y="209"/>
                  </a:lnTo>
                  <a:lnTo>
                    <a:pt x="425" y="133"/>
                  </a:lnTo>
                  <a:lnTo>
                    <a:pt x="337" y="165"/>
                  </a:lnTo>
                  <a:lnTo>
                    <a:pt x="387" y="133"/>
                  </a:lnTo>
                  <a:lnTo>
                    <a:pt x="356" y="133"/>
                  </a:lnTo>
                  <a:lnTo>
                    <a:pt x="350" y="110"/>
                  </a:lnTo>
                  <a:lnTo>
                    <a:pt x="406" y="121"/>
                  </a:lnTo>
                  <a:lnTo>
                    <a:pt x="475" y="77"/>
                  </a:lnTo>
                  <a:lnTo>
                    <a:pt x="475" y="56"/>
                  </a:lnTo>
                  <a:lnTo>
                    <a:pt x="445" y="56"/>
                  </a:lnTo>
                  <a:lnTo>
                    <a:pt x="438" y="21"/>
                  </a:lnTo>
                  <a:lnTo>
                    <a:pt x="356" y="44"/>
                  </a:lnTo>
                  <a:lnTo>
                    <a:pt x="395" y="21"/>
                  </a:lnTo>
                  <a:lnTo>
                    <a:pt x="281" y="0"/>
                  </a:lnTo>
                  <a:lnTo>
                    <a:pt x="275" y="21"/>
                  </a:lnTo>
                  <a:lnTo>
                    <a:pt x="281" y="33"/>
                  </a:lnTo>
                  <a:lnTo>
                    <a:pt x="262" y="10"/>
                  </a:lnTo>
                  <a:lnTo>
                    <a:pt x="212" y="10"/>
                  </a:lnTo>
                  <a:lnTo>
                    <a:pt x="244" y="56"/>
                  </a:lnTo>
                  <a:lnTo>
                    <a:pt x="238" y="56"/>
                  </a:lnTo>
                  <a:lnTo>
                    <a:pt x="220" y="21"/>
                  </a:lnTo>
                  <a:lnTo>
                    <a:pt x="175" y="21"/>
                  </a:lnTo>
                  <a:lnTo>
                    <a:pt x="181" y="33"/>
                  </a:lnTo>
                  <a:lnTo>
                    <a:pt x="151" y="33"/>
                  </a:lnTo>
                  <a:lnTo>
                    <a:pt x="162" y="56"/>
                  </a:lnTo>
                  <a:lnTo>
                    <a:pt x="137" y="44"/>
                  </a:lnTo>
                  <a:lnTo>
                    <a:pt x="144" y="56"/>
                  </a:lnTo>
                  <a:lnTo>
                    <a:pt x="131" y="56"/>
                  </a:lnTo>
                  <a:lnTo>
                    <a:pt x="169" y="88"/>
                  </a:lnTo>
                  <a:lnTo>
                    <a:pt x="87" y="56"/>
                  </a:lnTo>
                  <a:lnTo>
                    <a:pt x="75" y="77"/>
                  </a:lnTo>
                  <a:lnTo>
                    <a:pt x="100" y="88"/>
                  </a:lnTo>
                  <a:lnTo>
                    <a:pt x="50" y="88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43" name="Freeform 170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131997" y="1953783"/>
              <a:ext cx="880149" cy="404812"/>
            </a:xfrm>
            <a:custGeom>
              <a:avLst/>
              <a:gdLst>
                <a:gd name="T0" fmla="*/ 2147483647 w 475"/>
                <a:gd name="T1" fmla="*/ 2147483647 h 511"/>
                <a:gd name="T2" fmla="*/ 2147483647 w 475"/>
                <a:gd name="T3" fmla="*/ 2147483647 h 511"/>
                <a:gd name="T4" fmla="*/ 2147483647 w 475"/>
                <a:gd name="T5" fmla="*/ 2147483647 h 511"/>
                <a:gd name="T6" fmla="*/ 2147483647 w 475"/>
                <a:gd name="T7" fmla="*/ 2147483647 h 511"/>
                <a:gd name="T8" fmla="*/ 2147483647 w 475"/>
                <a:gd name="T9" fmla="*/ 2147483647 h 511"/>
                <a:gd name="T10" fmla="*/ 2147483647 w 475"/>
                <a:gd name="T11" fmla="*/ 2147483647 h 511"/>
                <a:gd name="T12" fmla="*/ 2147483647 w 475"/>
                <a:gd name="T13" fmla="*/ 2147483647 h 511"/>
                <a:gd name="T14" fmla="*/ 2147483647 w 475"/>
                <a:gd name="T15" fmla="*/ 2147483647 h 511"/>
                <a:gd name="T16" fmla="*/ 2147483647 w 475"/>
                <a:gd name="T17" fmla="*/ 2147483647 h 511"/>
                <a:gd name="T18" fmla="*/ 2147483647 w 475"/>
                <a:gd name="T19" fmla="*/ 2147483647 h 511"/>
                <a:gd name="T20" fmla="*/ 2147483647 w 475"/>
                <a:gd name="T21" fmla="*/ 2147483647 h 511"/>
                <a:gd name="T22" fmla="*/ 2147483647 w 475"/>
                <a:gd name="T23" fmla="*/ 2147483647 h 511"/>
                <a:gd name="T24" fmla="*/ 2147483647 w 475"/>
                <a:gd name="T25" fmla="*/ 2147483647 h 511"/>
                <a:gd name="T26" fmla="*/ 2147483647 w 475"/>
                <a:gd name="T27" fmla="*/ 2147483647 h 511"/>
                <a:gd name="T28" fmla="*/ 2147483647 w 475"/>
                <a:gd name="T29" fmla="*/ 2147483647 h 511"/>
                <a:gd name="T30" fmla="*/ 2147483647 w 475"/>
                <a:gd name="T31" fmla="*/ 2147483647 h 511"/>
                <a:gd name="T32" fmla="*/ 2147483647 w 475"/>
                <a:gd name="T33" fmla="*/ 2147483647 h 511"/>
                <a:gd name="T34" fmla="*/ 2147483647 w 475"/>
                <a:gd name="T35" fmla="*/ 2147483647 h 511"/>
                <a:gd name="T36" fmla="*/ 2147483647 w 475"/>
                <a:gd name="T37" fmla="*/ 2147483647 h 511"/>
                <a:gd name="T38" fmla="*/ 2147483647 w 475"/>
                <a:gd name="T39" fmla="*/ 2147483647 h 511"/>
                <a:gd name="T40" fmla="*/ 2147483647 w 475"/>
                <a:gd name="T41" fmla="*/ 2147483647 h 511"/>
                <a:gd name="T42" fmla="*/ 2147483647 w 475"/>
                <a:gd name="T43" fmla="*/ 2147483647 h 511"/>
                <a:gd name="T44" fmla="*/ 2147483647 w 475"/>
                <a:gd name="T45" fmla="*/ 2147483647 h 511"/>
                <a:gd name="T46" fmla="*/ 2147483647 w 475"/>
                <a:gd name="T47" fmla="*/ 2147483647 h 511"/>
                <a:gd name="T48" fmla="*/ 2147483647 w 475"/>
                <a:gd name="T49" fmla="*/ 2147483647 h 511"/>
                <a:gd name="T50" fmla="*/ 2147483647 w 475"/>
                <a:gd name="T51" fmla="*/ 2147483647 h 511"/>
                <a:gd name="T52" fmla="*/ 2147483647 w 475"/>
                <a:gd name="T53" fmla="*/ 2147483647 h 511"/>
                <a:gd name="T54" fmla="*/ 2147483647 w 475"/>
                <a:gd name="T55" fmla="*/ 2147483647 h 511"/>
                <a:gd name="T56" fmla="*/ 2147483647 w 475"/>
                <a:gd name="T57" fmla="*/ 2147483647 h 511"/>
                <a:gd name="T58" fmla="*/ 2147483647 w 475"/>
                <a:gd name="T59" fmla="*/ 2147483647 h 511"/>
                <a:gd name="T60" fmla="*/ 2147483647 w 475"/>
                <a:gd name="T61" fmla="*/ 2147483647 h 511"/>
                <a:gd name="T62" fmla="*/ 2147483647 w 475"/>
                <a:gd name="T63" fmla="*/ 2147483647 h 511"/>
                <a:gd name="T64" fmla="*/ 2147483647 w 475"/>
                <a:gd name="T65" fmla="*/ 2147483647 h 511"/>
                <a:gd name="T66" fmla="*/ 2147483647 w 475"/>
                <a:gd name="T67" fmla="*/ 2147483647 h 511"/>
                <a:gd name="T68" fmla="*/ 2147483647 w 475"/>
                <a:gd name="T69" fmla="*/ 2147483647 h 511"/>
                <a:gd name="T70" fmla="*/ 2147483647 w 475"/>
                <a:gd name="T71" fmla="*/ 2147483647 h 511"/>
                <a:gd name="T72" fmla="*/ 2147483647 w 475"/>
                <a:gd name="T73" fmla="*/ 2147483647 h 511"/>
                <a:gd name="T74" fmla="*/ 2147483647 w 475"/>
                <a:gd name="T75" fmla="*/ 0 h 511"/>
                <a:gd name="T76" fmla="*/ 2147483647 w 475"/>
                <a:gd name="T77" fmla="*/ 2147483647 h 511"/>
                <a:gd name="T78" fmla="*/ 2147483647 w 475"/>
                <a:gd name="T79" fmla="*/ 2147483647 h 511"/>
                <a:gd name="T80" fmla="*/ 2147483647 w 475"/>
                <a:gd name="T81" fmla="*/ 2147483647 h 511"/>
                <a:gd name="T82" fmla="*/ 2147483647 w 475"/>
                <a:gd name="T83" fmla="*/ 2147483647 h 511"/>
                <a:gd name="T84" fmla="*/ 2147483647 w 475"/>
                <a:gd name="T85" fmla="*/ 2147483647 h 511"/>
                <a:gd name="T86" fmla="*/ 2147483647 w 475"/>
                <a:gd name="T87" fmla="*/ 2147483647 h 511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5" h="511">
                  <a:moveTo>
                    <a:pt x="0" y="121"/>
                  </a:moveTo>
                  <a:lnTo>
                    <a:pt x="37" y="121"/>
                  </a:lnTo>
                  <a:lnTo>
                    <a:pt x="25" y="144"/>
                  </a:lnTo>
                  <a:lnTo>
                    <a:pt x="81" y="133"/>
                  </a:lnTo>
                  <a:lnTo>
                    <a:pt x="31" y="144"/>
                  </a:lnTo>
                  <a:lnTo>
                    <a:pt x="50" y="144"/>
                  </a:lnTo>
                  <a:lnTo>
                    <a:pt x="31" y="154"/>
                  </a:lnTo>
                  <a:lnTo>
                    <a:pt x="37" y="165"/>
                  </a:lnTo>
                  <a:lnTo>
                    <a:pt x="112" y="144"/>
                  </a:lnTo>
                  <a:lnTo>
                    <a:pt x="37" y="177"/>
                  </a:lnTo>
                  <a:lnTo>
                    <a:pt x="75" y="200"/>
                  </a:lnTo>
                  <a:lnTo>
                    <a:pt x="100" y="165"/>
                  </a:lnTo>
                  <a:lnTo>
                    <a:pt x="151" y="154"/>
                  </a:lnTo>
                  <a:lnTo>
                    <a:pt x="100" y="165"/>
                  </a:lnTo>
                  <a:lnTo>
                    <a:pt x="87" y="200"/>
                  </a:lnTo>
                  <a:lnTo>
                    <a:pt x="119" y="200"/>
                  </a:lnTo>
                  <a:lnTo>
                    <a:pt x="151" y="177"/>
                  </a:lnTo>
                  <a:lnTo>
                    <a:pt x="131" y="200"/>
                  </a:lnTo>
                  <a:lnTo>
                    <a:pt x="151" y="200"/>
                  </a:lnTo>
                  <a:lnTo>
                    <a:pt x="187" y="177"/>
                  </a:lnTo>
                  <a:lnTo>
                    <a:pt x="181" y="154"/>
                  </a:lnTo>
                  <a:lnTo>
                    <a:pt x="220" y="133"/>
                  </a:lnTo>
                  <a:lnTo>
                    <a:pt x="194" y="177"/>
                  </a:lnTo>
                  <a:lnTo>
                    <a:pt x="257" y="165"/>
                  </a:lnTo>
                  <a:lnTo>
                    <a:pt x="131" y="209"/>
                  </a:lnTo>
                  <a:lnTo>
                    <a:pt x="156" y="267"/>
                  </a:lnTo>
                  <a:lnTo>
                    <a:pt x="181" y="267"/>
                  </a:lnTo>
                  <a:lnTo>
                    <a:pt x="169" y="277"/>
                  </a:lnTo>
                  <a:lnTo>
                    <a:pt x="125" y="223"/>
                  </a:lnTo>
                  <a:lnTo>
                    <a:pt x="81" y="209"/>
                  </a:lnTo>
                  <a:lnTo>
                    <a:pt x="81" y="232"/>
                  </a:lnTo>
                  <a:lnTo>
                    <a:pt x="100" y="244"/>
                  </a:lnTo>
                  <a:lnTo>
                    <a:pt x="81" y="255"/>
                  </a:lnTo>
                  <a:lnTo>
                    <a:pt x="131" y="311"/>
                  </a:lnTo>
                  <a:lnTo>
                    <a:pt x="112" y="311"/>
                  </a:lnTo>
                  <a:lnTo>
                    <a:pt x="162" y="311"/>
                  </a:lnTo>
                  <a:lnTo>
                    <a:pt x="131" y="321"/>
                  </a:lnTo>
                  <a:lnTo>
                    <a:pt x="144" y="344"/>
                  </a:lnTo>
                  <a:lnTo>
                    <a:pt x="106" y="321"/>
                  </a:lnTo>
                  <a:lnTo>
                    <a:pt x="75" y="332"/>
                  </a:lnTo>
                  <a:lnTo>
                    <a:pt x="69" y="376"/>
                  </a:lnTo>
                  <a:lnTo>
                    <a:pt x="94" y="355"/>
                  </a:lnTo>
                  <a:lnTo>
                    <a:pt x="87" y="376"/>
                  </a:lnTo>
                  <a:lnTo>
                    <a:pt x="100" y="376"/>
                  </a:lnTo>
                  <a:lnTo>
                    <a:pt x="112" y="344"/>
                  </a:lnTo>
                  <a:lnTo>
                    <a:pt x="106" y="367"/>
                  </a:lnTo>
                  <a:lnTo>
                    <a:pt x="119" y="376"/>
                  </a:lnTo>
                  <a:lnTo>
                    <a:pt x="94" y="390"/>
                  </a:lnTo>
                  <a:lnTo>
                    <a:pt x="112" y="390"/>
                  </a:lnTo>
                  <a:lnTo>
                    <a:pt x="100" y="400"/>
                  </a:lnTo>
                  <a:lnTo>
                    <a:pt x="106" y="421"/>
                  </a:lnTo>
                  <a:lnTo>
                    <a:pt x="131" y="421"/>
                  </a:lnTo>
                  <a:lnTo>
                    <a:pt x="144" y="376"/>
                  </a:lnTo>
                  <a:lnTo>
                    <a:pt x="112" y="434"/>
                  </a:lnTo>
                  <a:lnTo>
                    <a:pt x="81" y="390"/>
                  </a:lnTo>
                  <a:lnTo>
                    <a:pt x="56" y="400"/>
                  </a:lnTo>
                  <a:lnTo>
                    <a:pt x="81" y="444"/>
                  </a:lnTo>
                  <a:lnTo>
                    <a:pt x="37" y="455"/>
                  </a:lnTo>
                  <a:lnTo>
                    <a:pt x="44" y="488"/>
                  </a:lnTo>
                  <a:lnTo>
                    <a:pt x="50" y="465"/>
                  </a:lnTo>
                  <a:lnTo>
                    <a:pt x="50" y="488"/>
                  </a:lnTo>
                  <a:lnTo>
                    <a:pt x="81" y="478"/>
                  </a:lnTo>
                  <a:lnTo>
                    <a:pt x="100" y="499"/>
                  </a:lnTo>
                  <a:lnTo>
                    <a:pt x="112" y="499"/>
                  </a:lnTo>
                  <a:lnTo>
                    <a:pt x="106" y="478"/>
                  </a:lnTo>
                  <a:lnTo>
                    <a:pt x="131" y="488"/>
                  </a:lnTo>
                  <a:lnTo>
                    <a:pt x="131" y="465"/>
                  </a:lnTo>
                  <a:lnTo>
                    <a:pt x="144" y="488"/>
                  </a:lnTo>
                  <a:lnTo>
                    <a:pt x="151" y="488"/>
                  </a:lnTo>
                  <a:lnTo>
                    <a:pt x="144" y="465"/>
                  </a:lnTo>
                  <a:lnTo>
                    <a:pt x="169" y="488"/>
                  </a:lnTo>
                  <a:lnTo>
                    <a:pt x="169" y="511"/>
                  </a:lnTo>
                  <a:lnTo>
                    <a:pt x="206" y="488"/>
                  </a:lnTo>
                  <a:lnTo>
                    <a:pt x="220" y="455"/>
                  </a:lnTo>
                  <a:lnTo>
                    <a:pt x="194" y="465"/>
                  </a:lnTo>
                  <a:lnTo>
                    <a:pt x="194" y="444"/>
                  </a:lnTo>
                  <a:lnTo>
                    <a:pt x="151" y="434"/>
                  </a:lnTo>
                  <a:lnTo>
                    <a:pt x="212" y="434"/>
                  </a:lnTo>
                  <a:lnTo>
                    <a:pt x="220" y="411"/>
                  </a:lnTo>
                  <a:lnTo>
                    <a:pt x="212" y="390"/>
                  </a:lnTo>
                  <a:lnTo>
                    <a:pt x="244" y="390"/>
                  </a:lnTo>
                  <a:lnTo>
                    <a:pt x="257" y="376"/>
                  </a:lnTo>
                  <a:lnTo>
                    <a:pt x="231" y="367"/>
                  </a:lnTo>
                  <a:lnTo>
                    <a:pt x="262" y="367"/>
                  </a:lnTo>
                  <a:lnTo>
                    <a:pt x="244" y="344"/>
                  </a:lnTo>
                  <a:lnTo>
                    <a:pt x="269" y="332"/>
                  </a:lnTo>
                  <a:lnTo>
                    <a:pt x="262" y="321"/>
                  </a:lnTo>
                  <a:lnTo>
                    <a:pt x="220" y="321"/>
                  </a:lnTo>
                  <a:lnTo>
                    <a:pt x="244" y="311"/>
                  </a:lnTo>
                  <a:lnTo>
                    <a:pt x="220" y="300"/>
                  </a:lnTo>
                  <a:lnTo>
                    <a:pt x="269" y="311"/>
                  </a:lnTo>
                  <a:lnTo>
                    <a:pt x="269" y="300"/>
                  </a:lnTo>
                  <a:lnTo>
                    <a:pt x="220" y="288"/>
                  </a:lnTo>
                  <a:lnTo>
                    <a:pt x="281" y="277"/>
                  </a:lnTo>
                  <a:lnTo>
                    <a:pt x="269" y="255"/>
                  </a:lnTo>
                  <a:lnTo>
                    <a:pt x="312" y="267"/>
                  </a:lnTo>
                  <a:lnTo>
                    <a:pt x="326" y="232"/>
                  </a:lnTo>
                  <a:lnTo>
                    <a:pt x="307" y="232"/>
                  </a:lnTo>
                  <a:lnTo>
                    <a:pt x="337" y="232"/>
                  </a:lnTo>
                  <a:lnTo>
                    <a:pt x="331" y="209"/>
                  </a:lnTo>
                  <a:lnTo>
                    <a:pt x="345" y="209"/>
                  </a:lnTo>
                  <a:lnTo>
                    <a:pt x="425" y="133"/>
                  </a:lnTo>
                  <a:lnTo>
                    <a:pt x="337" y="165"/>
                  </a:lnTo>
                  <a:lnTo>
                    <a:pt x="387" y="133"/>
                  </a:lnTo>
                  <a:lnTo>
                    <a:pt x="356" y="133"/>
                  </a:lnTo>
                  <a:lnTo>
                    <a:pt x="350" y="110"/>
                  </a:lnTo>
                  <a:lnTo>
                    <a:pt x="406" y="121"/>
                  </a:lnTo>
                  <a:lnTo>
                    <a:pt x="475" y="77"/>
                  </a:lnTo>
                  <a:lnTo>
                    <a:pt x="475" y="56"/>
                  </a:lnTo>
                  <a:lnTo>
                    <a:pt x="445" y="56"/>
                  </a:lnTo>
                  <a:lnTo>
                    <a:pt x="438" y="21"/>
                  </a:lnTo>
                  <a:lnTo>
                    <a:pt x="356" y="44"/>
                  </a:lnTo>
                  <a:lnTo>
                    <a:pt x="395" y="21"/>
                  </a:lnTo>
                  <a:lnTo>
                    <a:pt x="281" y="0"/>
                  </a:lnTo>
                  <a:lnTo>
                    <a:pt x="275" y="21"/>
                  </a:lnTo>
                  <a:lnTo>
                    <a:pt x="281" y="33"/>
                  </a:lnTo>
                  <a:lnTo>
                    <a:pt x="262" y="10"/>
                  </a:lnTo>
                  <a:lnTo>
                    <a:pt x="212" y="10"/>
                  </a:lnTo>
                  <a:lnTo>
                    <a:pt x="244" y="56"/>
                  </a:lnTo>
                  <a:lnTo>
                    <a:pt x="238" y="56"/>
                  </a:lnTo>
                  <a:lnTo>
                    <a:pt x="220" y="21"/>
                  </a:lnTo>
                  <a:lnTo>
                    <a:pt x="175" y="21"/>
                  </a:lnTo>
                  <a:lnTo>
                    <a:pt x="181" y="33"/>
                  </a:lnTo>
                  <a:lnTo>
                    <a:pt x="151" y="33"/>
                  </a:lnTo>
                  <a:lnTo>
                    <a:pt x="162" y="56"/>
                  </a:lnTo>
                  <a:lnTo>
                    <a:pt x="137" y="44"/>
                  </a:lnTo>
                  <a:lnTo>
                    <a:pt x="144" y="56"/>
                  </a:lnTo>
                  <a:lnTo>
                    <a:pt x="131" y="56"/>
                  </a:lnTo>
                  <a:lnTo>
                    <a:pt x="169" y="88"/>
                  </a:lnTo>
                  <a:lnTo>
                    <a:pt x="87" y="56"/>
                  </a:lnTo>
                  <a:lnTo>
                    <a:pt x="75" y="77"/>
                  </a:lnTo>
                  <a:lnTo>
                    <a:pt x="100" y="88"/>
                  </a:lnTo>
                  <a:lnTo>
                    <a:pt x="50" y="88"/>
                  </a:lnTo>
                  <a:lnTo>
                    <a:pt x="0" y="12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44" name="Freeform 171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3178120" y="2466545"/>
              <a:ext cx="834037" cy="520700"/>
            </a:xfrm>
            <a:custGeom>
              <a:avLst/>
              <a:gdLst>
                <a:gd name="T0" fmla="*/ 2147483647 w 450"/>
                <a:gd name="T1" fmla="*/ 2147483647 h 657"/>
                <a:gd name="T2" fmla="*/ 2147483647 w 450"/>
                <a:gd name="T3" fmla="*/ 0 h 657"/>
                <a:gd name="T4" fmla="*/ 2147483647 w 450"/>
                <a:gd name="T5" fmla="*/ 2147483647 h 657"/>
                <a:gd name="T6" fmla="*/ 2147483647 w 450"/>
                <a:gd name="T7" fmla="*/ 2147483647 h 657"/>
                <a:gd name="T8" fmla="*/ 2147483647 w 450"/>
                <a:gd name="T9" fmla="*/ 2147483647 h 657"/>
                <a:gd name="T10" fmla="*/ 2147483647 w 450"/>
                <a:gd name="T11" fmla="*/ 2147483647 h 657"/>
                <a:gd name="T12" fmla="*/ 2147483647 w 450"/>
                <a:gd name="T13" fmla="*/ 2147483647 h 657"/>
                <a:gd name="T14" fmla="*/ 2147483647 w 450"/>
                <a:gd name="T15" fmla="*/ 2147483647 h 657"/>
                <a:gd name="T16" fmla="*/ 2147483647 w 450"/>
                <a:gd name="T17" fmla="*/ 2147483647 h 657"/>
                <a:gd name="T18" fmla="*/ 2147483647 w 450"/>
                <a:gd name="T19" fmla="*/ 2147483647 h 657"/>
                <a:gd name="T20" fmla="*/ 2147483647 w 450"/>
                <a:gd name="T21" fmla="*/ 2147483647 h 657"/>
                <a:gd name="T22" fmla="*/ 2147483647 w 450"/>
                <a:gd name="T23" fmla="*/ 2147483647 h 657"/>
                <a:gd name="T24" fmla="*/ 2147483647 w 450"/>
                <a:gd name="T25" fmla="*/ 2147483647 h 657"/>
                <a:gd name="T26" fmla="*/ 2147483647 w 450"/>
                <a:gd name="T27" fmla="*/ 2147483647 h 657"/>
                <a:gd name="T28" fmla="*/ 2147483647 w 450"/>
                <a:gd name="T29" fmla="*/ 2147483647 h 657"/>
                <a:gd name="T30" fmla="*/ 2147483647 w 450"/>
                <a:gd name="T31" fmla="*/ 2147483647 h 657"/>
                <a:gd name="T32" fmla="*/ 2147483647 w 450"/>
                <a:gd name="T33" fmla="*/ 2147483647 h 657"/>
                <a:gd name="T34" fmla="*/ 2147483647 w 450"/>
                <a:gd name="T35" fmla="*/ 2147483647 h 657"/>
                <a:gd name="T36" fmla="*/ 2147483647 w 450"/>
                <a:gd name="T37" fmla="*/ 2147483647 h 657"/>
                <a:gd name="T38" fmla="*/ 2147483647 w 450"/>
                <a:gd name="T39" fmla="*/ 2147483647 h 657"/>
                <a:gd name="T40" fmla="*/ 2147483647 w 450"/>
                <a:gd name="T41" fmla="*/ 2147483647 h 657"/>
                <a:gd name="T42" fmla="*/ 2147483647 w 450"/>
                <a:gd name="T43" fmla="*/ 2147483647 h 657"/>
                <a:gd name="T44" fmla="*/ 2147483647 w 450"/>
                <a:gd name="T45" fmla="*/ 2147483647 h 657"/>
                <a:gd name="T46" fmla="*/ 2147483647 w 450"/>
                <a:gd name="T47" fmla="*/ 2147483647 h 657"/>
                <a:gd name="T48" fmla="*/ 2147483647 w 450"/>
                <a:gd name="T49" fmla="*/ 2147483647 h 657"/>
                <a:gd name="T50" fmla="*/ 2147483647 w 450"/>
                <a:gd name="T51" fmla="*/ 2147483647 h 657"/>
                <a:gd name="T52" fmla="*/ 2147483647 w 450"/>
                <a:gd name="T53" fmla="*/ 2147483647 h 657"/>
                <a:gd name="T54" fmla="*/ 2147483647 w 450"/>
                <a:gd name="T55" fmla="*/ 2147483647 h 657"/>
                <a:gd name="T56" fmla="*/ 2147483647 w 450"/>
                <a:gd name="T57" fmla="*/ 2147483647 h 657"/>
                <a:gd name="T58" fmla="*/ 2147483647 w 450"/>
                <a:gd name="T59" fmla="*/ 2147483647 h 657"/>
                <a:gd name="T60" fmla="*/ 2147483647 w 450"/>
                <a:gd name="T61" fmla="*/ 2147483647 h 657"/>
                <a:gd name="T62" fmla="*/ 2147483647 w 450"/>
                <a:gd name="T63" fmla="*/ 2147483647 h 657"/>
                <a:gd name="T64" fmla="*/ 2147483647 w 450"/>
                <a:gd name="T65" fmla="*/ 2147483647 h 657"/>
                <a:gd name="T66" fmla="*/ 2147483647 w 450"/>
                <a:gd name="T67" fmla="*/ 2147483647 h 657"/>
                <a:gd name="T68" fmla="*/ 2147483647 w 450"/>
                <a:gd name="T69" fmla="*/ 2147483647 h 657"/>
                <a:gd name="T70" fmla="*/ 2147483647 w 450"/>
                <a:gd name="T71" fmla="*/ 2147483647 h 657"/>
                <a:gd name="T72" fmla="*/ 2147483647 w 450"/>
                <a:gd name="T73" fmla="*/ 2147483647 h 657"/>
                <a:gd name="T74" fmla="*/ 2147483647 w 450"/>
                <a:gd name="T75" fmla="*/ 2147483647 h 657"/>
                <a:gd name="T76" fmla="*/ 2147483647 w 450"/>
                <a:gd name="T77" fmla="*/ 2147483647 h 657"/>
                <a:gd name="T78" fmla="*/ 2147483647 w 450"/>
                <a:gd name="T79" fmla="*/ 2147483647 h 657"/>
                <a:gd name="T80" fmla="*/ 2147483647 w 450"/>
                <a:gd name="T81" fmla="*/ 2147483647 h 657"/>
                <a:gd name="T82" fmla="*/ 2147483647 w 450"/>
                <a:gd name="T83" fmla="*/ 2147483647 h 657"/>
                <a:gd name="T84" fmla="*/ 2147483647 w 450"/>
                <a:gd name="T85" fmla="*/ 2147483647 h 657"/>
                <a:gd name="T86" fmla="*/ 2147483647 w 450"/>
                <a:gd name="T87" fmla="*/ 2147483647 h 657"/>
                <a:gd name="T88" fmla="*/ 2147483647 w 450"/>
                <a:gd name="T89" fmla="*/ 2147483647 h 657"/>
                <a:gd name="T90" fmla="*/ 2147483647 w 450"/>
                <a:gd name="T91" fmla="*/ 2147483647 h 657"/>
                <a:gd name="T92" fmla="*/ 2147483647 w 450"/>
                <a:gd name="T93" fmla="*/ 2147483647 h 657"/>
                <a:gd name="T94" fmla="*/ 2147483647 w 450"/>
                <a:gd name="T95" fmla="*/ 2147483647 h 657"/>
                <a:gd name="T96" fmla="*/ 2147483647 w 450"/>
                <a:gd name="T97" fmla="*/ 2147483647 h 657"/>
                <a:gd name="T98" fmla="*/ 2147483647 w 450"/>
                <a:gd name="T99" fmla="*/ 2147483647 h 657"/>
                <a:gd name="T100" fmla="*/ 2147483647 w 450"/>
                <a:gd name="T101" fmla="*/ 2147483647 h 657"/>
                <a:gd name="T102" fmla="*/ 2147483647 w 450"/>
                <a:gd name="T103" fmla="*/ 2147483647 h 657"/>
                <a:gd name="T104" fmla="*/ 0 w 450"/>
                <a:gd name="T105" fmla="*/ 2147483647 h 65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50" h="657">
                  <a:moveTo>
                    <a:pt x="0" y="156"/>
                  </a:moveTo>
                  <a:lnTo>
                    <a:pt x="7" y="77"/>
                  </a:lnTo>
                  <a:lnTo>
                    <a:pt x="26" y="33"/>
                  </a:lnTo>
                  <a:lnTo>
                    <a:pt x="57" y="0"/>
                  </a:lnTo>
                  <a:lnTo>
                    <a:pt x="81" y="12"/>
                  </a:lnTo>
                  <a:lnTo>
                    <a:pt x="57" y="77"/>
                  </a:lnTo>
                  <a:lnTo>
                    <a:pt x="62" y="121"/>
                  </a:lnTo>
                  <a:lnTo>
                    <a:pt x="81" y="156"/>
                  </a:lnTo>
                  <a:lnTo>
                    <a:pt x="57" y="179"/>
                  </a:lnTo>
                  <a:lnTo>
                    <a:pt x="81" y="179"/>
                  </a:lnTo>
                  <a:lnTo>
                    <a:pt x="87" y="144"/>
                  </a:lnTo>
                  <a:lnTo>
                    <a:pt x="69" y="112"/>
                  </a:lnTo>
                  <a:lnTo>
                    <a:pt x="81" y="91"/>
                  </a:lnTo>
                  <a:lnTo>
                    <a:pt x="69" y="68"/>
                  </a:lnTo>
                  <a:lnTo>
                    <a:pt x="95" y="77"/>
                  </a:lnTo>
                  <a:lnTo>
                    <a:pt x="76" y="56"/>
                  </a:lnTo>
                  <a:lnTo>
                    <a:pt x="100" y="68"/>
                  </a:lnTo>
                  <a:lnTo>
                    <a:pt x="81" y="45"/>
                  </a:lnTo>
                  <a:lnTo>
                    <a:pt x="100" y="45"/>
                  </a:lnTo>
                  <a:lnTo>
                    <a:pt x="119" y="12"/>
                  </a:lnTo>
                  <a:lnTo>
                    <a:pt x="137" y="12"/>
                  </a:lnTo>
                  <a:lnTo>
                    <a:pt x="137" y="45"/>
                  </a:lnTo>
                  <a:lnTo>
                    <a:pt x="150" y="56"/>
                  </a:lnTo>
                  <a:lnTo>
                    <a:pt x="145" y="121"/>
                  </a:lnTo>
                  <a:lnTo>
                    <a:pt x="163" y="91"/>
                  </a:lnTo>
                  <a:lnTo>
                    <a:pt x="175" y="100"/>
                  </a:lnTo>
                  <a:lnTo>
                    <a:pt x="201" y="77"/>
                  </a:lnTo>
                  <a:lnTo>
                    <a:pt x="237" y="91"/>
                  </a:lnTo>
                  <a:lnTo>
                    <a:pt x="251" y="121"/>
                  </a:lnTo>
                  <a:lnTo>
                    <a:pt x="237" y="144"/>
                  </a:lnTo>
                  <a:lnTo>
                    <a:pt x="256" y="135"/>
                  </a:lnTo>
                  <a:lnTo>
                    <a:pt x="256" y="156"/>
                  </a:lnTo>
                  <a:lnTo>
                    <a:pt x="270" y="156"/>
                  </a:lnTo>
                  <a:lnTo>
                    <a:pt x="275" y="135"/>
                  </a:lnTo>
                  <a:lnTo>
                    <a:pt x="294" y="144"/>
                  </a:lnTo>
                  <a:lnTo>
                    <a:pt x="301" y="166"/>
                  </a:lnTo>
                  <a:lnTo>
                    <a:pt x="282" y="179"/>
                  </a:lnTo>
                  <a:lnTo>
                    <a:pt x="306" y="179"/>
                  </a:lnTo>
                  <a:lnTo>
                    <a:pt x="301" y="200"/>
                  </a:lnTo>
                  <a:lnTo>
                    <a:pt x="320" y="189"/>
                  </a:lnTo>
                  <a:lnTo>
                    <a:pt x="306" y="214"/>
                  </a:lnTo>
                  <a:lnTo>
                    <a:pt x="344" y="200"/>
                  </a:lnTo>
                  <a:lnTo>
                    <a:pt x="325" y="223"/>
                  </a:lnTo>
                  <a:lnTo>
                    <a:pt x="338" y="223"/>
                  </a:lnTo>
                  <a:lnTo>
                    <a:pt x="331" y="235"/>
                  </a:lnTo>
                  <a:lnTo>
                    <a:pt x="344" y="223"/>
                  </a:lnTo>
                  <a:lnTo>
                    <a:pt x="362" y="244"/>
                  </a:lnTo>
                  <a:lnTo>
                    <a:pt x="331" y="258"/>
                  </a:lnTo>
                  <a:lnTo>
                    <a:pt x="375" y="279"/>
                  </a:lnTo>
                  <a:lnTo>
                    <a:pt x="338" y="279"/>
                  </a:lnTo>
                  <a:lnTo>
                    <a:pt x="351" y="288"/>
                  </a:lnTo>
                  <a:lnTo>
                    <a:pt x="344" y="311"/>
                  </a:lnTo>
                  <a:lnTo>
                    <a:pt x="381" y="358"/>
                  </a:lnTo>
                  <a:lnTo>
                    <a:pt x="394" y="346"/>
                  </a:lnTo>
                  <a:lnTo>
                    <a:pt x="407" y="390"/>
                  </a:lnTo>
                  <a:lnTo>
                    <a:pt x="426" y="390"/>
                  </a:lnTo>
                  <a:lnTo>
                    <a:pt x="426" y="411"/>
                  </a:lnTo>
                  <a:lnTo>
                    <a:pt x="450" y="411"/>
                  </a:lnTo>
                  <a:lnTo>
                    <a:pt x="444" y="446"/>
                  </a:lnTo>
                  <a:lnTo>
                    <a:pt x="431" y="434"/>
                  </a:lnTo>
                  <a:lnTo>
                    <a:pt x="439" y="456"/>
                  </a:lnTo>
                  <a:lnTo>
                    <a:pt x="431" y="479"/>
                  </a:lnTo>
                  <a:lnTo>
                    <a:pt x="420" y="467"/>
                  </a:lnTo>
                  <a:lnTo>
                    <a:pt x="420" y="513"/>
                  </a:lnTo>
                  <a:lnTo>
                    <a:pt x="370" y="423"/>
                  </a:lnTo>
                  <a:lnTo>
                    <a:pt x="344" y="434"/>
                  </a:lnTo>
                  <a:lnTo>
                    <a:pt x="362" y="456"/>
                  </a:lnTo>
                  <a:lnTo>
                    <a:pt x="351" y="479"/>
                  </a:lnTo>
                  <a:lnTo>
                    <a:pt x="357" y="479"/>
                  </a:lnTo>
                  <a:lnTo>
                    <a:pt x="370" y="513"/>
                  </a:lnTo>
                  <a:lnTo>
                    <a:pt x="394" y="525"/>
                  </a:lnTo>
                  <a:lnTo>
                    <a:pt x="394" y="557"/>
                  </a:lnTo>
                  <a:lnTo>
                    <a:pt x="407" y="569"/>
                  </a:lnTo>
                  <a:lnTo>
                    <a:pt x="400" y="623"/>
                  </a:lnTo>
                  <a:lnTo>
                    <a:pt x="331" y="569"/>
                  </a:lnTo>
                  <a:lnTo>
                    <a:pt x="375" y="657"/>
                  </a:lnTo>
                  <a:lnTo>
                    <a:pt x="294" y="613"/>
                  </a:lnTo>
                  <a:lnTo>
                    <a:pt x="288" y="578"/>
                  </a:lnTo>
                  <a:lnTo>
                    <a:pt x="294" y="578"/>
                  </a:lnTo>
                  <a:lnTo>
                    <a:pt x="270" y="557"/>
                  </a:lnTo>
                  <a:lnTo>
                    <a:pt x="262" y="525"/>
                  </a:lnTo>
                  <a:lnTo>
                    <a:pt x="244" y="513"/>
                  </a:lnTo>
                  <a:lnTo>
                    <a:pt x="244" y="534"/>
                  </a:lnTo>
                  <a:lnTo>
                    <a:pt x="232" y="525"/>
                  </a:lnTo>
                  <a:lnTo>
                    <a:pt x="213" y="546"/>
                  </a:lnTo>
                  <a:lnTo>
                    <a:pt x="187" y="525"/>
                  </a:lnTo>
                  <a:lnTo>
                    <a:pt x="201" y="479"/>
                  </a:lnTo>
                  <a:lnTo>
                    <a:pt x="256" y="479"/>
                  </a:lnTo>
                  <a:lnTo>
                    <a:pt x="251" y="446"/>
                  </a:lnTo>
                  <a:lnTo>
                    <a:pt x="282" y="390"/>
                  </a:lnTo>
                  <a:lnTo>
                    <a:pt x="256" y="311"/>
                  </a:lnTo>
                  <a:lnTo>
                    <a:pt x="237" y="302"/>
                  </a:lnTo>
                  <a:lnTo>
                    <a:pt x="251" y="288"/>
                  </a:lnTo>
                  <a:lnTo>
                    <a:pt x="213" y="311"/>
                  </a:lnTo>
                  <a:lnTo>
                    <a:pt x="213" y="288"/>
                  </a:lnTo>
                  <a:lnTo>
                    <a:pt x="225" y="279"/>
                  </a:lnTo>
                  <a:lnTo>
                    <a:pt x="201" y="244"/>
                  </a:lnTo>
                  <a:lnTo>
                    <a:pt x="201" y="223"/>
                  </a:lnTo>
                  <a:lnTo>
                    <a:pt x="175" y="214"/>
                  </a:lnTo>
                  <a:lnTo>
                    <a:pt x="175" y="244"/>
                  </a:lnTo>
                  <a:lnTo>
                    <a:pt x="137" y="235"/>
                  </a:lnTo>
                  <a:lnTo>
                    <a:pt x="145" y="244"/>
                  </a:lnTo>
                  <a:lnTo>
                    <a:pt x="31" y="223"/>
                  </a:lnTo>
                  <a:lnTo>
                    <a:pt x="12" y="179"/>
                  </a:lnTo>
                  <a:lnTo>
                    <a:pt x="50" y="179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45" name="Freeform 172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3178120" y="2466545"/>
              <a:ext cx="834037" cy="520700"/>
            </a:xfrm>
            <a:custGeom>
              <a:avLst/>
              <a:gdLst>
                <a:gd name="T0" fmla="*/ 2147483647 w 450"/>
                <a:gd name="T1" fmla="*/ 2147483647 h 657"/>
                <a:gd name="T2" fmla="*/ 2147483647 w 450"/>
                <a:gd name="T3" fmla="*/ 0 h 657"/>
                <a:gd name="T4" fmla="*/ 2147483647 w 450"/>
                <a:gd name="T5" fmla="*/ 2147483647 h 657"/>
                <a:gd name="T6" fmla="*/ 2147483647 w 450"/>
                <a:gd name="T7" fmla="*/ 2147483647 h 657"/>
                <a:gd name="T8" fmla="*/ 2147483647 w 450"/>
                <a:gd name="T9" fmla="*/ 2147483647 h 657"/>
                <a:gd name="T10" fmla="*/ 2147483647 w 450"/>
                <a:gd name="T11" fmla="*/ 2147483647 h 657"/>
                <a:gd name="T12" fmla="*/ 2147483647 w 450"/>
                <a:gd name="T13" fmla="*/ 2147483647 h 657"/>
                <a:gd name="T14" fmla="*/ 2147483647 w 450"/>
                <a:gd name="T15" fmla="*/ 2147483647 h 657"/>
                <a:gd name="T16" fmla="*/ 2147483647 w 450"/>
                <a:gd name="T17" fmla="*/ 2147483647 h 657"/>
                <a:gd name="T18" fmla="*/ 2147483647 w 450"/>
                <a:gd name="T19" fmla="*/ 2147483647 h 657"/>
                <a:gd name="T20" fmla="*/ 2147483647 w 450"/>
                <a:gd name="T21" fmla="*/ 2147483647 h 657"/>
                <a:gd name="T22" fmla="*/ 2147483647 w 450"/>
                <a:gd name="T23" fmla="*/ 2147483647 h 657"/>
                <a:gd name="T24" fmla="*/ 2147483647 w 450"/>
                <a:gd name="T25" fmla="*/ 2147483647 h 657"/>
                <a:gd name="T26" fmla="*/ 2147483647 w 450"/>
                <a:gd name="T27" fmla="*/ 2147483647 h 657"/>
                <a:gd name="T28" fmla="*/ 2147483647 w 450"/>
                <a:gd name="T29" fmla="*/ 2147483647 h 657"/>
                <a:gd name="T30" fmla="*/ 2147483647 w 450"/>
                <a:gd name="T31" fmla="*/ 2147483647 h 657"/>
                <a:gd name="T32" fmla="*/ 2147483647 w 450"/>
                <a:gd name="T33" fmla="*/ 2147483647 h 657"/>
                <a:gd name="T34" fmla="*/ 2147483647 w 450"/>
                <a:gd name="T35" fmla="*/ 2147483647 h 657"/>
                <a:gd name="T36" fmla="*/ 2147483647 w 450"/>
                <a:gd name="T37" fmla="*/ 2147483647 h 657"/>
                <a:gd name="T38" fmla="*/ 2147483647 w 450"/>
                <a:gd name="T39" fmla="*/ 2147483647 h 657"/>
                <a:gd name="T40" fmla="*/ 2147483647 w 450"/>
                <a:gd name="T41" fmla="*/ 2147483647 h 657"/>
                <a:gd name="T42" fmla="*/ 2147483647 w 450"/>
                <a:gd name="T43" fmla="*/ 2147483647 h 657"/>
                <a:gd name="T44" fmla="*/ 2147483647 w 450"/>
                <a:gd name="T45" fmla="*/ 2147483647 h 657"/>
                <a:gd name="T46" fmla="*/ 2147483647 w 450"/>
                <a:gd name="T47" fmla="*/ 2147483647 h 657"/>
                <a:gd name="T48" fmla="*/ 2147483647 w 450"/>
                <a:gd name="T49" fmla="*/ 2147483647 h 657"/>
                <a:gd name="T50" fmla="*/ 2147483647 w 450"/>
                <a:gd name="T51" fmla="*/ 2147483647 h 657"/>
                <a:gd name="T52" fmla="*/ 2147483647 w 450"/>
                <a:gd name="T53" fmla="*/ 2147483647 h 657"/>
                <a:gd name="T54" fmla="*/ 2147483647 w 450"/>
                <a:gd name="T55" fmla="*/ 2147483647 h 657"/>
                <a:gd name="T56" fmla="*/ 2147483647 w 450"/>
                <a:gd name="T57" fmla="*/ 2147483647 h 657"/>
                <a:gd name="T58" fmla="*/ 2147483647 w 450"/>
                <a:gd name="T59" fmla="*/ 2147483647 h 657"/>
                <a:gd name="T60" fmla="*/ 2147483647 w 450"/>
                <a:gd name="T61" fmla="*/ 2147483647 h 657"/>
                <a:gd name="T62" fmla="*/ 2147483647 w 450"/>
                <a:gd name="T63" fmla="*/ 2147483647 h 657"/>
                <a:gd name="T64" fmla="*/ 2147483647 w 450"/>
                <a:gd name="T65" fmla="*/ 2147483647 h 657"/>
                <a:gd name="T66" fmla="*/ 2147483647 w 450"/>
                <a:gd name="T67" fmla="*/ 2147483647 h 657"/>
                <a:gd name="T68" fmla="*/ 2147483647 w 450"/>
                <a:gd name="T69" fmla="*/ 2147483647 h 657"/>
                <a:gd name="T70" fmla="*/ 2147483647 w 450"/>
                <a:gd name="T71" fmla="*/ 2147483647 h 657"/>
                <a:gd name="T72" fmla="*/ 2147483647 w 450"/>
                <a:gd name="T73" fmla="*/ 2147483647 h 657"/>
                <a:gd name="T74" fmla="*/ 2147483647 w 450"/>
                <a:gd name="T75" fmla="*/ 2147483647 h 657"/>
                <a:gd name="T76" fmla="*/ 2147483647 w 450"/>
                <a:gd name="T77" fmla="*/ 2147483647 h 657"/>
                <a:gd name="T78" fmla="*/ 2147483647 w 450"/>
                <a:gd name="T79" fmla="*/ 2147483647 h 657"/>
                <a:gd name="T80" fmla="*/ 2147483647 w 450"/>
                <a:gd name="T81" fmla="*/ 2147483647 h 657"/>
                <a:gd name="T82" fmla="*/ 2147483647 w 450"/>
                <a:gd name="T83" fmla="*/ 2147483647 h 657"/>
                <a:gd name="T84" fmla="*/ 2147483647 w 450"/>
                <a:gd name="T85" fmla="*/ 2147483647 h 657"/>
                <a:gd name="T86" fmla="*/ 2147483647 w 450"/>
                <a:gd name="T87" fmla="*/ 2147483647 h 657"/>
                <a:gd name="T88" fmla="*/ 2147483647 w 450"/>
                <a:gd name="T89" fmla="*/ 2147483647 h 657"/>
                <a:gd name="T90" fmla="*/ 2147483647 w 450"/>
                <a:gd name="T91" fmla="*/ 2147483647 h 657"/>
                <a:gd name="T92" fmla="*/ 2147483647 w 450"/>
                <a:gd name="T93" fmla="*/ 2147483647 h 657"/>
                <a:gd name="T94" fmla="*/ 2147483647 w 450"/>
                <a:gd name="T95" fmla="*/ 2147483647 h 657"/>
                <a:gd name="T96" fmla="*/ 2147483647 w 450"/>
                <a:gd name="T97" fmla="*/ 2147483647 h 657"/>
                <a:gd name="T98" fmla="*/ 2147483647 w 450"/>
                <a:gd name="T99" fmla="*/ 2147483647 h 657"/>
                <a:gd name="T100" fmla="*/ 2147483647 w 450"/>
                <a:gd name="T101" fmla="*/ 2147483647 h 657"/>
                <a:gd name="T102" fmla="*/ 2147483647 w 450"/>
                <a:gd name="T103" fmla="*/ 2147483647 h 657"/>
                <a:gd name="T104" fmla="*/ 0 w 450"/>
                <a:gd name="T105" fmla="*/ 2147483647 h 65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50" h="657">
                  <a:moveTo>
                    <a:pt x="0" y="156"/>
                  </a:moveTo>
                  <a:lnTo>
                    <a:pt x="7" y="77"/>
                  </a:lnTo>
                  <a:lnTo>
                    <a:pt x="26" y="33"/>
                  </a:lnTo>
                  <a:lnTo>
                    <a:pt x="57" y="0"/>
                  </a:lnTo>
                  <a:lnTo>
                    <a:pt x="81" y="12"/>
                  </a:lnTo>
                  <a:lnTo>
                    <a:pt x="57" y="77"/>
                  </a:lnTo>
                  <a:lnTo>
                    <a:pt x="62" y="121"/>
                  </a:lnTo>
                  <a:lnTo>
                    <a:pt x="81" y="156"/>
                  </a:lnTo>
                  <a:lnTo>
                    <a:pt x="57" y="179"/>
                  </a:lnTo>
                  <a:lnTo>
                    <a:pt x="81" y="179"/>
                  </a:lnTo>
                  <a:lnTo>
                    <a:pt x="87" y="144"/>
                  </a:lnTo>
                  <a:lnTo>
                    <a:pt x="69" y="112"/>
                  </a:lnTo>
                  <a:lnTo>
                    <a:pt x="81" y="91"/>
                  </a:lnTo>
                  <a:lnTo>
                    <a:pt x="69" y="68"/>
                  </a:lnTo>
                  <a:lnTo>
                    <a:pt x="95" y="77"/>
                  </a:lnTo>
                  <a:lnTo>
                    <a:pt x="76" y="56"/>
                  </a:lnTo>
                  <a:lnTo>
                    <a:pt x="100" y="68"/>
                  </a:lnTo>
                  <a:lnTo>
                    <a:pt x="81" y="45"/>
                  </a:lnTo>
                  <a:lnTo>
                    <a:pt x="100" y="45"/>
                  </a:lnTo>
                  <a:lnTo>
                    <a:pt x="119" y="12"/>
                  </a:lnTo>
                  <a:lnTo>
                    <a:pt x="137" y="12"/>
                  </a:lnTo>
                  <a:lnTo>
                    <a:pt x="137" y="45"/>
                  </a:lnTo>
                  <a:lnTo>
                    <a:pt x="150" y="56"/>
                  </a:lnTo>
                  <a:lnTo>
                    <a:pt x="145" y="121"/>
                  </a:lnTo>
                  <a:lnTo>
                    <a:pt x="163" y="91"/>
                  </a:lnTo>
                  <a:lnTo>
                    <a:pt x="175" y="100"/>
                  </a:lnTo>
                  <a:lnTo>
                    <a:pt x="201" y="77"/>
                  </a:lnTo>
                  <a:lnTo>
                    <a:pt x="237" y="91"/>
                  </a:lnTo>
                  <a:lnTo>
                    <a:pt x="251" y="121"/>
                  </a:lnTo>
                  <a:lnTo>
                    <a:pt x="237" y="144"/>
                  </a:lnTo>
                  <a:lnTo>
                    <a:pt x="256" y="135"/>
                  </a:lnTo>
                  <a:lnTo>
                    <a:pt x="256" y="156"/>
                  </a:lnTo>
                  <a:lnTo>
                    <a:pt x="270" y="156"/>
                  </a:lnTo>
                  <a:lnTo>
                    <a:pt x="275" y="135"/>
                  </a:lnTo>
                  <a:lnTo>
                    <a:pt x="294" y="144"/>
                  </a:lnTo>
                  <a:lnTo>
                    <a:pt x="301" y="166"/>
                  </a:lnTo>
                  <a:lnTo>
                    <a:pt x="282" y="179"/>
                  </a:lnTo>
                  <a:lnTo>
                    <a:pt x="306" y="179"/>
                  </a:lnTo>
                  <a:lnTo>
                    <a:pt x="301" y="200"/>
                  </a:lnTo>
                  <a:lnTo>
                    <a:pt x="320" y="189"/>
                  </a:lnTo>
                  <a:lnTo>
                    <a:pt x="306" y="214"/>
                  </a:lnTo>
                  <a:lnTo>
                    <a:pt x="344" y="200"/>
                  </a:lnTo>
                  <a:lnTo>
                    <a:pt x="325" y="223"/>
                  </a:lnTo>
                  <a:lnTo>
                    <a:pt x="338" y="223"/>
                  </a:lnTo>
                  <a:lnTo>
                    <a:pt x="331" y="235"/>
                  </a:lnTo>
                  <a:lnTo>
                    <a:pt x="344" y="223"/>
                  </a:lnTo>
                  <a:lnTo>
                    <a:pt x="362" y="244"/>
                  </a:lnTo>
                  <a:lnTo>
                    <a:pt x="331" y="258"/>
                  </a:lnTo>
                  <a:lnTo>
                    <a:pt x="375" y="279"/>
                  </a:lnTo>
                  <a:lnTo>
                    <a:pt x="338" y="279"/>
                  </a:lnTo>
                  <a:lnTo>
                    <a:pt x="351" y="288"/>
                  </a:lnTo>
                  <a:lnTo>
                    <a:pt x="344" y="311"/>
                  </a:lnTo>
                  <a:lnTo>
                    <a:pt x="381" y="358"/>
                  </a:lnTo>
                  <a:lnTo>
                    <a:pt x="394" y="346"/>
                  </a:lnTo>
                  <a:lnTo>
                    <a:pt x="407" y="390"/>
                  </a:lnTo>
                  <a:lnTo>
                    <a:pt x="426" y="390"/>
                  </a:lnTo>
                  <a:lnTo>
                    <a:pt x="426" y="411"/>
                  </a:lnTo>
                  <a:lnTo>
                    <a:pt x="450" y="411"/>
                  </a:lnTo>
                  <a:lnTo>
                    <a:pt x="444" y="446"/>
                  </a:lnTo>
                  <a:lnTo>
                    <a:pt x="431" y="434"/>
                  </a:lnTo>
                  <a:lnTo>
                    <a:pt x="439" y="456"/>
                  </a:lnTo>
                  <a:lnTo>
                    <a:pt x="431" y="479"/>
                  </a:lnTo>
                  <a:lnTo>
                    <a:pt x="420" y="467"/>
                  </a:lnTo>
                  <a:lnTo>
                    <a:pt x="420" y="513"/>
                  </a:lnTo>
                  <a:lnTo>
                    <a:pt x="370" y="423"/>
                  </a:lnTo>
                  <a:lnTo>
                    <a:pt x="344" y="434"/>
                  </a:lnTo>
                  <a:lnTo>
                    <a:pt x="362" y="456"/>
                  </a:lnTo>
                  <a:lnTo>
                    <a:pt x="351" y="479"/>
                  </a:lnTo>
                  <a:lnTo>
                    <a:pt x="357" y="479"/>
                  </a:lnTo>
                  <a:lnTo>
                    <a:pt x="370" y="513"/>
                  </a:lnTo>
                  <a:lnTo>
                    <a:pt x="394" y="525"/>
                  </a:lnTo>
                  <a:lnTo>
                    <a:pt x="394" y="557"/>
                  </a:lnTo>
                  <a:lnTo>
                    <a:pt x="407" y="569"/>
                  </a:lnTo>
                  <a:lnTo>
                    <a:pt x="400" y="623"/>
                  </a:lnTo>
                  <a:lnTo>
                    <a:pt x="331" y="569"/>
                  </a:lnTo>
                  <a:lnTo>
                    <a:pt x="375" y="657"/>
                  </a:lnTo>
                  <a:lnTo>
                    <a:pt x="294" y="613"/>
                  </a:lnTo>
                  <a:lnTo>
                    <a:pt x="288" y="578"/>
                  </a:lnTo>
                  <a:lnTo>
                    <a:pt x="294" y="578"/>
                  </a:lnTo>
                  <a:lnTo>
                    <a:pt x="270" y="557"/>
                  </a:lnTo>
                  <a:lnTo>
                    <a:pt x="262" y="525"/>
                  </a:lnTo>
                  <a:lnTo>
                    <a:pt x="244" y="513"/>
                  </a:lnTo>
                  <a:lnTo>
                    <a:pt x="244" y="534"/>
                  </a:lnTo>
                  <a:lnTo>
                    <a:pt x="232" y="525"/>
                  </a:lnTo>
                  <a:lnTo>
                    <a:pt x="213" y="546"/>
                  </a:lnTo>
                  <a:lnTo>
                    <a:pt x="187" y="525"/>
                  </a:lnTo>
                  <a:lnTo>
                    <a:pt x="201" y="479"/>
                  </a:lnTo>
                  <a:lnTo>
                    <a:pt x="256" y="479"/>
                  </a:lnTo>
                  <a:lnTo>
                    <a:pt x="251" y="446"/>
                  </a:lnTo>
                  <a:lnTo>
                    <a:pt x="282" y="390"/>
                  </a:lnTo>
                  <a:lnTo>
                    <a:pt x="256" y="311"/>
                  </a:lnTo>
                  <a:lnTo>
                    <a:pt x="237" y="302"/>
                  </a:lnTo>
                  <a:lnTo>
                    <a:pt x="251" y="288"/>
                  </a:lnTo>
                  <a:lnTo>
                    <a:pt x="213" y="311"/>
                  </a:lnTo>
                  <a:lnTo>
                    <a:pt x="213" y="288"/>
                  </a:lnTo>
                  <a:lnTo>
                    <a:pt x="225" y="279"/>
                  </a:lnTo>
                  <a:lnTo>
                    <a:pt x="201" y="244"/>
                  </a:lnTo>
                  <a:lnTo>
                    <a:pt x="201" y="223"/>
                  </a:lnTo>
                  <a:lnTo>
                    <a:pt x="175" y="214"/>
                  </a:lnTo>
                  <a:lnTo>
                    <a:pt x="175" y="244"/>
                  </a:lnTo>
                  <a:lnTo>
                    <a:pt x="137" y="235"/>
                  </a:lnTo>
                  <a:lnTo>
                    <a:pt x="145" y="244"/>
                  </a:lnTo>
                  <a:lnTo>
                    <a:pt x="31" y="223"/>
                  </a:lnTo>
                  <a:lnTo>
                    <a:pt x="12" y="179"/>
                  </a:lnTo>
                  <a:lnTo>
                    <a:pt x="50" y="179"/>
                  </a:lnTo>
                  <a:lnTo>
                    <a:pt x="0" y="1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46" name="Freeform 173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3178120" y="2466545"/>
              <a:ext cx="834037" cy="520700"/>
            </a:xfrm>
            <a:custGeom>
              <a:avLst/>
              <a:gdLst>
                <a:gd name="T0" fmla="*/ 2147483647 w 450"/>
                <a:gd name="T1" fmla="*/ 2147483647 h 657"/>
                <a:gd name="T2" fmla="*/ 2147483647 w 450"/>
                <a:gd name="T3" fmla="*/ 0 h 657"/>
                <a:gd name="T4" fmla="*/ 2147483647 w 450"/>
                <a:gd name="T5" fmla="*/ 2147483647 h 657"/>
                <a:gd name="T6" fmla="*/ 2147483647 w 450"/>
                <a:gd name="T7" fmla="*/ 2147483647 h 657"/>
                <a:gd name="T8" fmla="*/ 2147483647 w 450"/>
                <a:gd name="T9" fmla="*/ 2147483647 h 657"/>
                <a:gd name="T10" fmla="*/ 2147483647 w 450"/>
                <a:gd name="T11" fmla="*/ 2147483647 h 657"/>
                <a:gd name="T12" fmla="*/ 2147483647 w 450"/>
                <a:gd name="T13" fmla="*/ 2147483647 h 657"/>
                <a:gd name="T14" fmla="*/ 2147483647 w 450"/>
                <a:gd name="T15" fmla="*/ 2147483647 h 657"/>
                <a:gd name="T16" fmla="*/ 2147483647 w 450"/>
                <a:gd name="T17" fmla="*/ 2147483647 h 657"/>
                <a:gd name="T18" fmla="*/ 2147483647 w 450"/>
                <a:gd name="T19" fmla="*/ 2147483647 h 657"/>
                <a:gd name="T20" fmla="*/ 2147483647 w 450"/>
                <a:gd name="T21" fmla="*/ 2147483647 h 657"/>
                <a:gd name="T22" fmla="*/ 2147483647 w 450"/>
                <a:gd name="T23" fmla="*/ 2147483647 h 657"/>
                <a:gd name="T24" fmla="*/ 2147483647 w 450"/>
                <a:gd name="T25" fmla="*/ 2147483647 h 657"/>
                <a:gd name="T26" fmla="*/ 2147483647 w 450"/>
                <a:gd name="T27" fmla="*/ 2147483647 h 657"/>
                <a:gd name="T28" fmla="*/ 2147483647 w 450"/>
                <a:gd name="T29" fmla="*/ 2147483647 h 657"/>
                <a:gd name="T30" fmla="*/ 2147483647 w 450"/>
                <a:gd name="T31" fmla="*/ 2147483647 h 657"/>
                <a:gd name="T32" fmla="*/ 2147483647 w 450"/>
                <a:gd name="T33" fmla="*/ 2147483647 h 657"/>
                <a:gd name="T34" fmla="*/ 2147483647 w 450"/>
                <a:gd name="T35" fmla="*/ 2147483647 h 657"/>
                <a:gd name="T36" fmla="*/ 2147483647 w 450"/>
                <a:gd name="T37" fmla="*/ 2147483647 h 657"/>
                <a:gd name="T38" fmla="*/ 2147483647 w 450"/>
                <a:gd name="T39" fmla="*/ 2147483647 h 657"/>
                <a:gd name="T40" fmla="*/ 2147483647 w 450"/>
                <a:gd name="T41" fmla="*/ 2147483647 h 657"/>
                <a:gd name="T42" fmla="*/ 2147483647 w 450"/>
                <a:gd name="T43" fmla="*/ 2147483647 h 657"/>
                <a:gd name="T44" fmla="*/ 2147483647 w 450"/>
                <a:gd name="T45" fmla="*/ 2147483647 h 657"/>
                <a:gd name="T46" fmla="*/ 2147483647 w 450"/>
                <a:gd name="T47" fmla="*/ 2147483647 h 657"/>
                <a:gd name="T48" fmla="*/ 2147483647 w 450"/>
                <a:gd name="T49" fmla="*/ 2147483647 h 657"/>
                <a:gd name="T50" fmla="*/ 2147483647 w 450"/>
                <a:gd name="T51" fmla="*/ 2147483647 h 657"/>
                <a:gd name="T52" fmla="*/ 2147483647 w 450"/>
                <a:gd name="T53" fmla="*/ 2147483647 h 657"/>
                <a:gd name="T54" fmla="*/ 2147483647 w 450"/>
                <a:gd name="T55" fmla="*/ 2147483647 h 657"/>
                <a:gd name="T56" fmla="*/ 2147483647 w 450"/>
                <a:gd name="T57" fmla="*/ 2147483647 h 657"/>
                <a:gd name="T58" fmla="*/ 2147483647 w 450"/>
                <a:gd name="T59" fmla="*/ 2147483647 h 657"/>
                <a:gd name="T60" fmla="*/ 2147483647 w 450"/>
                <a:gd name="T61" fmla="*/ 2147483647 h 657"/>
                <a:gd name="T62" fmla="*/ 2147483647 w 450"/>
                <a:gd name="T63" fmla="*/ 2147483647 h 657"/>
                <a:gd name="T64" fmla="*/ 2147483647 w 450"/>
                <a:gd name="T65" fmla="*/ 2147483647 h 657"/>
                <a:gd name="T66" fmla="*/ 2147483647 w 450"/>
                <a:gd name="T67" fmla="*/ 2147483647 h 657"/>
                <a:gd name="T68" fmla="*/ 2147483647 w 450"/>
                <a:gd name="T69" fmla="*/ 2147483647 h 657"/>
                <a:gd name="T70" fmla="*/ 2147483647 w 450"/>
                <a:gd name="T71" fmla="*/ 2147483647 h 657"/>
                <a:gd name="T72" fmla="*/ 2147483647 w 450"/>
                <a:gd name="T73" fmla="*/ 2147483647 h 657"/>
                <a:gd name="T74" fmla="*/ 2147483647 w 450"/>
                <a:gd name="T75" fmla="*/ 2147483647 h 657"/>
                <a:gd name="T76" fmla="*/ 2147483647 w 450"/>
                <a:gd name="T77" fmla="*/ 2147483647 h 657"/>
                <a:gd name="T78" fmla="*/ 2147483647 w 450"/>
                <a:gd name="T79" fmla="*/ 2147483647 h 657"/>
                <a:gd name="T80" fmla="*/ 2147483647 w 450"/>
                <a:gd name="T81" fmla="*/ 2147483647 h 657"/>
                <a:gd name="T82" fmla="*/ 2147483647 w 450"/>
                <a:gd name="T83" fmla="*/ 2147483647 h 657"/>
                <a:gd name="T84" fmla="*/ 2147483647 w 450"/>
                <a:gd name="T85" fmla="*/ 2147483647 h 657"/>
                <a:gd name="T86" fmla="*/ 2147483647 w 450"/>
                <a:gd name="T87" fmla="*/ 2147483647 h 657"/>
                <a:gd name="T88" fmla="*/ 2147483647 w 450"/>
                <a:gd name="T89" fmla="*/ 2147483647 h 657"/>
                <a:gd name="T90" fmla="*/ 2147483647 w 450"/>
                <a:gd name="T91" fmla="*/ 2147483647 h 657"/>
                <a:gd name="T92" fmla="*/ 2147483647 w 450"/>
                <a:gd name="T93" fmla="*/ 2147483647 h 657"/>
                <a:gd name="T94" fmla="*/ 2147483647 w 450"/>
                <a:gd name="T95" fmla="*/ 2147483647 h 657"/>
                <a:gd name="T96" fmla="*/ 2147483647 w 450"/>
                <a:gd name="T97" fmla="*/ 2147483647 h 657"/>
                <a:gd name="T98" fmla="*/ 2147483647 w 450"/>
                <a:gd name="T99" fmla="*/ 2147483647 h 657"/>
                <a:gd name="T100" fmla="*/ 2147483647 w 450"/>
                <a:gd name="T101" fmla="*/ 2147483647 h 657"/>
                <a:gd name="T102" fmla="*/ 2147483647 w 450"/>
                <a:gd name="T103" fmla="*/ 2147483647 h 657"/>
                <a:gd name="T104" fmla="*/ 0 w 450"/>
                <a:gd name="T105" fmla="*/ 2147483647 h 65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50" h="657">
                  <a:moveTo>
                    <a:pt x="0" y="156"/>
                  </a:moveTo>
                  <a:lnTo>
                    <a:pt x="7" y="77"/>
                  </a:lnTo>
                  <a:lnTo>
                    <a:pt x="26" y="33"/>
                  </a:lnTo>
                  <a:lnTo>
                    <a:pt x="57" y="0"/>
                  </a:lnTo>
                  <a:lnTo>
                    <a:pt x="81" y="12"/>
                  </a:lnTo>
                  <a:lnTo>
                    <a:pt x="57" y="77"/>
                  </a:lnTo>
                  <a:lnTo>
                    <a:pt x="62" y="121"/>
                  </a:lnTo>
                  <a:lnTo>
                    <a:pt x="81" y="156"/>
                  </a:lnTo>
                  <a:lnTo>
                    <a:pt x="57" y="179"/>
                  </a:lnTo>
                  <a:lnTo>
                    <a:pt x="81" y="179"/>
                  </a:lnTo>
                  <a:lnTo>
                    <a:pt x="87" y="144"/>
                  </a:lnTo>
                  <a:lnTo>
                    <a:pt x="69" y="112"/>
                  </a:lnTo>
                  <a:lnTo>
                    <a:pt x="81" y="91"/>
                  </a:lnTo>
                  <a:lnTo>
                    <a:pt x="69" y="68"/>
                  </a:lnTo>
                  <a:lnTo>
                    <a:pt x="95" y="77"/>
                  </a:lnTo>
                  <a:lnTo>
                    <a:pt x="76" y="56"/>
                  </a:lnTo>
                  <a:lnTo>
                    <a:pt x="100" y="68"/>
                  </a:lnTo>
                  <a:lnTo>
                    <a:pt x="81" y="45"/>
                  </a:lnTo>
                  <a:lnTo>
                    <a:pt x="100" y="45"/>
                  </a:lnTo>
                  <a:lnTo>
                    <a:pt x="119" y="12"/>
                  </a:lnTo>
                  <a:lnTo>
                    <a:pt x="137" y="12"/>
                  </a:lnTo>
                  <a:lnTo>
                    <a:pt x="137" y="45"/>
                  </a:lnTo>
                  <a:lnTo>
                    <a:pt x="150" y="56"/>
                  </a:lnTo>
                  <a:lnTo>
                    <a:pt x="145" y="121"/>
                  </a:lnTo>
                  <a:lnTo>
                    <a:pt x="163" y="91"/>
                  </a:lnTo>
                  <a:lnTo>
                    <a:pt x="175" y="100"/>
                  </a:lnTo>
                  <a:lnTo>
                    <a:pt x="201" y="77"/>
                  </a:lnTo>
                  <a:lnTo>
                    <a:pt x="237" y="91"/>
                  </a:lnTo>
                  <a:lnTo>
                    <a:pt x="251" y="121"/>
                  </a:lnTo>
                  <a:lnTo>
                    <a:pt x="237" y="144"/>
                  </a:lnTo>
                  <a:lnTo>
                    <a:pt x="256" y="135"/>
                  </a:lnTo>
                  <a:lnTo>
                    <a:pt x="256" y="156"/>
                  </a:lnTo>
                  <a:lnTo>
                    <a:pt x="270" y="156"/>
                  </a:lnTo>
                  <a:lnTo>
                    <a:pt x="275" y="135"/>
                  </a:lnTo>
                  <a:lnTo>
                    <a:pt x="294" y="144"/>
                  </a:lnTo>
                  <a:lnTo>
                    <a:pt x="301" y="166"/>
                  </a:lnTo>
                  <a:lnTo>
                    <a:pt x="282" y="179"/>
                  </a:lnTo>
                  <a:lnTo>
                    <a:pt x="306" y="179"/>
                  </a:lnTo>
                  <a:lnTo>
                    <a:pt x="301" y="200"/>
                  </a:lnTo>
                  <a:lnTo>
                    <a:pt x="320" y="189"/>
                  </a:lnTo>
                  <a:lnTo>
                    <a:pt x="306" y="214"/>
                  </a:lnTo>
                  <a:lnTo>
                    <a:pt x="344" y="200"/>
                  </a:lnTo>
                  <a:lnTo>
                    <a:pt x="325" y="223"/>
                  </a:lnTo>
                  <a:lnTo>
                    <a:pt x="338" y="223"/>
                  </a:lnTo>
                  <a:lnTo>
                    <a:pt x="331" y="235"/>
                  </a:lnTo>
                  <a:lnTo>
                    <a:pt x="344" y="223"/>
                  </a:lnTo>
                  <a:lnTo>
                    <a:pt x="362" y="244"/>
                  </a:lnTo>
                  <a:lnTo>
                    <a:pt x="331" y="258"/>
                  </a:lnTo>
                  <a:lnTo>
                    <a:pt x="375" y="279"/>
                  </a:lnTo>
                  <a:lnTo>
                    <a:pt x="338" y="279"/>
                  </a:lnTo>
                  <a:lnTo>
                    <a:pt x="351" y="288"/>
                  </a:lnTo>
                  <a:lnTo>
                    <a:pt x="344" y="311"/>
                  </a:lnTo>
                  <a:lnTo>
                    <a:pt x="381" y="358"/>
                  </a:lnTo>
                  <a:lnTo>
                    <a:pt x="394" y="346"/>
                  </a:lnTo>
                  <a:lnTo>
                    <a:pt x="407" y="390"/>
                  </a:lnTo>
                  <a:lnTo>
                    <a:pt x="426" y="390"/>
                  </a:lnTo>
                  <a:lnTo>
                    <a:pt x="426" y="411"/>
                  </a:lnTo>
                  <a:lnTo>
                    <a:pt x="450" y="411"/>
                  </a:lnTo>
                  <a:lnTo>
                    <a:pt x="444" y="446"/>
                  </a:lnTo>
                  <a:lnTo>
                    <a:pt x="431" y="434"/>
                  </a:lnTo>
                  <a:lnTo>
                    <a:pt x="439" y="456"/>
                  </a:lnTo>
                  <a:lnTo>
                    <a:pt x="431" y="479"/>
                  </a:lnTo>
                  <a:lnTo>
                    <a:pt x="420" y="467"/>
                  </a:lnTo>
                  <a:lnTo>
                    <a:pt x="420" y="513"/>
                  </a:lnTo>
                  <a:lnTo>
                    <a:pt x="370" y="423"/>
                  </a:lnTo>
                  <a:lnTo>
                    <a:pt x="344" y="434"/>
                  </a:lnTo>
                  <a:lnTo>
                    <a:pt x="362" y="456"/>
                  </a:lnTo>
                  <a:lnTo>
                    <a:pt x="351" y="479"/>
                  </a:lnTo>
                  <a:lnTo>
                    <a:pt x="357" y="479"/>
                  </a:lnTo>
                  <a:lnTo>
                    <a:pt x="370" y="513"/>
                  </a:lnTo>
                  <a:lnTo>
                    <a:pt x="394" y="525"/>
                  </a:lnTo>
                  <a:lnTo>
                    <a:pt x="394" y="557"/>
                  </a:lnTo>
                  <a:lnTo>
                    <a:pt x="407" y="569"/>
                  </a:lnTo>
                  <a:lnTo>
                    <a:pt x="400" y="623"/>
                  </a:lnTo>
                  <a:lnTo>
                    <a:pt x="331" y="569"/>
                  </a:lnTo>
                  <a:lnTo>
                    <a:pt x="375" y="657"/>
                  </a:lnTo>
                  <a:lnTo>
                    <a:pt x="294" y="613"/>
                  </a:lnTo>
                  <a:lnTo>
                    <a:pt x="288" y="578"/>
                  </a:lnTo>
                  <a:lnTo>
                    <a:pt x="294" y="578"/>
                  </a:lnTo>
                  <a:lnTo>
                    <a:pt x="270" y="557"/>
                  </a:lnTo>
                  <a:lnTo>
                    <a:pt x="262" y="525"/>
                  </a:lnTo>
                  <a:lnTo>
                    <a:pt x="244" y="513"/>
                  </a:lnTo>
                  <a:lnTo>
                    <a:pt x="244" y="534"/>
                  </a:lnTo>
                  <a:lnTo>
                    <a:pt x="232" y="525"/>
                  </a:lnTo>
                  <a:lnTo>
                    <a:pt x="213" y="546"/>
                  </a:lnTo>
                  <a:lnTo>
                    <a:pt x="187" y="525"/>
                  </a:lnTo>
                  <a:lnTo>
                    <a:pt x="201" y="479"/>
                  </a:lnTo>
                  <a:lnTo>
                    <a:pt x="256" y="479"/>
                  </a:lnTo>
                  <a:lnTo>
                    <a:pt x="251" y="446"/>
                  </a:lnTo>
                  <a:lnTo>
                    <a:pt x="282" y="390"/>
                  </a:lnTo>
                  <a:lnTo>
                    <a:pt x="256" y="311"/>
                  </a:lnTo>
                  <a:lnTo>
                    <a:pt x="237" y="302"/>
                  </a:lnTo>
                  <a:lnTo>
                    <a:pt x="251" y="288"/>
                  </a:lnTo>
                  <a:lnTo>
                    <a:pt x="213" y="311"/>
                  </a:lnTo>
                  <a:lnTo>
                    <a:pt x="213" y="288"/>
                  </a:lnTo>
                  <a:lnTo>
                    <a:pt x="225" y="279"/>
                  </a:lnTo>
                  <a:lnTo>
                    <a:pt x="201" y="244"/>
                  </a:lnTo>
                  <a:lnTo>
                    <a:pt x="201" y="223"/>
                  </a:lnTo>
                  <a:lnTo>
                    <a:pt x="175" y="214"/>
                  </a:lnTo>
                  <a:lnTo>
                    <a:pt x="175" y="244"/>
                  </a:lnTo>
                  <a:lnTo>
                    <a:pt x="137" y="235"/>
                  </a:lnTo>
                  <a:lnTo>
                    <a:pt x="145" y="244"/>
                  </a:lnTo>
                  <a:lnTo>
                    <a:pt x="31" y="223"/>
                  </a:lnTo>
                  <a:lnTo>
                    <a:pt x="12" y="179"/>
                  </a:lnTo>
                  <a:lnTo>
                    <a:pt x="50" y="179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47" name="Freeform 174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3178120" y="2466545"/>
              <a:ext cx="834037" cy="520700"/>
            </a:xfrm>
            <a:custGeom>
              <a:avLst/>
              <a:gdLst>
                <a:gd name="T0" fmla="*/ 2147483647 w 450"/>
                <a:gd name="T1" fmla="*/ 2147483647 h 657"/>
                <a:gd name="T2" fmla="*/ 2147483647 w 450"/>
                <a:gd name="T3" fmla="*/ 0 h 657"/>
                <a:gd name="T4" fmla="*/ 2147483647 w 450"/>
                <a:gd name="T5" fmla="*/ 2147483647 h 657"/>
                <a:gd name="T6" fmla="*/ 2147483647 w 450"/>
                <a:gd name="T7" fmla="*/ 2147483647 h 657"/>
                <a:gd name="T8" fmla="*/ 2147483647 w 450"/>
                <a:gd name="T9" fmla="*/ 2147483647 h 657"/>
                <a:gd name="T10" fmla="*/ 2147483647 w 450"/>
                <a:gd name="T11" fmla="*/ 2147483647 h 657"/>
                <a:gd name="T12" fmla="*/ 2147483647 w 450"/>
                <a:gd name="T13" fmla="*/ 2147483647 h 657"/>
                <a:gd name="T14" fmla="*/ 2147483647 w 450"/>
                <a:gd name="T15" fmla="*/ 2147483647 h 657"/>
                <a:gd name="T16" fmla="*/ 2147483647 w 450"/>
                <a:gd name="T17" fmla="*/ 2147483647 h 657"/>
                <a:gd name="T18" fmla="*/ 2147483647 w 450"/>
                <a:gd name="T19" fmla="*/ 2147483647 h 657"/>
                <a:gd name="T20" fmla="*/ 2147483647 w 450"/>
                <a:gd name="T21" fmla="*/ 2147483647 h 657"/>
                <a:gd name="T22" fmla="*/ 2147483647 w 450"/>
                <a:gd name="T23" fmla="*/ 2147483647 h 657"/>
                <a:gd name="T24" fmla="*/ 2147483647 w 450"/>
                <a:gd name="T25" fmla="*/ 2147483647 h 657"/>
                <a:gd name="T26" fmla="*/ 2147483647 w 450"/>
                <a:gd name="T27" fmla="*/ 2147483647 h 657"/>
                <a:gd name="T28" fmla="*/ 2147483647 w 450"/>
                <a:gd name="T29" fmla="*/ 2147483647 h 657"/>
                <a:gd name="T30" fmla="*/ 2147483647 w 450"/>
                <a:gd name="T31" fmla="*/ 2147483647 h 657"/>
                <a:gd name="T32" fmla="*/ 2147483647 w 450"/>
                <a:gd name="T33" fmla="*/ 2147483647 h 657"/>
                <a:gd name="T34" fmla="*/ 2147483647 w 450"/>
                <a:gd name="T35" fmla="*/ 2147483647 h 657"/>
                <a:gd name="T36" fmla="*/ 2147483647 w 450"/>
                <a:gd name="T37" fmla="*/ 2147483647 h 657"/>
                <a:gd name="T38" fmla="*/ 2147483647 w 450"/>
                <a:gd name="T39" fmla="*/ 2147483647 h 657"/>
                <a:gd name="T40" fmla="*/ 2147483647 w 450"/>
                <a:gd name="T41" fmla="*/ 2147483647 h 657"/>
                <a:gd name="T42" fmla="*/ 2147483647 w 450"/>
                <a:gd name="T43" fmla="*/ 2147483647 h 657"/>
                <a:gd name="T44" fmla="*/ 2147483647 w 450"/>
                <a:gd name="T45" fmla="*/ 2147483647 h 657"/>
                <a:gd name="T46" fmla="*/ 2147483647 w 450"/>
                <a:gd name="T47" fmla="*/ 2147483647 h 657"/>
                <a:gd name="T48" fmla="*/ 2147483647 w 450"/>
                <a:gd name="T49" fmla="*/ 2147483647 h 657"/>
                <a:gd name="T50" fmla="*/ 2147483647 w 450"/>
                <a:gd name="T51" fmla="*/ 2147483647 h 657"/>
                <a:gd name="T52" fmla="*/ 2147483647 w 450"/>
                <a:gd name="T53" fmla="*/ 2147483647 h 657"/>
                <a:gd name="T54" fmla="*/ 2147483647 w 450"/>
                <a:gd name="T55" fmla="*/ 2147483647 h 657"/>
                <a:gd name="T56" fmla="*/ 2147483647 w 450"/>
                <a:gd name="T57" fmla="*/ 2147483647 h 657"/>
                <a:gd name="T58" fmla="*/ 2147483647 w 450"/>
                <a:gd name="T59" fmla="*/ 2147483647 h 657"/>
                <a:gd name="T60" fmla="*/ 2147483647 w 450"/>
                <a:gd name="T61" fmla="*/ 2147483647 h 657"/>
                <a:gd name="T62" fmla="*/ 2147483647 w 450"/>
                <a:gd name="T63" fmla="*/ 2147483647 h 657"/>
                <a:gd name="T64" fmla="*/ 2147483647 w 450"/>
                <a:gd name="T65" fmla="*/ 2147483647 h 657"/>
                <a:gd name="T66" fmla="*/ 2147483647 w 450"/>
                <a:gd name="T67" fmla="*/ 2147483647 h 657"/>
                <a:gd name="T68" fmla="*/ 2147483647 w 450"/>
                <a:gd name="T69" fmla="*/ 2147483647 h 657"/>
                <a:gd name="T70" fmla="*/ 2147483647 w 450"/>
                <a:gd name="T71" fmla="*/ 2147483647 h 657"/>
                <a:gd name="T72" fmla="*/ 2147483647 w 450"/>
                <a:gd name="T73" fmla="*/ 2147483647 h 657"/>
                <a:gd name="T74" fmla="*/ 2147483647 w 450"/>
                <a:gd name="T75" fmla="*/ 2147483647 h 657"/>
                <a:gd name="T76" fmla="*/ 2147483647 w 450"/>
                <a:gd name="T77" fmla="*/ 2147483647 h 657"/>
                <a:gd name="T78" fmla="*/ 2147483647 w 450"/>
                <a:gd name="T79" fmla="*/ 2147483647 h 657"/>
                <a:gd name="T80" fmla="*/ 2147483647 w 450"/>
                <a:gd name="T81" fmla="*/ 2147483647 h 657"/>
                <a:gd name="T82" fmla="*/ 2147483647 w 450"/>
                <a:gd name="T83" fmla="*/ 2147483647 h 657"/>
                <a:gd name="T84" fmla="*/ 2147483647 w 450"/>
                <a:gd name="T85" fmla="*/ 2147483647 h 657"/>
                <a:gd name="T86" fmla="*/ 2147483647 w 450"/>
                <a:gd name="T87" fmla="*/ 2147483647 h 657"/>
                <a:gd name="T88" fmla="*/ 2147483647 w 450"/>
                <a:gd name="T89" fmla="*/ 2147483647 h 657"/>
                <a:gd name="T90" fmla="*/ 2147483647 w 450"/>
                <a:gd name="T91" fmla="*/ 2147483647 h 657"/>
                <a:gd name="T92" fmla="*/ 2147483647 w 450"/>
                <a:gd name="T93" fmla="*/ 2147483647 h 657"/>
                <a:gd name="T94" fmla="*/ 2147483647 w 450"/>
                <a:gd name="T95" fmla="*/ 2147483647 h 657"/>
                <a:gd name="T96" fmla="*/ 2147483647 w 450"/>
                <a:gd name="T97" fmla="*/ 2147483647 h 657"/>
                <a:gd name="T98" fmla="*/ 2147483647 w 450"/>
                <a:gd name="T99" fmla="*/ 2147483647 h 657"/>
                <a:gd name="T100" fmla="*/ 2147483647 w 450"/>
                <a:gd name="T101" fmla="*/ 2147483647 h 657"/>
                <a:gd name="T102" fmla="*/ 2147483647 w 450"/>
                <a:gd name="T103" fmla="*/ 2147483647 h 657"/>
                <a:gd name="T104" fmla="*/ 0 w 450"/>
                <a:gd name="T105" fmla="*/ 2147483647 h 65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50" h="657">
                  <a:moveTo>
                    <a:pt x="0" y="156"/>
                  </a:moveTo>
                  <a:lnTo>
                    <a:pt x="7" y="77"/>
                  </a:lnTo>
                  <a:lnTo>
                    <a:pt x="26" y="33"/>
                  </a:lnTo>
                  <a:lnTo>
                    <a:pt x="57" y="0"/>
                  </a:lnTo>
                  <a:lnTo>
                    <a:pt x="81" y="12"/>
                  </a:lnTo>
                  <a:lnTo>
                    <a:pt x="57" y="77"/>
                  </a:lnTo>
                  <a:lnTo>
                    <a:pt x="62" y="121"/>
                  </a:lnTo>
                  <a:lnTo>
                    <a:pt x="81" y="156"/>
                  </a:lnTo>
                  <a:lnTo>
                    <a:pt x="57" y="179"/>
                  </a:lnTo>
                  <a:lnTo>
                    <a:pt x="81" y="179"/>
                  </a:lnTo>
                  <a:lnTo>
                    <a:pt x="87" y="144"/>
                  </a:lnTo>
                  <a:lnTo>
                    <a:pt x="69" y="112"/>
                  </a:lnTo>
                  <a:lnTo>
                    <a:pt x="81" y="91"/>
                  </a:lnTo>
                  <a:lnTo>
                    <a:pt x="69" y="68"/>
                  </a:lnTo>
                  <a:lnTo>
                    <a:pt x="95" y="77"/>
                  </a:lnTo>
                  <a:lnTo>
                    <a:pt x="76" y="56"/>
                  </a:lnTo>
                  <a:lnTo>
                    <a:pt x="100" y="68"/>
                  </a:lnTo>
                  <a:lnTo>
                    <a:pt x="81" y="45"/>
                  </a:lnTo>
                  <a:lnTo>
                    <a:pt x="100" y="45"/>
                  </a:lnTo>
                  <a:lnTo>
                    <a:pt x="119" y="12"/>
                  </a:lnTo>
                  <a:lnTo>
                    <a:pt x="137" y="12"/>
                  </a:lnTo>
                  <a:lnTo>
                    <a:pt x="137" y="45"/>
                  </a:lnTo>
                  <a:lnTo>
                    <a:pt x="150" y="56"/>
                  </a:lnTo>
                  <a:lnTo>
                    <a:pt x="145" y="121"/>
                  </a:lnTo>
                  <a:lnTo>
                    <a:pt x="163" y="91"/>
                  </a:lnTo>
                  <a:lnTo>
                    <a:pt x="175" y="100"/>
                  </a:lnTo>
                  <a:lnTo>
                    <a:pt x="201" y="77"/>
                  </a:lnTo>
                  <a:lnTo>
                    <a:pt x="237" y="91"/>
                  </a:lnTo>
                  <a:lnTo>
                    <a:pt x="251" y="121"/>
                  </a:lnTo>
                  <a:lnTo>
                    <a:pt x="237" y="144"/>
                  </a:lnTo>
                  <a:lnTo>
                    <a:pt x="256" y="135"/>
                  </a:lnTo>
                  <a:lnTo>
                    <a:pt x="256" y="156"/>
                  </a:lnTo>
                  <a:lnTo>
                    <a:pt x="270" y="156"/>
                  </a:lnTo>
                  <a:lnTo>
                    <a:pt x="275" y="135"/>
                  </a:lnTo>
                  <a:lnTo>
                    <a:pt x="294" y="144"/>
                  </a:lnTo>
                  <a:lnTo>
                    <a:pt x="301" y="166"/>
                  </a:lnTo>
                  <a:lnTo>
                    <a:pt x="282" y="179"/>
                  </a:lnTo>
                  <a:lnTo>
                    <a:pt x="306" y="179"/>
                  </a:lnTo>
                  <a:lnTo>
                    <a:pt x="301" y="200"/>
                  </a:lnTo>
                  <a:lnTo>
                    <a:pt x="320" y="189"/>
                  </a:lnTo>
                  <a:lnTo>
                    <a:pt x="306" y="214"/>
                  </a:lnTo>
                  <a:lnTo>
                    <a:pt x="344" y="200"/>
                  </a:lnTo>
                  <a:lnTo>
                    <a:pt x="325" y="223"/>
                  </a:lnTo>
                  <a:lnTo>
                    <a:pt x="338" y="223"/>
                  </a:lnTo>
                  <a:lnTo>
                    <a:pt x="331" y="235"/>
                  </a:lnTo>
                  <a:lnTo>
                    <a:pt x="344" y="223"/>
                  </a:lnTo>
                  <a:lnTo>
                    <a:pt x="362" y="244"/>
                  </a:lnTo>
                  <a:lnTo>
                    <a:pt x="331" y="258"/>
                  </a:lnTo>
                  <a:lnTo>
                    <a:pt x="375" y="279"/>
                  </a:lnTo>
                  <a:lnTo>
                    <a:pt x="338" y="279"/>
                  </a:lnTo>
                  <a:lnTo>
                    <a:pt x="351" y="288"/>
                  </a:lnTo>
                  <a:lnTo>
                    <a:pt x="344" y="311"/>
                  </a:lnTo>
                  <a:lnTo>
                    <a:pt x="381" y="358"/>
                  </a:lnTo>
                  <a:lnTo>
                    <a:pt x="394" y="346"/>
                  </a:lnTo>
                  <a:lnTo>
                    <a:pt x="407" y="390"/>
                  </a:lnTo>
                  <a:lnTo>
                    <a:pt x="426" y="390"/>
                  </a:lnTo>
                  <a:lnTo>
                    <a:pt x="426" y="411"/>
                  </a:lnTo>
                  <a:lnTo>
                    <a:pt x="450" y="411"/>
                  </a:lnTo>
                  <a:lnTo>
                    <a:pt x="444" y="446"/>
                  </a:lnTo>
                  <a:lnTo>
                    <a:pt x="431" y="434"/>
                  </a:lnTo>
                  <a:lnTo>
                    <a:pt x="439" y="456"/>
                  </a:lnTo>
                  <a:lnTo>
                    <a:pt x="431" y="479"/>
                  </a:lnTo>
                  <a:lnTo>
                    <a:pt x="420" y="467"/>
                  </a:lnTo>
                  <a:lnTo>
                    <a:pt x="420" y="513"/>
                  </a:lnTo>
                  <a:lnTo>
                    <a:pt x="370" y="423"/>
                  </a:lnTo>
                  <a:lnTo>
                    <a:pt x="344" y="434"/>
                  </a:lnTo>
                  <a:lnTo>
                    <a:pt x="362" y="456"/>
                  </a:lnTo>
                  <a:lnTo>
                    <a:pt x="351" y="479"/>
                  </a:lnTo>
                  <a:lnTo>
                    <a:pt x="357" y="479"/>
                  </a:lnTo>
                  <a:lnTo>
                    <a:pt x="370" y="513"/>
                  </a:lnTo>
                  <a:lnTo>
                    <a:pt x="394" y="525"/>
                  </a:lnTo>
                  <a:lnTo>
                    <a:pt x="394" y="557"/>
                  </a:lnTo>
                  <a:lnTo>
                    <a:pt x="407" y="569"/>
                  </a:lnTo>
                  <a:lnTo>
                    <a:pt x="400" y="623"/>
                  </a:lnTo>
                  <a:lnTo>
                    <a:pt x="331" y="569"/>
                  </a:lnTo>
                  <a:lnTo>
                    <a:pt x="375" y="657"/>
                  </a:lnTo>
                  <a:lnTo>
                    <a:pt x="294" y="613"/>
                  </a:lnTo>
                  <a:lnTo>
                    <a:pt x="288" y="578"/>
                  </a:lnTo>
                  <a:lnTo>
                    <a:pt x="294" y="578"/>
                  </a:lnTo>
                  <a:lnTo>
                    <a:pt x="270" y="557"/>
                  </a:lnTo>
                  <a:lnTo>
                    <a:pt x="262" y="525"/>
                  </a:lnTo>
                  <a:lnTo>
                    <a:pt x="244" y="513"/>
                  </a:lnTo>
                  <a:lnTo>
                    <a:pt x="244" y="534"/>
                  </a:lnTo>
                  <a:lnTo>
                    <a:pt x="232" y="525"/>
                  </a:lnTo>
                  <a:lnTo>
                    <a:pt x="213" y="546"/>
                  </a:lnTo>
                  <a:lnTo>
                    <a:pt x="187" y="525"/>
                  </a:lnTo>
                  <a:lnTo>
                    <a:pt x="201" y="479"/>
                  </a:lnTo>
                  <a:lnTo>
                    <a:pt x="256" y="479"/>
                  </a:lnTo>
                  <a:lnTo>
                    <a:pt x="251" y="446"/>
                  </a:lnTo>
                  <a:lnTo>
                    <a:pt x="282" y="390"/>
                  </a:lnTo>
                  <a:lnTo>
                    <a:pt x="256" y="311"/>
                  </a:lnTo>
                  <a:lnTo>
                    <a:pt x="237" y="302"/>
                  </a:lnTo>
                  <a:lnTo>
                    <a:pt x="251" y="288"/>
                  </a:lnTo>
                  <a:lnTo>
                    <a:pt x="213" y="311"/>
                  </a:lnTo>
                  <a:lnTo>
                    <a:pt x="213" y="288"/>
                  </a:lnTo>
                  <a:lnTo>
                    <a:pt x="225" y="279"/>
                  </a:lnTo>
                  <a:lnTo>
                    <a:pt x="201" y="244"/>
                  </a:lnTo>
                  <a:lnTo>
                    <a:pt x="201" y="223"/>
                  </a:lnTo>
                  <a:lnTo>
                    <a:pt x="175" y="214"/>
                  </a:lnTo>
                  <a:lnTo>
                    <a:pt x="175" y="244"/>
                  </a:lnTo>
                  <a:lnTo>
                    <a:pt x="137" y="235"/>
                  </a:lnTo>
                  <a:lnTo>
                    <a:pt x="145" y="244"/>
                  </a:lnTo>
                  <a:lnTo>
                    <a:pt x="31" y="223"/>
                  </a:lnTo>
                  <a:lnTo>
                    <a:pt x="12" y="179"/>
                  </a:lnTo>
                  <a:lnTo>
                    <a:pt x="50" y="179"/>
                  </a:lnTo>
                  <a:lnTo>
                    <a:pt x="0" y="1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48" name="Freeform 175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3272349" y="2828495"/>
              <a:ext cx="186455" cy="114300"/>
            </a:xfrm>
            <a:custGeom>
              <a:avLst/>
              <a:gdLst>
                <a:gd name="T0" fmla="*/ 0 w 101"/>
                <a:gd name="T1" fmla="*/ 2147483647 h 144"/>
                <a:gd name="T2" fmla="*/ 2147483647 w 101"/>
                <a:gd name="T3" fmla="*/ 2147483647 h 144"/>
                <a:gd name="T4" fmla="*/ 2147483647 w 101"/>
                <a:gd name="T5" fmla="*/ 0 h 144"/>
                <a:gd name="T6" fmla="*/ 2147483647 w 101"/>
                <a:gd name="T7" fmla="*/ 2147483647 h 144"/>
                <a:gd name="T8" fmla="*/ 2147483647 w 101"/>
                <a:gd name="T9" fmla="*/ 2147483647 h 144"/>
                <a:gd name="T10" fmla="*/ 2147483647 w 101"/>
                <a:gd name="T11" fmla="*/ 2147483647 h 144"/>
                <a:gd name="T12" fmla="*/ 2147483647 w 101"/>
                <a:gd name="T13" fmla="*/ 2147483647 h 144"/>
                <a:gd name="T14" fmla="*/ 2147483647 w 101"/>
                <a:gd name="T15" fmla="*/ 2147483647 h 144"/>
                <a:gd name="T16" fmla="*/ 2147483647 w 101"/>
                <a:gd name="T17" fmla="*/ 2147483647 h 144"/>
                <a:gd name="T18" fmla="*/ 2147483647 w 101"/>
                <a:gd name="T19" fmla="*/ 2147483647 h 144"/>
                <a:gd name="T20" fmla="*/ 0 w 101"/>
                <a:gd name="T21" fmla="*/ 2147483647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1" h="144">
                  <a:moveTo>
                    <a:pt x="0" y="112"/>
                  </a:moveTo>
                  <a:lnTo>
                    <a:pt x="12" y="89"/>
                  </a:lnTo>
                  <a:lnTo>
                    <a:pt x="26" y="0"/>
                  </a:lnTo>
                  <a:lnTo>
                    <a:pt x="31" y="33"/>
                  </a:lnTo>
                  <a:lnTo>
                    <a:pt x="56" y="45"/>
                  </a:lnTo>
                  <a:lnTo>
                    <a:pt x="101" y="112"/>
                  </a:lnTo>
                  <a:lnTo>
                    <a:pt x="95" y="133"/>
                  </a:lnTo>
                  <a:lnTo>
                    <a:pt x="56" y="100"/>
                  </a:lnTo>
                  <a:lnTo>
                    <a:pt x="26" y="144"/>
                  </a:lnTo>
                  <a:lnTo>
                    <a:pt x="26" y="1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49" name="Freeform 176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3272349" y="2828495"/>
              <a:ext cx="186455" cy="114300"/>
            </a:xfrm>
            <a:custGeom>
              <a:avLst/>
              <a:gdLst>
                <a:gd name="T0" fmla="*/ 0 w 101"/>
                <a:gd name="T1" fmla="*/ 2147483647 h 144"/>
                <a:gd name="T2" fmla="*/ 2147483647 w 101"/>
                <a:gd name="T3" fmla="*/ 2147483647 h 144"/>
                <a:gd name="T4" fmla="*/ 2147483647 w 101"/>
                <a:gd name="T5" fmla="*/ 0 h 144"/>
                <a:gd name="T6" fmla="*/ 2147483647 w 101"/>
                <a:gd name="T7" fmla="*/ 2147483647 h 144"/>
                <a:gd name="T8" fmla="*/ 2147483647 w 101"/>
                <a:gd name="T9" fmla="*/ 2147483647 h 144"/>
                <a:gd name="T10" fmla="*/ 2147483647 w 101"/>
                <a:gd name="T11" fmla="*/ 2147483647 h 144"/>
                <a:gd name="T12" fmla="*/ 2147483647 w 101"/>
                <a:gd name="T13" fmla="*/ 2147483647 h 144"/>
                <a:gd name="T14" fmla="*/ 2147483647 w 101"/>
                <a:gd name="T15" fmla="*/ 2147483647 h 144"/>
                <a:gd name="T16" fmla="*/ 2147483647 w 101"/>
                <a:gd name="T17" fmla="*/ 2147483647 h 144"/>
                <a:gd name="T18" fmla="*/ 2147483647 w 101"/>
                <a:gd name="T19" fmla="*/ 2147483647 h 144"/>
                <a:gd name="T20" fmla="*/ 0 w 101"/>
                <a:gd name="T21" fmla="*/ 2147483647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1" h="144">
                  <a:moveTo>
                    <a:pt x="0" y="112"/>
                  </a:moveTo>
                  <a:lnTo>
                    <a:pt x="12" y="89"/>
                  </a:lnTo>
                  <a:lnTo>
                    <a:pt x="26" y="0"/>
                  </a:lnTo>
                  <a:lnTo>
                    <a:pt x="31" y="33"/>
                  </a:lnTo>
                  <a:lnTo>
                    <a:pt x="56" y="45"/>
                  </a:lnTo>
                  <a:lnTo>
                    <a:pt x="101" y="112"/>
                  </a:lnTo>
                  <a:lnTo>
                    <a:pt x="95" y="133"/>
                  </a:lnTo>
                  <a:lnTo>
                    <a:pt x="56" y="100"/>
                  </a:lnTo>
                  <a:lnTo>
                    <a:pt x="26" y="144"/>
                  </a:lnTo>
                  <a:lnTo>
                    <a:pt x="26" y="112"/>
                  </a:lnTo>
                  <a:lnTo>
                    <a:pt x="0" y="1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50" name="Freeform 177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3272349" y="2828495"/>
              <a:ext cx="186455" cy="114300"/>
            </a:xfrm>
            <a:custGeom>
              <a:avLst/>
              <a:gdLst>
                <a:gd name="T0" fmla="*/ 0 w 101"/>
                <a:gd name="T1" fmla="*/ 2147483647 h 144"/>
                <a:gd name="T2" fmla="*/ 2147483647 w 101"/>
                <a:gd name="T3" fmla="*/ 2147483647 h 144"/>
                <a:gd name="T4" fmla="*/ 2147483647 w 101"/>
                <a:gd name="T5" fmla="*/ 0 h 144"/>
                <a:gd name="T6" fmla="*/ 2147483647 w 101"/>
                <a:gd name="T7" fmla="*/ 2147483647 h 144"/>
                <a:gd name="T8" fmla="*/ 2147483647 w 101"/>
                <a:gd name="T9" fmla="*/ 2147483647 h 144"/>
                <a:gd name="T10" fmla="*/ 2147483647 w 101"/>
                <a:gd name="T11" fmla="*/ 2147483647 h 144"/>
                <a:gd name="T12" fmla="*/ 2147483647 w 101"/>
                <a:gd name="T13" fmla="*/ 2147483647 h 144"/>
                <a:gd name="T14" fmla="*/ 2147483647 w 101"/>
                <a:gd name="T15" fmla="*/ 2147483647 h 144"/>
                <a:gd name="T16" fmla="*/ 2147483647 w 101"/>
                <a:gd name="T17" fmla="*/ 2147483647 h 144"/>
                <a:gd name="T18" fmla="*/ 2147483647 w 101"/>
                <a:gd name="T19" fmla="*/ 2147483647 h 144"/>
                <a:gd name="T20" fmla="*/ 0 w 101"/>
                <a:gd name="T21" fmla="*/ 2147483647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1" h="144">
                  <a:moveTo>
                    <a:pt x="0" y="112"/>
                  </a:moveTo>
                  <a:lnTo>
                    <a:pt x="12" y="89"/>
                  </a:lnTo>
                  <a:lnTo>
                    <a:pt x="26" y="0"/>
                  </a:lnTo>
                  <a:lnTo>
                    <a:pt x="31" y="33"/>
                  </a:lnTo>
                  <a:lnTo>
                    <a:pt x="56" y="45"/>
                  </a:lnTo>
                  <a:lnTo>
                    <a:pt x="101" y="112"/>
                  </a:lnTo>
                  <a:lnTo>
                    <a:pt x="95" y="133"/>
                  </a:lnTo>
                  <a:lnTo>
                    <a:pt x="56" y="100"/>
                  </a:lnTo>
                  <a:lnTo>
                    <a:pt x="26" y="144"/>
                  </a:lnTo>
                  <a:lnTo>
                    <a:pt x="26" y="1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51" name="Freeform 178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3272349" y="2828495"/>
              <a:ext cx="186455" cy="114300"/>
            </a:xfrm>
            <a:custGeom>
              <a:avLst/>
              <a:gdLst>
                <a:gd name="T0" fmla="*/ 0 w 101"/>
                <a:gd name="T1" fmla="*/ 2147483647 h 144"/>
                <a:gd name="T2" fmla="*/ 2147483647 w 101"/>
                <a:gd name="T3" fmla="*/ 2147483647 h 144"/>
                <a:gd name="T4" fmla="*/ 2147483647 w 101"/>
                <a:gd name="T5" fmla="*/ 0 h 144"/>
                <a:gd name="T6" fmla="*/ 2147483647 w 101"/>
                <a:gd name="T7" fmla="*/ 2147483647 h 144"/>
                <a:gd name="T8" fmla="*/ 2147483647 w 101"/>
                <a:gd name="T9" fmla="*/ 2147483647 h 144"/>
                <a:gd name="T10" fmla="*/ 2147483647 w 101"/>
                <a:gd name="T11" fmla="*/ 2147483647 h 144"/>
                <a:gd name="T12" fmla="*/ 2147483647 w 101"/>
                <a:gd name="T13" fmla="*/ 2147483647 h 144"/>
                <a:gd name="T14" fmla="*/ 2147483647 w 101"/>
                <a:gd name="T15" fmla="*/ 2147483647 h 144"/>
                <a:gd name="T16" fmla="*/ 2147483647 w 101"/>
                <a:gd name="T17" fmla="*/ 2147483647 h 144"/>
                <a:gd name="T18" fmla="*/ 2147483647 w 101"/>
                <a:gd name="T19" fmla="*/ 2147483647 h 144"/>
                <a:gd name="T20" fmla="*/ 0 w 101"/>
                <a:gd name="T21" fmla="*/ 2147483647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1" h="144">
                  <a:moveTo>
                    <a:pt x="0" y="112"/>
                  </a:moveTo>
                  <a:lnTo>
                    <a:pt x="12" y="89"/>
                  </a:lnTo>
                  <a:lnTo>
                    <a:pt x="26" y="0"/>
                  </a:lnTo>
                  <a:lnTo>
                    <a:pt x="31" y="33"/>
                  </a:lnTo>
                  <a:lnTo>
                    <a:pt x="56" y="45"/>
                  </a:lnTo>
                  <a:lnTo>
                    <a:pt x="101" y="112"/>
                  </a:lnTo>
                  <a:lnTo>
                    <a:pt x="95" y="133"/>
                  </a:lnTo>
                  <a:lnTo>
                    <a:pt x="56" y="100"/>
                  </a:lnTo>
                  <a:lnTo>
                    <a:pt x="26" y="144"/>
                  </a:lnTo>
                  <a:lnTo>
                    <a:pt x="26" y="112"/>
                  </a:lnTo>
                  <a:lnTo>
                    <a:pt x="0" y="1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52" name="Freeform 179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4068297" y="3358749"/>
              <a:ext cx="198485" cy="168275"/>
            </a:xfrm>
            <a:custGeom>
              <a:avLst/>
              <a:gdLst>
                <a:gd name="T0" fmla="*/ 0 w 107"/>
                <a:gd name="T1" fmla="*/ 2147483647 h 211"/>
                <a:gd name="T2" fmla="*/ 2147483647 w 107"/>
                <a:gd name="T3" fmla="*/ 2147483647 h 211"/>
                <a:gd name="T4" fmla="*/ 2147483647 w 107"/>
                <a:gd name="T5" fmla="*/ 0 h 211"/>
                <a:gd name="T6" fmla="*/ 2147483647 w 107"/>
                <a:gd name="T7" fmla="*/ 2147483647 h 211"/>
                <a:gd name="T8" fmla="*/ 2147483647 w 107"/>
                <a:gd name="T9" fmla="*/ 2147483647 h 211"/>
                <a:gd name="T10" fmla="*/ 2147483647 w 107"/>
                <a:gd name="T11" fmla="*/ 2147483647 h 211"/>
                <a:gd name="T12" fmla="*/ 2147483647 w 107"/>
                <a:gd name="T13" fmla="*/ 2147483647 h 211"/>
                <a:gd name="T14" fmla="*/ 2147483647 w 107"/>
                <a:gd name="T15" fmla="*/ 2147483647 h 211"/>
                <a:gd name="T16" fmla="*/ 2147483647 w 107"/>
                <a:gd name="T17" fmla="*/ 2147483647 h 211"/>
                <a:gd name="T18" fmla="*/ 2147483647 w 107"/>
                <a:gd name="T19" fmla="*/ 2147483647 h 211"/>
                <a:gd name="T20" fmla="*/ 2147483647 w 107"/>
                <a:gd name="T21" fmla="*/ 2147483647 h 211"/>
                <a:gd name="T22" fmla="*/ 2147483647 w 107"/>
                <a:gd name="T23" fmla="*/ 2147483647 h 211"/>
                <a:gd name="T24" fmla="*/ 2147483647 w 107"/>
                <a:gd name="T25" fmla="*/ 2147483647 h 211"/>
                <a:gd name="T26" fmla="*/ 2147483647 w 107"/>
                <a:gd name="T27" fmla="*/ 2147483647 h 211"/>
                <a:gd name="T28" fmla="*/ 2147483647 w 107"/>
                <a:gd name="T29" fmla="*/ 2147483647 h 211"/>
                <a:gd name="T30" fmla="*/ 2147483647 w 107"/>
                <a:gd name="T31" fmla="*/ 2147483647 h 211"/>
                <a:gd name="T32" fmla="*/ 2147483647 w 107"/>
                <a:gd name="T33" fmla="*/ 2147483647 h 211"/>
                <a:gd name="T34" fmla="*/ 2147483647 w 107"/>
                <a:gd name="T35" fmla="*/ 2147483647 h 211"/>
                <a:gd name="T36" fmla="*/ 2147483647 w 107"/>
                <a:gd name="T37" fmla="*/ 2147483647 h 211"/>
                <a:gd name="T38" fmla="*/ 2147483647 w 107"/>
                <a:gd name="T39" fmla="*/ 2147483647 h 211"/>
                <a:gd name="T40" fmla="*/ 0 w 107"/>
                <a:gd name="T41" fmla="*/ 2147483647 h 2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7" h="211">
                  <a:moveTo>
                    <a:pt x="0" y="167"/>
                  </a:moveTo>
                  <a:lnTo>
                    <a:pt x="45" y="9"/>
                  </a:lnTo>
                  <a:lnTo>
                    <a:pt x="64" y="0"/>
                  </a:lnTo>
                  <a:lnTo>
                    <a:pt x="38" y="88"/>
                  </a:lnTo>
                  <a:lnTo>
                    <a:pt x="57" y="65"/>
                  </a:lnTo>
                  <a:lnTo>
                    <a:pt x="64" y="100"/>
                  </a:lnTo>
                  <a:lnTo>
                    <a:pt x="88" y="100"/>
                  </a:lnTo>
                  <a:lnTo>
                    <a:pt x="83" y="132"/>
                  </a:lnTo>
                  <a:lnTo>
                    <a:pt x="101" y="132"/>
                  </a:lnTo>
                  <a:lnTo>
                    <a:pt x="88" y="167"/>
                  </a:lnTo>
                  <a:lnTo>
                    <a:pt x="101" y="144"/>
                  </a:lnTo>
                  <a:lnTo>
                    <a:pt x="107" y="178"/>
                  </a:lnTo>
                  <a:lnTo>
                    <a:pt x="88" y="211"/>
                  </a:lnTo>
                  <a:lnTo>
                    <a:pt x="88" y="188"/>
                  </a:lnTo>
                  <a:lnTo>
                    <a:pt x="83" y="200"/>
                  </a:lnTo>
                  <a:lnTo>
                    <a:pt x="83" y="155"/>
                  </a:lnTo>
                  <a:lnTo>
                    <a:pt x="57" y="200"/>
                  </a:lnTo>
                  <a:lnTo>
                    <a:pt x="75" y="178"/>
                  </a:lnTo>
                  <a:lnTo>
                    <a:pt x="50" y="178"/>
                  </a:lnTo>
                  <a:lnTo>
                    <a:pt x="57" y="155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53" name="Freeform 180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4068297" y="3358749"/>
              <a:ext cx="198485" cy="168275"/>
            </a:xfrm>
            <a:custGeom>
              <a:avLst/>
              <a:gdLst>
                <a:gd name="T0" fmla="*/ 0 w 107"/>
                <a:gd name="T1" fmla="*/ 2147483647 h 211"/>
                <a:gd name="T2" fmla="*/ 2147483647 w 107"/>
                <a:gd name="T3" fmla="*/ 2147483647 h 211"/>
                <a:gd name="T4" fmla="*/ 2147483647 w 107"/>
                <a:gd name="T5" fmla="*/ 0 h 211"/>
                <a:gd name="T6" fmla="*/ 2147483647 w 107"/>
                <a:gd name="T7" fmla="*/ 2147483647 h 211"/>
                <a:gd name="T8" fmla="*/ 2147483647 w 107"/>
                <a:gd name="T9" fmla="*/ 2147483647 h 211"/>
                <a:gd name="T10" fmla="*/ 2147483647 w 107"/>
                <a:gd name="T11" fmla="*/ 2147483647 h 211"/>
                <a:gd name="T12" fmla="*/ 2147483647 w 107"/>
                <a:gd name="T13" fmla="*/ 2147483647 h 211"/>
                <a:gd name="T14" fmla="*/ 2147483647 w 107"/>
                <a:gd name="T15" fmla="*/ 2147483647 h 211"/>
                <a:gd name="T16" fmla="*/ 2147483647 w 107"/>
                <a:gd name="T17" fmla="*/ 2147483647 h 211"/>
                <a:gd name="T18" fmla="*/ 2147483647 w 107"/>
                <a:gd name="T19" fmla="*/ 2147483647 h 211"/>
                <a:gd name="T20" fmla="*/ 2147483647 w 107"/>
                <a:gd name="T21" fmla="*/ 2147483647 h 211"/>
                <a:gd name="T22" fmla="*/ 2147483647 w 107"/>
                <a:gd name="T23" fmla="*/ 2147483647 h 211"/>
                <a:gd name="T24" fmla="*/ 2147483647 w 107"/>
                <a:gd name="T25" fmla="*/ 2147483647 h 211"/>
                <a:gd name="T26" fmla="*/ 2147483647 w 107"/>
                <a:gd name="T27" fmla="*/ 2147483647 h 211"/>
                <a:gd name="T28" fmla="*/ 2147483647 w 107"/>
                <a:gd name="T29" fmla="*/ 2147483647 h 211"/>
                <a:gd name="T30" fmla="*/ 2147483647 w 107"/>
                <a:gd name="T31" fmla="*/ 2147483647 h 211"/>
                <a:gd name="T32" fmla="*/ 2147483647 w 107"/>
                <a:gd name="T33" fmla="*/ 2147483647 h 211"/>
                <a:gd name="T34" fmla="*/ 2147483647 w 107"/>
                <a:gd name="T35" fmla="*/ 2147483647 h 211"/>
                <a:gd name="T36" fmla="*/ 2147483647 w 107"/>
                <a:gd name="T37" fmla="*/ 2147483647 h 211"/>
                <a:gd name="T38" fmla="*/ 2147483647 w 107"/>
                <a:gd name="T39" fmla="*/ 2147483647 h 211"/>
                <a:gd name="T40" fmla="*/ 0 w 107"/>
                <a:gd name="T41" fmla="*/ 2147483647 h 2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7" h="211">
                  <a:moveTo>
                    <a:pt x="0" y="167"/>
                  </a:moveTo>
                  <a:lnTo>
                    <a:pt x="45" y="9"/>
                  </a:lnTo>
                  <a:lnTo>
                    <a:pt x="64" y="0"/>
                  </a:lnTo>
                  <a:lnTo>
                    <a:pt x="38" y="88"/>
                  </a:lnTo>
                  <a:lnTo>
                    <a:pt x="57" y="65"/>
                  </a:lnTo>
                  <a:lnTo>
                    <a:pt x="64" y="100"/>
                  </a:lnTo>
                  <a:lnTo>
                    <a:pt x="88" y="100"/>
                  </a:lnTo>
                  <a:lnTo>
                    <a:pt x="83" y="132"/>
                  </a:lnTo>
                  <a:lnTo>
                    <a:pt x="101" y="132"/>
                  </a:lnTo>
                  <a:lnTo>
                    <a:pt x="88" y="167"/>
                  </a:lnTo>
                  <a:lnTo>
                    <a:pt x="101" y="144"/>
                  </a:lnTo>
                  <a:lnTo>
                    <a:pt x="107" y="178"/>
                  </a:lnTo>
                  <a:lnTo>
                    <a:pt x="88" y="211"/>
                  </a:lnTo>
                  <a:lnTo>
                    <a:pt x="88" y="188"/>
                  </a:lnTo>
                  <a:lnTo>
                    <a:pt x="83" y="200"/>
                  </a:lnTo>
                  <a:lnTo>
                    <a:pt x="83" y="155"/>
                  </a:lnTo>
                  <a:lnTo>
                    <a:pt x="57" y="200"/>
                  </a:lnTo>
                  <a:lnTo>
                    <a:pt x="75" y="178"/>
                  </a:lnTo>
                  <a:lnTo>
                    <a:pt x="50" y="178"/>
                  </a:lnTo>
                  <a:lnTo>
                    <a:pt x="57" y="155"/>
                  </a:lnTo>
                  <a:lnTo>
                    <a:pt x="0" y="16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54" name="Freeform 181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4068297" y="3358749"/>
              <a:ext cx="198485" cy="168275"/>
            </a:xfrm>
            <a:custGeom>
              <a:avLst/>
              <a:gdLst>
                <a:gd name="T0" fmla="*/ 0 w 107"/>
                <a:gd name="T1" fmla="*/ 2147483647 h 211"/>
                <a:gd name="T2" fmla="*/ 2147483647 w 107"/>
                <a:gd name="T3" fmla="*/ 2147483647 h 211"/>
                <a:gd name="T4" fmla="*/ 2147483647 w 107"/>
                <a:gd name="T5" fmla="*/ 0 h 211"/>
                <a:gd name="T6" fmla="*/ 2147483647 w 107"/>
                <a:gd name="T7" fmla="*/ 2147483647 h 211"/>
                <a:gd name="T8" fmla="*/ 2147483647 w 107"/>
                <a:gd name="T9" fmla="*/ 2147483647 h 211"/>
                <a:gd name="T10" fmla="*/ 2147483647 w 107"/>
                <a:gd name="T11" fmla="*/ 2147483647 h 211"/>
                <a:gd name="T12" fmla="*/ 2147483647 w 107"/>
                <a:gd name="T13" fmla="*/ 2147483647 h 211"/>
                <a:gd name="T14" fmla="*/ 2147483647 w 107"/>
                <a:gd name="T15" fmla="*/ 2147483647 h 211"/>
                <a:gd name="T16" fmla="*/ 2147483647 w 107"/>
                <a:gd name="T17" fmla="*/ 2147483647 h 211"/>
                <a:gd name="T18" fmla="*/ 2147483647 w 107"/>
                <a:gd name="T19" fmla="*/ 2147483647 h 211"/>
                <a:gd name="T20" fmla="*/ 2147483647 w 107"/>
                <a:gd name="T21" fmla="*/ 2147483647 h 211"/>
                <a:gd name="T22" fmla="*/ 2147483647 w 107"/>
                <a:gd name="T23" fmla="*/ 2147483647 h 211"/>
                <a:gd name="T24" fmla="*/ 2147483647 w 107"/>
                <a:gd name="T25" fmla="*/ 2147483647 h 211"/>
                <a:gd name="T26" fmla="*/ 2147483647 w 107"/>
                <a:gd name="T27" fmla="*/ 2147483647 h 211"/>
                <a:gd name="T28" fmla="*/ 2147483647 w 107"/>
                <a:gd name="T29" fmla="*/ 2147483647 h 211"/>
                <a:gd name="T30" fmla="*/ 2147483647 w 107"/>
                <a:gd name="T31" fmla="*/ 2147483647 h 211"/>
                <a:gd name="T32" fmla="*/ 2147483647 w 107"/>
                <a:gd name="T33" fmla="*/ 2147483647 h 211"/>
                <a:gd name="T34" fmla="*/ 2147483647 w 107"/>
                <a:gd name="T35" fmla="*/ 2147483647 h 211"/>
                <a:gd name="T36" fmla="*/ 2147483647 w 107"/>
                <a:gd name="T37" fmla="*/ 2147483647 h 211"/>
                <a:gd name="T38" fmla="*/ 2147483647 w 107"/>
                <a:gd name="T39" fmla="*/ 2147483647 h 211"/>
                <a:gd name="T40" fmla="*/ 0 w 107"/>
                <a:gd name="T41" fmla="*/ 2147483647 h 2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7" h="211">
                  <a:moveTo>
                    <a:pt x="0" y="167"/>
                  </a:moveTo>
                  <a:lnTo>
                    <a:pt x="45" y="9"/>
                  </a:lnTo>
                  <a:lnTo>
                    <a:pt x="64" y="0"/>
                  </a:lnTo>
                  <a:lnTo>
                    <a:pt x="38" y="88"/>
                  </a:lnTo>
                  <a:lnTo>
                    <a:pt x="57" y="65"/>
                  </a:lnTo>
                  <a:lnTo>
                    <a:pt x="64" y="100"/>
                  </a:lnTo>
                  <a:lnTo>
                    <a:pt x="88" y="100"/>
                  </a:lnTo>
                  <a:lnTo>
                    <a:pt x="83" y="132"/>
                  </a:lnTo>
                  <a:lnTo>
                    <a:pt x="101" y="132"/>
                  </a:lnTo>
                  <a:lnTo>
                    <a:pt x="88" y="167"/>
                  </a:lnTo>
                  <a:lnTo>
                    <a:pt x="101" y="144"/>
                  </a:lnTo>
                  <a:lnTo>
                    <a:pt x="107" y="178"/>
                  </a:lnTo>
                  <a:lnTo>
                    <a:pt x="88" y="211"/>
                  </a:lnTo>
                  <a:lnTo>
                    <a:pt x="88" y="188"/>
                  </a:lnTo>
                  <a:lnTo>
                    <a:pt x="83" y="200"/>
                  </a:lnTo>
                  <a:lnTo>
                    <a:pt x="83" y="155"/>
                  </a:lnTo>
                  <a:lnTo>
                    <a:pt x="57" y="200"/>
                  </a:lnTo>
                  <a:lnTo>
                    <a:pt x="75" y="178"/>
                  </a:lnTo>
                  <a:lnTo>
                    <a:pt x="50" y="178"/>
                  </a:lnTo>
                  <a:lnTo>
                    <a:pt x="57" y="155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55" name="Freeform 182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4068297" y="3358749"/>
              <a:ext cx="198485" cy="168275"/>
            </a:xfrm>
            <a:custGeom>
              <a:avLst/>
              <a:gdLst>
                <a:gd name="T0" fmla="*/ 0 w 107"/>
                <a:gd name="T1" fmla="*/ 2147483647 h 211"/>
                <a:gd name="T2" fmla="*/ 2147483647 w 107"/>
                <a:gd name="T3" fmla="*/ 2147483647 h 211"/>
                <a:gd name="T4" fmla="*/ 2147483647 w 107"/>
                <a:gd name="T5" fmla="*/ 0 h 211"/>
                <a:gd name="T6" fmla="*/ 2147483647 w 107"/>
                <a:gd name="T7" fmla="*/ 2147483647 h 211"/>
                <a:gd name="T8" fmla="*/ 2147483647 w 107"/>
                <a:gd name="T9" fmla="*/ 2147483647 h 211"/>
                <a:gd name="T10" fmla="*/ 2147483647 w 107"/>
                <a:gd name="T11" fmla="*/ 2147483647 h 211"/>
                <a:gd name="T12" fmla="*/ 2147483647 w 107"/>
                <a:gd name="T13" fmla="*/ 2147483647 h 211"/>
                <a:gd name="T14" fmla="*/ 2147483647 w 107"/>
                <a:gd name="T15" fmla="*/ 2147483647 h 211"/>
                <a:gd name="T16" fmla="*/ 2147483647 w 107"/>
                <a:gd name="T17" fmla="*/ 2147483647 h 211"/>
                <a:gd name="T18" fmla="*/ 2147483647 w 107"/>
                <a:gd name="T19" fmla="*/ 2147483647 h 211"/>
                <a:gd name="T20" fmla="*/ 2147483647 w 107"/>
                <a:gd name="T21" fmla="*/ 2147483647 h 211"/>
                <a:gd name="T22" fmla="*/ 2147483647 w 107"/>
                <a:gd name="T23" fmla="*/ 2147483647 h 211"/>
                <a:gd name="T24" fmla="*/ 2147483647 w 107"/>
                <a:gd name="T25" fmla="*/ 2147483647 h 211"/>
                <a:gd name="T26" fmla="*/ 2147483647 w 107"/>
                <a:gd name="T27" fmla="*/ 2147483647 h 211"/>
                <a:gd name="T28" fmla="*/ 2147483647 w 107"/>
                <a:gd name="T29" fmla="*/ 2147483647 h 211"/>
                <a:gd name="T30" fmla="*/ 2147483647 w 107"/>
                <a:gd name="T31" fmla="*/ 2147483647 h 211"/>
                <a:gd name="T32" fmla="*/ 2147483647 w 107"/>
                <a:gd name="T33" fmla="*/ 2147483647 h 211"/>
                <a:gd name="T34" fmla="*/ 2147483647 w 107"/>
                <a:gd name="T35" fmla="*/ 2147483647 h 211"/>
                <a:gd name="T36" fmla="*/ 2147483647 w 107"/>
                <a:gd name="T37" fmla="*/ 2147483647 h 211"/>
                <a:gd name="T38" fmla="*/ 2147483647 w 107"/>
                <a:gd name="T39" fmla="*/ 2147483647 h 211"/>
                <a:gd name="T40" fmla="*/ 0 w 107"/>
                <a:gd name="T41" fmla="*/ 2147483647 h 2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07" h="211">
                  <a:moveTo>
                    <a:pt x="0" y="167"/>
                  </a:moveTo>
                  <a:lnTo>
                    <a:pt x="45" y="9"/>
                  </a:lnTo>
                  <a:lnTo>
                    <a:pt x="64" y="0"/>
                  </a:lnTo>
                  <a:lnTo>
                    <a:pt x="38" y="88"/>
                  </a:lnTo>
                  <a:lnTo>
                    <a:pt x="57" y="65"/>
                  </a:lnTo>
                  <a:lnTo>
                    <a:pt x="64" y="100"/>
                  </a:lnTo>
                  <a:lnTo>
                    <a:pt x="88" y="100"/>
                  </a:lnTo>
                  <a:lnTo>
                    <a:pt x="83" y="132"/>
                  </a:lnTo>
                  <a:lnTo>
                    <a:pt x="101" y="132"/>
                  </a:lnTo>
                  <a:lnTo>
                    <a:pt x="88" y="167"/>
                  </a:lnTo>
                  <a:lnTo>
                    <a:pt x="101" y="144"/>
                  </a:lnTo>
                  <a:lnTo>
                    <a:pt x="107" y="178"/>
                  </a:lnTo>
                  <a:lnTo>
                    <a:pt x="88" y="211"/>
                  </a:lnTo>
                  <a:lnTo>
                    <a:pt x="88" y="188"/>
                  </a:lnTo>
                  <a:lnTo>
                    <a:pt x="83" y="200"/>
                  </a:lnTo>
                  <a:lnTo>
                    <a:pt x="83" y="155"/>
                  </a:lnTo>
                  <a:lnTo>
                    <a:pt x="57" y="200"/>
                  </a:lnTo>
                  <a:lnTo>
                    <a:pt x="75" y="178"/>
                  </a:lnTo>
                  <a:lnTo>
                    <a:pt x="50" y="178"/>
                  </a:lnTo>
                  <a:lnTo>
                    <a:pt x="57" y="155"/>
                  </a:lnTo>
                  <a:lnTo>
                    <a:pt x="0" y="16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56" name="Freeform 183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8320681" y="4550933"/>
              <a:ext cx="46112" cy="87312"/>
            </a:xfrm>
            <a:custGeom>
              <a:avLst/>
              <a:gdLst>
                <a:gd name="T0" fmla="*/ 0 w 25"/>
                <a:gd name="T1" fmla="*/ 0 h 109"/>
                <a:gd name="T2" fmla="*/ 0 w 25"/>
                <a:gd name="T3" fmla="*/ 2147483647 h 109"/>
                <a:gd name="T4" fmla="*/ 2147483647 w 25"/>
                <a:gd name="T5" fmla="*/ 2147483647 h 109"/>
                <a:gd name="T6" fmla="*/ 2147483647 w 25"/>
                <a:gd name="T7" fmla="*/ 2147483647 h 109"/>
                <a:gd name="T8" fmla="*/ 0 w 25"/>
                <a:gd name="T9" fmla="*/ 0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109">
                  <a:moveTo>
                    <a:pt x="0" y="0"/>
                  </a:moveTo>
                  <a:lnTo>
                    <a:pt x="0" y="109"/>
                  </a:lnTo>
                  <a:lnTo>
                    <a:pt x="25" y="100"/>
                  </a:lnTo>
                  <a:lnTo>
                    <a:pt x="13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57" name="Freeform 184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8320681" y="4550933"/>
              <a:ext cx="46112" cy="87312"/>
            </a:xfrm>
            <a:custGeom>
              <a:avLst/>
              <a:gdLst>
                <a:gd name="T0" fmla="*/ 0 w 25"/>
                <a:gd name="T1" fmla="*/ 0 h 109"/>
                <a:gd name="T2" fmla="*/ 0 w 25"/>
                <a:gd name="T3" fmla="*/ 2147483647 h 109"/>
                <a:gd name="T4" fmla="*/ 2147483647 w 25"/>
                <a:gd name="T5" fmla="*/ 2147483647 h 109"/>
                <a:gd name="T6" fmla="*/ 2147483647 w 25"/>
                <a:gd name="T7" fmla="*/ 2147483647 h 109"/>
                <a:gd name="T8" fmla="*/ 0 w 25"/>
                <a:gd name="T9" fmla="*/ 0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109">
                  <a:moveTo>
                    <a:pt x="0" y="0"/>
                  </a:moveTo>
                  <a:lnTo>
                    <a:pt x="0" y="109"/>
                  </a:lnTo>
                  <a:lnTo>
                    <a:pt x="25" y="100"/>
                  </a:lnTo>
                  <a:lnTo>
                    <a:pt x="13" y="21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58" name="Freeform 185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8320681" y="4550933"/>
              <a:ext cx="46112" cy="87312"/>
            </a:xfrm>
            <a:custGeom>
              <a:avLst/>
              <a:gdLst>
                <a:gd name="T0" fmla="*/ 0 w 25"/>
                <a:gd name="T1" fmla="*/ 0 h 109"/>
                <a:gd name="T2" fmla="*/ 0 w 25"/>
                <a:gd name="T3" fmla="*/ 2147483647 h 109"/>
                <a:gd name="T4" fmla="*/ 2147483647 w 25"/>
                <a:gd name="T5" fmla="*/ 2147483647 h 109"/>
                <a:gd name="T6" fmla="*/ 2147483647 w 25"/>
                <a:gd name="T7" fmla="*/ 2147483647 h 109"/>
                <a:gd name="T8" fmla="*/ 0 w 25"/>
                <a:gd name="T9" fmla="*/ 0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109">
                  <a:moveTo>
                    <a:pt x="0" y="0"/>
                  </a:moveTo>
                  <a:lnTo>
                    <a:pt x="0" y="109"/>
                  </a:lnTo>
                  <a:lnTo>
                    <a:pt x="25" y="100"/>
                  </a:lnTo>
                  <a:lnTo>
                    <a:pt x="13" y="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59" name="Freeform 186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8320681" y="4550933"/>
              <a:ext cx="46112" cy="87312"/>
            </a:xfrm>
            <a:custGeom>
              <a:avLst/>
              <a:gdLst>
                <a:gd name="T0" fmla="*/ 0 w 25"/>
                <a:gd name="T1" fmla="*/ 0 h 109"/>
                <a:gd name="T2" fmla="*/ 0 w 25"/>
                <a:gd name="T3" fmla="*/ 2147483647 h 109"/>
                <a:gd name="T4" fmla="*/ 2147483647 w 25"/>
                <a:gd name="T5" fmla="*/ 2147483647 h 109"/>
                <a:gd name="T6" fmla="*/ 2147483647 w 25"/>
                <a:gd name="T7" fmla="*/ 2147483647 h 109"/>
                <a:gd name="T8" fmla="*/ 0 w 25"/>
                <a:gd name="T9" fmla="*/ 0 h 1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109">
                  <a:moveTo>
                    <a:pt x="0" y="0"/>
                  </a:moveTo>
                  <a:lnTo>
                    <a:pt x="0" y="109"/>
                  </a:lnTo>
                  <a:lnTo>
                    <a:pt x="25" y="100"/>
                  </a:lnTo>
                  <a:lnTo>
                    <a:pt x="13" y="21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60" name="Freeform 187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3609163" y="5239944"/>
              <a:ext cx="230562" cy="1069975"/>
            </a:xfrm>
            <a:custGeom>
              <a:avLst/>
              <a:gdLst>
                <a:gd name="T0" fmla="*/ 0 w 125"/>
                <a:gd name="T1" fmla="*/ 2147483647 h 1346"/>
                <a:gd name="T2" fmla="*/ 2147483647 w 125"/>
                <a:gd name="T3" fmla="*/ 2147483647 h 1346"/>
                <a:gd name="T4" fmla="*/ 2147483647 w 125"/>
                <a:gd name="T5" fmla="*/ 2147483647 h 1346"/>
                <a:gd name="T6" fmla="*/ 2147483647 w 125"/>
                <a:gd name="T7" fmla="*/ 2147483647 h 1346"/>
                <a:gd name="T8" fmla="*/ 2147483647 w 125"/>
                <a:gd name="T9" fmla="*/ 2147483647 h 1346"/>
                <a:gd name="T10" fmla="*/ 2147483647 w 125"/>
                <a:gd name="T11" fmla="*/ 2147483647 h 1346"/>
                <a:gd name="T12" fmla="*/ 2147483647 w 125"/>
                <a:gd name="T13" fmla="*/ 2147483647 h 1346"/>
                <a:gd name="T14" fmla="*/ 2147483647 w 125"/>
                <a:gd name="T15" fmla="*/ 2147483647 h 1346"/>
                <a:gd name="T16" fmla="*/ 2147483647 w 125"/>
                <a:gd name="T17" fmla="*/ 2147483647 h 1346"/>
                <a:gd name="T18" fmla="*/ 2147483647 w 125"/>
                <a:gd name="T19" fmla="*/ 2147483647 h 1346"/>
                <a:gd name="T20" fmla="*/ 2147483647 w 125"/>
                <a:gd name="T21" fmla="*/ 2147483647 h 1346"/>
                <a:gd name="T22" fmla="*/ 2147483647 w 125"/>
                <a:gd name="T23" fmla="*/ 2147483647 h 1346"/>
                <a:gd name="T24" fmla="*/ 2147483647 w 125"/>
                <a:gd name="T25" fmla="*/ 0 h 1346"/>
                <a:gd name="T26" fmla="*/ 2147483647 w 125"/>
                <a:gd name="T27" fmla="*/ 2147483647 h 1346"/>
                <a:gd name="T28" fmla="*/ 2147483647 w 125"/>
                <a:gd name="T29" fmla="*/ 2147483647 h 1346"/>
                <a:gd name="T30" fmla="*/ 2147483647 w 125"/>
                <a:gd name="T31" fmla="*/ 2147483647 h 1346"/>
                <a:gd name="T32" fmla="*/ 2147483647 w 125"/>
                <a:gd name="T33" fmla="*/ 2147483647 h 1346"/>
                <a:gd name="T34" fmla="*/ 2147483647 w 125"/>
                <a:gd name="T35" fmla="*/ 2147483647 h 1346"/>
                <a:gd name="T36" fmla="*/ 2147483647 w 125"/>
                <a:gd name="T37" fmla="*/ 2147483647 h 1346"/>
                <a:gd name="T38" fmla="*/ 2147483647 w 125"/>
                <a:gd name="T39" fmla="*/ 2147483647 h 1346"/>
                <a:gd name="T40" fmla="*/ 2147483647 w 125"/>
                <a:gd name="T41" fmla="*/ 2147483647 h 1346"/>
                <a:gd name="T42" fmla="*/ 2147483647 w 125"/>
                <a:gd name="T43" fmla="*/ 2147483647 h 1346"/>
                <a:gd name="T44" fmla="*/ 2147483647 w 125"/>
                <a:gd name="T45" fmla="*/ 2147483647 h 1346"/>
                <a:gd name="T46" fmla="*/ 2147483647 w 125"/>
                <a:gd name="T47" fmla="*/ 2147483647 h 1346"/>
                <a:gd name="T48" fmla="*/ 2147483647 w 125"/>
                <a:gd name="T49" fmla="*/ 2147483647 h 1346"/>
                <a:gd name="T50" fmla="*/ 2147483647 w 125"/>
                <a:gd name="T51" fmla="*/ 2147483647 h 1346"/>
                <a:gd name="T52" fmla="*/ 2147483647 w 125"/>
                <a:gd name="T53" fmla="*/ 2147483647 h 1346"/>
                <a:gd name="T54" fmla="*/ 2147483647 w 125"/>
                <a:gd name="T55" fmla="*/ 2147483647 h 1346"/>
                <a:gd name="T56" fmla="*/ 2147483647 w 125"/>
                <a:gd name="T57" fmla="*/ 2147483647 h 1346"/>
                <a:gd name="T58" fmla="*/ 2147483647 w 125"/>
                <a:gd name="T59" fmla="*/ 2147483647 h 1346"/>
                <a:gd name="T60" fmla="*/ 2147483647 w 125"/>
                <a:gd name="T61" fmla="*/ 2147483647 h 1346"/>
                <a:gd name="T62" fmla="*/ 2147483647 w 125"/>
                <a:gd name="T63" fmla="*/ 2147483647 h 1346"/>
                <a:gd name="T64" fmla="*/ 2147483647 w 125"/>
                <a:gd name="T65" fmla="*/ 2147483647 h 1346"/>
                <a:gd name="T66" fmla="*/ 2147483647 w 125"/>
                <a:gd name="T67" fmla="*/ 2147483647 h 1346"/>
                <a:gd name="T68" fmla="*/ 2147483647 w 125"/>
                <a:gd name="T69" fmla="*/ 2147483647 h 1346"/>
                <a:gd name="T70" fmla="*/ 2147483647 w 125"/>
                <a:gd name="T71" fmla="*/ 2147483647 h 1346"/>
                <a:gd name="T72" fmla="*/ 2147483647 w 125"/>
                <a:gd name="T73" fmla="*/ 2147483647 h 1346"/>
                <a:gd name="T74" fmla="*/ 2147483647 w 125"/>
                <a:gd name="T75" fmla="*/ 2147483647 h 1346"/>
                <a:gd name="T76" fmla="*/ 2147483647 w 125"/>
                <a:gd name="T77" fmla="*/ 2147483647 h 1346"/>
                <a:gd name="T78" fmla="*/ 2147483647 w 125"/>
                <a:gd name="T79" fmla="*/ 2147483647 h 1346"/>
                <a:gd name="T80" fmla="*/ 2147483647 w 125"/>
                <a:gd name="T81" fmla="*/ 2147483647 h 1346"/>
                <a:gd name="T82" fmla="*/ 2147483647 w 125"/>
                <a:gd name="T83" fmla="*/ 2147483647 h 1346"/>
                <a:gd name="T84" fmla="*/ 2147483647 w 125"/>
                <a:gd name="T85" fmla="*/ 2147483647 h 1346"/>
                <a:gd name="T86" fmla="*/ 2147483647 w 125"/>
                <a:gd name="T87" fmla="*/ 2147483647 h 1346"/>
                <a:gd name="T88" fmla="*/ 2147483647 w 125"/>
                <a:gd name="T89" fmla="*/ 2147483647 h 1346"/>
                <a:gd name="T90" fmla="*/ 2147483647 w 125"/>
                <a:gd name="T91" fmla="*/ 2147483647 h 1346"/>
                <a:gd name="T92" fmla="*/ 2147483647 w 125"/>
                <a:gd name="T93" fmla="*/ 2147483647 h 1346"/>
                <a:gd name="T94" fmla="*/ 0 w 125"/>
                <a:gd name="T95" fmla="*/ 2147483647 h 134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5" h="1346">
                  <a:moveTo>
                    <a:pt x="0" y="1047"/>
                  </a:moveTo>
                  <a:lnTo>
                    <a:pt x="5" y="1014"/>
                  </a:lnTo>
                  <a:lnTo>
                    <a:pt x="24" y="1035"/>
                  </a:lnTo>
                  <a:lnTo>
                    <a:pt x="43" y="970"/>
                  </a:lnTo>
                  <a:lnTo>
                    <a:pt x="38" y="947"/>
                  </a:lnTo>
                  <a:lnTo>
                    <a:pt x="50" y="847"/>
                  </a:lnTo>
                  <a:lnTo>
                    <a:pt x="24" y="847"/>
                  </a:lnTo>
                  <a:lnTo>
                    <a:pt x="30" y="689"/>
                  </a:lnTo>
                  <a:lnTo>
                    <a:pt x="62" y="522"/>
                  </a:lnTo>
                  <a:lnTo>
                    <a:pt x="62" y="390"/>
                  </a:lnTo>
                  <a:lnTo>
                    <a:pt x="80" y="134"/>
                  </a:lnTo>
                  <a:lnTo>
                    <a:pt x="74" y="23"/>
                  </a:lnTo>
                  <a:lnTo>
                    <a:pt x="93" y="0"/>
                  </a:lnTo>
                  <a:lnTo>
                    <a:pt x="106" y="55"/>
                  </a:lnTo>
                  <a:lnTo>
                    <a:pt x="119" y="178"/>
                  </a:lnTo>
                  <a:lnTo>
                    <a:pt x="125" y="178"/>
                  </a:lnTo>
                  <a:lnTo>
                    <a:pt x="125" y="223"/>
                  </a:lnTo>
                  <a:lnTo>
                    <a:pt x="112" y="232"/>
                  </a:lnTo>
                  <a:lnTo>
                    <a:pt x="112" y="311"/>
                  </a:lnTo>
                  <a:lnTo>
                    <a:pt x="93" y="355"/>
                  </a:lnTo>
                  <a:lnTo>
                    <a:pt x="74" y="468"/>
                  </a:lnTo>
                  <a:lnTo>
                    <a:pt x="88" y="578"/>
                  </a:lnTo>
                  <a:lnTo>
                    <a:pt x="69" y="657"/>
                  </a:lnTo>
                  <a:lnTo>
                    <a:pt x="56" y="879"/>
                  </a:lnTo>
                  <a:lnTo>
                    <a:pt x="62" y="970"/>
                  </a:lnTo>
                  <a:lnTo>
                    <a:pt x="56" y="970"/>
                  </a:lnTo>
                  <a:lnTo>
                    <a:pt x="62" y="1047"/>
                  </a:lnTo>
                  <a:lnTo>
                    <a:pt x="30" y="1192"/>
                  </a:lnTo>
                  <a:lnTo>
                    <a:pt x="38" y="1214"/>
                  </a:lnTo>
                  <a:lnTo>
                    <a:pt x="50" y="1214"/>
                  </a:lnTo>
                  <a:lnTo>
                    <a:pt x="56" y="1269"/>
                  </a:lnTo>
                  <a:lnTo>
                    <a:pt x="112" y="1281"/>
                  </a:lnTo>
                  <a:lnTo>
                    <a:pt x="74" y="1292"/>
                  </a:lnTo>
                  <a:lnTo>
                    <a:pt x="69" y="1346"/>
                  </a:lnTo>
                  <a:lnTo>
                    <a:pt x="50" y="1337"/>
                  </a:lnTo>
                  <a:lnTo>
                    <a:pt x="69" y="1302"/>
                  </a:lnTo>
                  <a:lnTo>
                    <a:pt x="43" y="1292"/>
                  </a:lnTo>
                  <a:lnTo>
                    <a:pt x="38" y="1246"/>
                  </a:lnTo>
                  <a:lnTo>
                    <a:pt x="30" y="1269"/>
                  </a:lnTo>
                  <a:lnTo>
                    <a:pt x="24" y="1225"/>
                  </a:lnTo>
                  <a:lnTo>
                    <a:pt x="24" y="1214"/>
                  </a:lnTo>
                  <a:lnTo>
                    <a:pt x="12" y="1192"/>
                  </a:lnTo>
                  <a:lnTo>
                    <a:pt x="24" y="1169"/>
                  </a:lnTo>
                  <a:lnTo>
                    <a:pt x="12" y="1102"/>
                  </a:lnTo>
                  <a:lnTo>
                    <a:pt x="38" y="1102"/>
                  </a:lnTo>
                  <a:lnTo>
                    <a:pt x="12" y="1070"/>
                  </a:lnTo>
                  <a:lnTo>
                    <a:pt x="19" y="1047"/>
                  </a:lnTo>
                  <a:lnTo>
                    <a:pt x="0" y="104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61" name="Freeform 188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3609163" y="5239944"/>
              <a:ext cx="230562" cy="1069975"/>
            </a:xfrm>
            <a:custGeom>
              <a:avLst/>
              <a:gdLst>
                <a:gd name="T0" fmla="*/ 0 w 125"/>
                <a:gd name="T1" fmla="*/ 2147483647 h 1346"/>
                <a:gd name="T2" fmla="*/ 2147483647 w 125"/>
                <a:gd name="T3" fmla="*/ 2147483647 h 1346"/>
                <a:gd name="T4" fmla="*/ 2147483647 w 125"/>
                <a:gd name="T5" fmla="*/ 2147483647 h 1346"/>
                <a:gd name="T6" fmla="*/ 2147483647 w 125"/>
                <a:gd name="T7" fmla="*/ 2147483647 h 1346"/>
                <a:gd name="T8" fmla="*/ 2147483647 w 125"/>
                <a:gd name="T9" fmla="*/ 2147483647 h 1346"/>
                <a:gd name="T10" fmla="*/ 2147483647 w 125"/>
                <a:gd name="T11" fmla="*/ 2147483647 h 1346"/>
                <a:gd name="T12" fmla="*/ 2147483647 w 125"/>
                <a:gd name="T13" fmla="*/ 2147483647 h 1346"/>
                <a:gd name="T14" fmla="*/ 2147483647 w 125"/>
                <a:gd name="T15" fmla="*/ 2147483647 h 1346"/>
                <a:gd name="T16" fmla="*/ 2147483647 w 125"/>
                <a:gd name="T17" fmla="*/ 2147483647 h 1346"/>
                <a:gd name="T18" fmla="*/ 2147483647 w 125"/>
                <a:gd name="T19" fmla="*/ 2147483647 h 1346"/>
                <a:gd name="T20" fmla="*/ 2147483647 w 125"/>
                <a:gd name="T21" fmla="*/ 2147483647 h 1346"/>
                <a:gd name="T22" fmla="*/ 2147483647 w 125"/>
                <a:gd name="T23" fmla="*/ 2147483647 h 1346"/>
                <a:gd name="T24" fmla="*/ 2147483647 w 125"/>
                <a:gd name="T25" fmla="*/ 0 h 1346"/>
                <a:gd name="T26" fmla="*/ 2147483647 w 125"/>
                <a:gd name="T27" fmla="*/ 2147483647 h 1346"/>
                <a:gd name="T28" fmla="*/ 2147483647 w 125"/>
                <a:gd name="T29" fmla="*/ 2147483647 h 1346"/>
                <a:gd name="T30" fmla="*/ 2147483647 w 125"/>
                <a:gd name="T31" fmla="*/ 2147483647 h 1346"/>
                <a:gd name="T32" fmla="*/ 2147483647 w 125"/>
                <a:gd name="T33" fmla="*/ 2147483647 h 1346"/>
                <a:gd name="T34" fmla="*/ 2147483647 w 125"/>
                <a:gd name="T35" fmla="*/ 2147483647 h 1346"/>
                <a:gd name="T36" fmla="*/ 2147483647 w 125"/>
                <a:gd name="T37" fmla="*/ 2147483647 h 1346"/>
                <a:gd name="T38" fmla="*/ 2147483647 w 125"/>
                <a:gd name="T39" fmla="*/ 2147483647 h 1346"/>
                <a:gd name="T40" fmla="*/ 2147483647 w 125"/>
                <a:gd name="T41" fmla="*/ 2147483647 h 1346"/>
                <a:gd name="T42" fmla="*/ 2147483647 w 125"/>
                <a:gd name="T43" fmla="*/ 2147483647 h 1346"/>
                <a:gd name="T44" fmla="*/ 2147483647 w 125"/>
                <a:gd name="T45" fmla="*/ 2147483647 h 1346"/>
                <a:gd name="T46" fmla="*/ 2147483647 w 125"/>
                <a:gd name="T47" fmla="*/ 2147483647 h 1346"/>
                <a:gd name="T48" fmla="*/ 2147483647 w 125"/>
                <a:gd name="T49" fmla="*/ 2147483647 h 1346"/>
                <a:gd name="T50" fmla="*/ 2147483647 w 125"/>
                <a:gd name="T51" fmla="*/ 2147483647 h 1346"/>
                <a:gd name="T52" fmla="*/ 2147483647 w 125"/>
                <a:gd name="T53" fmla="*/ 2147483647 h 1346"/>
                <a:gd name="T54" fmla="*/ 2147483647 w 125"/>
                <a:gd name="T55" fmla="*/ 2147483647 h 1346"/>
                <a:gd name="T56" fmla="*/ 2147483647 w 125"/>
                <a:gd name="T57" fmla="*/ 2147483647 h 1346"/>
                <a:gd name="T58" fmla="*/ 2147483647 w 125"/>
                <a:gd name="T59" fmla="*/ 2147483647 h 1346"/>
                <a:gd name="T60" fmla="*/ 2147483647 w 125"/>
                <a:gd name="T61" fmla="*/ 2147483647 h 1346"/>
                <a:gd name="T62" fmla="*/ 2147483647 w 125"/>
                <a:gd name="T63" fmla="*/ 2147483647 h 1346"/>
                <a:gd name="T64" fmla="*/ 2147483647 w 125"/>
                <a:gd name="T65" fmla="*/ 2147483647 h 1346"/>
                <a:gd name="T66" fmla="*/ 2147483647 w 125"/>
                <a:gd name="T67" fmla="*/ 2147483647 h 1346"/>
                <a:gd name="T68" fmla="*/ 2147483647 w 125"/>
                <a:gd name="T69" fmla="*/ 2147483647 h 1346"/>
                <a:gd name="T70" fmla="*/ 2147483647 w 125"/>
                <a:gd name="T71" fmla="*/ 2147483647 h 1346"/>
                <a:gd name="T72" fmla="*/ 2147483647 w 125"/>
                <a:gd name="T73" fmla="*/ 2147483647 h 1346"/>
                <a:gd name="T74" fmla="*/ 2147483647 w 125"/>
                <a:gd name="T75" fmla="*/ 2147483647 h 1346"/>
                <a:gd name="T76" fmla="*/ 2147483647 w 125"/>
                <a:gd name="T77" fmla="*/ 2147483647 h 1346"/>
                <a:gd name="T78" fmla="*/ 2147483647 w 125"/>
                <a:gd name="T79" fmla="*/ 2147483647 h 1346"/>
                <a:gd name="T80" fmla="*/ 2147483647 w 125"/>
                <a:gd name="T81" fmla="*/ 2147483647 h 1346"/>
                <a:gd name="T82" fmla="*/ 2147483647 w 125"/>
                <a:gd name="T83" fmla="*/ 2147483647 h 1346"/>
                <a:gd name="T84" fmla="*/ 2147483647 w 125"/>
                <a:gd name="T85" fmla="*/ 2147483647 h 1346"/>
                <a:gd name="T86" fmla="*/ 2147483647 w 125"/>
                <a:gd name="T87" fmla="*/ 2147483647 h 1346"/>
                <a:gd name="T88" fmla="*/ 2147483647 w 125"/>
                <a:gd name="T89" fmla="*/ 2147483647 h 1346"/>
                <a:gd name="T90" fmla="*/ 2147483647 w 125"/>
                <a:gd name="T91" fmla="*/ 2147483647 h 1346"/>
                <a:gd name="T92" fmla="*/ 2147483647 w 125"/>
                <a:gd name="T93" fmla="*/ 2147483647 h 1346"/>
                <a:gd name="T94" fmla="*/ 0 w 125"/>
                <a:gd name="T95" fmla="*/ 2147483647 h 134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5" h="1346">
                  <a:moveTo>
                    <a:pt x="0" y="1047"/>
                  </a:moveTo>
                  <a:lnTo>
                    <a:pt x="5" y="1014"/>
                  </a:lnTo>
                  <a:lnTo>
                    <a:pt x="24" y="1035"/>
                  </a:lnTo>
                  <a:lnTo>
                    <a:pt x="43" y="970"/>
                  </a:lnTo>
                  <a:lnTo>
                    <a:pt x="38" y="947"/>
                  </a:lnTo>
                  <a:lnTo>
                    <a:pt x="50" y="847"/>
                  </a:lnTo>
                  <a:lnTo>
                    <a:pt x="24" y="847"/>
                  </a:lnTo>
                  <a:lnTo>
                    <a:pt x="30" y="689"/>
                  </a:lnTo>
                  <a:lnTo>
                    <a:pt x="62" y="522"/>
                  </a:lnTo>
                  <a:lnTo>
                    <a:pt x="62" y="390"/>
                  </a:lnTo>
                  <a:lnTo>
                    <a:pt x="80" y="134"/>
                  </a:lnTo>
                  <a:lnTo>
                    <a:pt x="74" y="23"/>
                  </a:lnTo>
                  <a:lnTo>
                    <a:pt x="93" y="0"/>
                  </a:lnTo>
                  <a:lnTo>
                    <a:pt x="106" y="55"/>
                  </a:lnTo>
                  <a:lnTo>
                    <a:pt x="119" y="178"/>
                  </a:lnTo>
                  <a:lnTo>
                    <a:pt x="125" y="178"/>
                  </a:lnTo>
                  <a:lnTo>
                    <a:pt x="125" y="223"/>
                  </a:lnTo>
                  <a:lnTo>
                    <a:pt x="112" y="232"/>
                  </a:lnTo>
                  <a:lnTo>
                    <a:pt x="112" y="311"/>
                  </a:lnTo>
                  <a:lnTo>
                    <a:pt x="93" y="355"/>
                  </a:lnTo>
                  <a:lnTo>
                    <a:pt x="74" y="468"/>
                  </a:lnTo>
                  <a:lnTo>
                    <a:pt x="88" y="578"/>
                  </a:lnTo>
                  <a:lnTo>
                    <a:pt x="69" y="657"/>
                  </a:lnTo>
                  <a:lnTo>
                    <a:pt x="56" y="879"/>
                  </a:lnTo>
                  <a:lnTo>
                    <a:pt x="62" y="970"/>
                  </a:lnTo>
                  <a:lnTo>
                    <a:pt x="56" y="970"/>
                  </a:lnTo>
                  <a:lnTo>
                    <a:pt x="62" y="1047"/>
                  </a:lnTo>
                  <a:lnTo>
                    <a:pt x="30" y="1192"/>
                  </a:lnTo>
                  <a:lnTo>
                    <a:pt x="38" y="1214"/>
                  </a:lnTo>
                  <a:lnTo>
                    <a:pt x="50" y="1214"/>
                  </a:lnTo>
                  <a:lnTo>
                    <a:pt x="56" y="1269"/>
                  </a:lnTo>
                  <a:lnTo>
                    <a:pt x="112" y="1281"/>
                  </a:lnTo>
                  <a:lnTo>
                    <a:pt x="74" y="1292"/>
                  </a:lnTo>
                  <a:lnTo>
                    <a:pt x="69" y="1346"/>
                  </a:lnTo>
                  <a:lnTo>
                    <a:pt x="50" y="1337"/>
                  </a:lnTo>
                  <a:lnTo>
                    <a:pt x="69" y="1302"/>
                  </a:lnTo>
                  <a:lnTo>
                    <a:pt x="43" y="1292"/>
                  </a:lnTo>
                  <a:lnTo>
                    <a:pt x="38" y="1246"/>
                  </a:lnTo>
                  <a:lnTo>
                    <a:pt x="30" y="1269"/>
                  </a:lnTo>
                  <a:lnTo>
                    <a:pt x="24" y="1225"/>
                  </a:lnTo>
                  <a:lnTo>
                    <a:pt x="24" y="1214"/>
                  </a:lnTo>
                  <a:lnTo>
                    <a:pt x="12" y="1192"/>
                  </a:lnTo>
                  <a:lnTo>
                    <a:pt x="24" y="1169"/>
                  </a:lnTo>
                  <a:lnTo>
                    <a:pt x="12" y="1102"/>
                  </a:lnTo>
                  <a:lnTo>
                    <a:pt x="38" y="1102"/>
                  </a:lnTo>
                  <a:lnTo>
                    <a:pt x="12" y="1070"/>
                  </a:lnTo>
                  <a:lnTo>
                    <a:pt x="19" y="1047"/>
                  </a:lnTo>
                  <a:lnTo>
                    <a:pt x="0" y="104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62" name="Freeform 189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3609163" y="5239944"/>
              <a:ext cx="230562" cy="1069975"/>
            </a:xfrm>
            <a:custGeom>
              <a:avLst/>
              <a:gdLst>
                <a:gd name="T0" fmla="*/ 0 w 125"/>
                <a:gd name="T1" fmla="*/ 2147483647 h 1346"/>
                <a:gd name="T2" fmla="*/ 2147483647 w 125"/>
                <a:gd name="T3" fmla="*/ 2147483647 h 1346"/>
                <a:gd name="T4" fmla="*/ 2147483647 w 125"/>
                <a:gd name="T5" fmla="*/ 2147483647 h 1346"/>
                <a:gd name="T6" fmla="*/ 2147483647 w 125"/>
                <a:gd name="T7" fmla="*/ 2147483647 h 1346"/>
                <a:gd name="T8" fmla="*/ 2147483647 w 125"/>
                <a:gd name="T9" fmla="*/ 2147483647 h 1346"/>
                <a:gd name="T10" fmla="*/ 2147483647 w 125"/>
                <a:gd name="T11" fmla="*/ 2147483647 h 1346"/>
                <a:gd name="T12" fmla="*/ 2147483647 w 125"/>
                <a:gd name="T13" fmla="*/ 2147483647 h 1346"/>
                <a:gd name="T14" fmla="*/ 2147483647 w 125"/>
                <a:gd name="T15" fmla="*/ 2147483647 h 1346"/>
                <a:gd name="T16" fmla="*/ 2147483647 w 125"/>
                <a:gd name="T17" fmla="*/ 2147483647 h 1346"/>
                <a:gd name="T18" fmla="*/ 2147483647 w 125"/>
                <a:gd name="T19" fmla="*/ 2147483647 h 1346"/>
                <a:gd name="T20" fmla="*/ 2147483647 w 125"/>
                <a:gd name="T21" fmla="*/ 2147483647 h 1346"/>
                <a:gd name="T22" fmla="*/ 2147483647 w 125"/>
                <a:gd name="T23" fmla="*/ 2147483647 h 1346"/>
                <a:gd name="T24" fmla="*/ 2147483647 w 125"/>
                <a:gd name="T25" fmla="*/ 0 h 1346"/>
                <a:gd name="T26" fmla="*/ 2147483647 w 125"/>
                <a:gd name="T27" fmla="*/ 2147483647 h 1346"/>
                <a:gd name="T28" fmla="*/ 2147483647 w 125"/>
                <a:gd name="T29" fmla="*/ 2147483647 h 1346"/>
                <a:gd name="T30" fmla="*/ 2147483647 w 125"/>
                <a:gd name="T31" fmla="*/ 2147483647 h 1346"/>
                <a:gd name="T32" fmla="*/ 2147483647 w 125"/>
                <a:gd name="T33" fmla="*/ 2147483647 h 1346"/>
                <a:gd name="T34" fmla="*/ 2147483647 w 125"/>
                <a:gd name="T35" fmla="*/ 2147483647 h 1346"/>
                <a:gd name="T36" fmla="*/ 2147483647 w 125"/>
                <a:gd name="T37" fmla="*/ 2147483647 h 1346"/>
                <a:gd name="T38" fmla="*/ 2147483647 w 125"/>
                <a:gd name="T39" fmla="*/ 2147483647 h 1346"/>
                <a:gd name="T40" fmla="*/ 2147483647 w 125"/>
                <a:gd name="T41" fmla="*/ 2147483647 h 1346"/>
                <a:gd name="T42" fmla="*/ 2147483647 w 125"/>
                <a:gd name="T43" fmla="*/ 2147483647 h 1346"/>
                <a:gd name="T44" fmla="*/ 2147483647 w 125"/>
                <a:gd name="T45" fmla="*/ 2147483647 h 1346"/>
                <a:gd name="T46" fmla="*/ 2147483647 w 125"/>
                <a:gd name="T47" fmla="*/ 2147483647 h 1346"/>
                <a:gd name="T48" fmla="*/ 2147483647 w 125"/>
                <a:gd name="T49" fmla="*/ 2147483647 h 1346"/>
                <a:gd name="T50" fmla="*/ 2147483647 w 125"/>
                <a:gd name="T51" fmla="*/ 2147483647 h 1346"/>
                <a:gd name="T52" fmla="*/ 2147483647 w 125"/>
                <a:gd name="T53" fmla="*/ 2147483647 h 1346"/>
                <a:gd name="T54" fmla="*/ 2147483647 w 125"/>
                <a:gd name="T55" fmla="*/ 2147483647 h 1346"/>
                <a:gd name="T56" fmla="*/ 2147483647 w 125"/>
                <a:gd name="T57" fmla="*/ 2147483647 h 1346"/>
                <a:gd name="T58" fmla="*/ 2147483647 w 125"/>
                <a:gd name="T59" fmla="*/ 2147483647 h 1346"/>
                <a:gd name="T60" fmla="*/ 2147483647 w 125"/>
                <a:gd name="T61" fmla="*/ 2147483647 h 1346"/>
                <a:gd name="T62" fmla="*/ 2147483647 w 125"/>
                <a:gd name="T63" fmla="*/ 2147483647 h 1346"/>
                <a:gd name="T64" fmla="*/ 2147483647 w 125"/>
                <a:gd name="T65" fmla="*/ 2147483647 h 1346"/>
                <a:gd name="T66" fmla="*/ 2147483647 w 125"/>
                <a:gd name="T67" fmla="*/ 2147483647 h 1346"/>
                <a:gd name="T68" fmla="*/ 2147483647 w 125"/>
                <a:gd name="T69" fmla="*/ 2147483647 h 1346"/>
                <a:gd name="T70" fmla="*/ 2147483647 w 125"/>
                <a:gd name="T71" fmla="*/ 2147483647 h 1346"/>
                <a:gd name="T72" fmla="*/ 2147483647 w 125"/>
                <a:gd name="T73" fmla="*/ 2147483647 h 1346"/>
                <a:gd name="T74" fmla="*/ 2147483647 w 125"/>
                <a:gd name="T75" fmla="*/ 2147483647 h 1346"/>
                <a:gd name="T76" fmla="*/ 2147483647 w 125"/>
                <a:gd name="T77" fmla="*/ 2147483647 h 1346"/>
                <a:gd name="T78" fmla="*/ 2147483647 w 125"/>
                <a:gd name="T79" fmla="*/ 2147483647 h 1346"/>
                <a:gd name="T80" fmla="*/ 2147483647 w 125"/>
                <a:gd name="T81" fmla="*/ 2147483647 h 1346"/>
                <a:gd name="T82" fmla="*/ 2147483647 w 125"/>
                <a:gd name="T83" fmla="*/ 2147483647 h 1346"/>
                <a:gd name="T84" fmla="*/ 2147483647 w 125"/>
                <a:gd name="T85" fmla="*/ 2147483647 h 1346"/>
                <a:gd name="T86" fmla="*/ 2147483647 w 125"/>
                <a:gd name="T87" fmla="*/ 2147483647 h 1346"/>
                <a:gd name="T88" fmla="*/ 2147483647 w 125"/>
                <a:gd name="T89" fmla="*/ 2147483647 h 1346"/>
                <a:gd name="T90" fmla="*/ 2147483647 w 125"/>
                <a:gd name="T91" fmla="*/ 2147483647 h 1346"/>
                <a:gd name="T92" fmla="*/ 2147483647 w 125"/>
                <a:gd name="T93" fmla="*/ 2147483647 h 1346"/>
                <a:gd name="T94" fmla="*/ 0 w 125"/>
                <a:gd name="T95" fmla="*/ 2147483647 h 134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5" h="1346">
                  <a:moveTo>
                    <a:pt x="0" y="1047"/>
                  </a:moveTo>
                  <a:lnTo>
                    <a:pt x="5" y="1014"/>
                  </a:lnTo>
                  <a:lnTo>
                    <a:pt x="24" y="1035"/>
                  </a:lnTo>
                  <a:lnTo>
                    <a:pt x="43" y="970"/>
                  </a:lnTo>
                  <a:lnTo>
                    <a:pt x="38" y="947"/>
                  </a:lnTo>
                  <a:lnTo>
                    <a:pt x="50" y="847"/>
                  </a:lnTo>
                  <a:lnTo>
                    <a:pt x="24" y="847"/>
                  </a:lnTo>
                  <a:lnTo>
                    <a:pt x="30" y="689"/>
                  </a:lnTo>
                  <a:lnTo>
                    <a:pt x="62" y="522"/>
                  </a:lnTo>
                  <a:lnTo>
                    <a:pt x="62" y="390"/>
                  </a:lnTo>
                  <a:lnTo>
                    <a:pt x="80" y="134"/>
                  </a:lnTo>
                  <a:lnTo>
                    <a:pt x="74" y="23"/>
                  </a:lnTo>
                  <a:lnTo>
                    <a:pt x="93" y="0"/>
                  </a:lnTo>
                  <a:lnTo>
                    <a:pt x="106" y="55"/>
                  </a:lnTo>
                  <a:lnTo>
                    <a:pt x="119" y="178"/>
                  </a:lnTo>
                  <a:lnTo>
                    <a:pt x="125" y="178"/>
                  </a:lnTo>
                  <a:lnTo>
                    <a:pt x="125" y="223"/>
                  </a:lnTo>
                  <a:lnTo>
                    <a:pt x="112" y="232"/>
                  </a:lnTo>
                  <a:lnTo>
                    <a:pt x="112" y="311"/>
                  </a:lnTo>
                  <a:lnTo>
                    <a:pt x="93" y="355"/>
                  </a:lnTo>
                  <a:lnTo>
                    <a:pt x="74" y="468"/>
                  </a:lnTo>
                  <a:lnTo>
                    <a:pt x="88" y="578"/>
                  </a:lnTo>
                  <a:lnTo>
                    <a:pt x="69" y="657"/>
                  </a:lnTo>
                  <a:lnTo>
                    <a:pt x="56" y="879"/>
                  </a:lnTo>
                  <a:lnTo>
                    <a:pt x="62" y="970"/>
                  </a:lnTo>
                  <a:lnTo>
                    <a:pt x="56" y="970"/>
                  </a:lnTo>
                  <a:lnTo>
                    <a:pt x="62" y="1047"/>
                  </a:lnTo>
                  <a:lnTo>
                    <a:pt x="30" y="1192"/>
                  </a:lnTo>
                  <a:lnTo>
                    <a:pt x="38" y="1214"/>
                  </a:lnTo>
                  <a:lnTo>
                    <a:pt x="50" y="1214"/>
                  </a:lnTo>
                  <a:lnTo>
                    <a:pt x="56" y="1269"/>
                  </a:lnTo>
                  <a:lnTo>
                    <a:pt x="112" y="1281"/>
                  </a:lnTo>
                  <a:lnTo>
                    <a:pt x="74" y="1292"/>
                  </a:lnTo>
                  <a:lnTo>
                    <a:pt x="69" y="1346"/>
                  </a:lnTo>
                  <a:lnTo>
                    <a:pt x="50" y="1337"/>
                  </a:lnTo>
                  <a:lnTo>
                    <a:pt x="69" y="1302"/>
                  </a:lnTo>
                  <a:lnTo>
                    <a:pt x="43" y="1292"/>
                  </a:lnTo>
                  <a:lnTo>
                    <a:pt x="38" y="1246"/>
                  </a:lnTo>
                  <a:lnTo>
                    <a:pt x="30" y="1269"/>
                  </a:lnTo>
                  <a:lnTo>
                    <a:pt x="24" y="1225"/>
                  </a:lnTo>
                  <a:lnTo>
                    <a:pt x="24" y="1214"/>
                  </a:lnTo>
                  <a:lnTo>
                    <a:pt x="12" y="1192"/>
                  </a:lnTo>
                  <a:lnTo>
                    <a:pt x="24" y="1169"/>
                  </a:lnTo>
                  <a:lnTo>
                    <a:pt x="12" y="1102"/>
                  </a:lnTo>
                  <a:lnTo>
                    <a:pt x="38" y="1102"/>
                  </a:lnTo>
                  <a:lnTo>
                    <a:pt x="12" y="1070"/>
                  </a:lnTo>
                  <a:lnTo>
                    <a:pt x="19" y="1047"/>
                  </a:lnTo>
                  <a:lnTo>
                    <a:pt x="0" y="104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63" name="Freeform 190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3609163" y="5239944"/>
              <a:ext cx="230562" cy="1069975"/>
            </a:xfrm>
            <a:custGeom>
              <a:avLst/>
              <a:gdLst>
                <a:gd name="T0" fmla="*/ 0 w 125"/>
                <a:gd name="T1" fmla="*/ 2147483647 h 1346"/>
                <a:gd name="T2" fmla="*/ 2147483647 w 125"/>
                <a:gd name="T3" fmla="*/ 2147483647 h 1346"/>
                <a:gd name="T4" fmla="*/ 2147483647 w 125"/>
                <a:gd name="T5" fmla="*/ 2147483647 h 1346"/>
                <a:gd name="T6" fmla="*/ 2147483647 w 125"/>
                <a:gd name="T7" fmla="*/ 2147483647 h 1346"/>
                <a:gd name="T8" fmla="*/ 2147483647 w 125"/>
                <a:gd name="T9" fmla="*/ 2147483647 h 1346"/>
                <a:gd name="T10" fmla="*/ 2147483647 w 125"/>
                <a:gd name="T11" fmla="*/ 2147483647 h 1346"/>
                <a:gd name="T12" fmla="*/ 2147483647 w 125"/>
                <a:gd name="T13" fmla="*/ 2147483647 h 1346"/>
                <a:gd name="T14" fmla="*/ 2147483647 w 125"/>
                <a:gd name="T15" fmla="*/ 2147483647 h 1346"/>
                <a:gd name="T16" fmla="*/ 2147483647 w 125"/>
                <a:gd name="T17" fmla="*/ 2147483647 h 1346"/>
                <a:gd name="T18" fmla="*/ 2147483647 w 125"/>
                <a:gd name="T19" fmla="*/ 2147483647 h 1346"/>
                <a:gd name="T20" fmla="*/ 2147483647 w 125"/>
                <a:gd name="T21" fmla="*/ 2147483647 h 1346"/>
                <a:gd name="T22" fmla="*/ 2147483647 w 125"/>
                <a:gd name="T23" fmla="*/ 2147483647 h 1346"/>
                <a:gd name="T24" fmla="*/ 2147483647 w 125"/>
                <a:gd name="T25" fmla="*/ 0 h 1346"/>
                <a:gd name="T26" fmla="*/ 2147483647 w 125"/>
                <a:gd name="T27" fmla="*/ 2147483647 h 1346"/>
                <a:gd name="T28" fmla="*/ 2147483647 w 125"/>
                <a:gd name="T29" fmla="*/ 2147483647 h 1346"/>
                <a:gd name="T30" fmla="*/ 2147483647 w 125"/>
                <a:gd name="T31" fmla="*/ 2147483647 h 1346"/>
                <a:gd name="T32" fmla="*/ 2147483647 w 125"/>
                <a:gd name="T33" fmla="*/ 2147483647 h 1346"/>
                <a:gd name="T34" fmla="*/ 2147483647 w 125"/>
                <a:gd name="T35" fmla="*/ 2147483647 h 1346"/>
                <a:gd name="T36" fmla="*/ 2147483647 w 125"/>
                <a:gd name="T37" fmla="*/ 2147483647 h 1346"/>
                <a:gd name="T38" fmla="*/ 2147483647 w 125"/>
                <a:gd name="T39" fmla="*/ 2147483647 h 1346"/>
                <a:gd name="T40" fmla="*/ 2147483647 w 125"/>
                <a:gd name="T41" fmla="*/ 2147483647 h 1346"/>
                <a:gd name="T42" fmla="*/ 2147483647 w 125"/>
                <a:gd name="T43" fmla="*/ 2147483647 h 1346"/>
                <a:gd name="T44" fmla="*/ 2147483647 w 125"/>
                <a:gd name="T45" fmla="*/ 2147483647 h 1346"/>
                <a:gd name="T46" fmla="*/ 2147483647 w 125"/>
                <a:gd name="T47" fmla="*/ 2147483647 h 1346"/>
                <a:gd name="T48" fmla="*/ 2147483647 w 125"/>
                <a:gd name="T49" fmla="*/ 2147483647 h 1346"/>
                <a:gd name="T50" fmla="*/ 2147483647 w 125"/>
                <a:gd name="T51" fmla="*/ 2147483647 h 1346"/>
                <a:gd name="T52" fmla="*/ 2147483647 w 125"/>
                <a:gd name="T53" fmla="*/ 2147483647 h 1346"/>
                <a:gd name="T54" fmla="*/ 2147483647 w 125"/>
                <a:gd name="T55" fmla="*/ 2147483647 h 1346"/>
                <a:gd name="T56" fmla="*/ 2147483647 w 125"/>
                <a:gd name="T57" fmla="*/ 2147483647 h 1346"/>
                <a:gd name="T58" fmla="*/ 2147483647 w 125"/>
                <a:gd name="T59" fmla="*/ 2147483647 h 1346"/>
                <a:gd name="T60" fmla="*/ 2147483647 w 125"/>
                <a:gd name="T61" fmla="*/ 2147483647 h 1346"/>
                <a:gd name="T62" fmla="*/ 2147483647 w 125"/>
                <a:gd name="T63" fmla="*/ 2147483647 h 1346"/>
                <a:gd name="T64" fmla="*/ 2147483647 w 125"/>
                <a:gd name="T65" fmla="*/ 2147483647 h 1346"/>
                <a:gd name="T66" fmla="*/ 2147483647 w 125"/>
                <a:gd name="T67" fmla="*/ 2147483647 h 1346"/>
                <a:gd name="T68" fmla="*/ 2147483647 w 125"/>
                <a:gd name="T69" fmla="*/ 2147483647 h 1346"/>
                <a:gd name="T70" fmla="*/ 2147483647 w 125"/>
                <a:gd name="T71" fmla="*/ 2147483647 h 1346"/>
                <a:gd name="T72" fmla="*/ 2147483647 w 125"/>
                <a:gd name="T73" fmla="*/ 2147483647 h 1346"/>
                <a:gd name="T74" fmla="*/ 2147483647 w 125"/>
                <a:gd name="T75" fmla="*/ 2147483647 h 1346"/>
                <a:gd name="T76" fmla="*/ 2147483647 w 125"/>
                <a:gd name="T77" fmla="*/ 2147483647 h 1346"/>
                <a:gd name="T78" fmla="*/ 2147483647 w 125"/>
                <a:gd name="T79" fmla="*/ 2147483647 h 1346"/>
                <a:gd name="T80" fmla="*/ 2147483647 w 125"/>
                <a:gd name="T81" fmla="*/ 2147483647 h 1346"/>
                <a:gd name="T82" fmla="*/ 2147483647 w 125"/>
                <a:gd name="T83" fmla="*/ 2147483647 h 1346"/>
                <a:gd name="T84" fmla="*/ 2147483647 w 125"/>
                <a:gd name="T85" fmla="*/ 2147483647 h 1346"/>
                <a:gd name="T86" fmla="*/ 2147483647 w 125"/>
                <a:gd name="T87" fmla="*/ 2147483647 h 1346"/>
                <a:gd name="T88" fmla="*/ 2147483647 w 125"/>
                <a:gd name="T89" fmla="*/ 2147483647 h 1346"/>
                <a:gd name="T90" fmla="*/ 2147483647 w 125"/>
                <a:gd name="T91" fmla="*/ 2147483647 h 1346"/>
                <a:gd name="T92" fmla="*/ 2147483647 w 125"/>
                <a:gd name="T93" fmla="*/ 2147483647 h 1346"/>
                <a:gd name="T94" fmla="*/ 0 w 125"/>
                <a:gd name="T95" fmla="*/ 2147483647 h 134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125" h="1346">
                  <a:moveTo>
                    <a:pt x="0" y="1047"/>
                  </a:moveTo>
                  <a:lnTo>
                    <a:pt x="5" y="1014"/>
                  </a:lnTo>
                  <a:lnTo>
                    <a:pt x="24" y="1035"/>
                  </a:lnTo>
                  <a:lnTo>
                    <a:pt x="43" y="970"/>
                  </a:lnTo>
                  <a:lnTo>
                    <a:pt x="38" y="947"/>
                  </a:lnTo>
                  <a:lnTo>
                    <a:pt x="50" y="847"/>
                  </a:lnTo>
                  <a:lnTo>
                    <a:pt x="24" y="847"/>
                  </a:lnTo>
                  <a:lnTo>
                    <a:pt x="30" y="689"/>
                  </a:lnTo>
                  <a:lnTo>
                    <a:pt x="62" y="522"/>
                  </a:lnTo>
                  <a:lnTo>
                    <a:pt x="62" y="390"/>
                  </a:lnTo>
                  <a:lnTo>
                    <a:pt x="80" y="134"/>
                  </a:lnTo>
                  <a:lnTo>
                    <a:pt x="74" y="23"/>
                  </a:lnTo>
                  <a:lnTo>
                    <a:pt x="93" y="0"/>
                  </a:lnTo>
                  <a:lnTo>
                    <a:pt x="106" y="55"/>
                  </a:lnTo>
                  <a:lnTo>
                    <a:pt x="119" y="178"/>
                  </a:lnTo>
                  <a:lnTo>
                    <a:pt x="125" y="178"/>
                  </a:lnTo>
                  <a:lnTo>
                    <a:pt x="125" y="223"/>
                  </a:lnTo>
                  <a:lnTo>
                    <a:pt x="112" y="232"/>
                  </a:lnTo>
                  <a:lnTo>
                    <a:pt x="112" y="311"/>
                  </a:lnTo>
                  <a:lnTo>
                    <a:pt x="93" y="355"/>
                  </a:lnTo>
                  <a:lnTo>
                    <a:pt x="74" y="468"/>
                  </a:lnTo>
                  <a:lnTo>
                    <a:pt x="88" y="578"/>
                  </a:lnTo>
                  <a:lnTo>
                    <a:pt x="69" y="657"/>
                  </a:lnTo>
                  <a:lnTo>
                    <a:pt x="56" y="879"/>
                  </a:lnTo>
                  <a:lnTo>
                    <a:pt x="62" y="970"/>
                  </a:lnTo>
                  <a:lnTo>
                    <a:pt x="56" y="970"/>
                  </a:lnTo>
                  <a:lnTo>
                    <a:pt x="62" y="1047"/>
                  </a:lnTo>
                  <a:lnTo>
                    <a:pt x="30" y="1192"/>
                  </a:lnTo>
                  <a:lnTo>
                    <a:pt x="38" y="1214"/>
                  </a:lnTo>
                  <a:lnTo>
                    <a:pt x="50" y="1214"/>
                  </a:lnTo>
                  <a:lnTo>
                    <a:pt x="56" y="1269"/>
                  </a:lnTo>
                  <a:lnTo>
                    <a:pt x="112" y="1281"/>
                  </a:lnTo>
                  <a:lnTo>
                    <a:pt x="74" y="1292"/>
                  </a:lnTo>
                  <a:lnTo>
                    <a:pt x="69" y="1346"/>
                  </a:lnTo>
                  <a:lnTo>
                    <a:pt x="50" y="1337"/>
                  </a:lnTo>
                  <a:lnTo>
                    <a:pt x="69" y="1302"/>
                  </a:lnTo>
                  <a:lnTo>
                    <a:pt x="43" y="1292"/>
                  </a:lnTo>
                  <a:lnTo>
                    <a:pt x="38" y="1246"/>
                  </a:lnTo>
                  <a:lnTo>
                    <a:pt x="30" y="1269"/>
                  </a:lnTo>
                  <a:lnTo>
                    <a:pt x="24" y="1225"/>
                  </a:lnTo>
                  <a:lnTo>
                    <a:pt x="24" y="1214"/>
                  </a:lnTo>
                  <a:lnTo>
                    <a:pt x="12" y="1192"/>
                  </a:lnTo>
                  <a:lnTo>
                    <a:pt x="24" y="1169"/>
                  </a:lnTo>
                  <a:lnTo>
                    <a:pt x="12" y="1102"/>
                  </a:lnTo>
                  <a:lnTo>
                    <a:pt x="38" y="1102"/>
                  </a:lnTo>
                  <a:lnTo>
                    <a:pt x="12" y="1070"/>
                  </a:lnTo>
                  <a:lnTo>
                    <a:pt x="19" y="1047"/>
                  </a:lnTo>
                  <a:lnTo>
                    <a:pt x="0" y="104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64" name="Freeform 191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3617182" y="6133670"/>
              <a:ext cx="38092" cy="44450"/>
            </a:xfrm>
            <a:custGeom>
              <a:avLst/>
              <a:gdLst>
                <a:gd name="T0" fmla="*/ 0 w 20"/>
                <a:gd name="T1" fmla="*/ 2147483647 h 56"/>
                <a:gd name="T2" fmla="*/ 2147483647 w 20"/>
                <a:gd name="T3" fmla="*/ 0 h 56"/>
                <a:gd name="T4" fmla="*/ 2147483647 w 20"/>
                <a:gd name="T5" fmla="*/ 2147483647 h 56"/>
                <a:gd name="T6" fmla="*/ 0 w 20"/>
                <a:gd name="T7" fmla="*/ 2147483647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56">
                  <a:moveTo>
                    <a:pt x="0" y="23"/>
                  </a:moveTo>
                  <a:lnTo>
                    <a:pt x="7" y="0"/>
                  </a:lnTo>
                  <a:lnTo>
                    <a:pt x="20" y="56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65" name="Freeform 192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3617182" y="6133670"/>
              <a:ext cx="38092" cy="44450"/>
            </a:xfrm>
            <a:custGeom>
              <a:avLst/>
              <a:gdLst>
                <a:gd name="T0" fmla="*/ 0 w 20"/>
                <a:gd name="T1" fmla="*/ 2147483647 h 56"/>
                <a:gd name="T2" fmla="*/ 2147483647 w 20"/>
                <a:gd name="T3" fmla="*/ 0 h 56"/>
                <a:gd name="T4" fmla="*/ 2147483647 w 20"/>
                <a:gd name="T5" fmla="*/ 2147483647 h 56"/>
                <a:gd name="T6" fmla="*/ 0 w 20"/>
                <a:gd name="T7" fmla="*/ 2147483647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56">
                  <a:moveTo>
                    <a:pt x="0" y="23"/>
                  </a:moveTo>
                  <a:lnTo>
                    <a:pt x="7" y="0"/>
                  </a:lnTo>
                  <a:lnTo>
                    <a:pt x="20" y="56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66" name="Freeform 193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3617182" y="6133670"/>
              <a:ext cx="38092" cy="44450"/>
            </a:xfrm>
            <a:custGeom>
              <a:avLst/>
              <a:gdLst>
                <a:gd name="T0" fmla="*/ 0 w 20"/>
                <a:gd name="T1" fmla="*/ 2147483647 h 56"/>
                <a:gd name="T2" fmla="*/ 2147483647 w 20"/>
                <a:gd name="T3" fmla="*/ 0 h 56"/>
                <a:gd name="T4" fmla="*/ 2147483647 w 20"/>
                <a:gd name="T5" fmla="*/ 2147483647 h 56"/>
                <a:gd name="T6" fmla="*/ 0 w 20"/>
                <a:gd name="T7" fmla="*/ 2147483647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56">
                  <a:moveTo>
                    <a:pt x="0" y="23"/>
                  </a:moveTo>
                  <a:lnTo>
                    <a:pt x="7" y="0"/>
                  </a:lnTo>
                  <a:lnTo>
                    <a:pt x="20" y="56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67" name="Freeform 194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3617182" y="6133670"/>
              <a:ext cx="38092" cy="44450"/>
            </a:xfrm>
            <a:custGeom>
              <a:avLst/>
              <a:gdLst>
                <a:gd name="T0" fmla="*/ 0 w 20"/>
                <a:gd name="T1" fmla="*/ 2147483647 h 56"/>
                <a:gd name="T2" fmla="*/ 2147483647 w 20"/>
                <a:gd name="T3" fmla="*/ 0 h 56"/>
                <a:gd name="T4" fmla="*/ 2147483647 w 20"/>
                <a:gd name="T5" fmla="*/ 2147483647 h 56"/>
                <a:gd name="T6" fmla="*/ 0 w 20"/>
                <a:gd name="T7" fmla="*/ 2147483647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56">
                  <a:moveTo>
                    <a:pt x="0" y="23"/>
                  </a:moveTo>
                  <a:lnTo>
                    <a:pt x="7" y="0"/>
                  </a:lnTo>
                  <a:lnTo>
                    <a:pt x="20" y="56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68" name="Freeform 195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3641250" y="5922533"/>
              <a:ext cx="32078" cy="42862"/>
            </a:xfrm>
            <a:custGeom>
              <a:avLst/>
              <a:gdLst>
                <a:gd name="T0" fmla="*/ 0 w 17"/>
                <a:gd name="T1" fmla="*/ 2147483647 h 54"/>
                <a:gd name="T2" fmla="*/ 2147483647 w 17"/>
                <a:gd name="T3" fmla="*/ 0 h 54"/>
                <a:gd name="T4" fmla="*/ 2147483647 w 17"/>
                <a:gd name="T5" fmla="*/ 2147483647 h 54"/>
                <a:gd name="T6" fmla="*/ 0 w 17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54">
                  <a:moveTo>
                    <a:pt x="0" y="54"/>
                  </a:moveTo>
                  <a:lnTo>
                    <a:pt x="17" y="0"/>
                  </a:lnTo>
                  <a:lnTo>
                    <a:pt x="17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69" name="Freeform 196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3641250" y="5922533"/>
              <a:ext cx="32078" cy="42862"/>
            </a:xfrm>
            <a:custGeom>
              <a:avLst/>
              <a:gdLst>
                <a:gd name="T0" fmla="*/ 0 w 17"/>
                <a:gd name="T1" fmla="*/ 2147483647 h 54"/>
                <a:gd name="T2" fmla="*/ 2147483647 w 17"/>
                <a:gd name="T3" fmla="*/ 0 h 54"/>
                <a:gd name="T4" fmla="*/ 2147483647 w 17"/>
                <a:gd name="T5" fmla="*/ 2147483647 h 54"/>
                <a:gd name="T6" fmla="*/ 0 w 17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54">
                  <a:moveTo>
                    <a:pt x="0" y="54"/>
                  </a:moveTo>
                  <a:lnTo>
                    <a:pt x="17" y="0"/>
                  </a:lnTo>
                  <a:lnTo>
                    <a:pt x="17" y="54"/>
                  </a:lnTo>
                  <a:lnTo>
                    <a:pt x="0" y="5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70" name="Freeform 197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3641250" y="5922533"/>
              <a:ext cx="32078" cy="42862"/>
            </a:xfrm>
            <a:custGeom>
              <a:avLst/>
              <a:gdLst>
                <a:gd name="T0" fmla="*/ 0 w 17"/>
                <a:gd name="T1" fmla="*/ 2147483647 h 54"/>
                <a:gd name="T2" fmla="*/ 2147483647 w 17"/>
                <a:gd name="T3" fmla="*/ 0 h 54"/>
                <a:gd name="T4" fmla="*/ 2147483647 w 17"/>
                <a:gd name="T5" fmla="*/ 2147483647 h 54"/>
                <a:gd name="T6" fmla="*/ 0 w 17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54">
                  <a:moveTo>
                    <a:pt x="0" y="54"/>
                  </a:moveTo>
                  <a:lnTo>
                    <a:pt x="17" y="0"/>
                  </a:lnTo>
                  <a:lnTo>
                    <a:pt x="17" y="54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71" name="Freeform 198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3641250" y="5922533"/>
              <a:ext cx="32078" cy="42862"/>
            </a:xfrm>
            <a:custGeom>
              <a:avLst/>
              <a:gdLst>
                <a:gd name="T0" fmla="*/ 0 w 17"/>
                <a:gd name="T1" fmla="*/ 2147483647 h 54"/>
                <a:gd name="T2" fmla="*/ 2147483647 w 17"/>
                <a:gd name="T3" fmla="*/ 0 h 54"/>
                <a:gd name="T4" fmla="*/ 2147483647 w 17"/>
                <a:gd name="T5" fmla="*/ 2147483647 h 54"/>
                <a:gd name="T6" fmla="*/ 0 w 17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54">
                  <a:moveTo>
                    <a:pt x="0" y="54"/>
                  </a:moveTo>
                  <a:lnTo>
                    <a:pt x="17" y="0"/>
                  </a:lnTo>
                  <a:lnTo>
                    <a:pt x="17" y="54"/>
                  </a:lnTo>
                  <a:lnTo>
                    <a:pt x="0" y="5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72" name="Freeform 199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3655281" y="6294008"/>
              <a:ext cx="34084" cy="25400"/>
            </a:xfrm>
            <a:custGeom>
              <a:avLst/>
              <a:gdLst>
                <a:gd name="T0" fmla="*/ 0 w 19"/>
                <a:gd name="T1" fmla="*/ 0 h 33"/>
                <a:gd name="T2" fmla="*/ 2147483647 w 19"/>
                <a:gd name="T3" fmla="*/ 2147483647 h 33"/>
                <a:gd name="T4" fmla="*/ 2147483647 w 19"/>
                <a:gd name="T5" fmla="*/ 2147483647 h 33"/>
                <a:gd name="T6" fmla="*/ 0 w 19"/>
                <a:gd name="T7" fmla="*/ 0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3">
                  <a:moveTo>
                    <a:pt x="0" y="0"/>
                  </a:moveTo>
                  <a:lnTo>
                    <a:pt x="19" y="10"/>
                  </a:lnTo>
                  <a:lnTo>
                    <a:pt x="19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73" name="Freeform 200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3655281" y="6294008"/>
              <a:ext cx="34084" cy="25400"/>
            </a:xfrm>
            <a:custGeom>
              <a:avLst/>
              <a:gdLst>
                <a:gd name="T0" fmla="*/ 0 w 19"/>
                <a:gd name="T1" fmla="*/ 0 h 33"/>
                <a:gd name="T2" fmla="*/ 2147483647 w 19"/>
                <a:gd name="T3" fmla="*/ 2147483647 h 33"/>
                <a:gd name="T4" fmla="*/ 2147483647 w 19"/>
                <a:gd name="T5" fmla="*/ 2147483647 h 33"/>
                <a:gd name="T6" fmla="*/ 0 w 19"/>
                <a:gd name="T7" fmla="*/ 0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3">
                  <a:moveTo>
                    <a:pt x="0" y="0"/>
                  </a:moveTo>
                  <a:lnTo>
                    <a:pt x="19" y="10"/>
                  </a:lnTo>
                  <a:lnTo>
                    <a:pt x="19" y="33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74" name="Freeform 201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3655281" y="6294008"/>
              <a:ext cx="34084" cy="25400"/>
            </a:xfrm>
            <a:custGeom>
              <a:avLst/>
              <a:gdLst>
                <a:gd name="T0" fmla="*/ 0 w 19"/>
                <a:gd name="T1" fmla="*/ 0 h 33"/>
                <a:gd name="T2" fmla="*/ 2147483647 w 19"/>
                <a:gd name="T3" fmla="*/ 2147483647 h 33"/>
                <a:gd name="T4" fmla="*/ 2147483647 w 19"/>
                <a:gd name="T5" fmla="*/ 2147483647 h 33"/>
                <a:gd name="T6" fmla="*/ 0 w 19"/>
                <a:gd name="T7" fmla="*/ 0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3">
                  <a:moveTo>
                    <a:pt x="0" y="0"/>
                  </a:moveTo>
                  <a:lnTo>
                    <a:pt x="19" y="10"/>
                  </a:lnTo>
                  <a:lnTo>
                    <a:pt x="19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75" name="Freeform 202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3655281" y="6294008"/>
              <a:ext cx="34084" cy="25400"/>
            </a:xfrm>
            <a:custGeom>
              <a:avLst/>
              <a:gdLst>
                <a:gd name="T0" fmla="*/ 0 w 19"/>
                <a:gd name="T1" fmla="*/ 0 h 33"/>
                <a:gd name="T2" fmla="*/ 2147483647 w 19"/>
                <a:gd name="T3" fmla="*/ 2147483647 h 33"/>
                <a:gd name="T4" fmla="*/ 2147483647 w 19"/>
                <a:gd name="T5" fmla="*/ 2147483647 h 33"/>
                <a:gd name="T6" fmla="*/ 0 w 19"/>
                <a:gd name="T7" fmla="*/ 0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3">
                  <a:moveTo>
                    <a:pt x="0" y="0"/>
                  </a:moveTo>
                  <a:lnTo>
                    <a:pt x="19" y="10"/>
                  </a:lnTo>
                  <a:lnTo>
                    <a:pt x="19" y="33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76" name="Freeform 203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3663308" y="6238481"/>
              <a:ext cx="60147" cy="55563"/>
            </a:xfrm>
            <a:custGeom>
              <a:avLst/>
              <a:gdLst>
                <a:gd name="T0" fmla="*/ 0 w 32"/>
                <a:gd name="T1" fmla="*/ 2147483647 h 69"/>
                <a:gd name="T2" fmla="*/ 2147483647 w 32"/>
                <a:gd name="T3" fmla="*/ 0 h 69"/>
                <a:gd name="T4" fmla="*/ 2147483647 w 32"/>
                <a:gd name="T5" fmla="*/ 2147483647 h 69"/>
                <a:gd name="T6" fmla="*/ 2147483647 w 32"/>
                <a:gd name="T7" fmla="*/ 2147483647 h 69"/>
                <a:gd name="T8" fmla="*/ 2147483647 w 32"/>
                <a:gd name="T9" fmla="*/ 2147483647 h 69"/>
                <a:gd name="T10" fmla="*/ 0 w 32"/>
                <a:gd name="T11" fmla="*/ 2147483647 h 6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69">
                  <a:moveTo>
                    <a:pt x="0" y="13"/>
                  </a:moveTo>
                  <a:lnTo>
                    <a:pt x="8" y="0"/>
                  </a:lnTo>
                  <a:lnTo>
                    <a:pt x="8" y="34"/>
                  </a:lnTo>
                  <a:lnTo>
                    <a:pt x="32" y="46"/>
                  </a:lnTo>
                  <a:lnTo>
                    <a:pt x="13" y="69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77" name="Freeform 204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3663308" y="6238481"/>
              <a:ext cx="60147" cy="55563"/>
            </a:xfrm>
            <a:custGeom>
              <a:avLst/>
              <a:gdLst>
                <a:gd name="T0" fmla="*/ 0 w 32"/>
                <a:gd name="T1" fmla="*/ 2147483647 h 69"/>
                <a:gd name="T2" fmla="*/ 2147483647 w 32"/>
                <a:gd name="T3" fmla="*/ 0 h 69"/>
                <a:gd name="T4" fmla="*/ 2147483647 w 32"/>
                <a:gd name="T5" fmla="*/ 2147483647 h 69"/>
                <a:gd name="T6" fmla="*/ 2147483647 w 32"/>
                <a:gd name="T7" fmla="*/ 2147483647 h 69"/>
                <a:gd name="T8" fmla="*/ 2147483647 w 32"/>
                <a:gd name="T9" fmla="*/ 2147483647 h 69"/>
                <a:gd name="T10" fmla="*/ 0 w 32"/>
                <a:gd name="T11" fmla="*/ 2147483647 h 6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69">
                  <a:moveTo>
                    <a:pt x="0" y="13"/>
                  </a:moveTo>
                  <a:lnTo>
                    <a:pt x="8" y="0"/>
                  </a:lnTo>
                  <a:lnTo>
                    <a:pt x="8" y="34"/>
                  </a:lnTo>
                  <a:lnTo>
                    <a:pt x="32" y="46"/>
                  </a:lnTo>
                  <a:lnTo>
                    <a:pt x="13" y="69"/>
                  </a:lnTo>
                  <a:lnTo>
                    <a:pt x="0" y="1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78" name="Freeform 205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3663308" y="6238481"/>
              <a:ext cx="60147" cy="55563"/>
            </a:xfrm>
            <a:custGeom>
              <a:avLst/>
              <a:gdLst>
                <a:gd name="T0" fmla="*/ 0 w 32"/>
                <a:gd name="T1" fmla="*/ 2147483647 h 69"/>
                <a:gd name="T2" fmla="*/ 2147483647 w 32"/>
                <a:gd name="T3" fmla="*/ 0 h 69"/>
                <a:gd name="T4" fmla="*/ 2147483647 w 32"/>
                <a:gd name="T5" fmla="*/ 2147483647 h 69"/>
                <a:gd name="T6" fmla="*/ 2147483647 w 32"/>
                <a:gd name="T7" fmla="*/ 2147483647 h 69"/>
                <a:gd name="T8" fmla="*/ 2147483647 w 32"/>
                <a:gd name="T9" fmla="*/ 2147483647 h 69"/>
                <a:gd name="T10" fmla="*/ 0 w 32"/>
                <a:gd name="T11" fmla="*/ 2147483647 h 6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69">
                  <a:moveTo>
                    <a:pt x="0" y="13"/>
                  </a:moveTo>
                  <a:lnTo>
                    <a:pt x="8" y="0"/>
                  </a:lnTo>
                  <a:lnTo>
                    <a:pt x="8" y="34"/>
                  </a:lnTo>
                  <a:lnTo>
                    <a:pt x="32" y="46"/>
                  </a:lnTo>
                  <a:lnTo>
                    <a:pt x="13" y="69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79" name="Freeform 206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3663308" y="6238481"/>
              <a:ext cx="60147" cy="55563"/>
            </a:xfrm>
            <a:custGeom>
              <a:avLst/>
              <a:gdLst>
                <a:gd name="T0" fmla="*/ 0 w 32"/>
                <a:gd name="T1" fmla="*/ 2147483647 h 69"/>
                <a:gd name="T2" fmla="*/ 2147483647 w 32"/>
                <a:gd name="T3" fmla="*/ 0 h 69"/>
                <a:gd name="T4" fmla="*/ 2147483647 w 32"/>
                <a:gd name="T5" fmla="*/ 2147483647 h 69"/>
                <a:gd name="T6" fmla="*/ 2147483647 w 32"/>
                <a:gd name="T7" fmla="*/ 2147483647 h 69"/>
                <a:gd name="T8" fmla="*/ 2147483647 w 32"/>
                <a:gd name="T9" fmla="*/ 2147483647 h 69"/>
                <a:gd name="T10" fmla="*/ 0 w 32"/>
                <a:gd name="T11" fmla="*/ 2147483647 h 6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2" h="69">
                  <a:moveTo>
                    <a:pt x="0" y="13"/>
                  </a:moveTo>
                  <a:lnTo>
                    <a:pt x="8" y="0"/>
                  </a:lnTo>
                  <a:lnTo>
                    <a:pt x="8" y="34"/>
                  </a:lnTo>
                  <a:lnTo>
                    <a:pt x="32" y="46"/>
                  </a:lnTo>
                  <a:lnTo>
                    <a:pt x="13" y="69"/>
                  </a:lnTo>
                  <a:lnTo>
                    <a:pt x="0" y="1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80" name="Freeform 207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3711422" y="6309919"/>
              <a:ext cx="36088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6" y="0"/>
                  </a:lnTo>
                  <a:lnTo>
                    <a:pt x="19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81" name="Freeform 208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3711422" y="6309919"/>
              <a:ext cx="36088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6" y="0"/>
                  </a:lnTo>
                  <a:lnTo>
                    <a:pt x="19" y="35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82" name="Freeform 209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3711422" y="6309919"/>
              <a:ext cx="36088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6" y="0"/>
                  </a:lnTo>
                  <a:lnTo>
                    <a:pt x="19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83" name="Freeform 210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3711422" y="6309919"/>
              <a:ext cx="36088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6" y="0"/>
                  </a:lnTo>
                  <a:lnTo>
                    <a:pt x="19" y="35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84" name="Freeform 211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3723442" y="6267020"/>
              <a:ext cx="80196" cy="77788"/>
            </a:xfrm>
            <a:custGeom>
              <a:avLst/>
              <a:gdLst>
                <a:gd name="T0" fmla="*/ 0 w 44"/>
                <a:gd name="T1" fmla="*/ 2147483647 h 98"/>
                <a:gd name="T2" fmla="*/ 2147483647 w 44"/>
                <a:gd name="T3" fmla="*/ 2147483647 h 98"/>
                <a:gd name="T4" fmla="*/ 2147483647 w 44"/>
                <a:gd name="T5" fmla="*/ 2147483647 h 98"/>
                <a:gd name="T6" fmla="*/ 2147483647 w 44"/>
                <a:gd name="T7" fmla="*/ 2147483647 h 98"/>
                <a:gd name="T8" fmla="*/ 2147483647 w 44"/>
                <a:gd name="T9" fmla="*/ 2147483647 h 98"/>
                <a:gd name="T10" fmla="*/ 2147483647 w 44"/>
                <a:gd name="T11" fmla="*/ 2147483647 h 98"/>
                <a:gd name="T12" fmla="*/ 2147483647 w 44"/>
                <a:gd name="T13" fmla="*/ 2147483647 h 98"/>
                <a:gd name="T14" fmla="*/ 2147483647 w 44"/>
                <a:gd name="T15" fmla="*/ 0 h 98"/>
                <a:gd name="T16" fmla="*/ 2147483647 w 44"/>
                <a:gd name="T17" fmla="*/ 2147483647 h 98"/>
                <a:gd name="T18" fmla="*/ 0 w 44"/>
                <a:gd name="T19" fmla="*/ 2147483647 h 9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4" h="98">
                  <a:moveTo>
                    <a:pt x="0" y="77"/>
                  </a:moveTo>
                  <a:lnTo>
                    <a:pt x="7" y="68"/>
                  </a:lnTo>
                  <a:lnTo>
                    <a:pt x="31" y="77"/>
                  </a:lnTo>
                  <a:lnTo>
                    <a:pt x="26" y="45"/>
                  </a:lnTo>
                  <a:lnTo>
                    <a:pt x="31" y="33"/>
                  </a:lnTo>
                  <a:lnTo>
                    <a:pt x="12" y="33"/>
                  </a:lnTo>
                  <a:lnTo>
                    <a:pt x="12" y="10"/>
                  </a:lnTo>
                  <a:lnTo>
                    <a:pt x="44" y="0"/>
                  </a:lnTo>
                  <a:lnTo>
                    <a:pt x="44" y="98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85" name="Freeform 212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3723442" y="6267020"/>
              <a:ext cx="80196" cy="77788"/>
            </a:xfrm>
            <a:custGeom>
              <a:avLst/>
              <a:gdLst>
                <a:gd name="T0" fmla="*/ 0 w 44"/>
                <a:gd name="T1" fmla="*/ 2147483647 h 98"/>
                <a:gd name="T2" fmla="*/ 2147483647 w 44"/>
                <a:gd name="T3" fmla="*/ 2147483647 h 98"/>
                <a:gd name="T4" fmla="*/ 2147483647 w 44"/>
                <a:gd name="T5" fmla="*/ 2147483647 h 98"/>
                <a:gd name="T6" fmla="*/ 2147483647 w 44"/>
                <a:gd name="T7" fmla="*/ 2147483647 h 98"/>
                <a:gd name="T8" fmla="*/ 2147483647 w 44"/>
                <a:gd name="T9" fmla="*/ 2147483647 h 98"/>
                <a:gd name="T10" fmla="*/ 2147483647 w 44"/>
                <a:gd name="T11" fmla="*/ 2147483647 h 98"/>
                <a:gd name="T12" fmla="*/ 2147483647 w 44"/>
                <a:gd name="T13" fmla="*/ 2147483647 h 98"/>
                <a:gd name="T14" fmla="*/ 2147483647 w 44"/>
                <a:gd name="T15" fmla="*/ 0 h 98"/>
                <a:gd name="T16" fmla="*/ 2147483647 w 44"/>
                <a:gd name="T17" fmla="*/ 2147483647 h 98"/>
                <a:gd name="T18" fmla="*/ 0 w 44"/>
                <a:gd name="T19" fmla="*/ 2147483647 h 9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4" h="98">
                  <a:moveTo>
                    <a:pt x="0" y="77"/>
                  </a:moveTo>
                  <a:lnTo>
                    <a:pt x="7" y="68"/>
                  </a:lnTo>
                  <a:lnTo>
                    <a:pt x="31" y="77"/>
                  </a:lnTo>
                  <a:lnTo>
                    <a:pt x="26" y="45"/>
                  </a:lnTo>
                  <a:lnTo>
                    <a:pt x="31" y="33"/>
                  </a:lnTo>
                  <a:lnTo>
                    <a:pt x="12" y="33"/>
                  </a:lnTo>
                  <a:lnTo>
                    <a:pt x="12" y="10"/>
                  </a:lnTo>
                  <a:lnTo>
                    <a:pt x="44" y="0"/>
                  </a:lnTo>
                  <a:lnTo>
                    <a:pt x="44" y="98"/>
                  </a:lnTo>
                  <a:lnTo>
                    <a:pt x="0" y="7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86" name="Freeform 213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3723442" y="6267020"/>
              <a:ext cx="80196" cy="77788"/>
            </a:xfrm>
            <a:custGeom>
              <a:avLst/>
              <a:gdLst>
                <a:gd name="T0" fmla="*/ 0 w 44"/>
                <a:gd name="T1" fmla="*/ 2147483647 h 98"/>
                <a:gd name="T2" fmla="*/ 2147483647 w 44"/>
                <a:gd name="T3" fmla="*/ 2147483647 h 98"/>
                <a:gd name="T4" fmla="*/ 2147483647 w 44"/>
                <a:gd name="T5" fmla="*/ 2147483647 h 98"/>
                <a:gd name="T6" fmla="*/ 2147483647 w 44"/>
                <a:gd name="T7" fmla="*/ 2147483647 h 98"/>
                <a:gd name="T8" fmla="*/ 2147483647 w 44"/>
                <a:gd name="T9" fmla="*/ 2147483647 h 98"/>
                <a:gd name="T10" fmla="*/ 2147483647 w 44"/>
                <a:gd name="T11" fmla="*/ 2147483647 h 98"/>
                <a:gd name="T12" fmla="*/ 2147483647 w 44"/>
                <a:gd name="T13" fmla="*/ 2147483647 h 98"/>
                <a:gd name="T14" fmla="*/ 2147483647 w 44"/>
                <a:gd name="T15" fmla="*/ 0 h 98"/>
                <a:gd name="T16" fmla="*/ 2147483647 w 44"/>
                <a:gd name="T17" fmla="*/ 2147483647 h 98"/>
                <a:gd name="T18" fmla="*/ 0 w 44"/>
                <a:gd name="T19" fmla="*/ 2147483647 h 9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4" h="98">
                  <a:moveTo>
                    <a:pt x="0" y="77"/>
                  </a:moveTo>
                  <a:lnTo>
                    <a:pt x="7" y="68"/>
                  </a:lnTo>
                  <a:lnTo>
                    <a:pt x="31" y="77"/>
                  </a:lnTo>
                  <a:lnTo>
                    <a:pt x="26" y="45"/>
                  </a:lnTo>
                  <a:lnTo>
                    <a:pt x="31" y="33"/>
                  </a:lnTo>
                  <a:lnTo>
                    <a:pt x="12" y="33"/>
                  </a:lnTo>
                  <a:lnTo>
                    <a:pt x="12" y="10"/>
                  </a:lnTo>
                  <a:lnTo>
                    <a:pt x="44" y="0"/>
                  </a:lnTo>
                  <a:lnTo>
                    <a:pt x="44" y="98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87" name="Freeform 214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3723442" y="6267020"/>
              <a:ext cx="80196" cy="77788"/>
            </a:xfrm>
            <a:custGeom>
              <a:avLst/>
              <a:gdLst>
                <a:gd name="T0" fmla="*/ 0 w 44"/>
                <a:gd name="T1" fmla="*/ 2147483647 h 98"/>
                <a:gd name="T2" fmla="*/ 2147483647 w 44"/>
                <a:gd name="T3" fmla="*/ 2147483647 h 98"/>
                <a:gd name="T4" fmla="*/ 2147483647 w 44"/>
                <a:gd name="T5" fmla="*/ 2147483647 h 98"/>
                <a:gd name="T6" fmla="*/ 2147483647 w 44"/>
                <a:gd name="T7" fmla="*/ 2147483647 h 98"/>
                <a:gd name="T8" fmla="*/ 2147483647 w 44"/>
                <a:gd name="T9" fmla="*/ 2147483647 h 98"/>
                <a:gd name="T10" fmla="*/ 2147483647 w 44"/>
                <a:gd name="T11" fmla="*/ 2147483647 h 98"/>
                <a:gd name="T12" fmla="*/ 2147483647 w 44"/>
                <a:gd name="T13" fmla="*/ 2147483647 h 98"/>
                <a:gd name="T14" fmla="*/ 2147483647 w 44"/>
                <a:gd name="T15" fmla="*/ 0 h 98"/>
                <a:gd name="T16" fmla="*/ 2147483647 w 44"/>
                <a:gd name="T17" fmla="*/ 2147483647 h 98"/>
                <a:gd name="T18" fmla="*/ 0 w 44"/>
                <a:gd name="T19" fmla="*/ 2147483647 h 9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4" h="98">
                  <a:moveTo>
                    <a:pt x="0" y="77"/>
                  </a:moveTo>
                  <a:lnTo>
                    <a:pt x="7" y="68"/>
                  </a:lnTo>
                  <a:lnTo>
                    <a:pt x="31" y="77"/>
                  </a:lnTo>
                  <a:lnTo>
                    <a:pt x="26" y="45"/>
                  </a:lnTo>
                  <a:lnTo>
                    <a:pt x="31" y="33"/>
                  </a:lnTo>
                  <a:lnTo>
                    <a:pt x="12" y="33"/>
                  </a:lnTo>
                  <a:lnTo>
                    <a:pt x="12" y="10"/>
                  </a:lnTo>
                  <a:lnTo>
                    <a:pt x="44" y="0"/>
                  </a:lnTo>
                  <a:lnTo>
                    <a:pt x="44" y="98"/>
                  </a:lnTo>
                  <a:lnTo>
                    <a:pt x="0" y="7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88" name="Freeform 215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3771559" y="6354369"/>
              <a:ext cx="56137" cy="26987"/>
            </a:xfrm>
            <a:custGeom>
              <a:avLst/>
              <a:gdLst>
                <a:gd name="T0" fmla="*/ 0 w 31"/>
                <a:gd name="T1" fmla="*/ 0 h 32"/>
                <a:gd name="T2" fmla="*/ 2147483647 w 31"/>
                <a:gd name="T3" fmla="*/ 2147483647 h 32"/>
                <a:gd name="T4" fmla="*/ 2147483647 w 31"/>
                <a:gd name="T5" fmla="*/ 2147483647 h 32"/>
                <a:gd name="T6" fmla="*/ 0 w 31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2">
                  <a:moveTo>
                    <a:pt x="0" y="0"/>
                  </a:moveTo>
                  <a:lnTo>
                    <a:pt x="25" y="11"/>
                  </a:lnTo>
                  <a:lnTo>
                    <a:pt x="31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89" name="Freeform 216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3771559" y="6354369"/>
              <a:ext cx="56137" cy="26987"/>
            </a:xfrm>
            <a:custGeom>
              <a:avLst/>
              <a:gdLst>
                <a:gd name="T0" fmla="*/ 0 w 31"/>
                <a:gd name="T1" fmla="*/ 0 h 32"/>
                <a:gd name="T2" fmla="*/ 2147483647 w 31"/>
                <a:gd name="T3" fmla="*/ 2147483647 h 32"/>
                <a:gd name="T4" fmla="*/ 2147483647 w 31"/>
                <a:gd name="T5" fmla="*/ 2147483647 h 32"/>
                <a:gd name="T6" fmla="*/ 0 w 31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2">
                  <a:moveTo>
                    <a:pt x="0" y="0"/>
                  </a:moveTo>
                  <a:lnTo>
                    <a:pt x="25" y="11"/>
                  </a:lnTo>
                  <a:lnTo>
                    <a:pt x="31" y="32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90" name="Freeform 217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3771559" y="6354369"/>
              <a:ext cx="56137" cy="26987"/>
            </a:xfrm>
            <a:custGeom>
              <a:avLst/>
              <a:gdLst>
                <a:gd name="T0" fmla="*/ 0 w 31"/>
                <a:gd name="T1" fmla="*/ 0 h 32"/>
                <a:gd name="T2" fmla="*/ 2147483647 w 31"/>
                <a:gd name="T3" fmla="*/ 2147483647 h 32"/>
                <a:gd name="T4" fmla="*/ 2147483647 w 31"/>
                <a:gd name="T5" fmla="*/ 2147483647 h 32"/>
                <a:gd name="T6" fmla="*/ 0 w 31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2">
                  <a:moveTo>
                    <a:pt x="0" y="0"/>
                  </a:moveTo>
                  <a:lnTo>
                    <a:pt x="25" y="11"/>
                  </a:lnTo>
                  <a:lnTo>
                    <a:pt x="31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91" name="Freeform 218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3771559" y="6354369"/>
              <a:ext cx="56137" cy="26987"/>
            </a:xfrm>
            <a:custGeom>
              <a:avLst/>
              <a:gdLst>
                <a:gd name="T0" fmla="*/ 0 w 31"/>
                <a:gd name="T1" fmla="*/ 0 h 32"/>
                <a:gd name="T2" fmla="*/ 2147483647 w 31"/>
                <a:gd name="T3" fmla="*/ 2147483647 h 32"/>
                <a:gd name="T4" fmla="*/ 2147483647 w 31"/>
                <a:gd name="T5" fmla="*/ 2147483647 h 32"/>
                <a:gd name="T6" fmla="*/ 0 w 31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2">
                  <a:moveTo>
                    <a:pt x="0" y="0"/>
                  </a:moveTo>
                  <a:lnTo>
                    <a:pt x="25" y="11"/>
                  </a:lnTo>
                  <a:lnTo>
                    <a:pt x="31" y="32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92" name="Freeform 219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3827718" y="6346395"/>
              <a:ext cx="28069" cy="25400"/>
            </a:xfrm>
            <a:custGeom>
              <a:avLst/>
              <a:gdLst>
                <a:gd name="T0" fmla="*/ 0 w 15"/>
                <a:gd name="T1" fmla="*/ 2147483647 h 33"/>
                <a:gd name="T2" fmla="*/ 0 w 15"/>
                <a:gd name="T3" fmla="*/ 0 h 33"/>
                <a:gd name="T4" fmla="*/ 2147483647 w 15"/>
                <a:gd name="T5" fmla="*/ 2147483647 h 33"/>
                <a:gd name="T6" fmla="*/ 0 w 15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3">
                  <a:moveTo>
                    <a:pt x="0" y="33"/>
                  </a:moveTo>
                  <a:lnTo>
                    <a:pt x="0" y="0"/>
                  </a:lnTo>
                  <a:lnTo>
                    <a:pt x="15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93" name="Freeform 220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3827718" y="6346395"/>
              <a:ext cx="28069" cy="25400"/>
            </a:xfrm>
            <a:custGeom>
              <a:avLst/>
              <a:gdLst>
                <a:gd name="T0" fmla="*/ 0 w 15"/>
                <a:gd name="T1" fmla="*/ 2147483647 h 33"/>
                <a:gd name="T2" fmla="*/ 0 w 15"/>
                <a:gd name="T3" fmla="*/ 0 h 33"/>
                <a:gd name="T4" fmla="*/ 2147483647 w 15"/>
                <a:gd name="T5" fmla="*/ 2147483647 h 33"/>
                <a:gd name="T6" fmla="*/ 0 w 15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3">
                  <a:moveTo>
                    <a:pt x="0" y="33"/>
                  </a:moveTo>
                  <a:lnTo>
                    <a:pt x="0" y="0"/>
                  </a:lnTo>
                  <a:lnTo>
                    <a:pt x="15" y="33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94" name="Freeform 221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3827718" y="6346395"/>
              <a:ext cx="28069" cy="25400"/>
            </a:xfrm>
            <a:custGeom>
              <a:avLst/>
              <a:gdLst>
                <a:gd name="T0" fmla="*/ 0 w 15"/>
                <a:gd name="T1" fmla="*/ 2147483647 h 33"/>
                <a:gd name="T2" fmla="*/ 0 w 15"/>
                <a:gd name="T3" fmla="*/ 0 h 33"/>
                <a:gd name="T4" fmla="*/ 2147483647 w 15"/>
                <a:gd name="T5" fmla="*/ 2147483647 h 33"/>
                <a:gd name="T6" fmla="*/ 0 w 15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3">
                  <a:moveTo>
                    <a:pt x="0" y="33"/>
                  </a:moveTo>
                  <a:lnTo>
                    <a:pt x="0" y="0"/>
                  </a:lnTo>
                  <a:lnTo>
                    <a:pt x="15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95" name="Freeform 222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3827718" y="6346395"/>
              <a:ext cx="28069" cy="25400"/>
            </a:xfrm>
            <a:custGeom>
              <a:avLst/>
              <a:gdLst>
                <a:gd name="T0" fmla="*/ 0 w 15"/>
                <a:gd name="T1" fmla="*/ 2147483647 h 33"/>
                <a:gd name="T2" fmla="*/ 0 w 15"/>
                <a:gd name="T3" fmla="*/ 0 h 33"/>
                <a:gd name="T4" fmla="*/ 2147483647 w 15"/>
                <a:gd name="T5" fmla="*/ 2147483647 h 33"/>
                <a:gd name="T6" fmla="*/ 0 w 15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5" h="33">
                  <a:moveTo>
                    <a:pt x="0" y="33"/>
                  </a:moveTo>
                  <a:lnTo>
                    <a:pt x="0" y="0"/>
                  </a:lnTo>
                  <a:lnTo>
                    <a:pt x="15" y="33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396" name="Freeform 223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134236" y="3296816"/>
              <a:ext cx="1762304" cy="981075"/>
            </a:xfrm>
            <a:custGeom>
              <a:avLst/>
              <a:gdLst>
                <a:gd name="T0" fmla="*/ 2147483647 w 952"/>
                <a:gd name="T1" fmla="*/ 2147483647 h 1237"/>
                <a:gd name="T2" fmla="*/ 2147483647 w 952"/>
                <a:gd name="T3" fmla="*/ 2147483647 h 1237"/>
                <a:gd name="T4" fmla="*/ 2147483647 w 952"/>
                <a:gd name="T5" fmla="*/ 2147483647 h 1237"/>
                <a:gd name="T6" fmla="*/ 2147483647 w 952"/>
                <a:gd name="T7" fmla="*/ 2147483647 h 1237"/>
                <a:gd name="T8" fmla="*/ 2147483647 w 952"/>
                <a:gd name="T9" fmla="*/ 2147483647 h 1237"/>
                <a:gd name="T10" fmla="*/ 2147483647 w 952"/>
                <a:gd name="T11" fmla="*/ 2147483647 h 1237"/>
                <a:gd name="T12" fmla="*/ 2147483647 w 952"/>
                <a:gd name="T13" fmla="*/ 2147483647 h 1237"/>
                <a:gd name="T14" fmla="*/ 2147483647 w 952"/>
                <a:gd name="T15" fmla="*/ 2147483647 h 1237"/>
                <a:gd name="T16" fmla="*/ 2147483647 w 952"/>
                <a:gd name="T17" fmla="*/ 2147483647 h 1237"/>
                <a:gd name="T18" fmla="*/ 2147483647 w 952"/>
                <a:gd name="T19" fmla="*/ 2147483647 h 1237"/>
                <a:gd name="T20" fmla="*/ 2147483647 w 952"/>
                <a:gd name="T21" fmla="*/ 2147483647 h 1237"/>
                <a:gd name="T22" fmla="*/ 2147483647 w 952"/>
                <a:gd name="T23" fmla="*/ 2147483647 h 1237"/>
                <a:gd name="T24" fmla="*/ 2147483647 w 952"/>
                <a:gd name="T25" fmla="*/ 2147483647 h 1237"/>
                <a:gd name="T26" fmla="*/ 2147483647 w 952"/>
                <a:gd name="T27" fmla="*/ 2147483647 h 1237"/>
                <a:gd name="T28" fmla="*/ 2147483647 w 952"/>
                <a:gd name="T29" fmla="*/ 2147483647 h 1237"/>
                <a:gd name="T30" fmla="*/ 2147483647 w 952"/>
                <a:gd name="T31" fmla="*/ 2147483647 h 1237"/>
                <a:gd name="T32" fmla="*/ 2147483647 w 952"/>
                <a:gd name="T33" fmla="*/ 2147483647 h 1237"/>
                <a:gd name="T34" fmla="*/ 2147483647 w 952"/>
                <a:gd name="T35" fmla="*/ 2147483647 h 1237"/>
                <a:gd name="T36" fmla="*/ 2147483647 w 952"/>
                <a:gd name="T37" fmla="*/ 2147483647 h 1237"/>
                <a:gd name="T38" fmla="*/ 2147483647 w 952"/>
                <a:gd name="T39" fmla="*/ 2147483647 h 1237"/>
                <a:gd name="T40" fmla="*/ 2147483647 w 952"/>
                <a:gd name="T41" fmla="*/ 2147483647 h 1237"/>
                <a:gd name="T42" fmla="*/ 2147483647 w 952"/>
                <a:gd name="T43" fmla="*/ 2147483647 h 1237"/>
                <a:gd name="T44" fmla="*/ 2147483647 w 952"/>
                <a:gd name="T45" fmla="*/ 2147483647 h 1237"/>
                <a:gd name="T46" fmla="*/ 2147483647 w 952"/>
                <a:gd name="T47" fmla="*/ 2147483647 h 1237"/>
                <a:gd name="T48" fmla="*/ 2147483647 w 952"/>
                <a:gd name="T49" fmla="*/ 2147483647 h 1237"/>
                <a:gd name="T50" fmla="*/ 2147483647 w 952"/>
                <a:gd name="T51" fmla="*/ 2147483647 h 1237"/>
                <a:gd name="T52" fmla="*/ 2147483647 w 952"/>
                <a:gd name="T53" fmla="*/ 2147483647 h 1237"/>
                <a:gd name="T54" fmla="*/ 2147483647 w 952"/>
                <a:gd name="T55" fmla="*/ 2147483647 h 1237"/>
                <a:gd name="T56" fmla="*/ 2147483647 w 952"/>
                <a:gd name="T57" fmla="*/ 2147483647 h 1237"/>
                <a:gd name="T58" fmla="*/ 2147483647 w 952"/>
                <a:gd name="T59" fmla="*/ 2147483647 h 1237"/>
                <a:gd name="T60" fmla="*/ 2147483647 w 952"/>
                <a:gd name="T61" fmla="*/ 2147483647 h 1237"/>
                <a:gd name="T62" fmla="*/ 2147483647 w 952"/>
                <a:gd name="T63" fmla="*/ 2147483647 h 1237"/>
                <a:gd name="T64" fmla="*/ 2147483647 w 952"/>
                <a:gd name="T65" fmla="*/ 2147483647 h 1237"/>
                <a:gd name="T66" fmla="*/ 2147483647 w 952"/>
                <a:gd name="T67" fmla="*/ 2147483647 h 1237"/>
                <a:gd name="T68" fmla="*/ 2147483647 w 952"/>
                <a:gd name="T69" fmla="*/ 2147483647 h 1237"/>
                <a:gd name="T70" fmla="*/ 2147483647 w 952"/>
                <a:gd name="T71" fmla="*/ 2147483647 h 1237"/>
                <a:gd name="T72" fmla="*/ 2147483647 w 952"/>
                <a:gd name="T73" fmla="*/ 2147483647 h 1237"/>
                <a:gd name="T74" fmla="*/ 2147483647 w 952"/>
                <a:gd name="T75" fmla="*/ 2147483647 h 1237"/>
                <a:gd name="T76" fmla="*/ 2147483647 w 952"/>
                <a:gd name="T77" fmla="*/ 2147483647 h 1237"/>
                <a:gd name="T78" fmla="*/ 2147483647 w 952"/>
                <a:gd name="T79" fmla="*/ 2147483647 h 1237"/>
                <a:gd name="T80" fmla="*/ 2147483647 w 952"/>
                <a:gd name="T81" fmla="*/ 2147483647 h 1237"/>
                <a:gd name="T82" fmla="*/ 2147483647 w 952"/>
                <a:gd name="T83" fmla="*/ 2147483647 h 1237"/>
                <a:gd name="T84" fmla="*/ 2147483647 w 952"/>
                <a:gd name="T85" fmla="*/ 2147483647 h 1237"/>
                <a:gd name="T86" fmla="*/ 2147483647 w 952"/>
                <a:gd name="T87" fmla="*/ 2147483647 h 1237"/>
                <a:gd name="T88" fmla="*/ 2147483647 w 952"/>
                <a:gd name="T89" fmla="*/ 2147483647 h 1237"/>
                <a:gd name="T90" fmla="*/ 2147483647 w 952"/>
                <a:gd name="T91" fmla="*/ 2147483647 h 1237"/>
                <a:gd name="T92" fmla="*/ 2147483647 w 952"/>
                <a:gd name="T93" fmla="*/ 2147483647 h 1237"/>
                <a:gd name="T94" fmla="*/ 2147483647 w 952"/>
                <a:gd name="T95" fmla="*/ 2147483647 h 1237"/>
                <a:gd name="T96" fmla="*/ 2147483647 w 952"/>
                <a:gd name="T97" fmla="*/ 2147483647 h 1237"/>
                <a:gd name="T98" fmla="*/ 2147483647 w 952"/>
                <a:gd name="T99" fmla="*/ 2147483647 h 1237"/>
                <a:gd name="T100" fmla="*/ 2147483647 w 952"/>
                <a:gd name="T101" fmla="*/ 2147483647 h 123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952" h="1237">
                  <a:moveTo>
                    <a:pt x="0" y="592"/>
                  </a:moveTo>
                  <a:lnTo>
                    <a:pt x="7" y="547"/>
                  </a:lnTo>
                  <a:lnTo>
                    <a:pt x="44" y="534"/>
                  </a:lnTo>
                  <a:lnTo>
                    <a:pt x="100" y="469"/>
                  </a:lnTo>
                  <a:lnTo>
                    <a:pt x="107" y="425"/>
                  </a:lnTo>
                  <a:lnTo>
                    <a:pt x="100" y="355"/>
                  </a:lnTo>
                  <a:lnTo>
                    <a:pt x="138" y="346"/>
                  </a:lnTo>
                  <a:lnTo>
                    <a:pt x="144" y="267"/>
                  </a:lnTo>
                  <a:lnTo>
                    <a:pt x="188" y="267"/>
                  </a:lnTo>
                  <a:lnTo>
                    <a:pt x="188" y="223"/>
                  </a:lnTo>
                  <a:lnTo>
                    <a:pt x="219" y="188"/>
                  </a:lnTo>
                  <a:lnTo>
                    <a:pt x="238" y="232"/>
                  </a:lnTo>
                  <a:lnTo>
                    <a:pt x="257" y="256"/>
                  </a:lnTo>
                  <a:lnTo>
                    <a:pt x="269" y="346"/>
                  </a:lnTo>
                  <a:lnTo>
                    <a:pt x="338" y="378"/>
                  </a:lnTo>
                  <a:lnTo>
                    <a:pt x="364" y="446"/>
                  </a:lnTo>
                  <a:lnTo>
                    <a:pt x="419" y="434"/>
                  </a:lnTo>
                  <a:lnTo>
                    <a:pt x="488" y="490"/>
                  </a:lnTo>
                  <a:lnTo>
                    <a:pt x="569" y="446"/>
                  </a:lnTo>
                  <a:lnTo>
                    <a:pt x="594" y="401"/>
                  </a:lnTo>
                  <a:lnTo>
                    <a:pt x="594" y="355"/>
                  </a:lnTo>
                  <a:lnTo>
                    <a:pt x="619" y="355"/>
                  </a:lnTo>
                  <a:lnTo>
                    <a:pt x="670" y="290"/>
                  </a:lnTo>
                  <a:lnTo>
                    <a:pt x="714" y="290"/>
                  </a:lnTo>
                  <a:lnTo>
                    <a:pt x="696" y="232"/>
                  </a:lnTo>
                  <a:lnTo>
                    <a:pt x="658" y="246"/>
                  </a:lnTo>
                  <a:lnTo>
                    <a:pt x="651" y="188"/>
                  </a:lnTo>
                  <a:lnTo>
                    <a:pt x="664" y="158"/>
                  </a:lnTo>
                  <a:lnTo>
                    <a:pt x="688" y="167"/>
                  </a:lnTo>
                  <a:lnTo>
                    <a:pt x="714" y="144"/>
                  </a:lnTo>
                  <a:lnTo>
                    <a:pt x="733" y="67"/>
                  </a:lnTo>
                  <a:lnTo>
                    <a:pt x="720" y="44"/>
                  </a:lnTo>
                  <a:lnTo>
                    <a:pt x="783" y="0"/>
                  </a:lnTo>
                  <a:lnTo>
                    <a:pt x="807" y="35"/>
                  </a:lnTo>
                  <a:lnTo>
                    <a:pt x="839" y="167"/>
                  </a:lnTo>
                  <a:lnTo>
                    <a:pt x="889" y="202"/>
                  </a:lnTo>
                  <a:lnTo>
                    <a:pt x="895" y="246"/>
                  </a:lnTo>
                  <a:lnTo>
                    <a:pt x="952" y="211"/>
                  </a:lnTo>
                  <a:lnTo>
                    <a:pt x="927" y="346"/>
                  </a:lnTo>
                  <a:lnTo>
                    <a:pt x="895" y="369"/>
                  </a:lnTo>
                  <a:lnTo>
                    <a:pt x="895" y="425"/>
                  </a:lnTo>
                  <a:lnTo>
                    <a:pt x="889" y="446"/>
                  </a:lnTo>
                  <a:lnTo>
                    <a:pt x="883" y="434"/>
                  </a:lnTo>
                  <a:lnTo>
                    <a:pt x="852" y="478"/>
                  </a:lnTo>
                  <a:lnTo>
                    <a:pt x="852" y="490"/>
                  </a:lnTo>
                  <a:lnTo>
                    <a:pt x="833" y="490"/>
                  </a:lnTo>
                  <a:lnTo>
                    <a:pt x="788" y="547"/>
                  </a:lnTo>
                  <a:lnTo>
                    <a:pt x="746" y="601"/>
                  </a:lnTo>
                  <a:lnTo>
                    <a:pt x="757" y="534"/>
                  </a:lnTo>
                  <a:lnTo>
                    <a:pt x="752" y="513"/>
                  </a:lnTo>
                  <a:lnTo>
                    <a:pt x="688" y="578"/>
                  </a:lnTo>
                  <a:lnTo>
                    <a:pt x="682" y="601"/>
                  </a:lnTo>
                  <a:lnTo>
                    <a:pt x="707" y="645"/>
                  </a:lnTo>
                  <a:lnTo>
                    <a:pt x="733" y="636"/>
                  </a:lnTo>
                  <a:lnTo>
                    <a:pt x="764" y="645"/>
                  </a:lnTo>
                  <a:lnTo>
                    <a:pt x="727" y="680"/>
                  </a:lnTo>
                  <a:lnTo>
                    <a:pt x="714" y="736"/>
                  </a:lnTo>
                  <a:lnTo>
                    <a:pt x="752" y="847"/>
                  </a:lnTo>
                  <a:lnTo>
                    <a:pt x="727" y="836"/>
                  </a:lnTo>
                  <a:lnTo>
                    <a:pt x="752" y="880"/>
                  </a:lnTo>
                  <a:lnTo>
                    <a:pt x="727" y="903"/>
                  </a:lnTo>
                  <a:lnTo>
                    <a:pt x="752" y="912"/>
                  </a:lnTo>
                  <a:lnTo>
                    <a:pt x="701" y="1091"/>
                  </a:lnTo>
                  <a:lnTo>
                    <a:pt x="664" y="1149"/>
                  </a:lnTo>
                  <a:lnTo>
                    <a:pt x="632" y="1170"/>
                  </a:lnTo>
                  <a:lnTo>
                    <a:pt x="619" y="1158"/>
                  </a:lnTo>
                  <a:lnTo>
                    <a:pt x="613" y="1179"/>
                  </a:lnTo>
                  <a:lnTo>
                    <a:pt x="569" y="1202"/>
                  </a:lnTo>
                  <a:lnTo>
                    <a:pt x="569" y="1237"/>
                  </a:lnTo>
                  <a:lnTo>
                    <a:pt x="558" y="1193"/>
                  </a:lnTo>
                  <a:lnTo>
                    <a:pt x="532" y="1193"/>
                  </a:lnTo>
                  <a:lnTo>
                    <a:pt x="488" y="1149"/>
                  </a:lnTo>
                  <a:lnTo>
                    <a:pt x="444" y="1170"/>
                  </a:lnTo>
                  <a:lnTo>
                    <a:pt x="438" y="1170"/>
                  </a:lnTo>
                  <a:lnTo>
                    <a:pt x="438" y="1202"/>
                  </a:lnTo>
                  <a:lnTo>
                    <a:pt x="433" y="1193"/>
                  </a:lnTo>
                  <a:lnTo>
                    <a:pt x="401" y="1170"/>
                  </a:lnTo>
                  <a:lnTo>
                    <a:pt x="388" y="1114"/>
                  </a:lnTo>
                  <a:lnTo>
                    <a:pt x="376" y="1126"/>
                  </a:lnTo>
                  <a:lnTo>
                    <a:pt x="388" y="1026"/>
                  </a:lnTo>
                  <a:lnTo>
                    <a:pt x="388" y="991"/>
                  </a:lnTo>
                  <a:lnTo>
                    <a:pt x="369" y="970"/>
                  </a:lnTo>
                  <a:lnTo>
                    <a:pt x="357" y="958"/>
                  </a:lnTo>
                  <a:lnTo>
                    <a:pt x="351" y="924"/>
                  </a:lnTo>
                  <a:lnTo>
                    <a:pt x="282" y="981"/>
                  </a:lnTo>
                  <a:lnTo>
                    <a:pt x="250" y="970"/>
                  </a:lnTo>
                  <a:lnTo>
                    <a:pt x="238" y="1003"/>
                  </a:lnTo>
                  <a:lnTo>
                    <a:pt x="238" y="981"/>
                  </a:lnTo>
                  <a:lnTo>
                    <a:pt x="225" y="981"/>
                  </a:lnTo>
                  <a:lnTo>
                    <a:pt x="188" y="981"/>
                  </a:lnTo>
                  <a:lnTo>
                    <a:pt x="163" y="935"/>
                  </a:lnTo>
                  <a:lnTo>
                    <a:pt x="118" y="903"/>
                  </a:lnTo>
                  <a:lnTo>
                    <a:pt x="82" y="880"/>
                  </a:lnTo>
                  <a:lnTo>
                    <a:pt x="75" y="824"/>
                  </a:lnTo>
                  <a:lnTo>
                    <a:pt x="94" y="812"/>
                  </a:lnTo>
                  <a:lnTo>
                    <a:pt x="82" y="768"/>
                  </a:lnTo>
                  <a:lnTo>
                    <a:pt x="107" y="715"/>
                  </a:lnTo>
                  <a:lnTo>
                    <a:pt x="88" y="691"/>
                  </a:lnTo>
                  <a:lnTo>
                    <a:pt x="63" y="715"/>
                  </a:lnTo>
                  <a:lnTo>
                    <a:pt x="12" y="657"/>
                  </a:lnTo>
                  <a:lnTo>
                    <a:pt x="19" y="645"/>
                  </a:lnTo>
                  <a:lnTo>
                    <a:pt x="19" y="601"/>
                  </a:lnTo>
                  <a:lnTo>
                    <a:pt x="0" y="5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397" name="Group 224"/>
            <p:cNvGrpSpPr>
              <a:grpSpLocks/>
            </p:cNvGrpSpPr>
            <p:nvPr>
              <p:custDataLst>
                <p:tags r:id="rId205"/>
              </p:custDataLst>
            </p:nvPr>
          </p:nvGrpSpPr>
          <p:grpSpPr bwMode="auto">
            <a:xfrm>
              <a:off x="8134236" y="3296816"/>
              <a:ext cx="1762304" cy="981075"/>
              <a:chOff x="4089" y="1707"/>
              <a:chExt cx="952" cy="618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17" name="Freeform 225"/>
              <p:cNvSpPr>
                <a:spLocks/>
              </p:cNvSpPr>
              <p:nvPr/>
            </p:nvSpPr>
            <p:spPr bwMode="auto">
              <a:xfrm>
                <a:off x="4089" y="1707"/>
                <a:ext cx="952" cy="618"/>
              </a:xfrm>
              <a:custGeom>
                <a:avLst/>
                <a:gdLst>
                  <a:gd name="T0" fmla="*/ 7 w 952"/>
                  <a:gd name="T1" fmla="*/ 0 h 1237"/>
                  <a:gd name="T2" fmla="*/ 100 w 952"/>
                  <a:gd name="T3" fmla="*/ 0 h 1237"/>
                  <a:gd name="T4" fmla="*/ 100 w 952"/>
                  <a:gd name="T5" fmla="*/ 0 h 1237"/>
                  <a:gd name="T6" fmla="*/ 144 w 952"/>
                  <a:gd name="T7" fmla="*/ 0 h 1237"/>
                  <a:gd name="T8" fmla="*/ 188 w 952"/>
                  <a:gd name="T9" fmla="*/ 0 h 1237"/>
                  <a:gd name="T10" fmla="*/ 238 w 952"/>
                  <a:gd name="T11" fmla="*/ 0 h 1237"/>
                  <a:gd name="T12" fmla="*/ 269 w 952"/>
                  <a:gd name="T13" fmla="*/ 0 h 1237"/>
                  <a:gd name="T14" fmla="*/ 364 w 952"/>
                  <a:gd name="T15" fmla="*/ 0 h 1237"/>
                  <a:gd name="T16" fmla="*/ 488 w 952"/>
                  <a:gd name="T17" fmla="*/ 0 h 1237"/>
                  <a:gd name="T18" fmla="*/ 594 w 952"/>
                  <a:gd name="T19" fmla="*/ 0 h 1237"/>
                  <a:gd name="T20" fmla="*/ 619 w 952"/>
                  <a:gd name="T21" fmla="*/ 0 h 1237"/>
                  <a:gd name="T22" fmla="*/ 714 w 952"/>
                  <a:gd name="T23" fmla="*/ 0 h 1237"/>
                  <a:gd name="T24" fmla="*/ 658 w 952"/>
                  <a:gd name="T25" fmla="*/ 0 h 1237"/>
                  <a:gd name="T26" fmla="*/ 664 w 952"/>
                  <a:gd name="T27" fmla="*/ 0 h 1237"/>
                  <a:gd name="T28" fmla="*/ 714 w 952"/>
                  <a:gd name="T29" fmla="*/ 0 h 1237"/>
                  <a:gd name="T30" fmla="*/ 720 w 952"/>
                  <a:gd name="T31" fmla="*/ 0 h 1237"/>
                  <a:gd name="T32" fmla="*/ 807 w 952"/>
                  <a:gd name="T33" fmla="*/ 0 h 1237"/>
                  <a:gd name="T34" fmla="*/ 889 w 952"/>
                  <a:gd name="T35" fmla="*/ 0 h 1237"/>
                  <a:gd name="T36" fmla="*/ 952 w 952"/>
                  <a:gd name="T37" fmla="*/ 0 h 1237"/>
                  <a:gd name="T38" fmla="*/ 895 w 952"/>
                  <a:gd name="T39" fmla="*/ 0 h 1237"/>
                  <a:gd name="T40" fmla="*/ 889 w 952"/>
                  <a:gd name="T41" fmla="*/ 0 h 1237"/>
                  <a:gd name="T42" fmla="*/ 852 w 952"/>
                  <a:gd name="T43" fmla="*/ 0 h 1237"/>
                  <a:gd name="T44" fmla="*/ 833 w 952"/>
                  <a:gd name="T45" fmla="*/ 0 h 1237"/>
                  <a:gd name="T46" fmla="*/ 746 w 952"/>
                  <a:gd name="T47" fmla="*/ 0 h 1237"/>
                  <a:gd name="T48" fmla="*/ 752 w 952"/>
                  <a:gd name="T49" fmla="*/ 0 h 1237"/>
                  <a:gd name="T50" fmla="*/ 682 w 952"/>
                  <a:gd name="T51" fmla="*/ 0 h 1237"/>
                  <a:gd name="T52" fmla="*/ 733 w 952"/>
                  <a:gd name="T53" fmla="*/ 0 h 1237"/>
                  <a:gd name="T54" fmla="*/ 727 w 952"/>
                  <a:gd name="T55" fmla="*/ 0 h 1237"/>
                  <a:gd name="T56" fmla="*/ 752 w 952"/>
                  <a:gd name="T57" fmla="*/ 0 h 1237"/>
                  <a:gd name="T58" fmla="*/ 752 w 952"/>
                  <a:gd name="T59" fmla="*/ 0 h 1237"/>
                  <a:gd name="T60" fmla="*/ 752 w 952"/>
                  <a:gd name="T61" fmla="*/ 0 h 1237"/>
                  <a:gd name="T62" fmla="*/ 664 w 952"/>
                  <a:gd name="T63" fmla="*/ 0 h 1237"/>
                  <a:gd name="T64" fmla="*/ 619 w 952"/>
                  <a:gd name="T65" fmla="*/ 0 h 1237"/>
                  <a:gd name="T66" fmla="*/ 569 w 952"/>
                  <a:gd name="T67" fmla="*/ 0 h 1237"/>
                  <a:gd name="T68" fmla="*/ 558 w 952"/>
                  <a:gd name="T69" fmla="*/ 0 h 1237"/>
                  <a:gd name="T70" fmla="*/ 488 w 952"/>
                  <a:gd name="T71" fmla="*/ 0 h 1237"/>
                  <a:gd name="T72" fmla="*/ 438 w 952"/>
                  <a:gd name="T73" fmla="*/ 0 h 1237"/>
                  <a:gd name="T74" fmla="*/ 433 w 952"/>
                  <a:gd name="T75" fmla="*/ 0 h 1237"/>
                  <a:gd name="T76" fmla="*/ 388 w 952"/>
                  <a:gd name="T77" fmla="*/ 0 h 1237"/>
                  <a:gd name="T78" fmla="*/ 388 w 952"/>
                  <a:gd name="T79" fmla="*/ 0 h 1237"/>
                  <a:gd name="T80" fmla="*/ 369 w 952"/>
                  <a:gd name="T81" fmla="*/ 0 h 1237"/>
                  <a:gd name="T82" fmla="*/ 351 w 952"/>
                  <a:gd name="T83" fmla="*/ 0 h 1237"/>
                  <a:gd name="T84" fmla="*/ 250 w 952"/>
                  <a:gd name="T85" fmla="*/ 0 h 1237"/>
                  <a:gd name="T86" fmla="*/ 238 w 952"/>
                  <a:gd name="T87" fmla="*/ 0 h 1237"/>
                  <a:gd name="T88" fmla="*/ 188 w 952"/>
                  <a:gd name="T89" fmla="*/ 0 h 1237"/>
                  <a:gd name="T90" fmla="*/ 118 w 952"/>
                  <a:gd name="T91" fmla="*/ 0 h 1237"/>
                  <a:gd name="T92" fmla="*/ 75 w 952"/>
                  <a:gd name="T93" fmla="*/ 0 h 1237"/>
                  <a:gd name="T94" fmla="*/ 82 w 952"/>
                  <a:gd name="T95" fmla="*/ 0 h 1237"/>
                  <a:gd name="T96" fmla="*/ 88 w 952"/>
                  <a:gd name="T97" fmla="*/ 0 h 1237"/>
                  <a:gd name="T98" fmla="*/ 12 w 952"/>
                  <a:gd name="T99" fmla="*/ 0 h 1237"/>
                  <a:gd name="T100" fmla="*/ 19 w 952"/>
                  <a:gd name="T101" fmla="*/ 0 h 12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952" h="1237">
                    <a:moveTo>
                      <a:pt x="0" y="592"/>
                    </a:moveTo>
                    <a:lnTo>
                      <a:pt x="7" y="547"/>
                    </a:lnTo>
                    <a:lnTo>
                      <a:pt x="44" y="534"/>
                    </a:lnTo>
                    <a:lnTo>
                      <a:pt x="100" y="469"/>
                    </a:lnTo>
                    <a:lnTo>
                      <a:pt x="107" y="425"/>
                    </a:lnTo>
                    <a:lnTo>
                      <a:pt x="100" y="355"/>
                    </a:lnTo>
                    <a:lnTo>
                      <a:pt x="138" y="346"/>
                    </a:lnTo>
                    <a:lnTo>
                      <a:pt x="144" y="267"/>
                    </a:lnTo>
                    <a:lnTo>
                      <a:pt x="188" y="267"/>
                    </a:lnTo>
                    <a:lnTo>
                      <a:pt x="188" y="223"/>
                    </a:lnTo>
                    <a:lnTo>
                      <a:pt x="219" y="188"/>
                    </a:lnTo>
                    <a:lnTo>
                      <a:pt x="238" y="232"/>
                    </a:lnTo>
                    <a:lnTo>
                      <a:pt x="257" y="256"/>
                    </a:lnTo>
                    <a:lnTo>
                      <a:pt x="269" y="346"/>
                    </a:lnTo>
                    <a:lnTo>
                      <a:pt x="338" y="378"/>
                    </a:lnTo>
                    <a:lnTo>
                      <a:pt x="364" y="446"/>
                    </a:lnTo>
                    <a:lnTo>
                      <a:pt x="419" y="434"/>
                    </a:lnTo>
                    <a:lnTo>
                      <a:pt x="488" y="490"/>
                    </a:lnTo>
                    <a:lnTo>
                      <a:pt x="569" y="446"/>
                    </a:lnTo>
                    <a:lnTo>
                      <a:pt x="594" y="401"/>
                    </a:lnTo>
                    <a:lnTo>
                      <a:pt x="594" y="355"/>
                    </a:lnTo>
                    <a:lnTo>
                      <a:pt x="619" y="355"/>
                    </a:lnTo>
                    <a:lnTo>
                      <a:pt x="670" y="290"/>
                    </a:lnTo>
                    <a:lnTo>
                      <a:pt x="714" y="290"/>
                    </a:lnTo>
                    <a:lnTo>
                      <a:pt x="696" y="232"/>
                    </a:lnTo>
                    <a:lnTo>
                      <a:pt x="658" y="246"/>
                    </a:lnTo>
                    <a:lnTo>
                      <a:pt x="651" y="188"/>
                    </a:lnTo>
                    <a:lnTo>
                      <a:pt x="664" y="158"/>
                    </a:lnTo>
                    <a:lnTo>
                      <a:pt x="688" y="167"/>
                    </a:lnTo>
                    <a:lnTo>
                      <a:pt x="714" y="144"/>
                    </a:lnTo>
                    <a:lnTo>
                      <a:pt x="733" y="67"/>
                    </a:lnTo>
                    <a:lnTo>
                      <a:pt x="720" y="44"/>
                    </a:lnTo>
                    <a:lnTo>
                      <a:pt x="783" y="0"/>
                    </a:lnTo>
                    <a:lnTo>
                      <a:pt x="807" y="35"/>
                    </a:lnTo>
                    <a:lnTo>
                      <a:pt x="839" y="167"/>
                    </a:lnTo>
                    <a:lnTo>
                      <a:pt x="889" y="202"/>
                    </a:lnTo>
                    <a:lnTo>
                      <a:pt x="895" y="246"/>
                    </a:lnTo>
                    <a:lnTo>
                      <a:pt x="952" y="211"/>
                    </a:lnTo>
                    <a:lnTo>
                      <a:pt x="927" y="346"/>
                    </a:lnTo>
                    <a:lnTo>
                      <a:pt x="895" y="369"/>
                    </a:lnTo>
                    <a:lnTo>
                      <a:pt x="895" y="425"/>
                    </a:lnTo>
                    <a:lnTo>
                      <a:pt x="889" y="446"/>
                    </a:lnTo>
                    <a:lnTo>
                      <a:pt x="883" y="434"/>
                    </a:lnTo>
                    <a:lnTo>
                      <a:pt x="852" y="478"/>
                    </a:lnTo>
                    <a:lnTo>
                      <a:pt x="852" y="490"/>
                    </a:lnTo>
                    <a:lnTo>
                      <a:pt x="833" y="490"/>
                    </a:lnTo>
                    <a:lnTo>
                      <a:pt x="788" y="547"/>
                    </a:lnTo>
                    <a:lnTo>
                      <a:pt x="746" y="601"/>
                    </a:lnTo>
                    <a:lnTo>
                      <a:pt x="757" y="534"/>
                    </a:lnTo>
                    <a:lnTo>
                      <a:pt x="752" y="513"/>
                    </a:lnTo>
                    <a:lnTo>
                      <a:pt x="688" y="578"/>
                    </a:lnTo>
                    <a:lnTo>
                      <a:pt x="682" y="601"/>
                    </a:lnTo>
                    <a:lnTo>
                      <a:pt x="707" y="645"/>
                    </a:lnTo>
                    <a:lnTo>
                      <a:pt x="733" y="636"/>
                    </a:lnTo>
                    <a:lnTo>
                      <a:pt x="764" y="645"/>
                    </a:lnTo>
                    <a:lnTo>
                      <a:pt x="727" y="680"/>
                    </a:lnTo>
                    <a:lnTo>
                      <a:pt x="714" y="736"/>
                    </a:lnTo>
                    <a:lnTo>
                      <a:pt x="752" y="847"/>
                    </a:lnTo>
                    <a:lnTo>
                      <a:pt x="727" y="836"/>
                    </a:lnTo>
                    <a:lnTo>
                      <a:pt x="752" y="880"/>
                    </a:lnTo>
                    <a:lnTo>
                      <a:pt x="727" y="903"/>
                    </a:lnTo>
                    <a:lnTo>
                      <a:pt x="752" y="912"/>
                    </a:lnTo>
                    <a:lnTo>
                      <a:pt x="701" y="1091"/>
                    </a:lnTo>
                    <a:lnTo>
                      <a:pt x="664" y="1149"/>
                    </a:lnTo>
                    <a:lnTo>
                      <a:pt x="632" y="1170"/>
                    </a:lnTo>
                    <a:lnTo>
                      <a:pt x="619" y="1158"/>
                    </a:lnTo>
                    <a:lnTo>
                      <a:pt x="613" y="1179"/>
                    </a:lnTo>
                    <a:lnTo>
                      <a:pt x="569" y="1202"/>
                    </a:lnTo>
                    <a:lnTo>
                      <a:pt x="569" y="1237"/>
                    </a:lnTo>
                    <a:lnTo>
                      <a:pt x="558" y="1193"/>
                    </a:lnTo>
                    <a:lnTo>
                      <a:pt x="532" y="1193"/>
                    </a:lnTo>
                    <a:lnTo>
                      <a:pt x="488" y="1149"/>
                    </a:lnTo>
                    <a:lnTo>
                      <a:pt x="444" y="1170"/>
                    </a:lnTo>
                    <a:lnTo>
                      <a:pt x="438" y="1170"/>
                    </a:lnTo>
                    <a:lnTo>
                      <a:pt x="438" y="1202"/>
                    </a:lnTo>
                    <a:lnTo>
                      <a:pt x="433" y="1193"/>
                    </a:lnTo>
                    <a:lnTo>
                      <a:pt x="401" y="1170"/>
                    </a:lnTo>
                    <a:lnTo>
                      <a:pt x="388" y="1114"/>
                    </a:lnTo>
                    <a:lnTo>
                      <a:pt x="376" y="1126"/>
                    </a:lnTo>
                    <a:lnTo>
                      <a:pt x="388" y="1026"/>
                    </a:lnTo>
                    <a:lnTo>
                      <a:pt x="388" y="991"/>
                    </a:lnTo>
                    <a:lnTo>
                      <a:pt x="369" y="970"/>
                    </a:lnTo>
                    <a:lnTo>
                      <a:pt x="357" y="958"/>
                    </a:lnTo>
                    <a:lnTo>
                      <a:pt x="351" y="924"/>
                    </a:lnTo>
                    <a:lnTo>
                      <a:pt x="282" y="981"/>
                    </a:lnTo>
                    <a:lnTo>
                      <a:pt x="250" y="970"/>
                    </a:lnTo>
                    <a:lnTo>
                      <a:pt x="238" y="1003"/>
                    </a:lnTo>
                    <a:lnTo>
                      <a:pt x="238" y="981"/>
                    </a:lnTo>
                    <a:lnTo>
                      <a:pt x="225" y="981"/>
                    </a:lnTo>
                    <a:lnTo>
                      <a:pt x="188" y="981"/>
                    </a:lnTo>
                    <a:lnTo>
                      <a:pt x="163" y="935"/>
                    </a:lnTo>
                    <a:lnTo>
                      <a:pt x="118" y="903"/>
                    </a:lnTo>
                    <a:lnTo>
                      <a:pt x="82" y="880"/>
                    </a:lnTo>
                    <a:lnTo>
                      <a:pt x="75" y="824"/>
                    </a:lnTo>
                    <a:lnTo>
                      <a:pt x="94" y="812"/>
                    </a:lnTo>
                    <a:lnTo>
                      <a:pt x="82" y="768"/>
                    </a:lnTo>
                    <a:lnTo>
                      <a:pt x="107" y="715"/>
                    </a:lnTo>
                    <a:lnTo>
                      <a:pt x="88" y="691"/>
                    </a:lnTo>
                    <a:lnTo>
                      <a:pt x="63" y="715"/>
                    </a:lnTo>
                    <a:lnTo>
                      <a:pt x="12" y="657"/>
                    </a:lnTo>
                    <a:lnTo>
                      <a:pt x="19" y="645"/>
                    </a:lnTo>
                    <a:lnTo>
                      <a:pt x="19" y="601"/>
                    </a:lnTo>
                    <a:lnTo>
                      <a:pt x="0" y="59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18" name="Freeform 226"/>
              <p:cNvSpPr>
                <a:spLocks/>
              </p:cNvSpPr>
              <p:nvPr/>
            </p:nvSpPr>
            <p:spPr bwMode="auto">
              <a:xfrm>
                <a:off x="4089" y="1707"/>
                <a:ext cx="952" cy="618"/>
              </a:xfrm>
              <a:custGeom>
                <a:avLst/>
                <a:gdLst>
                  <a:gd name="T0" fmla="*/ 7 w 952"/>
                  <a:gd name="T1" fmla="*/ 0 h 1237"/>
                  <a:gd name="T2" fmla="*/ 100 w 952"/>
                  <a:gd name="T3" fmla="*/ 0 h 1237"/>
                  <a:gd name="T4" fmla="*/ 100 w 952"/>
                  <a:gd name="T5" fmla="*/ 0 h 1237"/>
                  <a:gd name="T6" fmla="*/ 144 w 952"/>
                  <a:gd name="T7" fmla="*/ 0 h 1237"/>
                  <a:gd name="T8" fmla="*/ 188 w 952"/>
                  <a:gd name="T9" fmla="*/ 0 h 1237"/>
                  <a:gd name="T10" fmla="*/ 238 w 952"/>
                  <a:gd name="T11" fmla="*/ 0 h 1237"/>
                  <a:gd name="T12" fmla="*/ 269 w 952"/>
                  <a:gd name="T13" fmla="*/ 0 h 1237"/>
                  <a:gd name="T14" fmla="*/ 364 w 952"/>
                  <a:gd name="T15" fmla="*/ 0 h 1237"/>
                  <a:gd name="T16" fmla="*/ 488 w 952"/>
                  <a:gd name="T17" fmla="*/ 0 h 1237"/>
                  <a:gd name="T18" fmla="*/ 594 w 952"/>
                  <a:gd name="T19" fmla="*/ 0 h 1237"/>
                  <a:gd name="T20" fmla="*/ 619 w 952"/>
                  <a:gd name="T21" fmla="*/ 0 h 1237"/>
                  <a:gd name="T22" fmla="*/ 714 w 952"/>
                  <a:gd name="T23" fmla="*/ 0 h 1237"/>
                  <a:gd name="T24" fmla="*/ 658 w 952"/>
                  <a:gd name="T25" fmla="*/ 0 h 1237"/>
                  <a:gd name="T26" fmla="*/ 664 w 952"/>
                  <a:gd name="T27" fmla="*/ 0 h 1237"/>
                  <a:gd name="T28" fmla="*/ 714 w 952"/>
                  <a:gd name="T29" fmla="*/ 0 h 1237"/>
                  <a:gd name="T30" fmla="*/ 720 w 952"/>
                  <a:gd name="T31" fmla="*/ 0 h 1237"/>
                  <a:gd name="T32" fmla="*/ 807 w 952"/>
                  <a:gd name="T33" fmla="*/ 0 h 1237"/>
                  <a:gd name="T34" fmla="*/ 889 w 952"/>
                  <a:gd name="T35" fmla="*/ 0 h 1237"/>
                  <a:gd name="T36" fmla="*/ 952 w 952"/>
                  <a:gd name="T37" fmla="*/ 0 h 1237"/>
                  <a:gd name="T38" fmla="*/ 895 w 952"/>
                  <a:gd name="T39" fmla="*/ 0 h 1237"/>
                  <a:gd name="T40" fmla="*/ 889 w 952"/>
                  <a:gd name="T41" fmla="*/ 0 h 1237"/>
                  <a:gd name="T42" fmla="*/ 852 w 952"/>
                  <a:gd name="T43" fmla="*/ 0 h 1237"/>
                  <a:gd name="T44" fmla="*/ 833 w 952"/>
                  <a:gd name="T45" fmla="*/ 0 h 1237"/>
                  <a:gd name="T46" fmla="*/ 746 w 952"/>
                  <a:gd name="T47" fmla="*/ 0 h 1237"/>
                  <a:gd name="T48" fmla="*/ 752 w 952"/>
                  <a:gd name="T49" fmla="*/ 0 h 1237"/>
                  <a:gd name="T50" fmla="*/ 682 w 952"/>
                  <a:gd name="T51" fmla="*/ 0 h 1237"/>
                  <a:gd name="T52" fmla="*/ 733 w 952"/>
                  <a:gd name="T53" fmla="*/ 0 h 1237"/>
                  <a:gd name="T54" fmla="*/ 727 w 952"/>
                  <a:gd name="T55" fmla="*/ 0 h 1237"/>
                  <a:gd name="T56" fmla="*/ 752 w 952"/>
                  <a:gd name="T57" fmla="*/ 0 h 1237"/>
                  <a:gd name="T58" fmla="*/ 752 w 952"/>
                  <a:gd name="T59" fmla="*/ 0 h 1237"/>
                  <a:gd name="T60" fmla="*/ 752 w 952"/>
                  <a:gd name="T61" fmla="*/ 0 h 1237"/>
                  <a:gd name="T62" fmla="*/ 664 w 952"/>
                  <a:gd name="T63" fmla="*/ 0 h 1237"/>
                  <a:gd name="T64" fmla="*/ 619 w 952"/>
                  <a:gd name="T65" fmla="*/ 0 h 1237"/>
                  <a:gd name="T66" fmla="*/ 569 w 952"/>
                  <a:gd name="T67" fmla="*/ 0 h 1237"/>
                  <a:gd name="T68" fmla="*/ 558 w 952"/>
                  <a:gd name="T69" fmla="*/ 0 h 1237"/>
                  <a:gd name="T70" fmla="*/ 488 w 952"/>
                  <a:gd name="T71" fmla="*/ 0 h 1237"/>
                  <a:gd name="T72" fmla="*/ 438 w 952"/>
                  <a:gd name="T73" fmla="*/ 0 h 1237"/>
                  <a:gd name="T74" fmla="*/ 433 w 952"/>
                  <a:gd name="T75" fmla="*/ 0 h 1237"/>
                  <a:gd name="T76" fmla="*/ 388 w 952"/>
                  <a:gd name="T77" fmla="*/ 0 h 1237"/>
                  <a:gd name="T78" fmla="*/ 388 w 952"/>
                  <a:gd name="T79" fmla="*/ 0 h 1237"/>
                  <a:gd name="T80" fmla="*/ 369 w 952"/>
                  <a:gd name="T81" fmla="*/ 0 h 1237"/>
                  <a:gd name="T82" fmla="*/ 351 w 952"/>
                  <a:gd name="T83" fmla="*/ 0 h 1237"/>
                  <a:gd name="T84" fmla="*/ 250 w 952"/>
                  <a:gd name="T85" fmla="*/ 0 h 1237"/>
                  <a:gd name="T86" fmla="*/ 238 w 952"/>
                  <a:gd name="T87" fmla="*/ 0 h 1237"/>
                  <a:gd name="T88" fmla="*/ 188 w 952"/>
                  <a:gd name="T89" fmla="*/ 0 h 1237"/>
                  <a:gd name="T90" fmla="*/ 118 w 952"/>
                  <a:gd name="T91" fmla="*/ 0 h 1237"/>
                  <a:gd name="T92" fmla="*/ 75 w 952"/>
                  <a:gd name="T93" fmla="*/ 0 h 1237"/>
                  <a:gd name="T94" fmla="*/ 82 w 952"/>
                  <a:gd name="T95" fmla="*/ 0 h 1237"/>
                  <a:gd name="T96" fmla="*/ 88 w 952"/>
                  <a:gd name="T97" fmla="*/ 0 h 1237"/>
                  <a:gd name="T98" fmla="*/ 12 w 952"/>
                  <a:gd name="T99" fmla="*/ 0 h 1237"/>
                  <a:gd name="T100" fmla="*/ 19 w 952"/>
                  <a:gd name="T101" fmla="*/ 0 h 12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952" h="1237">
                    <a:moveTo>
                      <a:pt x="0" y="592"/>
                    </a:moveTo>
                    <a:lnTo>
                      <a:pt x="7" y="547"/>
                    </a:lnTo>
                    <a:lnTo>
                      <a:pt x="44" y="534"/>
                    </a:lnTo>
                    <a:lnTo>
                      <a:pt x="100" y="469"/>
                    </a:lnTo>
                    <a:lnTo>
                      <a:pt x="107" y="425"/>
                    </a:lnTo>
                    <a:lnTo>
                      <a:pt x="100" y="355"/>
                    </a:lnTo>
                    <a:lnTo>
                      <a:pt x="138" y="346"/>
                    </a:lnTo>
                    <a:lnTo>
                      <a:pt x="144" y="267"/>
                    </a:lnTo>
                    <a:lnTo>
                      <a:pt x="188" y="267"/>
                    </a:lnTo>
                    <a:lnTo>
                      <a:pt x="188" y="223"/>
                    </a:lnTo>
                    <a:lnTo>
                      <a:pt x="219" y="188"/>
                    </a:lnTo>
                    <a:lnTo>
                      <a:pt x="238" y="232"/>
                    </a:lnTo>
                    <a:lnTo>
                      <a:pt x="257" y="256"/>
                    </a:lnTo>
                    <a:lnTo>
                      <a:pt x="269" y="346"/>
                    </a:lnTo>
                    <a:lnTo>
                      <a:pt x="338" y="378"/>
                    </a:lnTo>
                    <a:lnTo>
                      <a:pt x="364" y="446"/>
                    </a:lnTo>
                    <a:lnTo>
                      <a:pt x="419" y="434"/>
                    </a:lnTo>
                    <a:lnTo>
                      <a:pt x="488" y="490"/>
                    </a:lnTo>
                    <a:lnTo>
                      <a:pt x="569" y="446"/>
                    </a:lnTo>
                    <a:lnTo>
                      <a:pt x="594" y="401"/>
                    </a:lnTo>
                    <a:lnTo>
                      <a:pt x="594" y="355"/>
                    </a:lnTo>
                    <a:lnTo>
                      <a:pt x="619" y="355"/>
                    </a:lnTo>
                    <a:lnTo>
                      <a:pt x="670" y="290"/>
                    </a:lnTo>
                    <a:lnTo>
                      <a:pt x="714" y="290"/>
                    </a:lnTo>
                    <a:lnTo>
                      <a:pt x="696" y="232"/>
                    </a:lnTo>
                    <a:lnTo>
                      <a:pt x="658" y="246"/>
                    </a:lnTo>
                    <a:lnTo>
                      <a:pt x="651" y="188"/>
                    </a:lnTo>
                    <a:lnTo>
                      <a:pt x="664" y="158"/>
                    </a:lnTo>
                    <a:lnTo>
                      <a:pt x="688" y="167"/>
                    </a:lnTo>
                    <a:lnTo>
                      <a:pt x="714" y="144"/>
                    </a:lnTo>
                    <a:lnTo>
                      <a:pt x="733" y="67"/>
                    </a:lnTo>
                    <a:lnTo>
                      <a:pt x="720" y="44"/>
                    </a:lnTo>
                    <a:lnTo>
                      <a:pt x="783" y="0"/>
                    </a:lnTo>
                    <a:lnTo>
                      <a:pt x="807" y="35"/>
                    </a:lnTo>
                    <a:lnTo>
                      <a:pt x="839" y="167"/>
                    </a:lnTo>
                    <a:lnTo>
                      <a:pt x="889" y="202"/>
                    </a:lnTo>
                    <a:lnTo>
                      <a:pt x="895" y="246"/>
                    </a:lnTo>
                    <a:lnTo>
                      <a:pt x="952" y="211"/>
                    </a:lnTo>
                    <a:lnTo>
                      <a:pt x="927" y="346"/>
                    </a:lnTo>
                    <a:lnTo>
                      <a:pt x="895" y="369"/>
                    </a:lnTo>
                    <a:lnTo>
                      <a:pt x="895" y="425"/>
                    </a:lnTo>
                    <a:lnTo>
                      <a:pt x="889" y="446"/>
                    </a:lnTo>
                    <a:lnTo>
                      <a:pt x="883" y="434"/>
                    </a:lnTo>
                    <a:lnTo>
                      <a:pt x="852" y="478"/>
                    </a:lnTo>
                    <a:lnTo>
                      <a:pt x="852" y="490"/>
                    </a:lnTo>
                    <a:lnTo>
                      <a:pt x="833" y="490"/>
                    </a:lnTo>
                    <a:lnTo>
                      <a:pt x="788" y="547"/>
                    </a:lnTo>
                    <a:lnTo>
                      <a:pt x="746" y="601"/>
                    </a:lnTo>
                    <a:lnTo>
                      <a:pt x="757" y="534"/>
                    </a:lnTo>
                    <a:lnTo>
                      <a:pt x="752" y="513"/>
                    </a:lnTo>
                    <a:lnTo>
                      <a:pt x="688" y="578"/>
                    </a:lnTo>
                    <a:lnTo>
                      <a:pt x="682" y="601"/>
                    </a:lnTo>
                    <a:lnTo>
                      <a:pt x="707" y="645"/>
                    </a:lnTo>
                    <a:lnTo>
                      <a:pt x="733" y="636"/>
                    </a:lnTo>
                    <a:lnTo>
                      <a:pt x="764" y="645"/>
                    </a:lnTo>
                    <a:lnTo>
                      <a:pt x="727" y="680"/>
                    </a:lnTo>
                    <a:lnTo>
                      <a:pt x="714" y="736"/>
                    </a:lnTo>
                    <a:lnTo>
                      <a:pt x="752" y="847"/>
                    </a:lnTo>
                    <a:lnTo>
                      <a:pt x="727" y="836"/>
                    </a:lnTo>
                    <a:lnTo>
                      <a:pt x="752" y="880"/>
                    </a:lnTo>
                    <a:lnTo>
                      <a:pt x="727" y="903"/>
                    </a:lnTo>
                    <a:lnTo>
                      <a:pt x="752" y="912"/>
                    </a:lnTo>
                    <a:lnTo>
                      <a:pt x="701" y="1091"/>
                    </a:lnTo>
                    <a:lnTo>
                      <a:pt x="664" y="1149"/>
                    </a:lnTo>
                    <a:lnTo>
                      <a:pt x="632" y="1170"/>
                    </a:lnTo>
                    <a:lnTo>
                      <a:pt x="619" y="1158"/>
                    </a:lnTo>
                    <a:lnTo>
                      <a:pt x="613" y="1179"/>
                    </a:lnTo>
                    <a:lnTo>
                      <a:pt x="569" y="1202"/>
                    </a:lnTo>
                    <a:lnTo>
                      <a:pt x="569" y="1237"/>
                    </a:lnTo>
                    <a:lnTo>
                      <a:pt x="558" y="1193"/>
                    </a:lnTo>
                    <a:lnTo>
                      <a:pt x="532" y="1193"/>
                    </a:lnTo>
                    <a:lnTo>
                      <a:pt x="488" y="1149"/>
                    </a:lnTo>
                    <a:lnTo>
                      <a:pt x="444" y="1170"/>
                    </a:lnTo>
                    <a:lnTo>
                      <a:pt x="438" y="1170"/>
                    </a:lnTo>
                    <a:lnTo>
                      <a:pt x="438" y="1202"/>
                    </a:lnTo>
                    <a:lnTo>
                      <a:pt x="433" y="1193"/>
                    </a:lnTo>
                    <a:lnTo>
                      <a:pt x="401" y="1170"/>
                    </a:lnTo>
                    <a:lnTo>
                      <a:pt x="388" y="1114"/>
                    </a:lnTo>
                    <a:lnTo>
                      <a:pt x="376" y="1126"/>
                    </a:lnTo>
                    <a:lnTo>
                      <a:pt x="388" y="1026"/>
                    </a:lnTo>
                    <a:lnTo>
                      <a:pt x="388" y="991"/>
                    </a:lnTo>
                    <a:lnTo>
                      <a:pt x="369" y="970"/>
                    </a:lnTo>
                    <a:lnTo>
                      <a:pt x="357" y="958"/>
                    </a:lnTo>
                    <a:lnTo>
                      <a:pt x="351" y="924"/>
                    </a:lnTo>
                    <a:lnTo>
                      <a:pt x="282" y="981"/>
                    </a:lnTo>
                    <a:lnTo>
                      <a:pt x="250" y="970"/>
                    </a:lnTo>
                    <a:lnTo>
                      <a:pt x="238" y="1003"/>
                    </a:lnTo>
                    <a:lnTo>
                      <a:pt x="238" y="981"/>
                    </a:lnTo>
                    <a:lnTo>
                      <a:pt x="225" y="981"/>
                    </a:lnTo>
                    <a:lnTo>
                      <a:pt x="188" y="981"/>
                    </a:lnTo>
                    <a:lnTo>
                      <a:pt x="163" y="935"/>
                    </a:lnTo>
                    <a:lnTo>
                      <a:pt x="118" y="903"/>
                    </a:lnTo>
                    <a:lnTo>
                      <a:pt x="82" y="880"/>
                    </a:lnTo>
                    <a:lnTo>
                      <a:pt x="75" y="824"/>
                    </a:lnTo>
                    <a:lnTo>
                      <a:pt x="94" y="812"/>
                    </a:lnTo>
                    <a:lnTo>
                      <a:pt x="82" y="768"/>
                    </a:lnTo>
                    <a:lnTo>
                      <a:pt x="107" y="715"/>
                    </a:lnTo>
                    <a:lnTo>
                      <a:pt x="88" y="691"/>
                    </a:lnTo>
                    <a:lnTo>
                      <a:pt x="63" y="715"/>
                    </a:lnTo>
                    <a:lnTo>
                      <a:pt x="12" y="657"/>
                    </a:lnTo>
                    <a:lnTo>
                      <a:pt x="19" y="645"/>
                    </a:lnTo>
                    <a:lnTo>
                      <a:pt x="19" y="601"/>
                    </a:lnTo>
                    <a:lnTo>
                      <a:pt x="0" y="59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398" name="Freeform 227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8134236" y="3296816"/>
              <a:ext cx="1762304" cy="981075"/>
            </a:xfrm>
            <a:custGeom>
              <a:avLst/>
              <a:gdLst>
                <a:gd name="T0" fmla="*/ 2147483647 w 952"/>
                <a:gd name="T1" fmla="*/ 2147483647 h 1237"/>
                <a:gd name="T2" fmla="*/ 2147483647 w 952"/>
                <a:gd name="T3" fmla="*/ 2147483647 h 1237"/>
                <a:gd name="T4" fmla="*/ 2147483647 w 952"/>
                <a:gd name="T5" fmla="*/ 2147483647 h 1237"/>
                <a:gd name="T6" fmla="*/ 2147483647 w 952"/>
                <a:gd name="T7" fmla="*/ 2147483647 h 1237"/>
                <a:gd name="T8" fmla="*/ 2147483647 w 952"/>
                <a:gd name="T9" fmla="*/ 2147483647 h 1237"/>
                <a:gd name="T10" fmla="*/ 2147483647 w 952"/>
                <a:gd name="T11" fmla="*/ 2147483647 h 1237"/>
                <a:gd name="T12" fmla="*/ 2147483647 w 952"/>
                <a:gd name="T13" fmla="*/ 2147483647 h 1237"/>
                <a:gd name="T14" fmla="*/ 2147483647 w 952"/>
                <a:gd name="T15" fmla="*/ 2147483647 h 1237"/>
                <a:gd name="T16" fmla="*/ 2147483647 w 952"/>
                <a:gd name="T17" fmla="*/ 2147483647 h 1237"/>
                <a:gd name="T18" fmla="*/ 2147483647 w 952"/>
                <a:gd name="T19" fmla="*/ 2147483647 h 1237"/>
                <a:gd name="T20" fmla="*/ 2147483647 w 952"/>
                <a:gd name="T21" fmla="*/ 2147483647 h 1237"/>
                <a:gd name="T22" fmla="*/ 2147483647 w 952"/>
                <a:gd name="T23" fmla="*/ 2147483647 h 1237"/>
                <a:gd name="T24" fmla="*/ 2147483647 w 952"/>
                <a:gd name="T25" fmla="*/ 2147483647 h 1237"/>
                <a:gd name="T26" fmla="*/ 2147483647 w 952"/>
                <a:gd name="T27" fmla="*/ 2147483647 h 1237"/>
                <a:gd name="T28" fmla="*/ 2147483647 w 952"/>
                <a:gd name="T29" fmla="*/ 2147483647 h 1237"/>
                <a:gd name="T30" fmla="*/ 2147483647 w 952"/>
                <a:gd name="T31" fmla="*/ 2147483647 h 1237"/>
                <a:gd name="T32" fmla="*/ 2147483647 w 952"/>
                <a:gd name="T33" fmla="*/ 2147483647 h 1237"/>
                <a:gd name="T34" fmla="*/ 2147483647 w 952"/>
                <a:gd name="T35" fmla="*/ 2147483647 h 1237"/>
                <a:gd name="T36" fmla="*/ 2147483647 w 952"/>
                <a:gd name="T37" fmla="*/ 2147483647 h 1237"/>
                <a:gd name="T38" fmla="*/ 2147483647 w 952"/>
                <a:gd name="T39" fmla="*/ 2147483647 h 1237"/>
                <a:gd name="T40" fmla="*/ 2147483647 w 952"/>
                <a:gd name="T41" fmla="*/ 2147483647 h 1237"/>
                <a:gd name="T42" fmla="*/ 2147483647 w 952"/>
                <a:gd name="T43" fmla="*/ 2147483647 h 1237"/>
                <a:gd name="T44" fmla="*/ 2147483647 w 952"/>
                <a:gd name="T45" fmla="*/ 2147483647 h 1237"/>
                <a:gd name="T46" fmla="*/ 2147483647 w 952"/>
                <a:gd name="T47" fmla="*/ 2147483647 h 1237"/>
                <a:gd name="T48" fmla="*/ 2147483647 w 952"/>
                <a:gd name="T49" fmla="*/ 2147483647 h 1237"/>
                <a:gd name="T50" fmla="*/ 2147483647 w 952"/>
                <a:gd name="T51" fmla="*/ 2147483647 h 1237"/>
                <a:gd name="T52" fmla="*/ 2147483647 w 952"/>
                <a:gd name="T53" fmla="*/ 2147483647 h 1237"/>
                <a:gd name="T54" fmla="*/ 2147483647 w 952"/>
                <a:gd name="T55" fmla="*/ 2147483647 h 1237"/>
                <a:gd name="T56" fmla="*/ 2147483647 w 952"/>
                <a:gd name="T57" fmla="*/ 2147483647 h 1237"/>
                <a:gd name="T58" fmla="*/ 2147483647 w 952"/>
                <a:gd name="T59" fmla="*/ 2147483647 h 1237"/>
                <a:gd name="T60" fmla="*/ 2147483647 w 952"/>
                <a:gd name="T61" fmla="*/ 2147483647 h 1237"/>
                <a:gd name="T62" fmla="*/ 2147483647 w 952"/>
                <a:gd name="T63" fmla="*/ 2147483647 h 1237"/>
                <a:gd name="T64" fmla="*/ 2147483647 w 952"/>
                <a:gd name="T65" fmla="*/ 2147483647 h 1237"/>
                <a:gd name="T66" fmla="*/ 2147483647 w 952"/>
                <a:gd name="T67" fmla="*/ 2147483647 h 1237"/>
                <a:gd name="T68" fmla="*/ 2147483647 w 952"/>
                <a:gd name="T69" fmla="*/ 2147483647 h 1237"/>
                <a:gd name="T70" fmla="*/ 2147483647 w 952"/>
                <a:gd name="T71" fmla="*/ 2147483647 h 1237"/>
                <a:gd name="T72" fmla="*/ 2147483647 w 952"/>
                <a:gd name="T73" fmla="*/ 2147483647 h 1237"/>
                <a:gd name="T74" fmla="*/ 2147483647 w 952"/>
                <a:gd name="T75" fmla="*/ 2147483647 h 1237"/>
                <a:gd name="T76" fmla="*/ 2147483647 w 952"/>
                <a:gd name="T77" fmla="*/ 2147483647 h 1237"/>
                <a:gd name="T78" fmla="*/ 2147483647 w 952"/>
                <a:gd name="T79" fmla="*/ 2147483647 h 1237"/>
                <a:gd name="T80" fmla="*/ 2147483647 w 952"/>
                <a:gd name="T81" fmla="*/ 2147483647 h 1237"/>
                <a:gd name="T82" fmla="*/ 2147483647 w 952"/>
                <a:gd name="T83" fmla="*/ 2147483647 h 1237"/>
                <a:gd name="T84" fmla="*/ 2147483647 w 952"/>
                <a:gd name="T85" fmla="*/ 2147483647 h 1237"/>
                <a:gd name="T86" fmla="*/ 2147483647 w 952"/>
                <a:gd name="T87" fmla="*/ 2147483647 h 1237"/>
                <a:gd name="T88" fmla="*/ 2147483647 w 952"/>
                <a:gd name="T89" fmla="*/ 2147483647 h 1237"/>
                <a:gd name="T90" fmla="*/ 2147483647 w 952"/>
                <a:gd name="T91" fmla="*/ 2147483647 h 1237"/>
                <a:gd name="T92" fmla="*/ 2147483647 w 952"/>
                <a:gd name="T93" fmla="*/ 2147483647 h 1237"/>
                <a:gd name="T94" fmla="*/ 2147483647 w 952"/>
                <a:gd name="T95" fmla="*/ 2147483647 h 1237"/>
                <a:gd name="T96" fmla="*/ 2147483647 w 952"/>
                <a:gd name="T97" fmla="*/ 2147483647 h 1237"/>
                <a:gd name="T98" fmla="*/ 2147483647 w 952"/>
                <a:gd name="T99" fmla="*/ 2147483647 h 1237"/>
                <a:gd name="T100" fmla="*/ 2147483647 w 952"/>
                <a:gd name="T101" fmla="*/ 2147483647 h 123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952" h="1237">
                  <a:moveTo>
                    <a:pt x="0" y="592"/>
                  </a:moveTo>
                  <a:lnTo>
                    <a:pt x="7" y="547"/>
                  </a:lnTo>
                  <a:lnTo>
                    <a:pt x="44" y="534"/>
                  </a:lnTo>
                  <a:lnTo>
                    <a:pt x="100" y="469"/>
                  </a:lnTo>
                  <a:lnTo>
                    <a:pt x="107" y="425"/>
                  </a:lnTo>
                  <a:lnTo>
                    <a:pt x="100" y="355"/>
                  </a:lnTo>
                  <a:lnTo>
                    <a:pt x="138" y="346"/>
                  </a:lnTo>
                  <a:lnTo>
                    <a:pt x="144" y="267"/>
                  </a:lnTo>
                  <a:lnTo>
                    <a:pt x="188" y="267"/>
                  </a:lnTo>
                  <a:lnTo>
                    <a:pt x="188" y="223"/>
                  </a:lnTo>
                  <a:lnTo>
                    <a:pt x="219" y="188"/>
                  </a:lnTo>
                  <a:lnTo>
                    <a:pt x="238" y="232"/>
                  </a:lnTo>
                  <a:lnTo>
                    <a:pt x="257" y="256"/>
                  </a:lnTo>
                  <a:lnTo>
                    <a:pt x="269" y="346"/>
                  </a:lnTo>
                  <a:lnTo>
                    <a:pt x="338" y="378"/>
                  </a:lnTo>
                  <a:lnTo>
                    <a:pt x="364" y="446"/>
                  </a:lnTo>
                  <a:lnTo>
                    <a:pt x="419" y="434"/>
                  </a:lnTo>
                  <a:lnTo>
                    <a:pt x="488" y="490"/>
                  </a:lnTo>
                  <a:lnTo>
                    <a:pt x="569" y="446"/>
                  </a:lnTo>
                  <a:lnTo>
                    <a:pt x="594" y="401"/>
                  </a:lnTo>
                  <a:lnTo>
                    <a:pt x="594" y="355"/>
                  </a:lnTo>
                  <a:lnTo>
                    <a:pt x="619" y="355"/>
                  </a:lnTo>
                  <a:lnTo>
                    <a:pt x="670" y="290"/>
                  </a:lnTo>
                  <a:lnTo>
                    <a:pt x="714" y="290"/>
                  </a:lnTo>
                  <a:lnTo>
                    <a:pt x="696" y="232"/>
                  </a:lnTo>
                  <a:lnTo>
                    <a:pt x="658" y="246"/>
                  </a:lnTo>
                  <a:lnTo>
                    <a:pt x="651" y="188"/>
                  </a:lnTo>
                  <a:lnTo>
                    <a:pt x="664" y="158"/>
                  </a:lnTo>
                  <a:lnTo>
                    <a:pt x="688" y="167"/>
                  </a:lnTo>
                  <a:lnTo>
                    <a:pt x="714" y="144"/>
                  </a:lnTo>
                  <a:lnTo>
                    <a:pt x="733" y="67"/>
                  </a:lnTo>
                  <a:lnTo>
                    <a:pt x="720" y="44"/>
                  </a:lnTo>
                  <a:lnTo>
                    <a:pt x="783" y="0"/>
                  </a:lnTo>
                  <a:lnTo>
                    <a:pt x="807" y="35"/>
                  </a:lnTo>
                  <a:lnTo>
                    <a:pt x="839" y="167"/>
                  </a:lnTo>
                  <a:lnTo>
                    <a:pt x="889" y="202"/>
                  </a:lnTo>
                  <a:lnTo>
                    <a:pt x="895" y="246"/>
                  </a:lnTo>
                  <a:lnTo>
                    <a:pt x="952" y="211"/>
                  </a:lnTo>
                  <a:lnTo>
                    <a:pt x="927" y="346"/>
                  </a:lnTo>
                  <a:lnTo>
                    <a:pt x="895" y="369"/>
                  </a:lnTo>
                  <a:lnTo>
                    <a:pt x="895" y="425"/>
                  </a:lnTo>
                  <a:lnTo>
                    <a:pt x="889" y="446"/>
                  </a:lnTo>
                  <a:lnTo>
                    <a:pt x="883" y="434"/>
                  </a:lnTo>
                  <a:lnTo>
                    <a:pt x="852" y="478"/>
                  </a:lnTo>
                  <a:lnTo>
                    <a:pt x="852" y="490"/>
                  </a:lnTo>
                  <a:lnTo>
                    <a:pt x="833" y="490"/>
                  </a:lnTo>
                  <a:lnTo>
                    <a:pt x="788" y="547"/>
                  </a:lnTo>
                  <a:lnTo>
                    <a:pt x="746" y="601"/>
                  </a:lnTo>
                  <a:lnTo>
                    <a:pt x="757" y="534"/>
                  </a:lnTo>
                  <a:lnTo>
                    <a:pt x="752" y="513"/>
                  </a:lnTo>
                  <a:lnTo>
                    <a:pt x="688" y="578"/>
                  </a:lnTo>
                  <a:lnTo>
                    <a:pt x="682" y="601"/>
                  </a:lnTo>
                  <a:lnTo>
                    <a:pt x="707" y="645"/>
                  </a:lnTo>
                  <a:lnTo>
                    <a:pt x="733" y="636"/>
                  </a:lnTo>
                  <a:lnTo>
                    <a:pt x="764" y="645"/>
                  </a:lnTo>
                  <a:lnTo>
                    <a:pt x="727" y="680"/>
                  </a:lnTo>
                  <a:lnTo>
                    <a:pt x="714" y="736"/>
                  </a:lnTo>
                  <a:lnTo>
                    <a:pt x="752" y="847"/>
                  </a:lnTo>
                  <a:lnTo>
                    <a:pt x="727" y="836"/>
                  </a:lnTo>
                  <a:lnTo>
                    <a:pt x="752" y="880"/>
                  </a:lnTo>
                  <a:lnTo>
                    <a:pt x="727" y="903"/>
                  </a:lnTo>
                  <a:lnTo>
                    <a:pt x="752" y="912"/>
                  </a:lnTo>
                  <a:lnTo>
                    <a:pt x="701" y="1091"/>
                  </a:lnTo>
                  <a:lnTo>
                    <a:pt x="664" y="1149"/>
                  </a:lnTo>
                  <a:lnTo>
                    <a:pt x="632" y="1170"/>
                  </a:lnTo>
                  <a:lnTo>
                    <a:pt x="619" y="1158"/>
                  </a:lnTo>
                  <a:lnTo>
                    <a:pt x="613" y="1179"/>
                  </a:lnTo>
                  <a:lnTo>
                    <a:pt x="569" y="1202"/>
                  </a:lnTo>
                  <a:lnTo>
                    <a:pt x="569" y="1237"/>
                  </a:lnTo>
                  <a:lnTo>
                    <a:pt x="558" y="1193"/>
                  </a:lnTo>
                  <a:lnTo>
                    <a:pt x="532" y="1193"/>
                  </a:lnTo>
                  <a:lnTo>
                    <a:pt x="488" y="1149"/>
                  </a:lnTo>
                  <a:lnTo>
                    <a:pt x="444" y="1170"/>
                  </a:lnTo>
                  <a:lnTo>
                    <a:pt x="438" y="1170"/>
                  </a:lnTo>
                  <a:lnTo>
                    <a:pt x="438" y="1202"/>
                  </a:lnTo>
                  <a:lnTo>
                    <a:pt x="433" y="1193"/>
                  </a:lnTo>
                  <a:lnTo>
                    <a:pt x="401" y="1170"/>
                  </a:lnTo>
                  <a:lnTo>
                    <a:pt x="388" y="1114"/>
                  </a:lnTo>
                  <a:lnTo>
                    <a:pt x="376" y="1126"/>
                  </a:lnTo>
                  <a:lnTo>
                    <a:pt x="388" y="1026"/>
                  </a:lnTo>
                  <a:lnTo>
                    <a:pt x="388" y="991"/>
                  </a:lnTo>
                  <a:lnTo>
                    <a:pt x="369" y="970"/>
                  </a:lnTo>
                  <a:lnTo>
                    <a:pt x="357" y="958"/>
                  </a:lnTo>
                  <a:lnTo>
                    <a:pt x="351" y="924"/>
                  </a:lnTo>
                  <a:lnTo>
                    <a:pt x="282" y="981"/>
                  </a:lnTo>
                  <a:lnTo>
                    <a:pt x="250" y="970"/>
                  </a:lnTo>
                  <a:lnTo>
                    <a:pt x="238" y="1003"/>
                  </a:lnTo>
                  <a:lnTo>
                    <a:pt x="238" y="981"/>
                  </a:lnTo>
                  <a:lnTo>
                    <a:pt x="225" y="981"/>
                  </a:lnTo>
                  <a:lnTo>
                    <a:pt x="188" y="981"/>
                  </a:lnTo>
                  <a:lnTo>
                    <a:pt x="163" y="935"/>
                  </a:lnTo>
                  <a:lnTo>
                    <a:pt x="118" y="903"/>
                  </a:lnTo>
                  <a:lnTo>
                    <a:pt x="82" y="880"/>
                  </a:lnTo>
                  <a:lnTo>
                    <a:pt x="75" y="824"/>
                  </a:lnTo>
                  <a:lnTo>
                    <a:pt x="94" y="812"/>
                  </a:lnTo>
                  <a:lnTo>
                    <a:pt x="82" y="768"/>
                  </a:lnTo>
                  <a:lnTo>
                    <a:pt x="107" y="715"/>
                  </a:lnTo>
                  <a:lnTo>
                    <a:pt x="88" y="691"/>
                  </a:lnTo>
                  <a:lnTo>
                    <a:pt x="63" y="715"/>
                  </a:lnTo>
                  <a:lnTo>
                    <a:pt x="12" y="657"/>
                  </a:lnTo>
                  <a:lnTo>
                    <a:pt x="19" y="645"/>
                  </a:lnTo>
                  <a:lnTo>
                    <a:pt x="19" y="601"/>
                  </a:lnTo>
                  <a:lnTo>
                    <a:pt x="0" y="59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399" name="Group 228"/>
            <p:cNvGrpSpPr>
              <a:grpSpLocks/>
            </p:cNvGrpSpPr>
            <p:nvPr>
              <p:custDataLst>
                <p:tags r:id="rId207"/>
              </p:custDataLst>
            </p:nvPr>
          </p:nvGrpSpPr>
          <p:grpSpPr bwMode="auto">
            <a:xfrm>
              <a:off x="8134236" y="3296816"/>
              <a:ext cx="1762304" cy="981075"/>
              <a:chOff x="4089" y="1707"/>
              <a:chExt cx="952" cy="618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15" name="Freeform 229"/>
              <p:cNvSpPr>
                <a:spLocks/>
              </p:cNvSpPr>
              <p:nvPr/>
            </p:nvSpPr>
            <p:spPr bwMode="auto">
              <a:xfrm>
                <a:off x="4089" y="1707"/>
                <a:ext cx="952" cy="618"/>
              </a:xfrm>
              <a:custGeom>
                <a:avLst/>
                <a:gdLst>
                  <a:gd name="T0" fmla="*/ 7 w 952"/>
                  <a:gd name="T1" fmla="*/ 0 h 1237"/>
                  <a:gd name="T2" fmla="*/ 100 w 952"/>
                  <a:gd name="T3" fmla="*/ 0 h 1237"/>
                  <a:gd name="T4" fmla="*/ 100 w 952"/>
                  <a:gd name="T5" fmla="*/ 0 h 1237"/>
                  <a:gd name="T6" fmla="*/ 144 w 952"/>
                  <a:gd name="T7" fmla="*/ 0 h 1237"/>
                  <a:gd name="T8" fmla="*/ 188 w 952"/>
                  <a:gd name="T9" fmla="*/ 0 h 1237"/>
                  <a:gd name="T10" fmla="*/ 238 w 952"/>
                  <a:gd name="T11" fmla="*/ 0 h 1237"/>
                  <a:gd name="T12" fmla="*/ 269 w 952"/>
                  <a:gd name="T13" fmla="*/ 0 h 1237"/>
                  <a:gd name="T14" fmla="*/ 364 w 952"/>
                  <a:gd name="T15" fmla="*/ 0 h 1237"/>
                  <a:gd name="T16" fmla="*/ 488 w 952"/>
                  <a:gd name="T17" fmla="*/ 0 h 1237"/>
                  <a:gd name="T18" fmla="*/ 594 w 952"/>
                  <a:gd name="T19" fmla="*/ 0 h 1237"/>
                  <a:gd name="T20" fmla="*/ 619 w 952"/>
                  <a:gd name="T21" fmla="*/ 0 h 1237"/>
                  <a:gd name="T22" fmla="*/ 714 w 952"/>
                  <a:gd name="T23" fmla="*/ 0 h 1237"/>
                  <a:gd name="T24" fmla="*/ 658 w 952"/>
                  <a:gd name="T25" fmla="*/ 0 h 1237"/>
                  <a:gd name="T26" fmla="*/ 664 w 952"/>
                  <a:gd name="T27" fmla="*/ 0 h 1237"/>
                  <a:gd name="T28" fmla="*/ 714 w 952"/>
                  <a:gd name="T29" fmla="*/ 0 h 1237"/>
                  <a:gd name="T30" fmla="*/ 720 w 952"/>
                  <a:gd name="T31" fmla="*/ 0 h 1237"/>
                  <a:gd name="T32" fmla="*/ 807 w 952"/>
                  <a:gd name="T33" fmla="*/ 0 h 1237"/>
                  <a:gd name="T34" fmla="*/ 889 w 952"/>
                  <a:gd name="T35" fmla="*/ 0 h 1237"/>
                  <a:gd name="T36" fmla="*/ 952 w 952"/>
                  <a:gd name="T37" fmla="*/ 0 h 1237"/>
                  <a:gd name="T38" fmla="*/ 895 w 952"/>
                  <a:gd name="T39" fmla="*/ 0 h 1237"/>
                  <a:gd name="T40" fmla="*/ 889 w 952"/>
                  <a:gd name="T41" fmla="*/ 0 h 1237"/>
                  <a:gd name="T42" fmla="*/ 852 w 952"/>
                  <a:gd name="T43" fmla="*/ 0 h 1237"/>
                  <a:gd name="T44" fmla="*/ 833 w 952"/>
                  <a:gd name="T45" fmla="*/ 0 h 1237"/>
                  <a:gd name="T46" fmla="*/ 746 w 952"/>
                  <a:gd name="T47" fmla="*/ 0 h 1237"/>
                  <a:gd name="T48" fmla="*/ 752 w 952"/>
                  <a:gd name="T49" fmla="*/ 0 h 1237"/>
                  <a:gd name="T50" fmla="*/ 682 w 952"/>
                  <a:gd name="T51" fmla="*/ 0 h 1237"/>
                  <a:gd name="T52" fmla="*/ 733 w 952"/>
                  <a:gd name="T53" fmla="*/ 0 h 1237"/>
                  <a:gd name="T54" fmla="*/ 727 w 952"/>
                  <a:gd name="T55" fmla="*/ 0 h 1237"/>
                  <a:gd name="T56" fmla="*/ 752 w 952"/>
                  <a:gd name="T57" fmla="*/ 0 h 1237"/>
                  <a:gd name="T58" fmla="*/ 752 w 952"/>
                  <a:gd name="T59" fmla="*/ 0 h 1237"/>
                  <a:gd name="T60" fmla="*/ 752 w 952"/>
                  <a:gd name="T61" fmla="*/ 0 h 1237"/>
                  <a:gd name="T62" fmla="*/ 664 w 952"/>
                  <a:gd name="T63" fmla="*/ 0 h 1237"/>
                  <a:gd name="T64" fmla="*/ 619 w 952"/>
                  <a:gd name="T65" fmla="*/ 0 h 1237"/>
                  <a:gd name="T66" fmla="*/ 569 w 952"/>
                  <a:gd name="T67" fmla="*/ 0 h 1237"/>
                  <a:gd name="T68" fmla="*/ 558 w 952"/>
                  <a:gd name="T69" fmla="*/ 0 h 1237"/>
                  <a:gd name="T70" fmla="*/ 488 w 952"/>
                  <a:gd name="T71" fmla="*/ 0 h 1237"/>
                  <a:gd name="T72" fmla="*/ 438 w 952"/>
                  <a:gd name="T73" fmla="*/ 0 h 1237"/>
                  <a:gd name="T74" fmla="*/ 433 w 952"/>
                  <a:gd name="T75" fmla="*/ 0 h 1237"/>
                  <a:gd name="T76" fmla="*/ 388 w 952"/>
                  <a:gd name="T77" fmla="*/ 0 h 1237"/>
                  <a:gd name="T78" fmla="*/ 388 w 952"/>
                  <a:gd name="T79" fmla="*/ 0 h 1237"/>
                  <a:gd name="T80" fmla="*/ 369 w 952"/>
                  <a:gd name="T81" fmla="*/ 0 h 1237"/>
                  <a:gd name="T82" fmla="*/ 351 w 952"/>
                  <a:gd name="T83" fmla="*/ 0 h 1237"/>
                  <a:gd name="T84" fmla="*/ 250 w 952"/>
                  <a:gd name="T85" fmla="*/ 0 h 1237"/>
                  <a:gd name="T86" fmla="*/ 238 w 952"/>
                  <a:gd name="T87" fmla="*/ 0 h 1237"/>
                  <a:gd name="T88" fmla="*/ 188 w 952"/>
                  <a:gd name="T89" fmla="*/ 0 h 1237"/>
                  <a:gd name="T90" fmla="*/ 118 w 952"/>
                  <a:gd name="T91" fmla="*/ 0 h 1237"/>
                  <a:gd name="T92" fmla="*/ 75 w 952"/>
                  <a:gd name="T93" fmla="*/ 0 h 1237"/>
                  <a:gd name="T94" fmla="*/ 82 w 952"/>
                  <a:gd name="T95" fmla="*/ 0 h 1237"/>
                  <a:gd name="T96" fmla="*/ 88 w 952"/>
                  <a:gd name="T97" fmla="*/ 0 h 1237"/>
                  <a:gd name="T98" fmla="*/ 12 w 952"/>
                  <a:gd name="T99" fmla="*/ 0 h 1237"/>
                  <a:gd name="T100" fmla="*/ 19 w 952"/>
                  <a:gd name="T101" fmla="*/ 0 h 12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952" h="1237">
                    <a:moveTo>
                      <a:pt x="0" y="592"/>
                    </a:moveTo>
                    <a:lnTo>
                      <a:pt x="7" y="547"/>
                    </a:lnTo>
                    <a:lnTo>
                      <a:pt x="44" y="534"/>
                    </a:lnTo>
                    <a:lnTo>
                      <a:pt x="100" y="469"/>
                    </a:lnTo>
                    <a:lnTo>
                      <a:pt x="107" y="425"/>
                    </a:lnTo>
                    <a:lnTo>
                      <a:pt x="100" y="355"/>
                    </a:lnTo>
                    <a:lnTo>
                      <a:pt x="138" y="346"/>
                    </a:lnTo>
                    <a:lnTo>
                      <a:pt x="144" y="267"/>
                    </a:lnTo>
                    <a:lnTo>
                      <a:pt x="188" y="267"/>
                    </a:lnTo>
                    <a:lnTo>
                      <a:pt x="188" y="223"/>
                    </a:lnTo>
                    <a:lnTo>
                      <a:pt x="219" y="188"/>
                    </a:lnTo>
                    <a:lnTo>
                      <a:pt x="238" y="232"/>
                    </a:lnTo>
                    <a:lnTo>
                      <a:pt x="257" y="256"/>
                    </a:lnTo>
                    <a:lnTo>
                      <a:pt x="269" y="346"/>
                    </a:lnTo>
                    <a:lnTo>
                      <a:pt x="338" y="378"/>
                    </a:lnTo>
                    <a:lnTo>
                      <a:pt x="364" y="446"/>
                    </a:lnTo>
                    <a:lnTo>
                      <a:pt x="419" y="434"/>
                    </a:lnTo>
                    <a:lnTo>
                      <a:pt x="488" y="490"/>
                    </a:lnTo>
                    <a:lnTo>
                      <a:pt x="569" y="446"/>
                    </a:lnTo>
                    <a:lnTo>
                      <a:pt x="594" y="401"/>
                    </a:lnTo>
                    <a:lnTo>
                      <a:pt x="594" y="355"/>
                    </a:lnTo>
                    <a:lnTo>
                      <a:pt x="619" y="355"/>
                    </a:lnTo>
                    <a:lnTo>
                      <a:pt x="670" y="290"/>
                    </a:lnTo>
                    <a:lnTo>
                      <a:pt x="714" y="290"/>
                    </a:lnTo>
                    <a:lnTo>
                      <a:pt x="696" y="232"/>
                    </a:lnTo>
                    <a:lnTo>
                      <a:pt x="658" y="246"/>
                    </a:lnTo>
                    <a:lnTo>
                      <a:pt x="651" y="188"/>
                    </a:lnTo>
                    <a:lnTo>
                      <a:pt x="664" y="158"/>
                    </a:lnTo>
                    <a:lnTo>
                      <a:pt x="688" y="167"/>
                    </a:lnTo>
                    <a:lnTo>
                      <a:pt x="714" y="144"/>
                    </a:lnTo>
                    <a:lnTo>
                      <a:pt x="733" y="67"/>
                    </a:lnTo>
                    <a:lnTo>
                      <a:pt x="720" y="44"/>
                    </a:lnTo>
                    <a:lnTo>
                      <a:pt x="783" y="0"/>
                    </a:lnTo>
                    <a:lnTo>
                      <a:pt x="807" y="35"/>
                    </a:lnTo>
                    <a:lnTo>
                      <a:pt x="839" y="167"/>
                    </a:lnTo>
                    <a:lnTo>
                      <a:pt x="889" y="202"/>
                    </a:lnTo>
                    <a:lnTo>
                      <a:pt x="895" y="246"/>
                    </a:lnTo>
                    <a:lnTo>
                      <a:pt x="952" y="211"/>
                    </a:lnTo>
                    <a:lnTo>
                      <a:pt x="927" y="346"/>
                    </a:lnTo>
                    <a:lnTo>
                      <a:pt x="895" y="369"/>
                    </a:lnTo>
                    <a:lnTo>
                      <a:pt x="895" y="425"/>
                    </a:lnTo>
                    <a:lnTo>
                      <a:pt x="889" y="446"/>
                    </a:lnTo>
                    <a:lnTo>
                      <a:pt x="883" y="434"/>
                    </a:lnTo>
                    <a:lnTo>
                      <a:pt x="852" y="478"/>
                    </a:lnTo>
                    <a:lnTo>
                      <a:pt x="852" y="490"/>
                    </a:lnTo>
                    <a:lnTo>
                      <a:pt x="833" y="490"/>
                    </a:lnTo>
                    <a:lnTo>
                      <a:pt x="788" y="547"/>
                    </a:lnTo>
                    <a:lnTo>
                      <a:pt x="746" y="601"/>
                    </a:lnTo>
                    <a:lnTo>
                      <a:pt x="757" y="534"/>
                    </a:lnTo>
                    <a:lnTo>
                      <a:pt x="752" y="513"/>
                    </a:lnTo>
                    <a:lnTo>
                      <a:pt x="688" y="578"/>
                    </a:lnTo>
                    <a:lnTo>
                      <a:pt x="682" y="601"/>
                    </a:lnTo>
                    <a:lnTo>
                      <a:pt x="707" y="645"/>
                    </a:lnTo>
                    <a:lnTo>
                      <a:pt x="733" y="636"/>
                    </a:lnTo>
                    <a:lnTo>
                      <a:pt x="764" y="645"/>
                    </a:lnTo>
                    <a:lnTo>
                      <a:pt x="727" y="680"/>
                    </a:lnTo>
                    <a:lnTo>
                      <a:pt x="714" y="736"/>
                    </a:lnTo>
                    <a:lnTo>
                      <a:pt x="752" y="847"/>
                    </a:lnTo>
                    <a:lnTo>
                      <a:pt x="727" y="836"/>
                    </a:lnTo>
                    <a:lnTo>
                      <a:pt x="752" y="880"/>
                    </a:lnTo>
                    <a:lnTo>
                      <a:pt x="727" y="903"/>
                    </a:lnTo>
                    <a:lnTo>
                      <a:pt x="752" y="912"/>
                    </a:lnTo>
                    <a:lnTo>
                      <a:pt x="701" y="1091"/>
                    </a:lnTo>
                    <a:lnTo>
                      <a:pt x="664" y="1149"/>
                    </a:lnTo>
                    <a:lnTo>
                      <a:pt x="632" y="1170"/>
                    </a:lnTo>
                    <a:lnTo>
                      <a:pt x="619" y="1158"/>
                    </a:lnTo>
                    <a:lnTo>
                      <a:pt x="613" y="1179"/>
                    </a:lnTo>
                    <a:lnTo>
                      <a:pt x="569" y="1202"/>
                    </a:lnTo>
                    <a:lnTo>
                      <a:pt x="569" y="1237"/>
                    </a:lnTo>
                    <a:lnTo>
                      <a:pt x="558" y="1193"/>
                    </a:lnTo>
                    <a:lnTo>
                      <a:pt x="532" y="1193"/>
                    </a:lnTo>
                    <a:lnTo>
                      <a:pt x="488" y="1149"/>
                    </a:lnTo>
                    <a:lnTo>
                      <a:pt x="444" y="1170"/>
                    </a:lnTo>
                    <a:lnTo>
                      <a:pt x="438" y="1170"/>
                    </a:lnTo>
                    <a:lnTo>
                      <a:pt x="438" y="1202"/>
                    </a:lnTo>
                    <a:lnTo>
                      <a:pt x="433" y="1193"/>
                    </a:lnTo>
                    <a:lnTo>
                      <a:pt x="401" y="1170"/>
                    </a:lnTo>
                    <a:lnTo>
                      <a:pt x="388" y="1114"/>
                    </a:lnTo>
                    <a:lnTo>
                      <a:pt x="376" y="1126"/>
                    </a:lnTo>
                    <a:lnTo>
                      <a:pt x="388" y="1026"/>
                    </a:lnTo>
                    <a:lnTo>
                      <a:pt x="388" y="991"/>
                    </a:lnTo>
                    <a:lnTo>
                      <a:pt x="369" y="970"/>
                    </a:lnTo>
                    <a:lnTo>
                      <a:pt x="357" y="958"/>
                    </a:lnTo>
                    <a:lnTo>
                      <a:pt x="351" y="924"/>
                    </a:lnTo>
                    <a:lnTo>
                      <a:pt x="282" y="981"/>
                    </a:lnTo>
                    <a:lnTo>
                      <a:pt x="250" y="970"/>
                    </a:lnTo>
                    <a:lnTo>
                      <a:pt x="238" y="1003"/>
                    </a:lnTo>
                    <a:lnTo>
                      <a:pt x="238" y="981"/>
                    </a:lnTo>
                    <a:lnTo>
                      <a:pt x="225" y="981"/>
                    </a:lnTo>
                    <a:lnTo>
                      <a:pt x="188" y="981"/>
                    </a:lnTo>
                    <a:lnTo>
                      <a:pt x="163" y="935"/>
                    </a:lnTo>
                    <a:lnTo>
                      <a:pt x="118" y="903"/>
                    </a:lnTo>
                    <a:lnTo>
                      <a:pt x="82" y="880"/>
                    </a:lnTo>
                    <a:lnTo>
                      <a:pt x="75" y="824"/>
                    </a:lnTo>
                    <a:lnTo>
                      <a:pt x="94" y="812"/>
                    </a:lnTo>
                    <a:lnTo>
                      <a:pt x="82" y="768"/>
                    </a:lnTo>
                    <a:lnTo>
                      <a:pt x="107" y="715"/>
                    </a:lnTo>
                    <a:lnTo>
                      <a:pt x="88" y="691"/>
                    </a:lnTo>
                    <a:lnTo>
                      <a:pt x="63" y="715"/>
                    </a:lnTo>
                    <a:lnTo>
                      <a:pt x="12" y="657"/>
                    </a:lnTo>
                    <a:lnTo>
                      <a:pt x="19" y="645"/>
                    </a:lnTo>
                    <a:lnTo>
                      <a:pt x="19" y="601"/>
                    </a:lnTo>
                    <a:lnTo>
                      <a:pt x="0" y="592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16" name="Freeform 230"/>
              <p:cNvSpPr>
                <a:spLocks/>
              </p:cNvSpPr>
              <p:nvPr/>
            </p:nvSpPr>
            <p:spPr bwMode="auto">
              <a:xfrm>
                <a:off x="4089" y="1707"/>
                <a:ext cx="952" cy="618"/>
              </a:xfrm>
              <a:custGeom>
                <a:avLst/>
                <a:gdLst>
                  <a:gd name="T0" fmla="*/ 7 w 952"/>
                  <a:gd name="T1" fmla="*/ 0 h 1237"/>
                  <a:gd name="T2" fmla="*/ 100 w 952"/>
                  <a:gd name="T3" fmla="*/ 0 h 1237"/>
                  <a:gd name="T4" fmla="*/ 100 w 952"/>
                  <a:gd name="T5" fmla="*/ 0 h 1237"/>
                  <a:gd name="T6" fmla="*/ 144 w 952"/>
                  <a:gd name="T7" fmla="*/ 0 h 1237"/>
                  <a:gd name="T8" fmla="*/ 188 w 952"/>
                  <a:gd name="T9" fmla="*/ 0 h 1237"/>
                  <a:gd name="T10" fmla="*/ 238 w 952"/>
                  <a:gd name="T11" fmla="*/ 0 h 1237"/>
                  <a:gd name="T12" fmla="*/ 269 w 952"/>
                  <a:gd name="T13" fmla="*/ 0 h 1237"/>
                  <a:gd name="T14" fmla="*/ 364 w 952"/>
                  <a:gd name="T15" fmla="*/ 0 h 1237"/>
                  <a:gd name="T16" fmla="*/ 488 w 952"/>
                  <a:gd name="T17" fmla="*/ 0 h 1237"/>
                  <a:gd name="T18" fmla="*/ 594 w 952"/>
                  <a:gd name="T19" fmla="*/ 0 h 1237"/>
                  <a:gd name="T20" fmla="*/ 619 w 952"/>
                  <a:gd name="T21" fmla="*/ 0 h 1237"/>
                  <a:gd name="T22" fmla="*/ 714 w 952"/>
                  <a:gd name="T23" fmla="*/ 0 h 1237"/>
                  <a:gd name="T24" fmla="*/ 658 w 952"/>
                  <a:gd name="T25" fmla="*/ 0 h 1237"/>
                  <a:gd name="T26" fmla="*/ 664 w 952"/>
                  <a:gd name="T27" fmla="*/ 0 h 1237"/>
                  <a:gd name="T28" fmla="*/ 714 w 952"/>
                  <a:gd name="T29" fmla="*/ 0 h 1237"/>
                  <a:gd name="T30" fmla="*/ 720 w 952"/>
                  <a:gd name="T31" fmla="*/ 0 h 1237"/>
                  <a:gd name="T32" fmla="*/ 807 w 952"/>
                  <a:gd name="T33" fmla="*/ 0 h 1237"/>
                  <a:gd name="T34" fmla="*/ 889 w 952"/>
                  <a:gd name="T35" fmla="*/ 0 h 1237"/>
                  <a:gd name="T36" fmla="*/ 952 w 952"/>
                  <a:gd name="T37" fmla="*/ 0 h 1237"/>
                  <a:gd name="T38" fmla="*/ 895 w 952"/>
                  <a:gd name="T39" fmla="*/ 0 h 1237"/>
                  <a:gd name="T40" fmla="*/ 889 w 952"/>
                  <a:gd name="T41" fmla="*/ 0 h 1237"/>
                  <a:gd name="T42" fmla="*/ 852 w 952"/>
                  <a:gd name="T43" fmla="*/ 0 h 1237"/>
                  <a:gd name="T44" fmla="*/ 833 w 952"/>
                  <a:gd name="T45" fmla="*/ 0 h 1237"/>
                  <a:gd name="T46" fmla="*/ 746 w 952"/>
                  <a:gd name="T47" fmla="*/ 0 h 1237"/>
                  <a:gd name="T48" fmla="*/ 752 w 952"/>
                  <a:gd name="T49" fmla="*/ 0 h 1237"/>
                  <a:gd name="T50" fmla="*/ 682 w 952"/>
                  <a:gd name="T51" fmla="*/ 0 h 1237"/>
                  <a:gd name="T52" fmla="*/ 733 w 952"/>
                  <a:gd name="T53" fmla="*/ 0 h 1237"/>
                  <a:gd name="T54" fmla="*/ 727 w 952"/>
                  <a:gd name="T55" fmla="*/ 0 h 1237"/>
                  <a:gd name="T56" fmla="*/ 752 w 952"/>
                  <a:gd name="T57" fmla="*/ 0 h 1237"/>
                  <a:gd name="T58" fmla="*/ 752 w 952"/>
                  <a:gd name="T59" fmla="*/ 0 h 1237"/>
                  <a:gd name="T60" fmla="*/ 752 w 952"/>
                  <a:gd name="T61" fmla="*/ 0 h 1237"/>
                  <a:gd name="T62" fmla="*/ 664 w 952"/>
                  <a:gd name="T63" fmla="*/ 0 h 1237"/>
                  <a:gd name="T64" fmla="*/ 619 w 952"/>
                  <a:gd name="T65" fmla="*/ 0 h 1237"/>
                  <a:gd name="T66" fmla="*/ 569 w 952"/>
                  <a:gd name="T67" fmla="*/ 0 h 1237"/>
                  <a:gd name="T68" fmla="*/ 558 w 952"/>
                  <a:gd name="T69" fmla="*/ 0 h 1237"/>
                  <a:gd name="T70" fmla="*/ 488 w 952"/>
                  <a:gd name="T71" fmla="*/ 0 h 1237"/>
                  <a:gd name="T72" fmla="*/ 438 w 952"/>
                  <a:gd name="T73" fmla="*/ 0 h 1237"/>
                  <a:gd name="T74" fmla="*/ 433 w 952"/>
                  <a:gd name="T75" fmla="*/ 0 h 1237"/>
                  <a:gd name="T76" fmla="*/ 388 w 952"/>
                  <a:gd name="T77" fmla="*/ 0 h 1237"/>
                  <a:gd name="T78" fmla="*/ 388 w 952"/>
                  <a:gd name="T79" fmla="*/ 0 h 1237"/>
                  <a:gd name="T80" fmla="*/ 369 w 952"/>
                  <a:gd name="T81" fmla="*/ 0 h 1237"/>
                  <a:gd name="T82" fmla="*/ 351 w 952"/>
                  <a:gd name="T83" fmla="*/ 0 h 1237"/>
                  <a:gd name="T84" fmla="*/ 250 w 952"/>
                  <a:gd name="T85" fmla="*/ 0 h 1237"/>
                  <a:gd name="T86" fmla="*/ 238 w 952"/>
                  <a:gd name="T87" fmla="*/ 0 h 1237"/>
                  <a:gd name="T88" fmla="*/ 188 w 952"/>
                  <a:gd name="T89" fmla="*/ 0 h 1237"/>
                  <a:gd name="T90" fmla="*/ 118 w 952"/>
                  <a:gd name="T91" fmla="*/ 0 h 1237"/>
                  <a:gd name="T92" fmla="*/ 75 w 952"/>
                  <a:gd name="T93" fmla="*/ 0 h 1237"/>
                  <a:gd name="T94" fmla="*/ 82 w 952"/>
                  <a:gd name="T95" fmla="*/ 0 h 1237"/>
                  <a:gd name="T96" fmla="*/ 88 w 952"/>
                  <a:gd name="T97" fmla="*/ 0 h 1237"/>
                  <a:gd name="T98" fmla="*/ 12 w 952"/>
                  <a:gd name="T99" fmla="*/ 0 h 1237"/>
                  <a:gd name="T100" fmla="*/ 19 w 952"/>
                  <a:gd name="T101" fmla="*/ 0 h 12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952" h="1237">
                    <a:moveTo>
                      <a:pt x="0" y="592"/>
                    </a:moveTo>
                    <a:lnTo>
                      <a:pt x="7" y="547"/>
                    </a:lnTo>
                    <a:lnTo>
                      <a:pt x="44" y="534"/>
                    </a:lnTo>
                    <a:lnTo>
                      <a:pt x="100" y="469"/>
                    </a:lnTo>
                    <a:lnTo>
                      <a:pt x="107" y="425"/>
                    </a:lnTo>
                    <a:lnTo>
                      <a:pt x="100" y="355"/>
                    </a:lnTo>
                    <a:lnTo>
                      <a:pt x="138" y="346"/>
                    </a:lnTo>
                    <a:lnTo>
                      <a:pt x="144" y="267"/>
                    </a:lnTo>
                    <a:lnTo>
                      <a:pt x="188" y="267"/>
                    </a:lnTo>
                    <a:lnTo>
                      <a:pt x="188" y="223"/>
                    </a:lnTo>
                    <a:lnTo>
                      <a:pt x="219" y="188"/>
                    </a:lnTo>
                    <a:lnTo>
                      <a:pt x="238" y="232"/>
                    </a:lnTo>
                    <a:lnTo>
                      <a:pt x="257" y="256"/>
                    </a:lnTo>
                    <a:lnTo>
                      <a:pt x="269" y="346"/>
                    </a:lnTo>
                    <a:lnTo>
                      <a:pt x="338" y="378"/>
                    </a:lnTo>
                    <a:lnTo>
                      <a:pt x="364" y="446"/>
                    </a:lnTo>
                    <a:lnTo>
                      <a:pt x="419" y="434"/>
                    </a:lnTo>
                    <a:lnTo>
                      <a:pt x="488" y="490"/>
                    </a:lnTo>
                    <a:lnTo>
                      <a:pt x="569" y="446"/>
                    </a:lnTo>
                    <a:lnTo>
                      <a:pt x="594" y="401"/>
                    </a:lnTo>
                    <a:lnTo>
                      <a:pt x="594" y="355"/>
                    </a:lnTo>
                    <a:lnTo>
                      <a:pt x="619" y="355"/>
                    </a:lnTo>
                    <a:lnTo>
                      <a:pt x="670" y="290"/>
                    </a:lnTo>
                    <a:lnTo>
                      <a:pt x="714" y="290"/>
                    </a:lnTo>
                    <a:lnTo>
                      <a:pt x="696" y="232"/>
                    </a:lnTo>
                    <a:lnTo>
                      <a:pt x="658" y="246"/>
                    </a:lnTo>
                    <a:lnTo>
                      <a:pt x="651" y="188"/>
                    </a:lnTo>
                    <a:lnTo>
                      <a:pt x="664" y="158"/>
                    </a:lnTo>
                    <a:lnTo>
                      <a:pt x="688" y="167"/>
                    </a:lnTo>
                    <a:lnTo>
                      <a:pt x="714" y="144"/>
                    </a:lnTo>
                    <a:lnTo>
                      <a:pt x="733" y="67"/>
                    </a:lnTo>
                    <a:lnTo>
                      <a:pt x="720" y="44"/>
                    </a:lnTo>
                    <a:lnTo>
                      <a:pt x="783" y="0"/>
                    </a:lnTo>
                    <a:lnTo>
                      <a:pt x="807" y="35"/>
                    </a:lnTo>
                    <a:lnTo>
                      <a:pt x="839" y="167"/>
                    </a:lnTo>
                    <a:lnTo>
                      <a:pt x="889" y="202"/>
                    </a:lnTo>
                    <a:lnTo>
                      <a:pt x="895" y="246"/>
                    </a:lnTo>
                    <a:lnTo>
                      <a:pt x="952" y="211"/>
                    </a:lnTo>
                    <a:lnTo>
                      <a:pt x="927" y="346"/>
                    </a:lnTo>
                    <a:lnTo>
                      <a:pt x="895" y="369"/>
                    </a:lnTo>
                    <a:lnTo>
                      <a:pt x="895" y="425"/>
                    </a:lnTo>
                    <a:lnTo>
                      <a:pt x="889" y="446"/>
                    </a:lnTo>
                    <a:lnTo>
                      <a:pt x="883" y="434"/>
                    </a:lnTo>
                    <a:lnTo>
                      <a:pt x="852" y="478"/>
                    </a:lnTo>
                    <a:lnTo>
                      <a:pt x="852" y="490"/>
                    </a:lnTo>
                    <a:lnTo>
                      <a:pt x="833" y="490"/>
                    </a:lnTo>
                    <a:lnTo>
                      <a:pt x="788" y="547"/>
                    </a:lnTo>
                    <a:lnTo>
                      <a:pt x="746" y="601"/>
                    </a:lnTo>
                    <a:lnTo>
                      <a:pt x="757" y="534"/>
                    </a:lnTo>
                    <a:lnTo>
                      <a:pt x="752" y="513"/>
                    </a:lnTo>
                    <a:lnTo>
                      <a:pt x="688" y="578"/>
                    </a:lnTo>
                    <a:lnTo>
                      <a:pt x="682" y="601"/>
                    </a:lnTo>
                    <a:lnTo>
                      <a:pt x="707" y="645"/>
                    </a:lnTo>
                    <a:lnTo>
                      <a:pt x="733" y="636"/>
                    </a:lnTo>
                    <a:lnTo>
                      <a:pt x="764" y="645"/>
                    </a:lnTo>
                    <a:lnTo>
                      <a:pt x="727" y="680"/>
                    </a:lnTo>
                    <a:lnTo>
                      <a:pt x="714" y="736"/>
                    </a:lnTo>
                    <a:lnTo>
                      <a:pt x="752" y="847"/>
                    </a:lnTo>
                    <a:lnTo>
                      <a:pt x="727" y="836"/>
                    </a:lnTo>
                    <a:lnTo>
                      <a:pt x="752" y="880"/>
                    </a:lnTo>
                    <a:lnTo>
                      <a:pt x="727" y="903"/>
                    </a:lnTo>
                    <a:lnTo>
                      <a:pt x="752" y="912"/>
                    </a:lnTo>
                    <a:lnTo>
                      <a:pt x="701" y="1091"/>
                    </a:lnTo>
                    <a:lnTo>
                      <a:pt x="664" y="1149"/>
                    </a:lnTo>
                    <a:lnTo>
                      <a:pt x="632" y="1170"/>
                    </a:lnTo>
                    <a:lnTo>
                      <a:pt x="619" y="1158"/>
                    </a:lnTo>
                    <a:lnTo>
                      <a:pt x="613" y="1179"/>
                    </a:lnTo>
                    <a:lnTo>
                      <a:pt x="569" y="1202"/>
                    </a:lnTo>
                    <a:lnTo>
                      <a:pt x="569" y="1237"/>
                    </a:lnTo>
                    <a:lnTo>
                      <a:pt x="558" y="1193"/>
                    </a:lnTo>
                    <a:lnTo>
                      <a:pt x="532" y="1193"/>
                    </a:lnTo>
                    <a:lnTo>
                      <a:pt x="488" y="1149"/>
                    </a:lnTo>
                    <a:lnTo>
                      <a:pt x="444" y="1170"/>
                    </a:lnTo>
                    <a:lnTo>
                      <a:pt x="438" y="1170"/>
                    </a:lnTo>
                    <a:lnTo>
                      <a:pt x="438" y="1202"/>
                    </a:lnTo>
                    <a:lnTo>
                      <a:pt x="433" y="1193"/>
                    </a:lnTo>
                    <a:lnTo>
                      <a:pt x="401" y="1170"/>
                    </a:lnTo>
                    <a:lnTo>
                      <a:pt x="388" y="1114"/>
                    </a:lnTo>
                    <a:lnTo>
                      <a:pt x="376" y="1126"/>
                    </a:lnTo>
                    <a:lnTo>
                      <a:pt x="388" y="1026"/>
                    </a:lnTo>
                    <a:lnTo>
                      <a:pt x="388" y="991"/>
                    </a:lnTo>
                    <a:lnTo>
                      <a:pt x="369" y="970"/>
                    </a:lnTo>
                    <a:lnTo>
                      <a:pt x="357" y="958"/>
                    </a:lnTo>
                    <a:lnTo>
                      <a:pt x="351" y="924"/>
                    </a:lnTo>
                    <a:lnTo>
                      <a:pt x="282" y="981"/>
                    </a:lnTo>
                    <a:lnTo>
                      <a:pt x="250" y="970"/>
                    </a:lnTo>
                    <a:lnTo>
                      <a:pt x="238" y="1003"/>
                    </a:lnTo>
                    <a:lnTo>
                      <a:pt x="238" y="981"/>
                    </a:lnTo>
                    <a:lnTo>
                      <a:pt x="225" y="981"/>
                    </a:lnTo>
                    <a:lnTo>
                      <a:pt x="188" y="981"/>
                    </a:lnTo>
                    <a:lnTo>
                      <a:pt x="163" y="935"/>
                    </a:lnTo>
                    <a:lnTo>
                      <a:pt x="118" y="903"/>
                    </a:lnTo>
                    <a:lnTo>
                      <a:pt x="82" y="880"/>
                    </a:lnTo>
                    <a:lnTo>
                      <a:pt x="75" y="824"/>
                    </a:lnTo>
                    <a:lnTo>
                      <a:pt x="94" y="812"/>
                    </a:lnTo>
                    <a:lnTo>
                      <a:pt x="82" y="768"/>
                    </a:lnTo>
                    <a:lnTo>
                      <a:pt x="107" y="715"/>
                    </a:lnTo>
                    <a:lnTo>
                      <a:pt x="88" y="691"/>
                    </a:lnTo>
                    <a:lnTo>
                      <a:pt x="63" y="715"/>
                    </a:lnTo>
                    <a:lnTo>
                      <a:pt x="12" y="657"/>
                    </a:lnTo>
                    <a:lnTo>
                      <a:pt x="19" y="645"/>
                    </a:lnTo>
                    <a:lnTo>
                      <a:pt x="19" y="601"/>
                    </a:lnTo>
                    <a:lnTo>
                      <a:pt x="0" y="592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400" name="Freeform 231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9144704" y="4285820"/>
              <a:ext cx="68166" cy="44450"/>
            </a:xfrm>
            <a:custGeom>
              <a:avLst/>
              <a:gdLst>
                <a:gd name="T0" fmla="*/ 0 w 37"/>
                <a:gd name="T1" fmla="*/ 2147483647 h 55"/>
                <a:gd name="T2" fmla="*/ 2147483647 w 37"/>
                <a:gd name="T3" fmla="*/ 0 h 55"/>
                <a:gd name="T4" fmla="*/ 2147483647 w 37"/>
                <a:gd name="T5" fmla="*/ 2147483647 h 55"/>
                <a:gd name="T6" fmla="*/ 2147483647 w 37"/>
                <a:gd name="T7" fmla="*/ 2147483647 h 55"/>
                <a:gd name="T8" fmla="*/ 0 w 37"/>
                <a:gd name="T9" fmla="*/ 2147483647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" h="55">
                  <a:moveTo>
                    <a:pt x="0" y="46"/>
                  </a:moveTo>
                  <a:lnTo>
                    <a:pt x="13" y="0"/>
                  </a:lnTo>
                  <a:lnTo>
                    <a:pt x="37" y="11"/>
                  </a:lnTo>
                  <a:lnTo>
                    <a:pt x="19" y="55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01" name="Freeform 232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9144704" y="4285820"/>
              <a:ext cx="68166" cy="44450"/>
            </a:xfrm>
            <a:custGeom>
              <a:avLst/>
              <a:gdLst>
                <a:gd name="T0" fmla="*/ 0 w 37"/>
                <a:gd name="T1" fmla="*/ 2147483647 h 55"/>
                <a:gd name="T2" fmla="*/ 2147483647 w 37"/>
                <a:gd name="T3" fmla="*/ 0 h 55"/>
                <a:gd name="T4" fmla="*/ 2147483647 w 37"/>
                <a:gd name="T5" fmla="*/ 2147483647 h 55"/>
                <a:gd name="T6" fmla="*/ 2147483647 w 37"/>
                <a:gd name="T7" fmla="*/ 2147483647 h 55"/>
                <a:gd name="T8" fmla="*/ 0 w 37"/>
                <a:gd name="T9" fmla="*/ 2147483647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" h="55">
                  <a:moveTo>
                    <a:pt x="0" y="46"/>
                  </a:moveTo>
                  <a:lnTo>
                    <a:pt x="13" y="0"/>
                  </a:lnTo>
                  <a:lnTo>
                    <a:pt x="37" y="11"/>
                  </a:lnTo>
                  <a:lnTo>
                    <a:pt x="19" y="55"/>
                  </a:lnTo>
                  <a:lnTo>
                    <a:pt x="0" y="4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02" name="Freeform 233"/>
            <p:cNvSpPr>
              <a:spLocks/>
            </p:cNvSpPr>
            <p:nvPr>
              <p:custDataLst>
                <p:tags r:id="rId210"/>
              </p:custDataLst>
            </p:nvPr>
          </p:nvSpPr>
          <p:spPr bwMode="auto">
            <a:xfrm>
              <a:off x="9144704" y="4285820"/>
              <a:ext cx="68166" cy="44450"/>
            </a:xfrm>
            <a:custGeom>
              <a:avLst/>
              <a:gdLst>
                <a:gd name="T0" fmla="*/ 0 w 37"/>
                <a:gd name="T1" fmla="*/ 2147483647 h 55"/>
                <a:gd name="T2" fmla="*/ 2147483647 w 37"/>
                <a:gd name="T3" fmla="*/ 0 h 55"/>
                <a:gd name="T4" fmla="*/ 2147483647 w 37"/>
                <a:gd name="T5" fmla="*/ 2147483647 h 55"/>
                <a:gd name="T6" fmla="*/ 2147483647 w 37"/>
                <a:gd name="T7" fmla="*/ 2147483647 h 55"/>
                <a:gd name="T8" fmla="*/ 0 w 37"/>
                <a:gd name="T9" fmla="*/ 2147483647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" h="55">
                  <a:moveTo>
                    <a:pt x="0" y="46"/>
                  </a:moveTo>
                  <a:lnTo>
                    <a:pt x="13" y="0"/>
                  </a:lnTo>
                  <a:lnTo>
                    <a:pt x="37" y="11"/>
                  </a:lnTo>
                  <a:lnTo>
                    <a:pt x="19" y="55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03" name="Freeform 234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9144704" y="4285820"/>
              <a:ext cx="68166" cy="44450"/>
            </a:xfrm>
            <a:custGeom>
              <a:avLst/>
              <a:gdLst>
                <a:gd name="T0" fmla="*/ 0 w 37"/>
                <a:gd name="T1" fmla="*/ 2147483647 h 55"/>
                <a:gd name="T2" fmla="*/ 2147483647 w 37"/>
                <a:gd name="T3" fmla="*/ 0 h 55"/>
                <a:gd name="T4" fmla="*/ 2147483647 w 37"/>
                <a:gd name="T5" fmla="*/ 2147483647 h 55"/>
                <a:gd name="T6" fmla="*/ 2147483647 w 37"/>
                <a:gd name="T7" fmla="*/ 2147483647 h 55"/>
                <a:gd name="T8" fmla="*/ 0 w 37"/>
                <a:gd name="T9" fmla="*/ 2147483647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7" h="55">
                  <a:moveTo>
                    <a:pt x="0" y="46"/>
                  </a:moveTo>
                  <a:lnTo>
                    <a:pt x="13" y="0"/>
                  </a:lnTo>
                  <a:lnTo>
                    <a:pt x="37" y="11"/>
                  </a:lnTo>
                  <a:lnTo>
                    <a:pt x="19" y="55"/>
                  </a:lnTo>
                  <a:lnTo>
                    <a:pt x="0" y="4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04" name="Freeform 235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9481510" y="4155645"/>
              <a:ext cx="46113" cy="77788"/>
            </a:xfrm>
            <a:custGeom>
              <a:avLst/>
              <a:gdLst>
                <a:gd name="T0" fmla="*/ 0 w 25"/>
                <a:gd name="T1" fmla="*/ 2147483647 h 98"/>
                <a:gd name="T2" fmla="*/ 2147483647 w 25"/>
                <a:gd name="T3" fmla="*/ 2147483647 h 98"/>
                <a:gd name="T4" fmla="*/ 2147483647 w 25"/>
                <a:gd name="T5" fmla="*/ 0 h 98"/>
                <a:gd name="T6" fmla="*/ 2147483647 w 25"/>
                <a:gd name="T7" fmla="*/ 0 h 98"/>
                <a:gd name="T8" fmla="*/ 0 w 25"/>
                <a:gd name="T9" fmla="*/ 2147483647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98">
                  <a:moveTo>
                    <a:pt x="0" y="43"/>
                  </a:moveTo>
                  <a:lnTo>
                    <a:pt x="5" y="98"/>
                  </a:lnTo>
                  <a:lnTo>
                    <a:pt x="25" y="0"/>
                  </a:lnTo>
                  <a:lnTo>
                    <a:pt x="11" y="0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05" name="Freeform 236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9481510" y="4155645"/>
              <a:ext cx="46113" cy="77788"/>
            </a:xfrm>
            <a:custGeom>
              <a:avLst/>
              <a:gdLst>
                <a:gd name="T0" fmla="*/ 0 w 25"/>
                <a:gd name="T1" fmla="*/ 2147483647 h 98"/>
                <a:gd name="T2" fmla="*/ 2147483647 w 25"/>
                <a:gd name="T3" fmla="*/ 2147483647 h 98"/>
                <a:gd name="T4" fmla="*/ 2147483647 w 25"/>
                <a:gd name="T5" fmla="*/ 0 h 98"/>
                <a:gd name="T6" fmla="*/ 2147483647 w 25"/>
                <a:gd name="T7" fmla="*/ 0 h 98"/>
                <a:gd name="T8" fmla="*/ 0 w 25"/>
                <a:gd name="T9" fmla="*/ 2147483647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98">
                  <a:moveTo>
                    <a:pt x="0" y="43"/>
                  </a:moveTo>
                  <a:lnTo>
                    <a:pt x="5" y="98"/>
                  </a:lnTo>
                  <a:lnTo>
                    <a:pt x="25" y="0"/>
                  </a:lnTo>
                  <a:lnTo>
                    <a:pt x="11" y="0"/>
                  </a:lnTo>
                  <a:lnTo>
                    <a:pt x="0" y="4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06" name="Freeform 237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9481510" y="4155645"/>
              <a:ext cx="46113" cy="77788"/>
            </a:xfrm>
            <a:custGeom>
              <a:avLst/>
              <a:gdLst>
                <a:gd name="T0" fmla="*/ 0 w 25"/>
                <a:gd name="T1" fmla="*/ 2147483647 h 98"/>
                <a:gd name="T2" fmla="*/ 2147483647 w 25"/>
                <a:gd name="T3" fmla="*/ 2147483647 h 98"/>
                <a:gd name="T4" fmla="*/ 2147483647 w 25"/>
                <a:gd name="T5" fmla="*/ 0 h 98"/>
                <a:gd name="T6" fmla="*/ 2147483647 w 25"/>
                <a:gd name="T7" fmla="*/ 0 h 98"/>
                <a:gd name="T8" fmla="*/ 0 w 25"/>
                <a:gd name="T9" fmla="*/ 2147483647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98">
                  <a:moveTo>
                    <a:pt x="0" y="43"/>
                  </a:moveTo>
                  <a:lnTo>
                    <a:pt x="5" y="98"/>
                  </a:lnTo>
                  <a:lnTo>
                    <a:pt x="25" y="0"/>
                  </a:lnTo>
                  <a:lnTo>
                    <a:pt x="11" y="0"/>
                  </a:lnTo>
                  <a:lnTo>
                    <a:pt x="0" y="4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07" name="Freeform 238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9481510" y="4155645"/>
              <a:ext cx="46113" cy="77788"/>
            </a:xfrm>
            <a:custGeom>
              <a:avLst/>
              <a:gdLst>
                <a:gd name="T0" fmla="*/ 0 w 25"/>
                <a:gd name="T1" fmla="*/ 2147483647 h 98"/>
                <a:gd name="T2" fmla="*/ 2147483647 w 25"/>
                <a:gd name="T3" fmla="*/ 2147483647 h 98"/>
                <a:gd name="T4" fmla="*/ 2147483647 w 25"/>
                <a:gd name="T5" fmla="*/ 0 h 98"/>
                <a:gd name="T6" fmla="*/ 2147483647 w 25"/>
                <a:gd name="T7" fmla="*/ 0 h 98"/>
                <a:gd name="T8" fmla="*/ 0 w 25"/>
                <a:gd name="T9" fmla="*/ 2147483647 h 9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98">
                  <a:moveTo>
                    <a:pt x="0" y="43"/>
                  </a:moveTo>
                  <a:lnTo>
                    <a:pt x="5" y="98"/>
                  </a:lnTo>
                  <a:lnTo>
                    <a:pt x="25" y="0"/>
                  </a:lnTo>
                  <a:lnTo>
                    <a:pt x="11" y="0"/>
                  </a:lnTo>
                  <a:lnTo>
                    <a:pt x="0" y="4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08" name="Freeform 239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3514940" y="4481083"/>
              <a:ext cx="334818" cy="423862"/>
            </a:xfrm>
            <a:custGeom>
              <a:avLst/>
              <a:gdLst>
                <a:gd name="T0" fmla="*/ 0 w 180"/>
                <a:gd name="T1" fmla="*/ 2147483647 h 534"/>
                <a:gd name="T2" fmla="*/ 2147483647 w 180"/>
                <a:gd name="T3" fmla="*/ 2147483647 h 534"/>
                <a:gd name="T4" fmla="*/ 2147483647 w 180"/>
                <a:gd name="T5" fmla="*/ 2147483647 h 534"/>
                <a:gd name="T6" fmla="*/ 2147483647 w 180"/>
                <a:gd name="T7" fmla="*/ 2147483647 h 534"/>
                <a:gd name="T8" fmla="*/ 2147483647 w 180"/>
                <a:gd name="T9" fmla="*/ 2147483647 h 534"/>
                <a:gd name="T10" fmla="*/ 2147483647 w 180"/>
                <a:gd name="T11" fmla="*/ 2147483647 h 534"/>
                <a:gd name="T12" fmla="*/ 2147483647 w 180"/>
                <a:gd name="T13" fmla="*/ 2147483647 h 534"/>
                <a:gd name="T14" fmla="*/ 2147483647 w 180"/>
                <a:gd name="T15" fmla="*/ 2147483647 h 534"/>
                <a:gd name="T16" fmla="*/ 2147483647 w 180"/>
                <a:gd name="T17" fmla="*/ 2147483647 h 534"/>
                <a:gd name="T18" fmla="*/ 2147483647 w 180"/>
                <a:gd name="T19" fmla="*/ 2147483647 h 534"/>
                <a:gd name="T20" fmla="*/ 2147483647 w 180"/>
                <a:gd name="T21" fmla="*/ 2147483647 h 534"/>
                <a:gd name="T22" fmla="*/ 2147483647 w 180"/>
                <a:gd name="T23" fmla="*/ 2147483647 h 534"/>
                <a:gd name="T24" fmla="*/ 2147483647 w 180"/>
                <a:gd name="T25" fmla="*/ 2147483647 h 534"/>
                <a:gd name="T26" fmla="*/ 2147483647 w 180"/>
                <a:gd name="T27" fmla="*/ 2147483647 h 534"/>
                <a:gd name="T28" fmla="*/ 2147483647 w 180"/>
                <a:gd name="T29" fmla="*/ 2147483647 h 534"/>
                <a:gd name="T30" fmla="*/ 2147483647 w 180"/>
                <a:gd name="T31" fmla="*/ 2147483647 h 534"/>
                <a:gd name="T32" fmla="*/ 2147483647 w 180"/>
                <a:gd name="T33" fmla="*/ 2147483647 h 534"/>
                <a:gd name="T34" fmla="*/ 2147483647 w 180"/>
                <a:gd name="T35" fmla="*/ 2147483647 h 534"/>
                <a:gd name="T36" fmla="*/ 2147483647 w 180"/>
                <a:gd name="T37" fmla="*/ 2147483647 h 534"/>
                <a:gd name="T38" fmla="*/ 2147483647 w 180"/>
                <a:gd name="T39" fmla="*/ 2147483647 h 534"/>
                <a:gd name="T40" fmla="*/ 2147483647 w 180"/>
                <a:gd name="T41" fmla="*/ 0 h 534"/>
                <a:gd name="T42" fmla="*/ 2147483647 w 180"/>
                <a:gd name="T43" fmla="*/ 2147483647 h 534"/>
                <a:gd name="T44" fmla="*/ 2147483647 w 180"/>
                <a:gd name="T45" fmla="*/ 2147483647 h 534"/>
                <a:gd name="T46" fmla="*/ 2147483647 w 180"/>
                <a:gd name="T47" fmla="*/ 2147483647 h 534"/>
                <a:gd name="T48" fmla="*/ 2147483647 w 180"/>
                <a:gd name="T49" fmla="*/ 2147483647 h 534"/>
                <a:gd name="T50" fmla="*/ 2147483647 w 180"/>
                <a:gd name="T51" fmla="*/ 2147483647 h 534"/>
                <a:gd name="T52" fmla="*/ 2147483647 w 180"/>
                <a:gd name="T53" fmla="*/ 2147483647 h 534"/>
                <a:gd name="T54" fmla="*/ 0 w 180"/>
                <a:gd name="T55" fmla="*/ 2147483647 h 5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80" h="534">
                  <a:moveTo>
                    <a:pt x="0" y="358"/>
                  </a:moveTo>
                  <a:lnTo>
                    <a:pt x="24" y="390"/>
                  </a:lnTo>
                  <a:lnTo>
                    <a:pt x="55" y="402"/>
                  </a:lnTo>
                  <a:lnTo>
                    <a:pt x="87" y="469"/>
                  </a:lnTo>
                  <a:lnTo>
                    <a:pt x="130" y="480"/>
                  </a:lnTo>
                  <a:lnTo>
                    <a:pt x="124" y="513"/>
                  </a:lnTo>
                  <a:lnTo>
                    <a:pt x="137" y="534"/>
                  </a:lnTo>
                  <a:lnTo>
                    <a:pt x="143" y="446"/>
                  </a:lnTo>
                  <a:lnTo>
                    <a:pt x="137" y="381"/>
                  </a:lnTo>
                  <a:lnTo>
                    <a:pt x="149" y="381"/>
                  </a:lnTo>
                  <a:lnTo>
                    <a:pt x="137" y="346"/>
                  </a:lnTo>
                  <a:lnTo>
                    <a:pt x="174" y="335"/>
                  </a:lnTo>
                  <a:lnTo>
                    <a:pt x="180" y="358"/>
                  </a:lnTo>
                  <a:lnTo>
                    <a:pt x="169" y="311"/>
                  </a:lnTo>
                  <a:lnTo>
                    <a:pt x="174" y="200"/>
                  </a:lnTo>
                  <a:lnTo>
                    <a:pt x="143" y="200"/>
                  </a:lnTo>
                  <a:lnTo>
                    <a:pt x="137" y="179"/>
                  </a:lnTo>
                  <a:lnTo>
                    <a:pt x="105" y="167"/>
                  </a:lnTo>
                  <a:lnTo>
                    <a:pt x="87" y="112"/>
                  </a:lnTo>
                  <a:lnTo>
                    <a:pt x="112" y="21"/>
                  </a:lnTo>
                  <a:lnTo>
                    <a:pt x="112" y="0"/>
                  </a:lnTo>
                  <a:lnTo>
                    <a:pt x="55" y="45"/>
                  </a:lnTo>
                  <a:lnTo>
                    <a:pt x="31" y="144"/>
                  </a:lnTo>
                  <a:lnTo>
                    <a:pt x="19" y="123"/>
                  </a:lnTo>
                  <a:lnTo>
                    <a:pt x="13" y="167"/>
                  </a:lnTo>
                  <a:lnTo>
                    <a:pt x="19" y="267"/>
                  </a:lnTo>
                  <a:lnTo>
                    <a:pt x="24" y="267"/>
                  </a:lnTo>
                  <a:lnTo>
                    <a:pt x="0" y="35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409" name="Group 240"/>
            <p:cNvGrpSpPr>
              <a:grpSpLocks/>
            </p:cNvGrpSpPr>
            <p:nvPr>
              <p:custDataLst>
                <p:tags r:id="rId217"/>
              </p:custDataLst>
            </p:nvPr>
          </p:nvGrpSpPr>
          <p:grpSpPr bwMode="auto">
            <a:xfrm>
              <a:off x="3514940" y="4481083"/>
              <a:ext cx="334818" cy="423862"/>
              <a:chOff x="1719" y="2453"/>
              <a:chExt cx="180" cy="26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13" name="Freeform 241"/>
              <p:cNvSpPr>
                <a:spLocks/>
              </p:cNvSpPr>
              <p:nvPr/>
            </p:nvSpPr>
            <p:spPr bwMode="auto">
              <a:xfrm>
                <a:off x="1719" y="2453"/>
                <a:ext cx="180" cy="267"/>
              </a:xfrm>
              <a:custGeom>
                <a:avLst/>
                <a:gdLst>
                  <a:gd name="T0" fmla="*/ 0 w 180"/>
                  <a:gd name="T1" fmla="*/ 1 h 534"/>
                  <a:gd name="T2" fmla="*/ 24 w 180"/>
                  <a:gd name="T3" fmla="*/ 1 h 534"/>
                  <a:gd name="T4" fmla="*/ 55 w 180"/>
                  <a:gd name="T5" fmla="*/ 1 h 534"/>
                  <a:gd name="T6" fmla="*/ 87 w 180"/>
                  <a:gd name="T7" fmla="*/ 1 h 534"/>
                  <a:gd name="T8" fmla="*/ 130 w 180"/>
                  <a:gd name="T9" fmla="*/ 1 h 534"/>
                  <a:gd name="T10" fmla="*/ 124 w 180"/>
                  <a:gd name="T11" fmla="*/ 1 h 534"/>
                  <a:gd name="T12" fmla="*/ 137 w 180"/>
                  <a:gd name="T13" fmla="*/ 1 h 534"/>
                  <a:gd name="T14" fmla="*/ 143 w 180"/>
                  <a:gd name="T15" fmla="*/ 1 h 534"/>
                  <a:gd name="T16" fmla="*/ 137 w 180"/>
                  <a:gd name="T17" fmla="*/ 1 h 534"/>
                  <a:gd name="T18" fmla="*/ 149 w 180"/>
                  <a:gd name="T19" fmla="*/ 1 h 534"/>
                  <a:gd name="T20" fmla="*/ 137 w 180"/>
                  <a:gd name="T21" fmla="*/ 1 h 534"/>
                  <a:gd name="T22" fmla="*/ 174 w 180"/>
                  <a:gd name="T23" fmla="*/ 1 h 534"/>
                  <a:gd name="T24" fmla="*/ 180 w 180"/>
                  <a:gd name="T25" fmla="*/ 1 h 534"/>
                  <a:gd name="T26" fmla="*/ 169 w 180"/>
                  <a:gd name="T27" fmla="*/ 1 h 534"/>
                  <a:gd name="T28" fmla="*/ 174 w 180"/>
                  <a:gd name="T29" fmla="*/ 1 h 534"/>
                  <a:gd name="T30" fmla="*/ 143 w 180"/>
                  <a:gd name="T31" fmla="*/ 1 h 534"/>
                  <a:gd name="T32" fmla="*/ 137 w 180"/>
                  <a:gd name="T33" fmla="*/ 1 h 534"/>
                  <a:gd name="T34" fmla="*/ 105 w 180"/>
                  <a:gd name="T35" fmla="*/ 1 h 534"/>
                  <a:gd name="T36" fmla="*/ 87 w 180"/>
                  <a:gd name="T37" fmla="*/ 1 h 534"/>
                  <a:gd name="T38" fmla="*/ 112 w 180"/>
                  <a:gd name="T39" fmla="*/ 1 h 534"/>
                  <a:gd name="T40" fmla="*/ 112 w 180"/>
                  <a:gd name="T41" fmla="*/ 0 h 534"/>
                  <a:gd name="T42" fmla="*/ 55 w 180"/>
                  <a:gd name="T43" fmla="*/ 1 h 534"/>
                  <a:gd name="T44" fmla="*/ 31 w 180"/>
                  <a:gd name="T45" fmla="*/ 1 h 534"/>
                  <a:gd name="T46" fmla="*/ 19 w 180"/>
                  <a:gd name="T47" fmla="*/ 1 h 534"/>
                  <a:gd name="T48" fmla="*/ 13 w 180"/>
                  <a:gd name="T49" fmla="*/ 1 h 534"/>
                  <a:gd name="T50" fmla="*/ 19 w 180"/>
                  <a:gd name="T51" fmla="*/ 1 h 534"/>
                  <a:gd name="T52" fmla="*/ 24 w 180"/>
                  <a:gd name="T53" fmla="*/ 1 h 534"/>
                  <a:gd name="T54" fmla="*/ 0 w 180"/>
                  <a:gd name="T55" fmla="*/ 1 h 5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80" h="534">
                    <a:moveTo>
                      <a:pt x="0" y="358"/>
                    </a:moveTo>
                    <a:lnTo>
                      <a:pt x="24" y="390"/>
                    </a:lnTo>
                    <a:lnTo>
                      <a:pt x="55" y="402"/>
                    </a:lnTo>
                    <a:lnTo>
                      <a:pt x="87" y="469"/>
                    </a:lnTo>
                    <a:lnTo>
                      <a:pt x="130" y="480"/>
                    </a:lnTo>
                    <a:lnTo>
                      <a:pt x="124" y="513"/>
                    </a:lnTo>
                    <a:lnTo>
                      <a:pt x="137" y="534"/>
                    </a:lnTo>
                    <a:lnTo>
                      <a:pt x="143" y="446"/>
                    </a:lnTo>
                    <a:lnTo>
                      <a:pt x="137" y="381"/>
                    </a:lnTo>
                    <a:lnTo>
                      <a:pt x="149" y="381"/>
                    </a:lnTo>
                    <a:lnTo>
                      <a:pt x="137" y="346"/>
                    </a:lnTo>
                    <a:lnTo>
                      <a:pt x="174" y="335"/>
                    </a:lnTo>
                    <a:lnTo>
                      <a:pt x="180" y="358"/>
                    </a:lnTo>
                    <a:lnTo>
                      <a:pt x="169" y="311"/>
                    </a:lnTo>
                    <a:lnTo>
                      <a:pt x="174" y="200"/>
                    </a:lnTo>
                    <a:lnTo>
                      <a:pt x="143" y="200"/>
                    </a:lnTo>
                    <a:lnTo>
                      <a:pt x="137" y="179"/>
                    </a:lnTo>
                    <a:lnTo>
                      <a:pt x="105" y="167"/>
                    </a:lnTo>
                    <a:lnTo>
                      <a:pt x="87" y="112"/>
                    </a:lnTo>
                    <a:lnTo>
                      <a:pt x="112" y="21"/>
                    </a:lnTo>
                    <a:lnTo>
                      <a:pt x="112" y="0"/>
                    </a:lnTo>
                    <a:lnTo>
                      <a:pt x="55" y="45"/>
                    </a:lnTo>
                    <a:lnTo>
                      <a:pt x="31" y="144"/>
                    </a:lnTo>
                    <a:lnTo>
                      <a:pt x="19" y="123"/>
                    </a:lnTo>
                    <a:lnTo>
                      <a:pt x="13" y="167"/>
                    </a:lnTo>
                    <a:lnTo>
                      <a:pt x="19" y="267"/>
                    </a:lnTo>
                    <a:lnTo>
                      <a:pt x="24" y="267"/>
                    </a:lnTo>
                    <a:lnTo>
                      <a:pt x="0" y="35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14" name="Freeform 242"/>
              <p:cNvSpPr>
                <a:spLocks/>
              </p:cNvSpPr>
              <p:nvPr/>
            </p:nvSpPr>
            <p:spPr bwMode="auto">
              <a:xfrm>
                <a:off x="1719" y="2453"/>
                <a:ext cx="180" cy="267"/>
              </a:xfrm>
              <a:custGeom>
                <a:avLst/>
                <a:gdLst>
                  <a:gd name="T0" fmla="*/ 0 w 180"/>
                  <a:gd name="T1" fmla="*/ 1 h 534"/>
                  <a:gd name="T2" fmla="*/ 24 w 180"/>
                  <a:gd name="T3" fmla="*/ 1 h 534"/>
                  <a:gd name="T4" fmla="*/ 55 w 180"/>
                  <a:gd name="T5" fmla="*/ 1 h 534"/>
                  <a:gd name="T6" fmla="*/ 87 w 180"/>
                  <a:gd name="T7" fmla="*/ 1 h 534"/>
                  <a:gd name="T8" fmla="*/ 130 w 180"/>
                  <a:gd name="T9" fmla="*/ 1 h 534"/>
                  <a:gd name="T10" fmla="*/ 124 w 180"/>
                  <a:gd name="T11" fmla="*/ 1 h 534"/>
                  <a:gd name="T12" fmla="*/ 137 w 180"/>
                  <a:gd name="T13" fmla="*/ 1 h 534"/>
                  <a:gd name="T14" fmla="*/ 143 w 180"/>
                  <a:gd name="T15" fmla="*/ 1 h 534"/>
                  <a:gd name="T16" fmla="*/ 137 w 180"/>
                  <a:gd name="T17" fmla="*/ 1 h 534"/>
                  <a:gd name="T18" fmla="*/ 149 w 180"/>
                  <a:gd name="T19" fmla="*/ 1 h 534"/>
                  <a:gd name="T20" fmla="*/ 137 w 180"/>
                  <a:gd name="T21" fmla="*/ 1 h 534"/>
                  <a:gd name="T22" fmla="*/ 174 w 180"/>
                  <a:gd name="T23" fmla="*/ 1 h 534"/>
                  <a:gd name="T24" fmla="*/ 180 w 180"/>
                  <a:gd name="T25" fmla="*/ 1 h 534"/>
                  <a:gd name="T26" fmla="*/ 169 w 180"/>
                  <a:gd name="T27" fmla="*/ 1 h 534"/>
                  <a:gd name="T28" fmla="*/ 174 w 180"/>
                  <a:gd name="T29" fmla="*/ 1 h 534"/>
                  <a:gd name="T30" fmla="*/ 143 w 180"/>
                  <a:gd name="T31" fmla="*/ 1 h 534"/>
                  <a:gd name="T32" fmla="*/ 137 w 180"/>
                  <a:gd name="T33" fmla="*/ 1 h 534"/>
                  <a:gd name="T34" fmla="*/ 105 w 180"/>
                  <a:gd name="T35" fmla="*/ 1 h 534"/>
                  <a:gd name="T36" fmla="*/ 87 w 180"/>
                  <a:gd name="T37" fmla="*/ 1 h 534"/>
                  <a:gd name="T38" fmla="*/ 112 w 180"/>
                  <a:gd name="T39" fmla="*/ 1 h 534"/>
                  <a:gd name="T40" fmla="*/ 112 w 180"/>
                  <a:gd name="T41" fmla="*/ 0 h 534"/>
                  <a:gd name="T42" fmla="*/ 55 w 180"/>
                  <a:gd name="T43" fmla="*/ 1 h 534"/>
                  <a:gd name="T44" fmla="*/ 31 w 180"/>
                  <a:gd name="T45" fmla="*/ 1 h 534"/>
                  <a:gd name="T46" fmla="*/ 19 w 180"/>
                  <a:gd name="T47" fmla="*/ 1 h 534"/>
                  <a:gd name="T48" fmla="*/ 13 w 180"/>
                  <a:gd name="T49" fmla="*/ 1 h 534"/>
                  <a:gd name="T50" fmla="*/ 19 w 180"/>
                  <a:gd name="T51" fmla="*/ 1 h 534"/>
                  <a:gd name="T52" fmla="*/ 24 w 180"/>
                  <a:gd name="T53" fmla="*/ 1 h 534"/>
                  <a:gd name="T54" fmla="*/ 0 w 180"/>
                  <a:gd name="T55" fmla="*/ 1 h 5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80" h="534">
                    <a:moveTo>
                      <a:pt x="0" y="358"/>
                    </a:moveTo>
                    <a:lnTo>
                      <a:pt x="24" y="390"/>
                    </a:lnTo>
                    <a:lnTo>
                      <a:pt x="55" y="402"/>
                    </a:lnTo>
                    <a:lnTo>
                      <a:pt x="87" y="469"/>
                    </a:lnTo>
                    <a:lnTo>
                      <a:pt x="130" y="480"/>
                    </a:lnTo>
                    <a:lnTo>
                      <a:pt x="124" y="513"/>
                    </a:lnTo>
                    <a:lnTo>
                      <a:pt x="137" y="534"/>
                    </a:lnTo>
                    <a:lnTo>
                      <a:pt x="143" y="446"/>
                    </a:lnTo>
                    <a:lnTo>
                      <a:pt x="137" y="381"/>
                    </a:lnTo>
                    <a:lnTo>
                      <a:pt x="149" y="381"/>
                    </a:lnTo>
                    <a:lnTo>
                      <a:pt x="137" y="346"/>
                    </a:lnTo>
                    <a:lnTo>
                      <a:pt x="174" y="335"/>
                    </a:lnTo>
                    <a:lnTo>
                      <a:pt x="180" y="358"/>
                    </a:lnTo>
                    <a:lnTo>
                      <a:pt x="169" y="311"/>
                    </a:lnTo>
                    <a:lnTo>
                      <a:pt x="174" y="200"/>
                    </a:lnTo>
                    <a:lnTo>
                      <a:pt x="143" y="200"/>
                    </a:lnTo>
                    <a:lnTo>
                      <a:pt x="137" y="179"/>
                    </a:lnTo>
                    <a:lnTo>
                      <a:pt x="105" y="167"/>
                    </a:lnTo>
                    <a:lnTo>
                      <a:pt x="87" y="112"/>
                    </a:lnTo>
                    <a:lnTo>
                      <a:pt x="112" y="21"/>
                    </a:lnTo>
                    <a:lnTo>
                      <a:pt x="112" y="0"/>
                    </a:lnTo>
                    <a:lnTo>
                      <a:pt x="55" y="45"/>
                    </a:lnTo>
                    <a:lnTo>
                      <a:pt x="31" y="144"/>
                    </a:lnTo>
                    <a:lnTo>
                      <a:pt x="19" y="123"/>
                    </a:lnTo>
                    <a:lnTo>
                      <a:pt x="13" y="167"/>
                    </a:lnTo>
                    <a:lnTo>
                      <a:pt x="19" y="267"/>
                    </a:lnTo>
                    <a:lnTo>
                      <a:pt x="24" y="267"/>
                    </a:lnTo>
                    <a:lnTo>
                      <a:pt x="0" y="358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410" name="Freeform 243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3514940" y="4481083"/>
              <a:ext cx="334818" cy="423862"/>
            </a:xfrm>
            <a:custGeom>
              <a:avLst/>
              <a:gdLst>
                <a:gd name="T0" fmla="*/ 0 w 180"/>
                <a:gd name="T1" fmla="*/ 2147483647 h 534"/>
                <a:gd name="T2" fmla="*/ 2147483647 w 180"/>
                <a:gd name="T3" fmla="*/ 2147483647 h 534"/>
                <a:gd name="T4" fmla="*/ 2147483647 w 180"/>
                <a:gd name="T5" fmla="*/ 2147483647 h 534"/>
                <a:gd name="T6" fmla="*/ 2147483647 w 180"/>
                <a:gd name="T7" fmla="*/ 2147483647 h 534"/>
                <a:gd name="T8" fmla="*/ 2147483647 w 180"/>
                <a:gd name="T9" fmla="*/ 2147483647 h 534"/>
                <a:gd name="T10" fmla="*/ 2147483647 w 180"/>
                <a:gd name="T11" fmla="*/ 2147483647 h 534"/>
                <a:gd name="T12" fmla="*/ 2147483647 w 180"/>
                <a:gd name="T13" fmla="*/ 2147483647 h 534"/>
                <a:gd name="T14" fmla="*/ 2147483647 w 180"/>
                <a:gd name="T15" fmla="*/ 2147483647 h 534"/>
                <a:gd name="T16" fmla="*/ 2147483647 w 180"/>
                <a:gd name="T17" fmla="*/ 2147483647 h 534"/>
                <a:gd name="T18" fmla="*/ 2147483647 w 180"/>
                <a:gd name="T19" fmla="*/ 2147483647 h 534"/>
                <a:gd name="T20" fmla="*/ 2147483647 w 180"/>
                <a:gd name="T21" fmla="*/ 2147483647 h 534"/>
                <a:gd name="T22" fmla="*/ 2147483647 w 180"/>
                <a:gd name="T23" fmla="*/ 2147483647 h 534"/>
                <a:gd name="T24" fmla="*/ 2147483647 w 180"/>
                <a:gd name="T25" fmla="*/ 2147483647 h 534"/>
                <a:gd name="T26" fmla="*/ 2147483647 w 180"/>
                <a:gd name="T27" fmla="*/ 2147483647 h 534"/>
                <a:gd name="T28" fmla="*/ 2147483647 w 180"/>
                <a:gd name="T29" fmla="*/ 2147483647 h 534"/>
                <a:gd name="T30" fmla="*/ 2147483647 w 180"/>
                <a:gd name="T31" fmla="*/ 2147483647 h 534"/>
                <a:gd name="T32" fmla="*/ 2147483647 w 180"/>
                <a:gd name="T33" fmla="*/ 2147483647 h 534"/>
                <a:gd name="T34" fmla="*/ 2147483647 w 180"/>
                <a:gd name="T35" fmla="*/ 2147483647 h 534"/>
                <a:gd name="T36" fmla="*/ 2147483647 w 180"/>
                <a:gd name="T37" fmla="*/ 2147483647 h 534"/>
                <a:gd name="T38" fmla="*/ 2147483647 w 180"/>
                <a:gd name="T39" fmla="*/ 2147483647 h 534"/>
                <a:gd name="T40" fmla="*/ 2147483647 w 180"/>
                <a:gd name="T41" fmla="*/ 0 h 534"/>
                <a:gd name="T42" fmla="*/ 2147483647 w 180"/>
                <a:gd name="T43" fmla="*/ 2147483647 h 534"/>
                <a:gd name="T44" fmla="*/ 2147483647 w 180"/>
                <a:gd name="T45" fmla="*/ 2147483647 h 534"/>
                <a:gd name="T46" fmla="*/ 2147483647 w 180"/>
                <a:gd name="T47" fmla="*/ 2147483647 h 534"/>
                <a:gd name="T48" fmla="*/ 2147483647 w 180"/>
                <a:gd name="T49" fmla="*/ 2147483647 h 534"/>
                <a:gd name="T50" fmla="*/ 2147483647 w 180"/>
                <a:gd name="T51" fmla="*/ 2147483647 h 534"/>
                <a:gd name="T52" fmla="*/ 2147483647 w 180"/>
                <a:gd name="T53" fmla="*/ 2147483647 h 534"/>
                <a:gd name="T54" fmla="*/ 0 w 180"/>
                <a:gd name="T55" fmla="*/ 2147483647 h 5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80" h="534">
                  <a:moveTo>
                    <a:pt x="0" y="358"/>
                  </a:moveTo>
                  <a:lnTo>
                    <a:pt x="24" y="390"/>
                  </a:lnTo>
                  <a:lnTo>
                    <a:pt x="55" y="402"/>
                  </a:lnTo>
                  <a:lnTo>
                    <a:pt x="87" y="469"/>
                  </a:lnTo>
                  <a:lnTo>
                    <a:pt x="130" y="480"/>
                  </a:lnTo>
                  <a:lnTo>
                    <a:pt x="124" y="513"/>
                  </a:lnTo>
                  <a:lnTo>
                    <a:pt x="137" y="534"/>
                  </a:lnTo>
                  <a:lnTo>
                    <a:pt x="143" y="446"/>
                  </a:lnTo>
                  <a:lnTo>
                    <a:pt x="137" y="381"/>
                  </a:lnTo>
                  <a:lnTo>
                    <a:pt x="149" y="381"/>
                  </a:lnTo>
                  <a:lnTo>
                    <a:pt x="137" y="346"/>
                  </a:lnTo>
                  <a:lnTo>
                    <a:pt x="174" y="335"/>
                  </a:lnTo>
                  <a:lnTo>
                    <a:pt x="180" y="358"/>
                  </a:lnTo>
                  <a:lnTo>
                    <a:pt x="169" y="311"/>
                  </a:lnTo>
                  <a:lnTo>
                    <a:pt x="174" y="200"/>
                  </a:lnTo>
                  <a:lnTo>
                    <a:pt x="143" y="200"/>
                  </a:lnTo>
                  <a:lnTo>
                    <a:pt x="137" y="179"/>
                  </a:lnTo>
                  <a:lnTo>
                    <a:pt x="105" y="167"/>
                  </a:lnTo>
                  <a:lnTo>
                    <a:pt x="87" y="112"/>
                  </a:lnTo>
                  <a:lnTo>
                    <a:pt x="112" y="21"/>
                  </a:lnTo>
                  <a:lnTo>
                    <a:pt x="112" y="0"/>
                  </a:lnTo>
                  <a:lnTo>
                    <a:pt x="55" y="45"/>
                  </a:lnTo>
                  <a:lnTo>
                    <a:pt x="31" y="144"/>
                  </a:lnTo>
                  <a:lnTo>
                    <a:pt x="19" y="123"/>
                  </a:lnTo>
                  <a:lnTo>
                    <a:pt x="13" y="167"/>
                  </a:lnTo>
                  <a:lnTo>
                    <a:pt x="19" y="267"/>
                  </a:lnTo>
                  <a:lnTo>
                    <a:pt x="24" y="267"/>
                  </a:lnTo>
                  <a:lnTo>
                    <a:pt x="0" y="35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411" name="Group 244"/>
            <p:cNvGrpSpPr>
              <a:grpSpLocks/>
            </p:cNvGrpSpPr>
            <p:nvPr>
              <p:custDataLst>
                <p:tags r:id="rId219"/>
              </p:custDataLst>
            </p:nvPr>
          </p:nvGrpSpPr>
          <p:grpSpPr bwMode="auto">
            <a:xfrm>
              <a:off x="3514940" y="4481083"/>
              <a:ext cx="334818" cy="423862"/>
              <a:chOff x="1719" y="2453"/>
              <a:chExt cx="180" cy="26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11" name="Freeform 245"/>
              <p:cNvSpPr>
                <a:spLocks/>
              </p:cNvSpPr>
              <p:nvPr/>
            </p:nvSpPr>
            <p:spPr bwMode="auto">
              <a:xfrm>
                <a:off x="1719" y="2453"/>
                <a:ext cx="180" cy="267"/>
              </a:xfrm>
              <a:custGeom>
                <a:avLst/>
                <a:gdLst>
                  <a:gd name="T0" fmla="*/ 0 w 180"/>
                  <a:gd name="T1" fmla="*/ 1 h 534"/>
                  <a:gd name="T2" fmla="*/ 24 w 180"/>
                  <a:gd name="T3" fmla="*/ 1 h 534"/>
                  <a:gd name="T4" fmla="*/ 55 w 180"/>
                  <a:gd name="T5" fmla="*/ 1 h 534"/>
                  <a:gd name="T6" fmla="*/ 87 w 180"/>
                  <a:gd name="T7" fmla="*/ 1 h 534"/>
                  <a:gd name="T8" fmla="*/ 130 w 180"/>
                  <a:gd name="T9" fmla="*/ 1 h 534"/>
                  <a:gd name="T10" fmla="*/ 124 w 180"/>
                  <a:gd name="T11" fmla="*/ 1 h 534"/>
                  <a:gd name="T12" fmla="*/ 137 w 180"/>
                  <a:gd name="T13" fmla="*/ 1 h 534"/>
                  <a:gd name="T14" fmla="*/ 143 w 180"/>
                  <a:gd name="T15" fmla="*/ 1 h 534"/>
                  <a:gd name="T16" fmla="*/ 137 w 180"/>
                  <a:gd name="T17" fmla="*/ 1 h 534"/>
                  <a:gd name="T18" fmla="*/ 149 w 180"/>
                  <a:gd name="T19" fmla="*/ 1 h 534"/>
                  <a:gd name="T20" fmla="*/ 137 w 180"/>
                  <a:gd name="T21" fmla="*/ 1 h 534"/>
                  <a:gd name="T22" fmla="*/ 174 w 180"/>
                  <a:gd name="T23" fmla="*/ 1 h 534"/>
                  <a:gd name="T24" fmla="*/ 180 w 180"/>
                  <a:gd name="T25" fmla="*/ 1 h 534"/>
                  <a:gd name="T26" fmla="*/ 169 w 180"/>
                  <a:gd name="T27" fmla="*/ 1 h 534"/>
                  <a:gd name="T28" fmla="*/ 174 w 180"/>
                  <a:gd name="T29" fmla="*/ 1 h 534"/>
                  <a:gd name="T30" fmla="*/ 143 w 180"/>
                  <a:gd name="T31" fmla="*/ 1 h 534"/>
                  <a:gd name="T32" fmla="*/ 137 w 180"/>
                  <a:gd name="T33" fmla="*/ 1 h 534"/>
                  <a:gd name="T34" fmla="*/ 105 w 180"/>
                  <a:gd name="T35" fmla="*/ 1 h 534"/>
                  <a:gd name="T36" fmla="*/ 87 w 180"/>
                  <a:gd name="T37" fmla="*/ 1 h 534"/>
                  <a:gd name="T38" fmla="*/ 112 w 180"/>
                  <a:gd name="T39" fmla="*/ 1 h 534"/>
                  <a:gd name="T40" fmla="*/ 112 w 180"/>
                  <a:gd name="T41" fmla="*/ 0 h 534"/>
                  <a:gd name="T42" fmla="*/ 55 w 180"/>
                  <a:gd name="T43" fmla="*/ 1 h 534"/>
                  <a:gd name="T44" fmla="*/ 31 w 180"/>
                  <a:gd name="T45" fmla="*/ 1 h 534"/>
                  <a:gd name="T46" fmla="*/ 19 w 180"/>
                  <a:gd name="T47" fmla="*/ 1 h 534"/>
                  <a:gd name="T48" fmla="*/ 13 w 180"/>
                  <a:gd name="T49" fmla="*/ 1 h 534"/>
                  <a:gd name="T50" fmla="*/ 19 w 180"/>
                  <a:gd name="T51" fmla="*/ 1 h 534"/>
                  <a:gd name="T52" fmla="*/ 24 w 180"/>
                  <a:gd name="T53" fmla="*/ 1 h 534"/>
                  <a:gd name="T54" fmla="*/ 0 w 180"/>
                  <a:gd name="T55" fmla="*/ 1 h 5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80" h="534">
                    <a:moveTo>
                      <a:pt x="0" y="358"/>
                    </a:moveTo>
                    <a:lnTo>
                      <a:pt x="24" y="390"/>
                    </a:lnTo>
                    <a:lnTo>
                      <a:pt x="55" y="402"/>
                    </a:lnTo>
                    <a:lnTo>
                      <a:pt x="87" y="469"/>
                    </a:lnTo>
                    <a:lnTo>
                      <a:pt x="130" y="480"/>
                    </a:lnTo>
                    <a:lnTo>
                      <a:pt x="124" y="513"/>
                    </a:lnTo>
                    <a:lnTo>
                      <a:pt x="137" y="534"/>
                    </a:lnTo>
                    <a:lnTo>
                      <a:pt x="143" y="446"/>
                    </a:lnTo>
                    <a:lnTo>
                      <a:pt x="137" y="381"/>
                    </a:lnTo>
                    <a:lnTo>
                      <a:pt x="149" y="381"/>
                    </a:lnTo>
                    <a:lnTo>
                      <a:pt x="137" y="346"/>
                    </a:lnTo>
                    <a:lnTo>
                      <a:pt x="174" y="335"/>
                    </a:lnTo>
                    <a:lnTo>
                      <a:pt x="180" y="358"/>
                    </a:lnTo>
                    <a:lnTo>
                      <a:pt x="169" y="311"/>
                    </a:lnTo>
                    <a:lnTo>
                      <a:pt x="174" y="200"/>
                    </a:lnTo>
                    <a:lnTo>
                      <a:pt x="143" y="200"/>
                    </a:lnTo>
                    <a:lnTo>
                      <a:pt x="137" y="179"/>
                    </a:lnTo>
                    <a:lnTo>
                      <a:pt x="105" y="167"/>
                    </a:lnTo>
                    <a:lnTo>
                      <a:pt x="87" y="112"/>
                    </a:lnTo>
                    <a:lnTo>
                      <a:pt x="112" y="21"/>
                    </a:lnTo>
                    <a:lnTo>
                      <a:pt x="112" y="0"/>
                    </a:lnTo>
                    <a:lnTo>
                      <a:pt x="55" y="45"/>
                    </a:lnTo>
                    <a:lnTo>
                      <a:pt x="31" y="144"/>
                    </a:lnTo>
                    <a:lnTo>
                      <a:pt x="19" y="123"/>
                    </a:lnTo>
                    <a:lnTo>
                      <a:pt x="13" y="167"/>
                    </a:lnTo>
                    <a:lnTo>
                      <a:pt x="19" y="267"/>
                    </a:lnTo>
                    <a:lnTo>
                      <a:pt x="24" y="267"/>
                    </a:lnTo>
                    <a:lnTo>
                      <a:pt x="0" y="358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12" name="Freeform 246"/>
              <p:cNvSpPr>
                <a:spLocks/>
              </p:cNvSpPr>
              <p:nvPr/>
            </p:nvSpPr>
            <p:spPr bwMode="auto">
              <a:xfrm>
                <a:off x="1719" y="2453"/>
                <a:ext cx="180" cy="267"/>
              </a:xfrm>
              <a:custGeom>
                <a:avLst/>
                <a:gdLst>
                  <a:gd name="T0" fmla="*/ 0 w 180"/>
                  <a:gd name="T1" fmla="*/ 1 h 534"/>
                  <a:gd name="T2" fmla="*/ 24 w 180"/>
                  <a:gd name="T3" fmla="*/ 1 h 534"/>
                  <a:gd name="T4" fmla="*/ 55 w 180"/>
                  <a:gd name="T5" fmla="*/ 1 h 534"/>
                  <a:gd name="T6" fmla="*/ 87 w 180"/>
                  <a:gd name="T7" fmla="*/ 1 h 534"/>
                  <a:gd name="T8" fmla="*/ 130 w 180"/>
                  <a:gd name="T9" fmla="*/ 1 h 534"/>
                  <a:gd name="T10" fmla="*/ 124 w 180"/>
                  <a:gd name="T11" fmla="*/ 1 h 534"/>
                  <a:gd name="T12" fmla="*/ 137 w 180"/>
                  <a:gd name="T13" fmla="*/ 1 h 534"/>
                  <a:gd name="T14" fmla="*/ 143 w 180"/>
                  <a:gd name="T15" fmla="*/ 1 h 534"/>
                  <a:gd name="T16" fmla="*/ 137 w 180"/>
                  <a:gd name="T17" fmla="*/ 1 h 534"/>
                  <a:gd name="T18" fmla="*/ 149 w 180"/>
                  <a:gd name="T19" fmla="*/ 1 h 534"/>
                  <a:gd name="T20" fmla="*/ 137 w 180"/>
                  <a:gd name="T21" fmla="*/ 1 h 534"/>
                  <a:gd name="T22" fmla="*/ 174 w 180"/>
                  <a:gd name="T23" fmla="*/ 1 h 534"/>
                  <a:gd name="T24" fmla="*/ 180 w 180"/>
                  <a:gd name="T25" fmla="*/ 1 h 534"/>
                  <a:gd name="T26" fmla="*/ 169 w 180"/>
                  <a:gd name="T27" fmla="*/ 1 h 534"/>
                  <a:gd name="T28" fmla="*/ 174 w 180"/>
                  <a:gd name="T29" fmla="*/ 1 h 534"/>
                  <a:gd name="T30" fmla="*/ 143 w 180"/>
                  <a:gd name="T31" fmla="*/ 1 h 534"/>
                  <a:gd name="T32" fmla="*/ 137 w 180"/>
                  <a:gd name="T33" fmla="*/ 1 h 534"/>
                  <a:gd name="T34" fmla="*/ 105 w 180"/>
                  <a:gd name="T35" fmla="*/ 1 h 534"/>
                  <a:gd name="T36" fmla="*/ 87 w 180"/>
                  <a:gd name="T37" fmla="*/ 1 h 534"/>
                  <a:gd name="T38" fmla="*/ 112 w 180"/>
                  <a:gd name="T39" fmla="*/ 1 h 534"/>
                  <a:gd name="T40" fmla="*/ 112 w 180"/>
                  <a:gd name="T41" fmla="*/ 0 h 534"/>
                  <a:gd name="T42" fmla="*/ 55 w 180"/>
                  <a:gd name="T43" fmla="*/ 1 h 534"/>
                  <a:gd name="T44" fmla="*/ 31 w 180"/>
                  <a:gd name="T45" fmla="*/ 1 h 534"/>
                  <a:gd name="T46" fmla="*/ 19 w 180"/>
                  <a:gd name="T47" fmla="*/ 1 h 534"/>
                  <a:gd name="T48" fmla="*/ 13 w 180"/>
                  <a:gd name="T49" fmla="*/ 1 h 534"/>
                  <a:gd name="T50" fmla="*/ 19 w 180"/>
                  <a:gd name="T51" fmla="*/ 1 h 534"/>
                  <a:gd name="T52" fmla="*/ 24 w 180"/>
                  <a:gd name="T53" fmla="*/ 1 h 534"/>
                  <a:gd name="T54" fmla="*/ 0 w 180"/>
                  <a:gd name="T55" fmla="*/ 1 h 53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80" h="534">
                    <a:moveTo>
                      <a:pt x="0" y="358"/>
                    </a:moveTo>
                    <a:lnTo>
                      <a:pt x="24" y="390"/>
                    </a:lnTo>
                    <a:lnTo>
                      <a:pt x="55" y="402"/>
                    </a:lnTo>
                    <a:lnTo>
                      <a:pt x="87" y="469"/>
                    </a:lnTo>
                    <a:lnTo>
                      <a:pt x="130" y="480"/>
                    </a:lnTo>
                    <a:lnTo>
                      <a:pt x="124" y="513"/>
                    </a:lnTo>
                    <a:lnTo>
                      <a:pt x="137" y="534"/>
                    </a:lnTo>
                    <a:lnTo>
                      <a:pt x="143" y="446"/>
                    </a:lnTo>
                    <a:lnTo>
                      <a:pt x="137" y="381"/>
                    </a:lnTo>
                    <a:lnTo>
                      <a:pt x="149" y="381"/>
                    </a:lnTo>
                    <a:lnTo>
                      <a:pt x="137" y="346"/>
                    </a:lnTo>
                    <a:lnTo>
                      <a:pt x="174" y="335"/>
                    </a:lnTo>
                    <a:lnTo>
                      <a:pt x="180" y="358"/>
                    </a:lnTo>
                    <a:lnTo>
                      <a:pt x="169" y="311"/>
                    </a:lnTo>
                    <a:lnTo>
                      <a:pt x="174" y="200"/>
                    </a:lnTo>
                    <a:lnTo>
                      <a:pt x="143" y="200"/>
                    </a:lnTo>
                    <a:lnTo>
                      <a:pt x="137" y="179"/>
                    </a:lnTo>
                    <a:lnTo>
                      <a:pt x="105" y="167"/>
                    </a:lnTo>
                    <a:lnTo>
                      <a:pt x="87" y="112"/>
                    </a:lnTo>
                    <a:lnTo>
                      <a:pt x="112" y="21"/>
                    </a:lnTo>
                    <a:lnTo>
                      <a:pt x="112" y="0"/>
                    </a:lnTo>
                    <a:lnTo>
                      <a:pt x="55" y="45"/>
                    </a:lnTo>
                    <a:lnTo>
                      <a:pt x="31" y="144"/>
                    </a:lnTo>
                    <a:lnTo>
                      <a:pt x="19" y="123"/>
                    </a:lnTo>
                    <a:lnTo>
                      <a:pt x="13" y="167"/>
                    </a:lnTo>
                    <a:lnTo>
                      <a:pt x="19" y="267"/>
                    </a:lnTo>
                    <a:lnTo>
                      <a:pt x="24" y="267"/>
                    </a:lnTo>
                    <a:lnTo>
                      <a:pt x="0" y="358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412" name="Freeform 247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3320458" y="4516008"/>
              <a:ext cx="80196" cy="69850"/>
            </a:xfrm>
            <a:custGeom>
              <a:avLst/>
              <a:gdLst>
                <a:gd name="T0" fmla="*/ 0 w 44"/>
                <a:gd name="T1" fmla="*/ 0 h 88"/>
                <a:gd name="T2" fmla="*/ 0 w 44"/>
                <a:gd name="T3" fmla="*/ 2147483647 h 88"/>
                <a:gd name="T4" fmla="*/ 2147483647 w 44"/>
                <a:gd name="T5" fmla="*/ 2147483647 h 88"/>
                <a:gd name="T6" fmla="*/ 2147483647 w 44"/>
                <a:gd name="T7" fmla="*/ 2147483647 h 88"/>
                <a:gd name="T8" fmla="*/ 2147483647 w 44"/>
                <a:gd name="T9" fmla="*/ 2147483647 h 88"/>
                <a:gd name="T10" fmla="*/ 2147483647 w 44"/>
                <a:gd name="T11" fmla="*/ 2147483647 h 88"/>
                <a:gd name="T12" fmla="*/ 0 w 44"/>
                <a:gd name="T13" fmla="*/ 0 h 8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88">
                  <a:moveTo>
                    <a:pt x="0" y="0"/>
                  </a:moveTo>
                  <a:lnTo>
                    <a:pt x="0" y="34"/>
                  </a:lnTo>
                  <a:lnTo>
                    <a:pt x="6" y="34"/>
                  </a:lnTo>
                  <a:lnTo>
                    <a:pt x="37" y="88"/>
                  </a:lnTo>
                  <a:lnTo>
                    <a:pt x="44" y="44"/>
                  </a:lnTo>
                  <a:lnTo>
                    <a:pt x="3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13" name="Freeform 248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3320458" y="4516008"/>
              <a:ext cx="80196" cy="69850"/>
            </a:xfrm>
            <a:custGeom>
              <a:avLst/>
              <a:gdLst>
                <a:gd name="T0" fmla="*/ 0 w 44"/>
                <a:gd name="T1" fmla="*/ 0 h 88"/>
                <a:gd name="T2" fmla="*/ 0 w 44"/>
                <a:gd name="T3" fmla="*/ 2147483647 h 88"/>
                <a:gd name="T4" fmla="*/ 2147483647 w 44"/>
                <a:gd name="T5" fmla="*/ 2147483647 h 88"/>
                <a:gd name="T6" fmla="*/ 2147483647 w 44"/>
                <a:gd name="T7" fmla="*/ 2147483647 h 88"/>
                <a:gd name="T8" fmla="*/ 2147483647 w 44"/>
                <a:gd name="T9" fmla="*/ 2147483647 h 88"/>
                <a:gd name="T10" fmla="*/ 2147483647 w 44"/>
                <a:gd name="T11" fmla="*/ 2147483647 h 88"/>
                <a:gd name="T12" fmla="*/ 0 w 44"/>
                <a:gd name="T13" fmla="*/ 0 h 8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88">
                  <a:moveTo>
                    <a:pt x="0" y="0"/>
                  </a:moveTo>
                  <a:lnTo>
                    <a:pt x="0" y="34"/>
                  </a:lnTo>
                  <a:lnTo>
                    <a:pt x="6" y="34"/>
                  </a:lnTo>
                  <a:lnTo>
                    <a:pt x="37" y="88"/>
                  </a:lnTo>
                  <a:lnTo>
                    <a:pt x="44" y="44"/>
                  </a:lnTo>
                  <a:lnTo>
                    <a:pt x="30" y="11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14" name="Freeform 249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3320458" y="4516008"/>
              <a:ext cx="80196" cy="69850"/>
            </a:xfrm>
            <a:custGeom>
              <a:avLst/>
              <a:gdLst>
                <a:gd name="T0" fmla="*/ 0 w 44"/>
                <a:gd name="T1" fmla="*/ 0 h 88"/>
                <a:gd name="T2" fmla="*/ 0 w 44"/>
                <a:gd name="T3" fmla="*/ 2147483647 h 88"/>
                <a:gd name="T4" fmla="*/ 2147483647 w 44"/>
                <a:gd name="T5" fmla="*/ 2147483647 h 88"/>
                <a:gd name="T6" fmla="*/ 2147483647 w 44"/>
                <a:gd name="T7" fmla="*/ 2147483647 h 88"/>
                <a:gd name="T8" fmla="*/ 2147483647 w 44"/>
                <a:gd name="T9" fmla="*/ 2147483647 h 88"/>
                <a:gd name="T10" fmla="*/ 2147483647 w 44"/>
                <a:gd name="T11" fmla="*/ 2147483647 h 88"/>
                <a:gd name="T12" fmla="*/ 0 w 44"/>
                <a:gd name="T13" fmla="*/ 0 h 8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88">
                  <a:moveTo>
                    <a:pt x="0" y="0"/>
                  </a:moveTo>
                  <a:lnTo>
                    <a:pt x="0" y="34"/>
                  </a:lnTo>
                  <a:lnTo>
                    <a:pt x="6" y="34"/>
                  </a:lnTo>
                  <a:lnTo>
                    <a:pt x="37" y="88"/>
                  </a:lnTo>
                  <a:lnTo>
                    <a:pt x="44" y="44"/>
                  </a:lnTo>
                  <a:lnTo>
                    <a:pt x="3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15" name="Freeform 250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3320458" y="4516008"/>
              <a:ext cx="80196" cy="69850"/>
            </a:xfrm>
            <a:custGeom>
              <a:avLst/>
              <a:gdLst>
                <a:gd name="T0" fmla="*/ 0 w 44"/>
                <a:gd name="T1" fmla="*/ 0 h 88"/>
                <a:gd name="T2" fmla="*/ 0 w 44"/>
                <a:gd name="T3" fmla="*/ 2147483647 h 88"/>
                <a:gd name="T4" fmla="*/ 2147483647 w 44"/>
                <a:gd name="T5" fmla="*/ 2147483647 h 88"/>
                <a:gd name="T6" fmla="*/ 2147483647 w 44"/>
                <a:gd name="T7" fmla="*/ 2147483647 h 88"/>
                <a:gd name="T8" fmla="*/ 2147483647 w 44"/>
                <a:gd name="T9" fmla="*/ 2147483647 h 88"/>
                <a:gd name="T10" fmla="*/ 2147483647 w 44"/>
                <a:gd name="T11" fmla="*/ 2147483647 h 88"/>
                <a:gd name="T12" fmla="*/ 0 w 44"/>
                <a:gd name="T13" fmla="*/ 0 h 8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88">
                  <a:moveTo>
                    <a:pt x="0" y="0"/>
                  </a:moveTo>
                  <a:lnTo>
                    <a:pt x="0" y="34"/>
                  </a:lnTo>
                  <a:lnTo>
                    <a:pt x="6" y="34"/>
                  </a:lnTo>
                  <a:lnTo>
                    <a:pt x="37" y="88"/>
                  </a:lnTo>
                  <a:lnTo>
                    <a:pt x="44" y="44"/>
                  </a:lnTo>
                  <a:lnTo>
                    <a:pt x="30" y="11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16" name="Freeform 251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3328500" y="4206453"/>
              <a:ext cx="314768" cy="79375"/>
            </a:xfrm>
            <a:custGeom>
              <a:avLst/>
              <a:gdLst>
                <a:gd name="T0" fmla="*/ 0 w 170"/>
                <a:gd name="T1" fmla="*/ 2147483647 h 100"/>
                <a:gd name="T2" fmla="*/ 2147483647 w 170"/>
                <a:gd name="T3" fmla="*/ 0 h 100"/>
                <a:gd name="T4" fmla="*/ 2147483647 w 170"/>
                <a:gd name="T5" fmla="*/ 0 h 100"/>
                <a:gd name="T6" fmla="*/ 2147483647 w 170"/>
                <a:gd name="T7" fmla="*/ 2147483647 h 100"/>
                <a:gd name="T8" fmla="*/ 2147483647 w 170"/>
                <a:gd name="T9" fmla="*/ 2147483647 h 100"/>
                <a:gd name="T10" fmla="*/ 2147483647 w 170"/>
                <a:gd name="T11" fmla="*/ 2147483647 h 100"/>
                <a:gd name="T12" fmla="*/ 2147483647 w 170"/>
                <a:gd name="T13" fmla="*/ 2147483647 h 100"/>
                <a:gd name="T14" fmla="*/ 2147483647 w 170"/>
                <a:gd name="T15" fmla="*/ 2147483647 h 100"/>
                <a:gd name="T16" fmla="*/ 2147483647 w 170"/>
                <a:gd name="T17" fmla="*/ 2147483647 h 100"/>
                <a:gd name="T18" fmla="*/ 0 w 170"/>
                <a:gd name="T19" fmla="*/ 2147483647 h 1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0" h="100">
                  <a:moveTo>
                    <a:pt x="0" y="44"/>
                  </a:moveTo>
                  <a:lnTo>
                    <a:pt x="25" y="0"/>
                  </a:lnTo>
                  <a:lnTo>
                    <a:pt x="69" y="0"/>
                  </a:lnTo>
                  <a:lnTo>
                    <a:pt x="170" y="90"/>
                  </a:lnTo>
                  <a:lnTo>
                    <a:pt x="114" y="100"/>
                  </a:lnTo>
                  <a:lnTo>
                    <a:pt x="125" y="76"/>
                  </a:lnTo>
                  <a:lnTo>
                    <a:pt x="100" y="44"/>
                  </a:lnTo>
                  <a:lnTo>
                    <a:pt x="50" y="32"/>
                  </a:lnTo>
                  <a:lnTo>
                    <a:pt x="50" y="1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17" name="Freeform 252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3328500" y="4206453"/>
              <a:ext cx="314768" cy="79375"/>
            </a:xfrm>
            <a:custGeom>
              <a:avLst/>
              <a:gdLst>
                <a:gd name="T0" fmla="*/ 0 w 170"/>
                <a:gd name="T1" fmla="*/ 2147483647 h 100"/>
                <a:gd name="T2" fmla="*/ 2147483647 w 170"/>
                <a:gd name="T3" fmla="*/ 0 h 100"/>
                <a:gd name="T4" fmla="*/ 2147483647 w 170"/>
                <a:gd name="T5" fmla="*/ 0 h 100"/>
                <a:gd name="T6" fmla="*/ 2147483647 w 170"/>
                <a:gd name="T7" fmla="*/ 2147483647 h 100"/>
                <a:gd name="T8" fmla="*/ 2147483647 w 170"/>
                <a:gd name="T9" fmla="*/ 2147483647 h 100"/>
                <a:gd name="T10" fmla="*/ 2147483647 w 170"/>
                <a:gd name="T11" fmla="*/ 2147483647 h 100"/>
                <a:gd name="T12" fmla="*/ 2147483647 w 170"/>
                <a:gd name="T13" fmla="*/ 2147483647 h 100"/>
                <a:gd name="T14" fmla="*/ 2147483647 w 170"/>
                <a:gd name="T15" fmla="*/ 2147483647 h 100"/>
                <a:gd name="T16" fmla="*/ 2147483647 w 170"/>
                <a:gd name="T17" fmla="*/ 2147483647 h 100"/>
                <a:gd name="T18" fmla="*/ 0 w 170"/>
                <a:gd name="T19" fmla="*/ 2147483647 h 1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0" h="100">
                  <a:moveTo>
                    <a:pt x="0" y="44"/>
                  </a:moveTo>
                  <a:lnTo>
                    <a:pt x="25" y="0"/>
                  </a:lnTo>
                  <a:lnTo>
                    <a:pt x="69" y="0"/>
                  </a:lnTo>
                  <a:lnTo>
                    <a:pt x="170" y="90"/>
                  </a:lnTo>
                  <a:lnTo>
                    <a:pt x="114" y="100"/>
                  </a:lnTo>
                  <a:lnTo>
                    <a:pt x="125" y="76"/>
                  </a:lnTo>
                  <a:lnTo>
                    <a:pt x="100" y="44"/>
                  </a:lnTo>
                  <a:lnTo>
                    <a:pt x="50" y="32"/>
                  </a:lnTo>
                  <a:lnTo>
                    <a:pt x="50" y="11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18" name="Freeform 253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3328500" y="4206453"/>
              <a:ext cx="314768" cy="79375"/>
            </a:xfrm>
            <a:custGeom>
              <a:avLst/>
              <a:gdLst>
                <a:gd name="T0" fmla="*/ 0 w 170"/>
                <a:gd name="T1" fmla="*/ 2147483647 h 100"/>
                <a:gd name="T2" fmla="*/ 2147483647 w 170"/>
                <a:gd name="T3" fmla="*/ 0 h 100"/>
                <a:gd name="T4" fmla="*/ 2147483647 w 170"/>
                <a:gd name="T5" fmla="*/ 0 h 100"/>
                <a:gd name="T6" fmla="*/ 2147483647 w 170"/>
                <a:gd name="T7" fmla="*/ 2147483647 h 100"/>
                <a:gd name="T8" fmla="*/ 2147483647 w 170"/>
                <a:gd name="T9" fmla="*/ 2147483647 h 100"/>
                <a:gd name="T10" fmla="*/ 2147483647 w 170"/>
                <a:gd name="T11" fmla="*/ 2147483647 h 100"/>
                <a:gd name="T12" fmla="*/ 2147483647 w 170"/>
                <a:gd name="T13" fmla="*/ 2147483647 h 100"/>
                <a:gd name="T14" fmla="*/ 2147483647 w 170"/>
                <a:gd name="T15" fmla="*/ 2147483647 h 100"/>
                <a:gd name="T16" fmla="*/ 2147483647 w 170"/>
                <a:gd name="T17" fmla="*/ 2147483647 h 100"/>
                <a:gd name="T18" fmla="*/ 0 w 170"/>
                <a:gd name="T19" fmla="*/ 2147483647 h 1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0" h="100">
                  <a:moveTo>
                    <a:pt x="0" y="44"/>
                  </a:moveTo>
                  <a:lnTo>
                    <a:pt x="25" y="0"/>
                  </a:lnTo>
                  <a:lnTo>
                    <a:pt x="69" y="0"/>
                  </a:lnTo>
                  <a:lnTo>
                    <a:pt x="170" y="90"/>
                  </a:lnTo>
                  <a:lnTo>
                    <a:pt x="114" y="100"/>
                  </a:lnTo>
                  <a:lnTo>
                    <a:pt x="125" y="76"/>
                  </a:lnTo>
                  <a:lnTo>
                    <a:pt x="100" y="44"/>
                  </a:lnTo>
                  <a:lnTo>
                    <a:pt x="50" y="32"/>
                  </a:lnTo>
                  <a:lnTo>
                    <a:pt x="50" y="1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19" name="Freeform 254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3328500" y="4206453"/>
              <a:ext cx="314768" cy="79375"/>
            </a:xfrm>
            <a:custGeom>
              <a:avLst/>
              <a:gdLst>
                <a:gd name="T0" fmla="*/ 0 w 170"/>
                <a:gd name="T1" fmla="*/ 2147483647 h 100"/>
                <a:gd name="T2" fmla="*/ 2147483647 w 170"/>
                <a:gd name="T3" fmla="*/ 0 h 100"/>
                <a:gd name="T4" fmla="*/ 2147483647 w 170"/>
                <a:gd name="T5" fmla="*/ 0 h 100"/>
                <a:gd name="T6" fmla="*/ 2147483647 w 170"/>
                <a:gd name="T7" fmla="*/ 2147483647 h 100"/>
                <a:gd name="T8" fmla="*/ 2147483647 w 170"/>
                <a:gd name="T9" fmla="*/ 2147483647 h 100"/>
                <a:gd name="T10" fmla="*/ 2147483647 w 170"/>
                <a:gd name="T11" fmla="*/ 2147483647 h 100"/>
                <a:gd name="T12" fmla="*/ 2147483647 w 170"/>
                <a:gd name="T13" fmla="*/ 2147483647 h 100"/>
                <a:gd name="T14" fmla="*/ 2147483647 w 170"/>
                <a:gd name="T15" fmla="*/ 2147483647 h 100"/>
                <a:gd name="T16" fmla="*/ 2147483647 w 170"/>
                <a:gd name="T17" fmla="*/ 2147483647 h 100"/>
                <a:gd name="T18" fmla="*/ 0 w 170"/>
                <a:gd name="T19" fmla="*/ 2147483647 h 1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70" h="100">
                  <a:moveTo>
                    <a:pt x="0" y="44"/>
                  </a:moveTo>
                  <a:lnTo>
                    <a:pt x="25" y="0"/>
                  </a:lnTo>
                  <a:lnTo>
                    <a:pt x="69" y="0"/>
                  </a:lnTo>
                  <a:lnTo>
                    <a:pt x="170" y="90"/>
                  </a:lnTo>
                  <a:lnTo>
                    <a:pt x="114" y="100"/>
                  </a:lnTo>
                  <a:lnTo>
                    <a:pt x="125" y="76"/>
                  </a:lnTo>
                  <a:lnTo>
                    <a:pt x="100" y="44"/>
                  </a:lnTo>
                  <a:lnTo>
                    <a:pt x="50" y="32"/>
                  </a:lnTo>
                  <a:lnTo>
                    <a:pt x="50" y="11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20" name="Freeform 255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6353865" y="3376183"/>
              <a:ext cx="298730" cy="114300"/>
            </a:xfrm>
            <a:custGeom>
              <a:avLst/>
              <a:gdLst>
                <a:gd name="T0" fmla="*/ 0 w 162"/>
                <a:gd name="T1" fmla="*/ 2147483647 h 144"/>
                <a:gd name="T2" fmla="*/ 2147483647 w 162"/>
                <a:gd name="T3" fmla="*/ 2147483647 h 144"/>
                <a:gd name="T4" fmla="*/ 2147483647 w 162"/>
                <a:gd name="T5" fmla="*/ 2147483647 h 144"/>
                <a:gd name="T6" fmla="*/ 2147483647 w 162"/>
                <a:gd name="T7" fmla="*/ 2147483647 h 144"/>
                <a:gd name="T8" fmla="*/ 2147483647 w 162"/>
                <a:gd name="T9" fmla="*/ 2147483647 h 144"/>
                <a:gd name="T10" fmla="*/ 2147483647 w 162"/>
                <a:gd name="T11" fmla="*/ 2147483647 h 144"/>
                <a:gd name="T12" fmla="*/ 2147483647 w 162"/>
                <a:gd name="T13" fmla="*/ 2147483647 h 144"/>
                <a:gd name="T14" fmla="*/ 2147483647 w 162"/>
                <a:gd name="T15" fmla="*/ 2147483647 h 144"/>
                <a:gd name="T16" fmla="*/ 2147483647 w 162"/>
                <a:gd name="T17" fmla="*/ 2147483647 h 144"/>
                <a:gd name="T18" fmla="*/ 2147483647 w 162"/>
                <a:gd name="T19" fmla="*/ 2147483647 h 144"/>
                <a:gd name="T20" fmla="*/ 2147483647 w 162"/>
                <a:gd name="T21" fmla="*/ 0 h 144"/>
                <a:gd name="T22" fmla="*/ 0 w 162"/>
                <a:gd name="T23" fmla="*/ 2147483647 h 1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2" h="144">
                  <a:moveTo>
                    <a:pt x="0" y="35"/>
                  </a:moveTo>
                  <a:lnTo>
                    <a:pt x="32" y="100"/>
                  </a:lnTo>
                  <a:lnTo>
                    <a:pt x="74" y="100"/>
                  </a:lnTo>
                  <a:lnTo>
                    <a:pt x="82" y="132"/>
                  </a:lnTo>
                  <a:lnTo>
                    <a:pt x="100" y="144"/>
                  </a:lnTo>
                  <a:lnTo>
                    <a:pt x="138" y="111"/>
                  </a:lnTo>
                  <a:lnTo>
                    <a:pt x="162" y="111"/>
                  </a:lnTo>
                  <a:lnTo>
                    <a:pt x="162" y="88"/>
                  </a:lnTo>
                  <a:lnTo>
                    <a:pt x="124" y="77"/>
                  </a:lnTo>
                  <a:lnTo>
                    <a:pt x="44" y="13"/>
                  </a:lnTo>
                  <a:lnTo>
                    <a:pt x="38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21" name="Freeform 256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6353865" y="3376183"/>
              <a:ext cx="298730" cy="114300"/>
            </a:xfrm>
            <a:custGeom>
              <a:avLst/>
              <a:gdLst>
                <a:gd name="T0" fmla="*/ 0 w 162"/>
                <a:gd name="T1" fmla="*/ 2147483647 h 144"/>
                <a:gd name="T2" fmla="*/ 2147483647 w 162"/>
                <a:gd name="T3" fmla="*/ 2147483647 h 144"/>
                <a:gd name="T4" fmla="*/ 2147483647 w 162"/>
                <a:gd name="T5" fmla="*/ 2147483647 h 144"/>
                <a:gd name="T6" fmla="*/ 2147483647 w 162"/>
                <a:gd name="T7" fmla="*/ 2147483647 h 144"/>
                <a:gd name="T8" fmla="*/ 2147483647 w 162"/>
                <a:gd name="T9" fmla="*/ 2147483647 h 144"/>
                <a:gd name="T10" fmla="*/ 2147483647 w 162"/>
                <a:gd name="T11" fmla="*/ 2147483647 h 144"/>
                <a:gd name="T12" fmla="*/ 2147483647 w 162"/>
                <a:gd name="T13" fmla="*/ 2147483647 h 144"/>
                <a:gd name="T14" fmla="*/ 2147483647 w 162"/>
                <a:gd name="T15" fmla="*/ 2147483647 h 144"/>
                <a:gd name="T16" fmla="*/ 2147483647 w 162"/>
                <a:gd name="T17" fmla="*/ 2147483647 h 144"/>
                <a:gd name="T18" fmla="*/ 2147483647 w 162"/>
                <a:gd name="T19" fmla="*/ 2147483647 h 144"/>
                <a:gd name="T20" fmla="*/ 2147483647 w 162"/>
                <a:gd name="T21" fmla="*/ 0 h 144"/>
                <a:gd name="T22" fmla="*/ 0 w 162"/>
                <a:gd name="T23" fmla="*/ 2147483647 h 1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2" h="144">
                  <a:moveTo>
                    <a:pt x="0" y="35"/>
                  </a:moveTo>
                  <a:lnTo>
                    <a:pt x="32" y="100"/>
                  </a:lnTo>
                  <a:lnTo>
                    <a:pt x="74" y="100"/>
                  </a:lnTo>
                  <a:lnTo>
                    <a:pt x="82" y="132"/>
                  </a:lnTo>
                  <a:lnTo>
                    <a:pt x="100" y="144"/>
                  </a:lnTo>
                  <a:lnTo>
                    <a:pt x="138" y="111"/>
                  </a:lnTo>
                  <a:lnTo>
                    <a:pt x="162" y="111"/>
                  </a:lnTo>
                  <a:lnTo>
                    <a:pt x="162" y="88"/>
                  </a:lnTo>
                  <a:lnTo>
                    <a:pt x="124" y="77"/>
                  </a:lnTo>
                  <a:lnTo>
                    <a:pt x="44" y="13"/>
                  </a:lnTo>
                  <a:lnTo>
                    <a:pt x="38" y="0"/>
                  </a:lnTo>
                  <a:lnTo>
                    <a:pt x="0" y="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22" name="Freeform 257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6353865" y="3376183"/>
              <a:ext cx="298730" cy="114300"/>
            </a:xfrm>
            <a:custGeom>
              <a:avLst/>
              <a:gdLst>
                <a:gd name="T0" fmla="*/ 0 w 162"/>
                <a:gd name="T1" fmla="*/ 2147483647 h 144"/>
                <a:gd name="T2" fmla="*/ 2147483647 w 162"/>
                <a:gd name="T3" fmla="*/ 2147483647 h 144"/>
                <a:gd name="T4" fmla="*/ 2147483647 w 162"/>
                <a:gd name="T5" fmla="*/ 2147483647 h 144"/>
                <a:gd name="T6" fmla="*/ 2147483647 w 162"/>
                <a:gd name="T7" fmla="*/ 2147483647 h 144"/>
                <a:gd name="T8" fmla="*/ 2147483647 w 162"/>
                <a:gd name="T9" fmla="*/ 2147483647 h 144"/>
                <a:gd name="T10" fmla="*/ 2147483647 w 162"/>
                <a:gd name="T11" fmla="*/ 2147483647 h 144"/>
                <a:gd name="T12" fmla="*/ 2147483647 w 162"/>
                <a:gd name="T13" fmla="*/ 2147483647 h 144"/>
                <a:gd name="T14" fmla="*/ 2147483647 w 162"/>
                <a:gd name="T15" fmla="*/ 2147483647 h 144"/>
                <a:gd name="T16" fmla="*/ 2147483647 w 162"/>
                <a:gd name="T17" fmla="*/ 2147483647 h 144"/>
                <a:gd name="T18" fmla="*/ 2147483647 w 162"/>
                <a:gd name="T19" fmla="*/ 2147483647 h 144"/>
                <a:gd name="T20" fmla="*/ 2147483647 w 162"/>
                <a:gd name="T21" fmla="*/ 0 h 144"/>
                <a:gd name="T22" fmla="*/ 0 w 162"/>
                <a:gd name="T23" fmla="*/ 2147483647 h 1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2" h="144">
                  <a:moveTo>
                    <a:pt x="0" y="35"/>
                  </a:moveTo>
                  <a:lnTo>
                    <a:pt x="32" y="100"/>
                  </a:lnTo>
                  <a:lnTo>
                    <a:pt x="74" y="100"/>
                  </a:lnTo>
                  <a:lnTo>
                    <a:pt x="82" y="132"/>
                  </a:lnTo>
                  <a:lnTo>
                    <a:pt x="100" y="144"/>
                  </a:lnTo>
                  <a:lnTo>
                    <a:pt x="138" y="111"/>
                  </a:lnTo>
                  <a:lnTo>
                    <a:pt x="162" y="111"/>
                  </a:lnTo>
                  <a:lnTo>
                    <a:pt x="162" y="88"/>
                  </a:lnTo>
                  <a:lnTo>
                    <a:pt x="124" y="77"/>
                  </a:lnTo>
                  <a:lnTo>
                    <a:pt x="44" y="13"/>
                  </a:lnTo>
                  <a:lnTo>
                    <a:pt x="38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23" name="Freeform 258"/>
            <p:cNvSpPr>
              <a:spLocks/>
            </p:cNvSpPr>
            <p:nvPr>
              <p:custDataLst>
                <p:tags r:id="rId231"/>
              </p:custDataLst>
            </p:nvPr>
          </p:nvSpPr>
          <p:spPr bwMode="auto">
            <a:xfrm>
              <a:off x="6353865" y="3376183"/>
              <a:ext cx="298730" cy="114300"/>
            </a:xfrm>
            <a:custGeom>
              <a:avLst/>
              <a:gdLst>
                <a:gd name="T0" fmla="*/ 0 w 162"/>
                <a:gd name="T1" fmla="*/ 2147483647 h 144"/>
                <a:gd name="T2" fmla="*/ 2147483647 w 162"/>
                <a:gd name="T3" fmla="*/ 2147483647 h 144"/>
                <a:gd name="T4" fmla="*/ 2147483647 w 162"/>
                <a:gd name="T5" fmla="*/ 2147483647 h 144"/>
                <a:gd name="T6" fmla="*/ 2147483647 w 162"/>
                <a:gd name="T7" fmla="*/ 2147483647 h 144"/>
                <a:gd name="T8" fmla="*/ 2147483647 w 162"/>
                <a:gd name="T9" fmla="*/ 2147483647 h 144"/>
                <a:gd name="T10" fmla="*/ 2147483647 w 162"/>
                <a:gd name="T11" fmla="*/ 2147483647 h 144"/>
                <a:gd name="T12" fmla="*/ 2147483647 w 162"/>
                <a:gd name="T13" fmla="*/ 2147483647 h 144"/>
                <a:gd name="T14" fmla="*/ 2147483647 w 162"/>
                <a:gd name="T15" fmla="*/ 2147483647 h 144"/>
                <a:gd name="T16" fmla="*/ 2147483647 w 162"/>
                <a:gd name="T17" fmla="*/ 2147483647 h 144"/>
                <a:gd name="T18" fmla="*/ 2147483647 w 162"/>
                <a:gd name="T19" fmla="*/ 2147483647 h 144"/>
                <a:gd name="T20" fmla="*/ 2147483647 w 162"/>
                <a:gd name="T21" fmla="*/ 0 h 144"/>
                <a:gd name="T22" fmla="*/ 0 w 162"/>
                <a:gd name="T23" fmla="*/ 2147483647 h 1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62" h="144">
                  <a:moveTo>
                    <a:pt x="0" y="35"/>
                  </a:moveTo>
                  <a:lnTo>
                    <a:pt x="32" y="100"/>
                  </a:lnTo>
                  <a:lnTo>
                    <a:pt x="74" y="100"/>
                  </a:lnTo>
                  <a:lnTo>
                    <a:pt x="82" y="132"/>
                  </a:lnTo>
                  <a:lnTo>
                    <a:pt x="100" y="144"/>
                  </a:lnTo>
                  <a:lnTo>
                    <a:pt x="138" y="111"/>
                  </a:lnTo>
                  <a:lnTo>
                    <a:pt x="162" y="111"/>
                  </a:lnTo>
                  <a:lnTo>
                    <a:pt x="162" y="88"/>
                  </a:lnTo>
                  <a:lnTo>
                    <a:pt x="124" y="77"/>
                  </a:lnTo>
                  <a:lnTo>
                    <a:pt x="44" y="13"/>
                  </a:lnTo>
                  <a:lnTo>
                    <a:pt x="38" y="0"/>
                  </a:lnTo>
                  <a:lnTo>
                    <a:pt x="0" y="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24" name="Freeform 259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6249610" y="3147612"/>
              <a:ext cx="80196" cy="104775"/>
            </a:xfrm>
            <a:custGeom>
              <a:avLst/>
              <a:gdLst>
                <a:gd name="T0" fmla="*/ 0 w 44"/>
                <a:gd name="T1" fmla="*/ 2147483647 h 132"/>
                <a:gd name="T2" fmla="*/ 2147483647 w 44"/>
                <a:gd name="T3" fmla="*/ 2147483647 h 132"/>
                <a:gd name="T4" fmla="*/ 2147483647 w 44"/>
                <a:gd name="T5" fmla="*/ 0 h 132"/>
                <a:gd name="T6" fmla="*/ 2147483647 w 44"/>
                <a:gd name="T7" fmla="*/ 2147483647 h 132"/>
                <a:gd name="T8" fmla="*/ 2147483647 w 44"/>
                <a:gd name="T9" fmla="*/ 2147483647 h 132"/>
                <a:gd name="T10" fmla="*/ 2147483647 w 44"/>
                <a:gd name="T11" fmla="*/ 2147483647 h 132"/>
                <a:gd name="T12" fmla="*/ 2147483647 w 44"/>
                <a:gd name="T13" fmla="*/ 2147483647 h 132"/>
                <a:gd name="T14" fmla="*/ 2147483647 w 44"/>
                <a:gd name="T15" fmla="*/ 2147483647 h 132"/>
                <a:gd name="T16" fmla="*/ 0 w 44"/>
                <a:gd name="T17" fmla="*/ 2147483647 h 1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4" h="132">
                  <a:moveTo>
                    <a:pt x="0" y="100"/>
                  </a:moveTo>
                  <a:lnTo>
                    <a:pt x="5" y="44"/>
                  </a:lnTo>
                  <a:lnTo>
                    <a:pt x="37" y="0"/>
                  </a:lnTo>
                  <a:lnTo>
                    <a:pt x="31" y="56"/>
                  </a:lnTo>
                  <a:lnTo>
                    <a:pt x="44" y="65"/>
                  </a:lnTo>
                  <a:lnTo>
                    <a:pt x="19" y="100"/>
                  </a:lnTo>
                  <a:lnTo>
                    <a:pt x="19" y="132"/>
                  </a:lnTo>
                  <a:lnTo>
                    <a:pt x="5" y="132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425" name="Group 260"/>
            <p:cNvGrpSpPr>
              <a:grpSpLocks/>
            </p:cNvGrpSpPr>
            <p:nvPr>
              <p:custDataLst>
                <p:tags r:id="rId233"/>
              </p:custDataLst>
            </p:nvPr>
          </p:nvGrpSpPr>
          <p:grpSpPr bwMode="auto">
            <a:xfrm>
              <a:off x="6249610" y="3147612"/>
              <a:ext cx="80196" cy="104775"/>
              <a:chOff x="3070" y="1613"/>
              <a:chExt cx="44" cy="6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09" name="Freeform 261"/>
              <p:cNvSpPr>
                <a:spLocks/>
              </p:cNvSpPr>
              <p:nvPr/>
            </p:nvSpPr>
            <p:spPr bwMode="auto">
              <a:xfrm>
                <a:off x="3070" y="1613"/>
                <a:ext cx="44" cy="66"/>
              </a:xfrm>
              <a:custGeom>
                <a:avLst/>
                <a:gdLst>
                  <a:gd name="T0" fmla="*/ 0 w 44"/>
                  <a:gd name="T1" fmla="*/ 1 h 132"/>
                  <a:gd name="T2" fmla="*/ 5 w 44"/>
                  <a:gd name="T3" fmla="*/ 1 h 132"/>
                  <a:gd name="T4" fmla="*/ 37 w 44"/>
                  <a:gd name="T5" fmla="*/ 0 h 132"/>
                  <a:gd name="T6" fmla="*/ 31 w 44"/>
                  <a:gd name="T7" fmla="*/ 1 h 132"/>
                  <a:gd name="T8" fmla="*/ 44 w 44"/>
                  <a:gd name="T9" fmla="*/ 1 h 132"/>
                  <a:gd name="T10" fmla="*/ 19 w 44"/>
                  <a:gd name="T11" fmla="*/ 1 h 132"/>
                  <a:gd name="T12" fmla="*/ 19 w 44"/>
                  <a:gd name="T13" fmla="*/ 1 h 132"/>
                  <a:gd name="T14" fmla="*/ 5 w 44"/>
                  <a:gd name="T15" fmla="*/ 1 h 132"/>
                  <a:gd name="T16" fmla="*/ 0 w 44"/>
                  <a:gd name="T17" fmla="*/ 1 h 1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4" h="132">
                    <a:moveTo>
                      <a:pt x="0" y="100"/>
                    </a:moveTo>
                    <a:lnTo>
                      <a:pt x="5" y="44"/>
                    </a:lnTo>
                    <a:lnTo>
                      <a:pt x="37" y="0"/>
                    </a:lnTo>
                    <a:lnTo>
                      <a:pt x="31" y="56"/>
                    </a:lnTo>
                    <a:lnTo>
                      <a:pt x="44" y="65"/>
                    </a:lnTo>
                    <a:lnTo>
                      <a:pt x="19" y="100"/>
                    </a:lnTo>
                    <a:lnTo>
                      <a:pt x="19" y="132"/>
                    </a:lnTo>
                    <a:lnTo>
                      <a:pt x="5" y="132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10" name="Freeform 262"/>
              <p:cNvSpPr>
                <a:spLocks/>
              </p:cNvSpPr>
              <p:nvPr/>
            </p:nvSpPr>
            <p:spPr bwMode="auto">
              <a:xfrm>
                <a:off x="3070" y="1613"/>
                <a:ext cx="44" cy="66"/>
              </a:xfrm>
              <a:custGeom>
                <a:avLst/>
                <a:gdLst>
                  <a:gd name="T0" fmla="*/ 0 w 44"/>
                  <a:gd name="T1" fmla="*/ 1 h 132"/>
                  <a:gd name="T2" fmla="*/ 5 w 44"/>
                  <a:gd name="T3" fmla="*/ 1 h 132"/>
                  <a:gd name="T4" fmla="*/ 37 w 44"/>
                  <a:gd name="T5" fmla="*/ 0 h 132"/>
                  <a:gd name="T6" fmla="*/ 31 w 44"/>
                  <a:gd name="T7" fmla="*/ 1 h 132"/>
                  <a:gd name="T8" fmla="*/ 44 w 44"/>
                  <a:gd name="T9" fmla="*/ 1 h 132"/>
                  <a:gd name="T10" fmla="*/ 19 w 44"/>
                  <a:gd name="T11" fmla="*/ 1 h 132"/>
                  <a:gd name="T12" fmla="*/ 19 w 44"/>
                  <a:gd name="T13" fmla="*/ 1 h 132"/>
                  <a:gd name="T14" fmla="*/ 5 w 44"/>
                  <a:gd name="T15" fmla="*/ 1 h 132"/>
                  <a:gd name="T16" fmla="*/ 0 w 44"/>
                  <a:gd name="T17" fmla="*/ 1 h 1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4" h="132">
                    <a:moveTo>
                      <a:pt x="0" y="100"/>
                    </a:moveTo>
                    <a:lnTo>
                      <a:pt x="5" y="44"/>
                    </a:lnTo>
                    <a:lnTo>
                      <a:pt x="37" y="0"/>
                    </a:lnTo>
                    <a:lnTo>
                      <a:pt x="31" y="56"/>
                    </a:lnTo>
                    <a:lnTo>
                      <a:pt x="44" y="65"/>
                    </a:lnTo>
                    <a:lnTo>
                      <a:pt x="19" y="100"/>
                    </a:lnTo>
                    <a:lnTo>
                      <a:pt x="19" y="132"/>
                    </a:lnTo>
                    <a:lnTo>
                      <a:pt x="5" y="132"/>
                    </a:lnTo>
                    <a:lnTo>
                      <a:pt x="0" y="10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426" name="Freeform 263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6249610" y="3147612"/>
              <a:ext cx="80196" cy="104775"/>
            </a:xfrm>
            <a:custGeom>
              <a:avLst/>
              <a:gdLst>
                <a:gd name="T0" fmla="*/ 0 w 44"/>
                <a:gd name="T1" fmla="*/ 2147483647 h 132"/>
                <a:gd name="T2" fmla="*/ 2147483647 w 44"/>
                <a:gd name="T3" fmla="*/ 2147483647 h 132"/>
                <a:gd name="T4" fmla="*/ 2147483647 w 44"/>
                <a:gd name="T5" fmla="*/ 0 h 132"/>
                <a:gd name="T6" fmla="*/ 2147483647 w 44"/>
                <a:gd name="T7" fmla="*/ 2147483647 h 132"/>
                <a:gd name="T8" fmla="*/ 2147483647 w 44"/>
                <a:gd name="T9" fmla="*/ 2147483647 h 132"/>
                <a:gd name="T10" fmla="*/ 2147483647 w 44"/>
                <a:gd name="T11" fmla="*/ 2147483647 h 132"/>
                <a:gd name="T12" fmla="*/ 2147483647 w 44"/>
                <a:gd name="T13" fmla="*/ 2147483647 h 132"/>
                <a:gd name="T14" fmla="*/ 2147483647 w 44"/>
                <a:gd name="T15" fmla="*/ 2147483647 h 132"/>
                <a:gd name="T16" fmla="*/ 0 w 44"/>
                <a:gd name="T17" fmla="*/ 2147483647 h 1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4" h="132">
                  <a:moveTo>
                    <a:pt x="0" y="100"/>
                  </a:moveTo>
                  <a:lnTo>
                    <a:pt x="5" y="44"/>
                  </a:lnTo>
                  <a:lnTo>
                    <a:pt x="37" y="0"/>
                  </a:lnTo>
                  <a:lnTo>
                    <a:pt x="31" y="56"/>
                  </a:lnTo>
                  <a:lnTo>
                    <a:pt x="44" y="65"/>
                  </a:lnTo>
                  <a:lnTo>
                    <a:pt x="19" y="100"/>
                  </a:lnTo>
                  <a:lnTo>
                    <a:pt x="19" y="132"/>
                  </a:lnTo>
                  <a:lnTo>
                    <a:pt x="5" y="132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427" name="Group 264"/>
            <p:cNvGrpSpPr>
              <a:grpSpLocks/>
            </p:cNvGrpSpPr>
            <p:nvPr>
              <p:custDataLst>
                <p:tags r:id="rId235"/>
              </p:custDataLst>
            </p:nvPr>
          </p:nvGrpSpPr>
          <p:grpSpPr bwMode="auto">
            <a:xfrm>
              <a:off x="6249610" y="3147612"/>
              <a:ext cx="80196" cy="104775"/>
              <a:chOff x="3070" y="1613"/>
              <a:chExt cx="44" cy="6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07" name="Freeform 265"/>
              <p:cNvSpPr>
                <a:spLocks/>
              </p:cNvSpPr>
              <p:nvPr/>
            </p:nvSpPr>
            <p:spPr bwMode="auto">
              <a:xfrm>
                <a:off x="3070" y="1613"/>
                <a:ext cx="44" cy="66"/>
              </a:xfrm>
              <a:custGeom>
                <a:avLst/>
                <a:gdLst>
                  <a:gd name="T0" fmla="*/ 0 w 44"/>
                  <a:gd name="T1" fmla="*/ 1 h 132"/>
                  <a:gd name="T2" fmla="*/ 5 w 44"/>
                  <a:gd name="T3" fmla="*/ 1 h 132"/>
                  <a:gd name="T4" fmla="*/ 37 w 44"/>
                  <a:gd name="T5" fmla="*/ 0 h 132"/>
                  <a:gd name="T6" fmla="*/ 31 w 44"/>
                  <a:gd name="T7" fmla="*/ 1 h 132"/>
                  <a:gd name="T8" fmla="*/ 44 w 44"/>
                  <a:gd name="T9" fmla="*/ 1 h 132"/>
                  <a:gd name="T10" fmla="*/ 19 w 44"/>
                  <a:gd name="T11" fmla="*/ 1 h 132"/>
                  <a:gd name="T12" fmla="*/ 19 w 44"/>
                  <a:gd name="T13" fmla="*/ 1 h 132"/>
                  <a:gd name="T14" fmla="*/ 5 w 44"/>
                  <a:gd name="T15" fmla="*/ 1 h 132"/>
                  <a:gd name="T16" fmla="*/ 0 w 44"/>
                  <a:gd name="T17" fmla="*/ 1 h 1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4" h="132">
                    <a:moveTo>
                      <a:pt x="0" y="100"/>
                    </a:moveTo>
                    <a:lnTo>
                      <a:pt x="5" y="44"/>
                    </a:lnTo>
                    <a:lnTo>
                      <a:pt x="37" y="0"/>
                    </a:lnTo>
                    <a:lnTo>
                      <a:pt x="31" y="56"/>
                    </a:lnTo>
                    <a:lnTo>
                      <a:pt x="44" y="65"/>
                    </a:lnTo>
                    <a:lnTo>
                      <a:pt x="19" y="100"/>
                    </a:lnTo>
                    <a:lnTo>
                      <a:pt x="19" y="132"/>
                    </a:lnTo>
                    <a:lnTo>
                      <a:pt x="5" y="132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08" name="Freeform 266"/>
              <p:cNvSpPr>
                <a:spLocks/>
              </p:cNvSpPr>
              <p:nvPr/>
            </p:nvSpPr>
            <p:spPr bwMode="auto">
              <a:xfrm>
                <a:off x="3070" y="1613"/>
                <a:ext cx="44" cy="66"/>
              </a:xfrm>
              <a:custGeom>
                <a:avLst/>
                <a:gdLst>
                  <a:gd name="T0" fmla="*/ 0 w 44"/>
                  <a:gd name="T1" fmla="*/ 1 h 132"/>
                  <a:gd name="T2" fmla="*/ 5 w 44"/>
                  <a:gd name="T3" fmla="*/ 1 h 132"/>
                  <a:gd name="T4" fmla="*/ 37 w 44"/>
                  <a:gd name="T5" fmla="*/ 0 h 132"/>
                  <a:gd name="T6" fmla="*/ 31 w 44"/>
                  <a:gd name="T7" fmla="*/ 1 h 132"/>
                  <a:gd name="T8" fmla="*/ 44 w 44"/>
                  <a:gd name="T9" fmla="*/ 1 h 132"/>
                  <a:gd name="T10" fmla="*/ 19 w 44"/>
                  <a:gd name="T11" fmla="*/ 1 h 132"/>
                  <a:gd name="T12" fmla="*/ 19 w 44"/>
                  <a:gd name="T13" fmla="*/ 1 h 132"/>
                  <a:gd name="T14" fmla="*/ 5 w 44"/>
                  <a:gd name="T15" fmla="*/ 1 h 132"/>
                  <a:gd name="T16" fmla="*/ 0 w 44"/>
                  <a:gd name="T17" fmla="*/ 1 h 1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4" h="132">
                    <a:moveTo>
                      <a:pt x="0" y="100"/>
                    </a:moveTo>
                    <a:lnTo>
                      <a:pt x="5" y="44"/>
                    </a:lnTo>
                    <a:lnTo>
                      <a:pt x="37" y="0"/>
                    </a:lnTo>
                    <a:lnTo>
                      <a:pt x="31" y="56"/>
                    </a:lnTo>
                    <a:lnTo>
                      <a:pt x="44" y="65"/>
                    </a:lnTo>
                    <a:lnTo>
                      <a:pt x="19" y="100"/>
                    </a:lnTo>
                    <a:lnTo>
                      <a:pt x="19" y="132"/>
                    </a:lnTo>
                    <a:lnTo>
                      <a:pt x="5" y="132"/>
                    </a:lnTo>
                    <a:lnTo>
                      <a:pt x="0" y="100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428" name="Freeform 267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6305747" y="3225370"/>
              <a:ext cx="32078" cy="26988"/>
            </a:xfrm>
            <a:custGeom>
              <a:avLst/>
              <a:gdLst>
                <a:gd name="T0" fmla="*/ 0 w 17"/>
                <a:gd name="T1" fmla="*/ 2147483647 h 34"/>
                <a:gd name="T2" fmla="*/ 2147483647 w 17"/>
                <a:gd name="T3" fmla="*/ 0 h 34"/>
                <a:gd name="T4" fmla="*/ 2147483647 w 17"/>
                <a:gd name="T5" fmla="*/ 2147483647 h 34"/>
                <a:gd name="T6" fmla="*/ 0 w 17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34">
                  <a:moveTo>
                    <a:pt x="0" y="34"/>
                  </a:moveTo>
                  <a:lnTo>
                    <a:pt x="17" y="0"/>
                  </a:lnTo>
                  <a:lnTo>
                    <a:pt x="17" y="21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29" name="Freeform 268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6305747" y="3225370"/>
              <a:ext cx="32078" cy="26988"/>
            </a:xfrm>
            <a:custGeom>
              <a:avLst/>
              <a:gdLst>
                <a:gd name="T0" fmla="*/ 0 w 17"/>
                <a:gd name="T1" fmla="*/ 2147483647 h 34"/>
                <a:gd name="T2" fmla="*/ 2147483647 w 17"/>
                <a:gd name="T3" fmla="*/ 0 h 34"/>
                <a:gd name="T4" fmla="*/ 2147483647 w 17"/>
                <a:gd name="T5" fmla="*/ 2147483647 h 34"/>
                <a:gd name="T6" fmla="*/ 0 w 17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34">
                  <a:moveTo>
                    <a:pt x="0" y="34"/>
                  </a:moveTo>
                  <a:lnTo>
                    <a:pt x="17" y="0"/>
                  </a:lnTo>
                  <a:lnTo>
                    <a:pt x="17" y="21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30" name="Freeform 269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6305747" y="3225370"/>
              <a:ext cx="32078" cy="26988"/>
            </a:xfrm>
            <a:custGeom>
              <a:avLst/>
              <a:gdLst>
                <a:gd name="T0" fmla="*/ 0 w 17"/>
                <a:gd name="T1" fmla="*/ 2147483647 h 34"/>
                <a:gd name="T2" fmla="*/ 2147483647 w 17"/>
                <a:gd name="T3" fmla="*/ 0 h 34"/>
                <a:gd name="T4" fmla="*/ 2147483647 w 17"/>
                <a:gd name="T5" fmla="*/ 2147483647 h 34"/>
                <a:gd name="T6" fmla="*/ 0 w 17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34">
                  <a:moveTo>
                    <a:pt x="0" y="34"/>
                  </a:moveTo>
                  <a:lnTo>
                    <a:pt x="17" y="0"/>
                  </a:lnTo>
                  <a:lnTo>
                    <a:pt x="17" y="21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31" name="Freeform 270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6305747" y="3225370"/>
              <a:ext cx="32078" cy="26988"/>
            </a:xfrm>
            <a:custGeom>
              <a:avLst/>
              <a:gdLst>
                <a:gd name="T0" fmla="*/ 0 w 17"/>
                <a:gd name="T1" fmla="*/ 2147483647 h 34"/>
                <a:gd name="T2" fmla="*/ 2147483647 w 17"/>
                <a:gd name="T3" fmla="*/ 0 h 34"/>
                <a:gd name="T4" fmla="*/ 2147483647 w 17"/>
                <a:gd name="T5" fmla="*/ 2147483647 h 34"/>
                <a:gd name="T6" fmla="*/ 0 w 17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7" h="34">
                  <a:moveTo>
                    <a:pt x="0" y="34"/>
                  </a:moveTo>
                  <a:lnTo>
                    <a:pt x="17" y="0"/>
                  </a:lnTo>
                  <a:lnTo>
                    <a:pt x="17" y="21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32" name="Freeform 271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6329811" y="3201589"/>
              <a:ext cx="48118" cy="41275"/>
            </a:xfrm>
            <a:custGeom>
              <a:avLst/>
              <a:gdLst>
                <a:gd name="T0" fmla="*/ 0 w 27"/>
                <a:gd name="T1" fmla="*/ 2147483647 h 54"/>
                <a:gd name="T2" fmla="*/ 2147483647 w 27"/>
                <a:gd name="T3" fmla="*/ 2147483647 h 54"/>
                <a:gd name="T4" fmla="*/ 2147483647 w 27"/>
                <a:gd name="T5" fmla="*/ 2147483647 h 54"/>
                <a:gd name="T6" fmla="*/ 2147483647 w 27"/>
                <a:gd name="T7" fmla="*/ 0 h 54"/>
                <a:gd name="T8" fmla="*/ 0 w 27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54">
                  <a:moveTo>
                    <a:pt x="0" y="33"/>
                  </a:moveTo>
                  <a:lnTo>
                    <a:pt x="27" y="54"/>
                  </a:lnTo>
                  <a:lnTo>
                    <a:pt x="27" y="33"/>
                  </a:lnTo>
                  <a:lnTo>
                    <a:pt x="27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33" name="Freeform 272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6329811" y="3201589"/>
              <a:ext cx="48118" cy="41275"/>
            </a:xfrm>
            <a:custGeom>
              <a:avLst/>
              <a:gdLst>
                <a:gd name="T0" fmla="*/ 0 w 27"/>
                <a:gd name="T1" fmla="*/ 2147483647 h 54"/>
                <a:gd name="T2" fmla="*/ 2147483647 w 27"/>
                <a:gd name="T3" fmla="*/ 2147483647 h 54"/>
                <a:gd name="T4" fmla="*/ 2147483647 w 27"/>
                <a:gd name="T5" fmla="*/ 2147483647 h 54"/>
                <a:gd name="T6" fmla="*/ 2147483647 w 27"/>
                <a:gd name="T7" fmla="*/ 0 h 54"/>
                <a:gd name="T8" fmla="*/ 0 w 27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54">
                  <a:moveTo>
                    <a:pt x="0" y="33"/>
                  </a:moveTo>
                  <a:lnTo>
                    <a:pt x="27" y="54"/>
                  </a:lnTo>
                  <a:lnTo>
                    <a:pt x="27" y="33"/>
                  </a:lnTo>
                  <a:lnTo>
                    <a:pt x="27" y="0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34" name="Freeform 273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6329811" y="3201589"/>
              <a:ext cx="48118" cy="41275"/>
            </a:xfrm>
            <a:custGeom>
              <a:avLst/>
              <a:gdLst>
                <a:gd name="T0" fmla="*/ 0 w 27"/>
                <a:gd name="T1" fmla="*/ 2147483647 h 54"/>
                <a:gd name="T2" fmla="*/ 2147483647 w 27"/>
                <a:gd name="T3" fmla="*/ 2147483647 h 54"/>
                <a:gd name="T4" fmla="*/ 2147483647 w 27"/>
                <a:gd name="T5" fmla="*/ 2147483647 h 54"/>
                <a:gd name="T6" fmla="*/ 2147483647 w 27"/>
                <a:gd name="T7" fmla="*/ 0 h 54"/>
                <a:gd name="T8" fmla="*/ 0 w 27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54">
                  <a:moveTo>
                    <a:pt x="0" y="33"/>
                  </a:moveTo>
                  <a:lnTo>
                    <a:pt x="27" y="54"/>
                  </a:lnTo>
                  <a:lnTo>
                    <a:pt x="27" y="33"/>
                  </a:lnTo>
                  <a:lnTo>
                    <a:pt x="27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35" name="Freeform 274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6329811" y="3201589"/>
              <a:ext cx="48118" cy="41275"/>
            </a:xfrm>
            <a:custGeom>
              <a:avLst/>
              <a:gdLst>
                <a:gd name="T0" fmla="*/ 0 w 27"/>
                <a:gd name="T1" fmla="*/ 2147483647 h 54"/>
                <a:gd name="T2" fmla="*/ 2147483647 w 27"/>
                <a:gd name="T3" fmla="*/ 2147483647 h 54"/>
                <a:gd name="T4" fmla="*/ 2147483647 w 27"/>
                <a:gd name="T5" fmla="*/ 2147483647 h 54"/>
                <a:gd name="T6" fmla="*/ 2147483647 w 27"/>
                <a:gd name="T7" fmla="*/ 0 h 54"/>
                <a:gd name="T8" fmla="*/ 0 w 27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7" h="54">
                  <a:moveTo>
                    <a:pt x="0" y="33"/>
                  </a:moveTo>
                  <a:lnTo>
                    <a:pt x="27" y="54"/>
                  </a:lnTo>
                  <a:lnTo>
                    <a:pt x="27" y="33"/>
                  </a:lnTo>
                  <a:lnTo>
                    <a:pt x="27" y="0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36" name="Freeform 275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3711421" y="4285820"/>
              <a:ext cx="92225" cy="44450"/>
            </a:xfrm>
            <a:custGeom>
              <a:avLst/>
              <a:gdLst>
                <a:gd name="T0" fmla="*/ 0 w 50"/>
                <a:gd name="T1" fmla="*/ 0 h 55"/>
                <a:gd name="T2" fmla="*/ 0 w 50"/>
                <a:gd name="T3" fmla="*/ 2147483647 h 55"/>
                <a:gd name="T4" fmla="*/ 2147483647 w 50"/>
                <a:gd name="T5" fmla="*/ 2147483647 h 55"/>
                <a:gd name="T6" fmla="*/ 2147483647 w 50"/>
                <a:gd name="T7" fmla="*/ 2147483647 h 55"/>
                <a:gd name="T8" fmla="*/ 0 w 50"/>
                <a:gd name="T9" fmla="*/ 0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5">
                  <a:moveTo>
                    <a:pt x="0" y="0"/>
                  </a:moveTo>
                  <a:lnTo>
                    <a:pt x="0" y="55"/>
                  </a:lnTo>
                  <a:lnTo>
                    <a:pt x="50" y="46"/>
                  </a:lnTo>
                  <a:lnTo>
                    <a:pt x="32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37" name="Freeform 276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3711421" y="4285820"/>
              <a:ext cx="92225" cy="44450"/>
            </a:xfrm>
            <a:custGeom>
              <a:avLst/>
              <a:gdLst>
                <a:gd name="T0" fmla="*/ 0 w 50"/>
                <a:gd name="T1" fmla="*/ 0 h 55"/>
                <a:gd name="T2" fmla="*/ 0 w 50"/>
                <a:gd name="T3" fmla="*/ 2147483647 h 55"/>
                <a:gd name="T4" fmla="*/ 2147483647 w 50"/>
                <a:gd name="T5" fmla="*/ 2147483647 h 55"/>
                <a:gd name="T6" fmla="*/ 2147483647 w 50"/>
                <a:gd name="T7" fmla="*/ 2147483647 h 55"/>
                <a:gd name="T8" fmla="*/ 0 w 50"/>
                <a:gd name="T9" fmla="*/ 0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5">
                  <a:moveTo>
                    <a:pt x="0" y="0"/>
                  </a:moveTo>
                  <a:lnTo>
                    <a:pt x="0" y="55"/>
                  </a:lnTo>
                  <a:lnTo>
                    <a:pt x="50" y="46"/>
                  </a:lnTo>
                  <a:lnTo>
                    <a:pt x="32" y="11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38" name="Freeform 277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3711421" y="4285820"/>
              <a:ext cx="92225" cy="44450"/>
            </a:xfrm>
            <a:custGeom>
              <a:avLst/>
              <a:gdLst>
                <a:gd name="T0" fmla="*/ 0 w 50"/>
                <a:gd name="T1" fmla="*/ 0 h 55"/>
                <a:gd name="T2" fmla="*/ 0 w 50"/>
                <a:gd name="T3" fmla="*/ 2147483647 h 55"/>
                <a:gd name="T4" fmla="*/ 2147483647 w 50"/>
                <a:gd name="T5" fmla="*/ 2147483647 h 55"/>
                <a:gd name="T6" fmla="*/ 2147483647 w 50"/>
                <a:gd name="T7" fmla="*/ 2147483647 h 55"/>
                <a:gd name="T8" fmla="*/ 0 w 50"/>
                <a:gd name="T9" fmla="*/ 0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5">
                  <a:moveTo>
                    <a:pt x="0" y="0"/>
                  </a:moveTo>
                  <a:lnTo>
                    <a:pt x="0" y="55"/>
                  </a:lnTo>
                  <a:lnTo>
                    <a:pt x="50" y="46"/>
                  </a:lnTo>
                  <a:lnTo>
                    <a:pt x="32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39" name="Freeform 278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3711421" y="4285820"/>
              <a:ext cx="92225" cy="44450"/>
            </a:xfrm>
            <a:custGeom>
              <a:avLst/>
              <a:gdLst>
                <a:gd name="T0" fmla="*/ 0 w 50"/>
                <a:gd name="T1" fmla="*/ 0 h 55"/>
                <a:gd name="T2" fmla="*/ 0 w 50"/>
                <a:gd name="T3" fmla="*/ 2147483647 h 55"/>
                <a:gd name="T4" fmla="*/ 2147483647 w 50"/>
                <a:gd name="T5" fmla="*/ 2147483647 h 55"/>
                <a:gd name="T6" fmla="*/ 2147483647 w 50"/>
                <a:gd name="T7" fmla="*/ 2147483647 h 55"/>
                <a:gd name="T8" fmla="*/ 0 w 50"/>
                <a:gd name="T9" fmla="*/ 0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55">
                  <a:moveTo>
                    <a:pt x="0" y="0"/>
                  </a:moveTo>
                  <a:lnTo>
                    <a:pt x="0" y="55"/>
                  </a:lnTo>
                  <a:lnTo>
                    <a:pt x="50" y="46"/>
                  </a:lnTo>
                  <a:lnTo>
                    <a:pt x="32" y="11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40" name="Freeform 279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3458802" y="4765245"/>
              <a:ext cx="158387" cy="158750"/>
            </a:xfrm>
            <a:custGeom>
              <a:avLst/>
              <a:gdLst>
                <a:gd name="T0" fmla="*/ 0 w 86"/>
                <a:gd name="T1" fmla="*/ 2147483647 h 199"/>
                <a:gd name="T2" fmla="*/ 0 w 86"/>
                <a:gd name="T3" fmla="*/ 2147483647 h 199"/>
                <a:gd name="T4" fmla="*/ 2147483647 w 86"/>
                <a:gd name="T5" fmla="*/ 2147483647 h 199"/>
                <a:gd name="T6" fmla="*/ 2147483647 w 86"/>
                <a:gd name="T7" fmla="*/ 2147483647 h 199"/>
                <a:gd name="T8" fmla="*/ 2147483647 w 86"/>
                <a:gd name="T9" fmla="*/ 2147483647 h 199"/>
                <a:gd name="T10" fmla="*/ 2147483647 w 86"/>
                <a:gd name="T11" fmla="*/ 2147483647 h 199"/>
                <a:gd name="T12" fmla="*/ 2147483647 w 86"/>
                <a:gd name="T13" fmla="*/ 2147483647 h 199"/>
                <a:gd name="T14" fmla="*/ 2147483647 w 86"/>
                <a:gd name="T15" fmla="*/ 2147483647 h 199"/>
                <a:gd name="T16" fmla="*/ 2147483647 w 86"/>
                <a:gd name="T17" fmla="*/ 2147483647 h 199"/>
                <a:gd name="T18" fmla="*/ 2147483647 w 86"/>
                <a:gd name="T19" fmla="*/ 2147483647 h 199"/>
                <a:gd name="T20" fmla="*/ 2147483647 w 86"/>
                <a:gd name="T21" fmla="*/ 0 h 199"/>
                <a:gd name="T22" fmla="*/ 2147483647 w 86"/>
                <a:gd name="T23" fmla="*/ 2147483647 h 199"/>
                <a:gd name="T24" fmla="*/ 0 w 86"/>
                <a:gd name="T25" fmla="*/ 2147483647 h 19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6" h="199">
                  <a:moveTo>
                    <a:pt x="0" y="76"/>
                  </a:moveTo>
                  <a:lnTo>
                    <a:pt x="0" y="111"/>
                  </a:lnTo>
                  <a:lnTo>
                    <a:pt x="12" y="121"/>
                  </a:lnTo>
                  <a:lnTo>
                    <a:pt x="5" y="155"/>
                  </a:lnTo>
                  <a:lnTo>
                    <a:pt x="5" y="186"/>
                  </a:lnTo>
                  <a:lnTo>
                    <a:pt x="24" y="199"/>
                  </a:lnTo>
                  <a:lnTo>
                    <a:pt x="44" y="142"/>
                  </a:lnTo>
                  <a:lnTo>
                    <a:pt x="74" y="98"/>
                  </a:lnTo>
                  <a:lnTo>
                    <a:pt x="86" y="44"/>
                  </a:lnTo>
                  <a:lnTo>
                    <a:pt x="49" y="32"/>
                  </a:lnTo>
                  <a:lnTo>
                    <a:pt x="31" y="0"/>
                  </a:lnTo>
                  <a:lnTo>
                    <a:pt x="5" y="23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41" name="Freeform 280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3458802" y="4765245"/>
              <a:ext cx="158387" cy="158750"/>
            </a:xfrm>
            <a:custGeom>
              <a:avLst/>
              <a:gdLst>
                <a:gd name="T0" fmla="*/ 0 w 86"/>
                <a:gd name="T1" fmla="*/ 2147483647 h 199"/>
                <a:gd name="T2" fmla="*/ 0 w 86"/>
                <a:gd name="T3" fmla="*/ 2147483647 h 199"/>
                <a:gd name="T4" fmla="*/ 2147483647 w 86"/>
                <a:gd name="T5" fmla="*/ 2147483647 h 199"/>
                <a:gd name="T6" fmla="*/ 2147483647 w 86"/>
                <a:gd name="T7" fmla="*/ 2147483647 h 199"/>
                <a:gd name="T8" fmla="*/ 2147483647 w 86"/>
                <a:gd name="T9" fmla="*/ 2147483647 h 199"/>
                <a:gd name="T10" fmla="*/ 2147483647 w 86"/>
                <a:gd name="T11" fmla="*/ 2147483647 h 199"/>
                <a:gd name="T12" fmla="*/ 2147483647 w 86"/>
                <a:gd name="T13" fmla="*/ 2147483647 h 199"/>
                <a:gd name="T14" fmla="*/ 2147483647 w 86"/>
                <a:gd name="T15" fmla="*/ 2147483647 h 199"/>
                <a:gd name="T16" fmla="*/ 2147483647 w 86"/>
                <a:gd name="T17" fmla="*/ 2147483647 h 199"/>
                <a:gd name="T18" fmla="*/ 2147483647 w 86"/>
                <a:gd name="T19" fmla="*/ 2147483647 h 199"/>
                <a:gd name="T20" fmla="*/ 2147483647 w 86"/>
                <a:gd name="T21" fmla="*/ 0 h 199"/>
                <a:gd name="T22" fmla="*/ 2147483647 w 86"/>
                <a:gd name="T23" fmla="*/ 2147483647 h 199"/>
                <a:gd name="T24" fmla="*/ 0 w 86"/>
                <a:gd name="T25" fmla="*/ 2147483647 h 19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6" h="199">
                  <a:moveTo>
                    <a:pt x="0" y="76"/>
                  </a:moveTo>
                  <a:lnTo>
                    <a:pt x="0" y="111"/>
                  </a:lnTo>
                  <a:lnTo>
                    <a:pt x="12" y="121"/>
                  </a:lnTo>
                  <a:lnTo>
                    <a:pt x="5" y="155"/>
                  </a:lnTo>
                  <a:lnTo>
                    <a:pt x="5" y="186"/>
                  </a:lnTo>
                  <a:lnTo>
                    <a:pt x="24" y="199"/>
                  </a:lnTo>
                  <a:lnTo>
                    <a:pt x="44" y="142"/>
                  </a:lnTo>
                  <a:lnTo>
                    <a:pt x="74" y="98"/>
                  </a:lnTo>
                  <a:lnTo>
                    <a:pt x="86" y="44"/>
                  </a:lnTo>
                  <a:lnTo>
                    <a:pt x="49" y="32"/>
                  </a:lnTo>
                  <a:lnTo>
                    <a:pt x="31" y="0"/>
                  </a:lnTo>
                  <a:lnTo>
                    <a:pt x="5" y="23"/>
                  </a:lnTo>
                  <a:lnTo>
                    <a:pt x="0" y="7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42" name="Freeform 281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3458802" y="4765245"/>
              <a:ext cx="158387" cy="158750"/>
            </a:xfrm>
            <a:custGeom>
              <a:avLst/>
              <a:gdLst>
                <a:gd name="T0" fmla="*/ 0 w 86"/>
                <a:gd name="T1" fmla="*/ 2147483647 h 199"/>
                <a:gd name="T2" fmla="*/ 0 w 86"/>
                <a:gd name="T3" fmla="*/ 2147483647 h 199"/>
                <a:gd name="T4" fmla="*/ 2147483647 w 86"/>
                <a:gd name="T5" fmla="*/ 2147483647 h 199"/>
                <a:gd name="T6" fmla="*/ 2147483647 w 86"/>
                <a:gd name="T7" fmla="*/ 2147483647 h 199"/>
                <a:gd name="T8" fmla="*/ 2147483647 w 86"/>
                <a:gd name="T9" fmla="*/ 2147483647 h 199"/>
                <a:gd name="T10" fmla="*/ 2147483647 w 86"/>
                <a:gd name="T11" fmla="*/ 2147483647 h 199"/>
                <a:gd name="T12" fmla="*/ 2147483647 w 86"/>
                <a:gd name="T13" fmla="*/ 2147483647 h 199"/>
                <a:gd name="T14" fmla="*/ 2147483647 w 86"/>
                <a:gd name="T15" fmla="*/ 2147483647 h 199"/>
                <a:gd name="T16" fmla="*/ 2147483647 w 86"/>
                <a:gd name="T17" fmla="*/ 2147483647 h 199"/>
                <a:gd name="T18" fmla="*/ 2147483647 w 86"/>
                <a:gd name="T19" fmla="*/ 2147483647 h 199"/>
                <a:gd name="T20" fmla="*/ 2147483647 w 86"/>
                <a:gd name="T21" fmla="*/ 0 h 199"/>
                <a:gd name="T22" fmla="*/ 2147483647 w 86"/>
                <a:gd name="T23" fmla="*/ 2147483647 h 199"/>
                <a:gd name="T24" fmla="*/ 0 w 86"/>
                <a:gd name="T25" fmla="*/ 2147483647 h 19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6" h="199">
                  <a:moveTo>
                    <a:pt x="0" y="76"/>
                  </a:moveTo>
                  <a:lnTo>
                    <a:pt x="0" y="111"/>
                  </a:lnTo>
                  <a:lnTo>
                    <a:pt x="12" y="121"/>
                  </a:lnTo>
                  <a:lnTo>
                    <a:pt x="5" y="155"/>
                  </a:lnTo>
                  <a:lnTo>
                    <a:pt x="5" y="186"/>
                  </a:lnTo>
                  <a:lnTo>
                    <a:pt x="24" y="199"/>
                  </a:lnTo>
                  <a:lnTo>
                    <a:pt x="44" y="142"/>
                  </a:lnTo>
                  <a:lnTo>
                    <a:pt x="74" y="98"/>
                  </a:lnTo>
                  <a:lnTo>
                    <a:pt x="86" y="44"/>
                  </a:lnTo>
                  <a:lnTo>
                    <a:pt x="49" y="32"/>
                  </a:lnTo>
                  <a:lnTo>
                    <a:pt x="31" y="0"/>
                  </a:lnTo>
                  <a:lnTo>
                    <a:pt x="5" y="23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43" name="Freeform 282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3458802" y="4765245"/>
              <a:ext cx="158387" cy="158750"/>
            </a:xfrm>
            <a:custGeom>
              <a:avLst/>
              <a:gdLst>
                <a:gd name="T0" fmla="*/ 0 w 86"/>
                <a:gd name="T1" fmla="*/ 2147483647 h 199"/>
                <a:gd name="T2" fmla="*/ 0 w 86"/>
                <a:gd name="T3" fmla="*/ 2147483647 h 199"/>
                <a:gd name="T4" fmla="*/ 2147483647 w 86"/>
                <a:gd name="T5" fmla="*/ 2147483647 h 199"/>
                <a:gd name="T6" fmla="*/ 2147483647 w 86"/>
                <a:gd name="T7" fmla="*/ 2147483647 h 199"/>
                <a:gd name="T8" fmla="*/ 2147483647 w 86"/>
                <a:gd name="T9" fmla="*/ 2147483647 h 199"/>
                <a:gd name="T10" fmla="*/ 2147483647 w 86"/>
                <a:gd name="T11" fmla="*/ 2147483647 h 199"/>
                <a:gd name="T12" fmla="*/ 2147483647 w 86"/>
                <a:gd name="T13" fmla="*/ 2147483647 h 199"/>
                <a:gd name="T14" fmla="*/ 2147483647 w 86"/>
                <a:gd name="T15" fmla="*/ 2147483647 h 199"/>
                <a:gd name="T16" fmla="*/ 2147483647 w 86"/>
                <a:gd name="T17" fmla="*/ 2147483647 h 199"/>
                <a:gd name="T18" fmla="*/ 2147483647 w 86"/>
                <a:gd name="T19" fmla="*/ 2147483647 h 199"/>
                <a:gd name="T20" fmla="*/ 2147483647 w 86"/>
                <a:gd name="T21" fmla="*/ 0 h 199"/>
                <a:gd name="T22" fmla="*/ 2147483647 w 86"/>
                <a:gd name="T23" fmla="*/ 2147483647 h 199"/>
                <a:gd name="T24" fmla="*/ 0 w 86"/>
                <a:gd name="T25" fmla="*/ 2147483647 h 19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6" h="199">
                  <a:moveTo>
                    <a:pt x="0" y="76"/>
                  </a:moveTo>
                  <a:lnTo>
                    <a:pt x="0" y="111"/>
                  </a:lnTo>
                  <a:lnTo>
                    <a:pt x="12" y="121"/>
                  </a:lnTo>
                  <a:lnTo>
                    <a:pt x="5" y="155"/>
                  </a:lnTo>
                  <a:lnTo>
                    <a:pt x="5" y="186"/>
                  </a:lnTo>
                  <a:lnTo>
                    <a:pt x="24" y="199"/>
                  </a:lnTo>
                  <a:lnTo>
                    <a:pt x="44" y="142"/>
                  </a:lnTo>
                  <a:lnTo>
                    <a:pt x="74" y="98"/>
                  </a:lnTo>
                  <a:lnTo>
                    <a:pt x="86" y="44"/>
                  </a:lnTo>
                  <a:lnTo>
                    <a:pt x="49" y="32"/>
                  </a:lnTo>
                  <a:lnTo>
                    <a:pt x="31" y="0"/>
                  </a:lnTo>
                  <a:lnTo>
                    <a:pt x="5" y="23"/>
                  </a:lnTo>
                  <a:lnTo>
                    <a:pt x="0" y="7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44" name="Freeform 283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3190150" y="4428695"/>
              <a:ext cx="60147" cy="26988"/>
            </a:xfrm>
            <a:custGeom>
              <a:avLst/>
              <a:gdLst>
                <a:gd name="T0" fmla="*/ 0 w 32"/>
                <a:gd name="T1" fmla="*/ 2147483647 h 35"/>
                <a:gd name="T2" fmla="*/ 2147483647 w 32"/>
                <a:gd name="T3" fmla="*/ 0 h 35"/>
                <a:gd name="T4" fmla="*/ 2147483647 w 32"/>
                <a:gd name="T5" fmla="*/ 2147483647 h 35"/>
                <a:gd name="T6" fmla="*/ 0 w 32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" h="35">
                  <a:moveTo>
                    <a:pt x="0" y="23"/>
                  </a:moveTo>
                  <a:lnTo>
                    <a:pt x="6" y="0"/>
                  </a:lnTo>
                  <a:lnTo>
                    <a:pt x="32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45" name="Freeform 284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3190150" y="4428695"/>
              <a:ext cx="60147" cy="26988"/>
            </a:xfrm>
            <a:custGeom>
              <a:avLst/>
              <a:gdLst>
                <a:gd name="T0" fmla="*/ 0 w 32"/>
                <a:gd name="T1" fmla="*/ 2147483647 h 35"/>
                <a:gd name="T2" fmla="*/ 2147483647 w 32"/>
                <a:gd name="T3" fmla="*/ 0 h 35"/>
                <a:gd name="T4" fmla="*/ 2147483647 w 32"/>
                <a:gd name="T5" fmla="*/ 2147483647 h 35"/>
                <a:gd name="T6" fmla="*/ 0 w 32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" h="35">
                  <a:moveTo>
                    <a:pt x="0" y="23"/>
                  </a:moveTo>
                  <a:lnTo>
                    <a:pt x="6" y="0"/>
                  </a:lnTo>
                  <a:lnTo>
                    <a:pt x="32" y="35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46" name="Freeform 285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3190150" y="4428695"/>
              <a:ext cx="60147" cy="26988"/>
            </a:xfrm>
            <a:custGeom>
              <a:avLst/>
              <a:gdLst>
                <a:gd name="T0" fmla="*/ 0 w 32"/>
                <a:gd name="T1" fmla="*/ 2147483647 h 35"/>
                <a:gd name="T2" fmla="*/ 2147483647 w 32"/>
                <a:gd name="T3" fmla="*/ 0 h 35"/>
                <a:gd name="T4" fmla="*/ 2147483647 w 32"/>
                <a:gd name="T5" fmla="*/ 2147483647 h 35"/>
                <a:gd name="T6" fmla="*/ 0 w 32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" h="35">
                  <a:moveTo>
                    <a:pt x="0" y="23"/>
                  </a:moveTo>
                  <a:lnTo>
                    <a:pt x="6" y="0"/>
                  </a:lnTo>
                  <a:lnTo>
                    <a:pt x="32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47" name="Freeform 286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3190150" y="4428695"/>
              <a:ext cx="60147" cy="26988"/>
            </a:xfrm>
            <a:custGeom>
              <a:avLst/>
              <a:gdLst>
                <a:gd name="T0" fmla="*/ 0 w 32"/>
                <a:gd name="T1" fmla="*/ 2147483647 h 35"/>
                <a:gd name="T2" fmla="*/ 2147483647 w 32"/>
                <a:gd name="T3" fmla="*/ 0 h 35"/>
                <a:gd name="T4" fmla="*/ 2147483647 w 32"/>
                <a:gd name="T5" fmla="*/ 2147483647 h 35"/>
                <a:gd name="T6" fmla="*/ 0 w 32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2" h="35">
                  <a:moveTo>
                    <a:pt x="0" y="23"/>
                  </a:moveTo>
                  <a:lnTo>
                    <a:pt x="6" y="0"/>
                  </a:lnTo>
                  <a:lnTo>
                    <a:pt x="32" y="35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48" name="Freeform 287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4024199" y="6222570"/>
              <a:ext cx="44108" cy="26988"/>
            </a:xfrm>
            <a:custGeom>
              <a:avLst/>
              <a:gdLst>
                <a:gd name="T0" fmla="*/ 0 w 24"/>
                <a:gd name="T1" fmla="*/ 2147483647 h 34"/>
                <a:gd name="T2" fmla="*/ 2147483647 w 24"/>
                <a:gd name="T3" fmla="*/ 2147483647 h 34"/>
                <a:gd name="T4" fmla="*/ 2147483647 w 24"/>
                <a:gd name="T5" fmla="*/ 0 h 34"/>
                <a:gd name="T6" fmla="*/ 2147483647 w 24"/>
                <a:gd name="T7" fmla="*/ 0 h 34"/>
                <a:gd name="T8" fmla="*/ 0 w 24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34">
                  <a:moveTo>
                    <a:pt x="0" y="34"/>
                  </a:moveTo>
                  <a:lnTo>
                    <a:pt x="19" y="9"/>
                  </a:lnTo>
                  <a:lnTo>
                    <a:pt x="7" y="0"/>
                  </a:lnTo>
                  <a:lnTo>
                    <a:pt x="24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49" name="Freeform 288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4024199" y="6222570"/>
              <a:ext cx="44108" cy="26988"/>
            </a:xfrm>
            <a:custGeom>
              <a:avLst/>
              <a:gdLst>
                <a:gd name="T0" fmla="*/ 0 w 24"/>
                <a:gd name="T1" fmla="*/ 2147483647 h 34"/>
                <a:gd name="T2" fmla="*/ 2147483647 w 24"/>
                <a:gd name="T3" fmla="*/ 2147483647 h 34"/>
                <a:gd name="T4" fmla="*/ 2147483647 w 24"/>
                <a:gd name="T5" fmla="*/ 0 h 34"/>
                <a:gd name="T6" fmla="*/ 2147483647 w 24"/>
                <a:gd name="T7" fmla="*/ 0 h 34"/>
                <a:gd name="T8" fmla="*/ 0 w 24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34">
                  <a:moveTo>
                    <a:pt x="0" y="34"/>
                  </a:moveTo>
                  <a:lnTo>
                    <a:pt x="19" y="9"/>
                  </a:lnTo>
                  <a:lnTo>
                    <a:pt x="7" y="0"/>
                  </a:lnTo>
                  <a:lnTo>
                    <a:pt x="24" y="0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50" name="Freeform 289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4024199" y="6222570"/>
              <a:ext cx="44108" cy="26988"/>
            </a:xfrm>
            <a:custGeom>
              <a:avLst/>
              <a:gdLst>
                <a:gd name="T0" fmla="*/ 0 w 24"/>
                <a:gd name="T1" fmla="*/ 2147483647 h 34"/>
                <a:gd name="T2" fmla="*/ 2147483647 w 24"/>
                <a:gd name="T3" fmla="*/ 2147483647 h 34"/>
                <a:gd name="T4" fmla="*/ 2147483647 w 24"/>
                <a:gd name="T5" fmla="*/ 0 h 34"/>
                <a:gd name="T6" fmla="*/ 2147483647 w 24"/>
                <a:gd name="T7" fmla="*/ 0 h 34"/>
                <a:gd name="T8" fmla="*/ 0 w 24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34">
                  <a:moveTo>
                    <a:pt x="0" y="34"/>
                  </a:moveTo>
                  <a:lnTo>
                    <a:pt x="19" y="9"/>
                  </a:lnTo>
                  <a:lnTo>
                    <a:pt x="7" y="0"/>
                  </a:lnTo>
                  <a:lnTo>
                    <a:pt x="24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51" name="Freeform 290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4024199" y="6222570"/>
              <a:ext cx="44108" cy="26988"/>
            </a:xfrm>
            <a:custGeom>
              <a:avLst/>
              <a:gdLst>
                <a:gd name="T0" fmla="*/ 0 w 24"/>
                <a:gd name="T1" fmla="*/ 2147483647 h 34"/>
                <a:gd name="T2" fmla="*/ 2147483647 w 24"/>
                <a:gd name="T3" fmla="*/ 2147483647 h 34"/>
                <a:gd name="T4" fmla="*/ 2147483647 w 24"/>
                <a:gd name="T5" fmla="*/ 0 h 34"/>
                <a:gd name="T6" fmla="*/ 2147483647 w 24"/>
                <a:gd name="T7" fmla="*/ 0 h 34"/>
                <a:gd name="T8" fmla="*/ 0 w 24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4" h="34">
                  <a:moveTo>
                    <a:pt x="0" y="34"/>
                  </a:moveTo>
                  <a:lnTo>
                    <a:pt x="19" y="9"/>
                  </a:lnTo>
                  <a:lnTo>
                    <a:pt x="7" y="0"/>
                  </a:lnTo>
                  <a:lnTo>
                    <a:pt x="24" y="0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52" name="Freeform 291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4060264" y="6222570"/>
              <a:ext cx="56137" cy="26988"/>
            </a:xfrm>
            <a:custGeom>
              <a:avLst/>
              <a:gdLst>
                <a:gd name="T0" fmla="*/ 0 w 31"/>
                <a:gd name="T1" fmla="*/ 2147483647 h 34"/>
                <a:gd name="T2" fmla="*/ 2147483647 w 31"/>
                <a:gd name="T3" fmla="*/ 0 h 34"/>
                <a:gd name="T4" fmla="*/ 2147483647 w 31"/>
                <a:gd name="T5" fmla="*/ 2147483647 h 34"/>
                <a:gd name="T6" fmla="*/ 0 w 31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4">
                  <a:moveTo>
                    <a:pt x="0" y="34"/>
                  </a:moveTo>
                  <a:lnTo>
                    <a:pt x="19" y="0"/>
                  </a:lnTo>
                  <a:lnTo>
                    <a:pt x="31" y="9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53" name="Freeform 292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4060264" y="6222570"/>
              <a:ext cx="56137" cy="26988"/>
            </a:xfrm>
            <a:custGeom>
              <a:avLst/>
              <a:gdLst>
                <a:gd name="T0" fmla="*/ 0 w 31"/>
                <a:gd name="T1" fmla="*/ 2147483647 h 34"/>
                <a:gd name="T2" fmla="*/ 2147483647 w 31"/>
                <a:gd name="T3" fmla="*/ 0 h 34"/>
                <a:gd name="T4" fmla="*/ 2147483647 w 31"/>
                <a:gd name="T5" fmla="*/ 2147483647 h 34"/>
                <a:gd name="T6" fmla="*/ 0 w 31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4">
                  <a:moveTo>
                    <a:pt x="0" y="34"/>
                  </a:moveTo>
                  <a:lnTo>
                    <a:pt x="19" y="0"/>
                  </a:lnTo>
                  <a:lnTo>
                    <a:pt x="31" y="9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54" name="Freeform 293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4060264" y="6222570"/>
              <a:ext cx="56137" cy="26988"/>
            </a:xfrm>
            <a:custGeom>
              <a:avLst/>
              <a:gdLst>
                <a:gd name="T0" fmla="*/ 0 w 31"/>
                <a:gd name="T1" fmla="*/ 2147483647 h 34"/>
                <a:gd name="T2" fmla="*/ 2147483647 w 31"/>
                <a:gd name="T3" fmla="*/ 0 h 34"/>
                <a:gd name="T4" fmla="*/ 2147483647 w 31"/>
                <a:gd name="T5" fmla="*/ 2147483647 h 34"/>
                <a:gd name="T6" fmla="*/ 0 w 31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4">
                  <a:moveTo>
                    <a:pt x="0" y="34"/>
                  </a:moveTo>
                  <a:lnTo>
                    <a:pt x="19" y="0"/>
                  </a:lnTo>
                  <a:lnTo>
                    <a:pt x="31" y="9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55" name="Freeform 294"/>
            <p:cNvSpPr>
              <a:spLocks/>
            </p:cNvSpPr>
            <p:nvPr>
              <p:custDataLst>
                <p:tags r:id="rId263"/>
              </p:custDataLst>
            </p:nvPr>
          </p:nvSpPr>
          <p:spPr bwMode="auto">
            <a:xfrm>
              <a:off x="4060264" y="6222570"/>
              <a:ext cx="56137" cy="26988"/>
            </a:xfrm>
            <a:custGeom>
              <a:avLst/>
              <a:gdLst>
                <a:gd name="T0" fmla="*/ 0 w 31"/>
                <a:gd name="T1" fmla="*/ 2147483647 h 34"/>
                <a:gd name="T2" fmla="*/ 2147483647 w 31"/>
                <a:gd name="T3" fmla="*/ 0 h 34"/>
                <a:gd name="T4" fmla="*/ 2147483647 w 31"/>
                <a:gd name="T5" fmla="*/ 2147483647 h 34"/>
                <a:gd name="T6" fmla="*/ 0 w 31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34">
                  <a:moveTo>
                    <a:pt x="0" y="34"/>
                  </a:moveTo>
                  <a:lnTo>
                    <a:pt x="19" y="0"/>
                  </a:lnTo>
                  <a:lnTo>
                    <a:pt x="31" y="9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56" name="Freeform 295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6608511" y="2652319"/>
              <a:ext cx="314768" cy="414337"/>
            </a:xfrm>
            <a:custGeom>
              <a:avLst/>
              <a:gdLst>
                <a:gd name="T0" fmla="*/ 0 w 170"/>
                <a:gd name="T1" fmla="*/ 2147483647 h 522"/>
                <a:gd name="T2" fmla="*/ 2147483647 w 170"/>
                <a:gd name="T3" fmla="*/ 2147483647 h 522"/>
                <a:gd name="T4" fmla="*/ 2147483647 w 170"/>
                <a:gd name="T5" fmla="*/ 2147483647 h 522"/>
                <a:gd name="T6" fmla="*/ 2147483647 w 170"/>
                <a:gd name="T7" fmla="*/ 2147483647 h 522"/>
                <a:gd name="T8" fmla="*/ 2147483647 w 170"/>
                <a:gd name="T9" fmla="*/ 2147483647 h 522"/>
                <a:gd name="T10" fmla="*/ 2147483647 w 170"/>
                <a:gd name="T11" fmla="*/ 2147483647 h 522"/>
                <a:gd name="T12" fmla="*/ 2147483647 w 170"/>
                <a:gd name="T13" fmla="*/ 0 h 522"/>
                <a:gd name="T14" fmla="*/ 2147483647 w 170"/>
                <a:gd name="T15" fmla="*/ 2147483647 h 522"/>
                <a:gd name="T16" fmla="*/ 2147483647 w 170"/>
                <a:gd name="T17" fmla="*/ 2147483647 h 522"/>
                <a:gd name="T18" fmla="*/ 2147483647 w 170"/>
                <a:gd name="T19" fmla="*/ 2147483647 h 522"/>
                <a:gd name="T20" fmla="*/ 2147483647 w 170"/>
                <a:gd name="T21" fmla="*/ 2147483647 h 522"/>
                <a:gd name="T22" fmla="*/ 2147483647 w 170"/>
                <a:gd name="T23" fmla="*/ 2147483647 h 522"/>
                <a:gd name="T24" fmla="*/ 2147483647 w 170"/>
                <a:gd name="T25" fmla="*/ 2147483647 h 522"/>
                <a:gd name="T26" fmla="*/ 2147483647 w 170"/>
                <a:gd name="T27" fmla="*/ 2147483647 h 522"/>
                <a:gd name="T28" fmla="*/ 2147483647 w 170"/>
                <a:gd name="T29" fmla="*/ 2147483647 h 522"/>
                <a:gd name="T30" fmla="*/ 2147483647 w 170"/>
                <a:gd name="T31" fmla="*/ 2147483647 h 522"/>
                <a:gd name="T32" fmla="*/ 2147483647 w 170"/>
                <a:gd name="T33" fmla="*/ 2147483647 h 522"/>
                <a:gd name="T34" fmla="*/ 2147483647 w 170"/>
                <a:gd name="T35" fmla="*/ 2147483647 h 522"/>
                <a:gd name="T36" fmla="*/ 2147483647 w 170"/>
                <a:gd name="T37" fmla="*/ 2147483647 h 522"/>
                <a:gd name="T38" fmla="*/ 2147483647 w 170"/>
                <a:gd name="T39" fmla="*/ 2147483647 h 522"/>
                <a:gd name="T40" fmla="*/ 2147483647 w 170"/>
                <a:gd name="T41" fmla="*/ 2147483647 h 522"/>
                <a:gd name="T42" fmla="*/ 2147483647 w 170"/>
                <a:gd name="T43" fmla="*/ 2147483647 h 522"/>
                <a:gd name="T44" fmla="*/ 2147483647 w 170"/>
                <a:gd name="T45" fmla="*/ 2147483647 h 522"/>
                <a:gd name="T46" fmla="*/ 0 w 170"/>
                <a:gd name="T47" fmla="*/ 2147483647 h 52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0" h="522">
                  <a:moveTo>
                    <a:pt x="0" y="55"/>
                  </a:moveTo>
                  <a:lnTo>
                    <a:pt x="12" y="44"/>
                  </a:lnTo>
                  <a:lnTo>
                    <a:pt x="31" y="67"/>
                  </a:lnTo>
                  <a:lnTo>
                    <a:pt x="63" y="78"/>
                  </a:lnTo>
                  <a:lnTo>
                    <a:pt x="82" y="55"/>
                  </a:lnTo>
                  <a:lnTo>
                    <a:pt x="87" y="11"/>
                  </a:lnTo>
                  <a:lnTo>
                    <a:pt x="112" y="0"/>
                  </a:lnTo>
                  <a:lnTo>
                    <a:pt x="132" y="23"/>
                  </a:lnTo>
                  <a:lnTo>
                    <a:pt x="132" y="55"/>
                  </a:lnTo>
                  <a:lnTo>
                    <a:pt x="125" y="88"/>
                  </a:lnTo>
                  <a:lnTo>
                    <a:pt x="144" y="134"/>
                  </a:lnTo>
                  <a:lnTo>
                    <a:pt x="132" y="167"/>
                  </a:lnTo>
                  <a:lnTo>
                    <a:pt x="151" y="222"/>
                  </a:lnTo>
                  <a:lnTo>
                    <a:pt x="144" y="278"/>
                  </a:lnTo>
                  <a:lnTo>
                    <a:pt x="170" y="390"/>
                  </a:lnTo>
                  <a:lnTo>
                    <a:pt x="112" y="489"/>
                  </a:lnTo>
                  <a:lnTo>
                    <a:pt x="37" y="522"/>
                  </a:lnTo>
                  <a:lnTo>
                    <a:pt x="37" y="501"/>
                  </a:lnTo>
                  <a:lnTo>
                    <a:pt x="12" y="489"/>
                  </a:lnTo>
                  <a:lnTo>
                    <a:pt x="6" y="378"/>
                  </a:lnTo>
                  <a:lnTo>
                    <a:pt x="75" y="267"/>
                  </a:lnTo>
                  <a:lnTo>
                    <a:pt x="56" y="222"/>
                  </a:lnTo>
                  <a:lnTo>
                    <a:pt x="45" y="111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457" name="Group 296"/>
            <p:cNvGrpSpPr>
              <a:grpSpLocks/>
            </p:cNvGrpSpPr>
            <p:nvPr>
              <p:custDataLst>
                <p:tags r:id="rId265"/>
              </p:custDataLst>
            </p:nvPr>
          </p:nvGrpSpPr>
          <p:grpSpPr bwMode="auto">
            <a:xfrm>
              <a:off x="6608511" y="2652319"/>
              <a:ext cx="314768" cy="414337"/>
              <a:chOff x="3264" y="1301"/>
              <a:chExt cx="170" cy="26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05" name="Freeform 297"/>
              <p:cNvSpPr>
                <a:spLocks/>
              </p:cNvSpPr>
              <p:nvPr/>
            </p:nvSpPr>
            <p:spPr bwMode="auto">
              <a:xfrm>
                <a:off x="3264" y="1301"/>
                <a:ext cx="170" cy="261"/>
              </a:xfrm>
              <a:custGeom>
                <a:avLst/>
                <a:gdLst>
                  <a:gd name="T0" fmla="*/ 0 w 170"/>
                  <a:gd name="T1" fmla="*/ 1 h 522"/>
                  <a:gd name="T2" fmla="*/ 12 w 170"/>
                  <a:gd name="T3" fmla="*/ 1 h 522"/>
                  <a:gd name="T4" fmla="*/ 31 w 170"/>
                  <a:gd name="T5" fmla="*/ 1 h 522"/>
                  <a:gd name="T6" fmla="*/ 63 w 170"/>
                  <a:gd name="T7" fmla="*/ 1 h 522"/>
                  <a:gd name="T8" fmla="*/ 82 w 170"/>
                  <a:gd name="T9" fmla="*/ 1 h 522"/>
                  <a:gd name="T10" fmla="*/ 87 w 170"/>
                  <a:gd name="T11" fmla="*/ 1 h 522"/>
                  <a:gd name="T12" fmla="*/ 112 w 170"/>
                  <a:gd name="T13" fmla="*/ 0 h 522"/>
                  <a:gd name="T14" fmla="*/ 132 w 170"/>
                  <a:gd name="T15" fmla="*/ 1 h 522"/>
                  <a:gd name="T16" fmla="*/ 132 w 170"/>
                  <a:gd name="T17" fmla="*/ 1 h 522"/>
                  <a:gd name="T18" fmla="*/ 125 w 170"/>
                  <a:gd name="T19" fmla="*/ 1 h 522"/>
                  <a:gd name="T20" fmla="*/ 144 w 170"/>
                  <a:gd name="T21" fmla="*/ 1 h 522"/>
                  <a:gd name="T22" fmla="*/ 132 w 170"/>
                  <a:gd name="T23" fmla="*/ 1 h 522"/>
                  <a:gd name="T24" fmla="*/ 151 w 170"/>
                  <a:gd name="T25" fmla="*/ 1 h 522"/>
                  <a:gd name="T26" fmla="*/ 144 w 170"/>
                  <a:gd name="T27" fmla="*/ 1 h 522"/>
                  <a:gd name="T28" fmla="*/ 170 w 170"/>
                  <a:gd name="T29" fmla="*/ 1 h 522"/>
                  <a:gd name="T30" fmla="*/ 112 w 170"/>
                  <a:gd name="T31" fmla="*/ 1 h 522"/>
                  <a:gd name="T32" fmla="*/ 37 w 170"/>
                  <a:gd name="T33" fmla="*/ 1 h 522"/>
                  <a:gd name="T34" fmla="*/ 37 w 170"/>
                  <a:gd name="T35" fmla="*/ 1 h 522"/>
                  <a:gd name="T36" fmla="*/ 12 w 170"/>
                  <a:gd name="T37" fmla="*/ 1 h 522"/>
                  <a:gd name="T38" fmla="*/ 6 w 170"/>
                  <a:gd name="T39" fmla="*/ 1 h 522"/>
                  <a:gd name="T40" fmla="*/ 75 w 170"/>
                  <a:gd name="T41" fmla="*/ 1 h 522"/>
                  <a:gd name="T42" fmla="*/ 56 w 170"/>
                  <a:gd name="T43" fmla="*/ 1 h 522"/>
                  <a:gd name="T44" fmla="*/ 45 w 170"/>
                  <a:gd name="T45" fmla="*/ 1 h 522"/>
                  <a:gd name="T46" fmla="*/ 0 w 170"/>
                  <a:gd name="T47" fmla="*/ 1 h 52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0" h="522">
                    <a:moveTo>
                      <a:pt x="0" y="55"/>
                    </a:moveTo>
                    <a:lnTo>
                      <a:pt x="12" y="44"/>
                    </a:lnTo>
                    <a:lnTo>
                      <a:pt x="31" y="67"/>
                    </a:lnTo>
                    <a:lnTo>
                      <a:pt x="63" y="78"/>
                    </a:lnTo>
                    <a:lnTo>
                      <a:pt x="82" y="55"/>
                    </a:lnTo>
                    <a:lnTo>
                      <a:pt x="87" y="11"/>
                    </a:lnTo>
                    <a:lnTo>
                      <a:pt x="112" y="0"/>
                    </a:lnTo>
                    <a:lnTo>
                      <a:pt x="132" y="23"/>
                    </a:lnTo>
                    <a:lnTo>
                      <a:pt x="132" y="55"/>
                    </a:lnTo>
                    <a:lnTo>
                      <a:pt x="125" y="88"/>
                    </a:lnTo>
                    <a:lnTo>
                      <a:pt x="144" y="134"/>
                    </a:lnTo>
                    <a:lnTo>
                      <a:pt x="132" y="167"/>
                    </a:lnTo>
                    <a:lnTo>
                      <a:pt x="151" y="222"/>
                    </a:lnTo>
                    <a:lnTo>
                      <a:pt x="144" y="278"/>
                    </a:lnTo>
                    <a:lnTo>
                      <a:pt x="170" y="390"/>
                    </a:lnTo>
                    <a:lnTo>
                      <a:pt x="112" y="489"/>
                    </a:lnTo>
                    <a:lnTo>
                      <a:pt x="37" y="522"/>
                    </a:lnTo>
                    <a:lnTo>
                      <a:pt x="37" y="501"/>
                    </a:lnTo>
                    <a:lnTo>
                      <a:pt x="12" y="489"/>
                    </a:lnTo>
                    <a:lnTo>
                      <a:pt x="6" y="378"/>
                    </a:lnTo>
                    <a:lnTo>
                      <a:pt x="75" y="267"/>
                    </a:lnTo>
                    <a:lnTo>
                      <a:pt x="56" y="222"/>
                    </a:lnTo>
                    <a:lnTo>
                      <a:pt x="45" y="111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06" name="Freeform 298"/>
              <p:cNvSpPr>
                <a:spLocks/>
              </p:cNvSpPr>
              <p:nvPr/>
            </p:nvSpPr>
            <p:spPr bwMode="auto">
              <a:xfrm>
                <a:off x="3264" y="1301"/>
                <a:ext cx="170" cy="261"/>
              </a:xfrm>
              <a:custGeom>
                <a:avLst/>
                <a:gdLst>
                  <a:gd name="T0" fmla="*/ 0 w 170"/>
                  <a:gd name="T1" fmla="*/ 1 h 522"/>
                  <a:gd name="T2" fmla="*/ 12 w 170"/>
                  <a:gd name="T3" fmla="*/ 1 h 522"/>
                  <a:gd name="T4" fmla="*/ 31 w 170"/>
                  <a:gd name="T5" fmla="*/ 1 h 522"/>
                  <a:gd name="T6" fmla="*/ 63 w 170"/>
                  <a:gd name="T7" fmla="*/ 1 h 522"/>
                  <a:gd name="T8" fmla="*/ 82 w 170"/>
                  <a:gd name="T9" fmla="*/ 1 h 522"/>
                  <a:gd name="T10" fmla="*/ 87 w 170"/>
                  <a:gd name="T11" fmla="*/ 1 h 522"/>
                  <a:gd name="T12" fmla="*/ 112 w 170"/>
                  <a:gd name="T13" fmla="*/ 0 h 522"/>
                  <a:gd name="T14" fmla="*/ 132 w 170"/>
                  <a:gd name="T15" fmla="*/ 1 h 522"/>
                  <a:gd name="T16" fmla="*/ 132 w 170"/>
                  <a:gd name="T17" fmla="*/ 1 h 522"/>
                  <a:gd name="T18" fmla="*/ 125 w 170"/>
                  <a:gd name="T19" fmla="*/ 1 h 522"/>
                  <a:gd name="T20" fmla="*/ 144 w 170"/>
                  <a:gd name="T21" fmla="*/ 1 h 522"/>
                  <a:gd name="T22" fmla="*/ 132 w 170"/>
                  <a:gd name="T23" fmla="*/ 1 h 522"/>
                  <a:gd name="T24" fmla="*/ 151 w 170"/>
                  <a:gd name="T25" fmla="*/ 1 h 522"/>
                  <a:gd name="T26" fmla="*/ 144 w 170"/>
                  <a:gd name="T27" fmla="*/ 1 h 522"/>
                  <a:gd name="T28" fmla="*/ 170 w 170"/>
                  <a:gd name="T29" fmla="*/ 1 h 522"/>
                  <a:gd name="T30" fmla="*/ 112 w 170"/>
                  <a:gd name="T31" fmla="*/ 1 h 522"/>
                  <a:gd name="T32" fmla="*/ 37 w 170"/>
                  <a:gd name="T33" fmla="*/ 1 h 522"/>
                  <a:gd name="T34" fmla="*/ 37 w 170"/>
                  <a:gd name="T35" fmla="*/ 1 h 522"/>
                  <a:gd name="T36" fmla="*/ 12 w 170"/>
                  <a:gd name="T37" fmla="*/ 1 h 522"/>
                  <a:gd name="T38" fmla="*/ 6 w 170"/>
                  <a:gd name="T39" fmla="*/ 1 h 522"/>
                  <a:gd name="T40" fmla="*/ 75 w 170"/>
                  <a:gd name="T41" fmla="*/ 1 h 522"/>
                  <a:gd name="T42" fmla="*/ 56 w 170"/>
                  <a:gd name="T43" fmla="*/ 1 h 522"/>
                  <a:gd name="T44" fmla="*/ 45 w 170"/>
                  <a:gd name="T45" fmla="*/ 1 h 522"/>
                  <a:gd name="T46" fmla="*/ 0 w 170"/>
                  <a:gd name="T47" fmla="*/ 1 h 52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0" h="522">
                    <a:moveTo>
                      <a:pt x="0" y="55"/>
                    </a:moveTo>
                    <a:lnTo>
                      <a:pt x="12" y="44"/>
                    </a:lnTo>
                    <a:lnTo>
                      <a:pt x="31" y="67"/>
                    </a:lnTo>
                    <a:lnTo>
                      <a:pt x="63" y="78"/>
                    </a:lnTo>
                    <a:lnTo>
                      <a:pt x="82" y="55"/>
                    </a:lnTo>
                    <a:lnTo>
                      <a:pt x="87" y="11"/>
                    </a:lnTo>
                    <a:lnTo>
                      <a:pt x="112" y="0"/>
                    </a:lnTo>
                    <a:lnTo>
                      <a:pt x="132" y="23"/>
                    </a:lnTo>
                    <a:lnTo>
                      <a:pt x="132" y="55"/>
                    </a:lnTo>
                    <a:lnTo>
                      <a:pt x="125" y="88"/>
                    </a:lnTo>
                    <a:lnTo>
                      <a:pt x="144" y="134"/>
                    </a:lnTo>
                    <a:lnTo>
                      <a:pt x="132" y="167"/>
                    </a:lnTo>
                    <a:lnTo>
                      <a:pt x="151" y="222"/>
                    </a:lnTo>
                    <a:lnTo>
                      <a:pt x="144" y="278"/>
                    </a:lnTo>
                    <a:lnTo>
                      <a:pt x="170" y="390"/>
                    </a:lnTo>
                    <a:lnTo>
                      <a:pt x="112" y="489"/>
                    </a:lnTo>
                    <a:lnTo>
                      <a:pt x="37" y="522"/>
                    </a:lnTo>
                    <a:lnTo>
                      <a:pt x="37" y="501"/>
                    </a:lnTo>
                    <a:lnTo>
                      <a:pt x="12" y="489"/>
                    </a:lnTo>
                    <a:lnTo>
                      <a:pt x="6" y="378"/>
                    </a:lnTo>
                    <a:lnTo>
                      <a:pt x="75" y="267"/>
                    </a:lnTo>
                    <a:lnTo>
                      <a:pt x="56" y="222"/>
                    </a:lnTo>
                    <a:lnTo>
                      <a:pt x="45" y="111"/>
                    </a:lnTo>
                    <a:lnTo>
                      <a:pt x="0" y="5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458" name="Freeform 299"/>
            <p:cNvSpPr>
              <a:spLocks/>
            </p:cNvSpPr>
            <p:nvPr>
              <p:custDataLst>
                <p:tags r:id="rId266"/>
              </p:custDataLst>
            </p:nvPr>
          </p:nvSpPr>
          <p:spPr bwMode="auto">
            <a:xfrm>
              <a:off x="6608511" y="2652319"/>
              <a:ext cx="314768" cy="414337"/>
            </a:xfrm>
            <a:custGeom>
              <a:avLst/>
              <a:gdLst>
                <a:gd name="T0" fmla="*/ 0 w 170"/>
                <a:gd name="T1" fmla="*/ 2147483647 h 522"/>
                <a:gd name="T2" fmla="*/ 2147483647 w 170"/>
                <a:gd name="T3" fmla="*/ 2147483647 h 522"/>
                <a:gd name="T4" fmla="*/ 2147483647 w 170"/>
                <a:gd name="T5" fmla="*/ 2147483647 h 522"/>
                <a:gd name="T6" fmla="*/ 2147483647 w 170"/>
                <a:gd name="T7" fmla="*/ 2147483647 h 522"/>
                <a:gd name="T8" fmla="*/ 2147483647 w 170"/>
                <a:gd name="T9" fmla="*/ 2147483647 h 522"/>
                <a:gd name="T10" fmla="*/ 2147483647 w 170"/>
                <a:gd name="T11" fmla="*/ 2147483647 h 522"/>
                <a:gd name="T12" fmla="*/ 2147483647 w 170"/>
                <a:gd name="T13" fmla="*/ 0 h 522"/>
                <a:gd name="T14" fmla="*/ 2147483647 w 170"/>
                <a:gd name="T15" fmla="*/ 2147483647 h 522"/>
                <a:gd name="T16" fmla="*/ 2147483647 w 170"/>
                <a:gd name="T17" fmla="*/ 2147483647 h 522"/>
                <a:gd name="T18" fmla="*/ 2147483647 w 170"/>
                <a:gd name="T19" fmla="*/ 2147483647 h 522"/>
                <a:gd name="T20" fmla="*/ 2147483647 w 170"/>
                <a:gd name="T21" fmla="*/ 2147483647 h 522"/>
                <a:gd name="T22" fmla="*/ 2147483647 w 170"/>
                <a:gd name="T23" fmla="*/ 2147483647 h 522"/>
                <a:gd name="T24" fmla="*/ 2147483647 w 170"/>
                <a:gd name="T25" fmla="*/ 2147483647 h 522"/>
                <a:gd name="T26" fmla="*/ 2147483647 w 170"/>
                <a:gd name="T27" fmla="*/ 2147483647 h 522"/>
                <a:gd name="T28" fmla="*/ 2147483647 w 170"/>
                <a:gd name="T29" fmla="*/ 2147483647 h 522"/>
                <a:gd name="T30" fmla="*/ 2147483647 w 170"/>
                <a:gd name="T31" fmla="*/ 2147483647 h 522"/>
                <a:gd name="T32" fmla="*/ 2147483647 w 170"/>
                <a:gd name="T33" fmla="*/ 2147483647 h 522"/>
                <a:gd name="T34" fmla="*/ 2147483647 w 170"/>
                <a:gd name="T35" fmla="*/ 2147483647 h 522"/>
                <a:gd name="T36" fmla="*/ 2147483647 w 170"/>
                <a:gd name="T37" fmla="*/ 2147483647 h 522"/>
                <a:gd name="T38" fmla="*/ 2147483647 w 170"/>
                <a:gd name="T39" fmla="*/ 2147483647 h 522"/>
                <a:gd name="T40" fmla="*/ 2147483647 w 170"/>
                <a:gd name="T41" fmla="*/ 2147483647 h 522"/>
                <a:gd name="T42" fmla="*/ 2147483647 w 170"/>
                <a:gd name="T43" fmla="*/ 2147483647 h 522"/>
                <a:gd name="T44" fmla="*/ 2147483647 w 170"/>
                <a:gd name="T45" fmla="*/ 2147483647 h 522"/>
                <a:gd name="T46" fmla="*/ 0 w 170"/>
                <a:gd name="T47" fmla="*/ 2147483647 h 52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0" h="522">
                  <a:moveTo>
                    <a:pt x="0" y="55"/>
                  </a:moveTo>
                  <a:lnTo>
                    <a:pt x="12" y="44"/>
                  </a:lnTo>
                  <a:lnTo>
                    <a:pt x="31" y="67"/>
                  </a:lnTo>
                  <a:lnTo>
                    <a:pt x="63" y="78"/>
                  </a:lnTo>
                  <a:lnTo>
                    <a:pt x="82" y="55"/>
                  </a:lnTo>
                  <a:lnTo>
                    <a:pt x="87" y="11"/>
                  </a:lnTo>
                  <a:lnTo>
                    <a:pt x="112" y="0"/>
                  </a:lnTo>
                  <a:lnTo>
                    <a:pt x="132" y="23"/>
                  </a:lnTo>
                  <a:lnTo>
                    <a:pt x="132" y="55"/>
                  </a:lnTo>
                  <a:lnTo>
                    <a:pt x="125" y="88"/>
                  </a:lnTo>
                  <a:lnTo>
                    <a:pt x="144" y="134"/>
                  </a:lnTo>
                  <a:lnTo>
                    <a:pt x="132" y="167"/>
                  </a:lnTo>
                  <a:lnTo>
                    <a:pt x="151" y="222"/>
                  </a:lnTo>
                  <a:lnTo>
                    <a:pt x="144" y="278"/>
                  </a:lnTo>
                  <a:lnTo>
                    <a:pt x="170" y="390"/>
                  </a:lnTo>
                  <a:lnTo>
                    <a:pt x="112" y="489"/>
                  </a:lnTo>
                  <a:lnTo>
                    <a:pt x="37" y="522"/>
                  </a:lnTo>
                  <a:lnTo>
                    <a:pt x="37" y="501"/>
                  </a:lnTo>
                  <a:lnTo>
                    <a:pt x="12" y="489"/>
                  </a:lnTo>
                  <a:lnTo>
                    <a:pt x="6" y="378"/>
                  </a:lnTo>
                  <a:lnTo>
                    <a:pt x="75" y="267"/>
                  </a:lnTo>
                  <a:lnTo>
                    <a:pt x="56" y="222"/>
                  </a:lnTo>
                  <a:lnTo>
                    <a:pt x="45" y="111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459" name="Group 300"/>
            <p:cNvGrpSpPr>
              <a:grpSpLocks/>
            </p:cNvGrpSpPr>
            <p:nvPr>
              <p:custDataLst>
                <p:tags r:id="rId267"/>
              </p:custDataLst>
            </p:nvPr>
          </p:nvGrpSpPr>
          <p:grpSpPr bwMode="auto">
            <a:xfrm>
              <a:off x="6608511" y="2652319"/>
              <a:ext cx="314768" cy="414337"/>
              <a:chOff x="3264" y="1301"/>
              <a:chExt cx="170" cy="26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303" name="Freeform 301"/>
              <p:cNvSpPr>
                <a:spLocks/>
              </p:cNvSpPr>
              <p:nvPr/>
            </p:nvSpPr>
            <p:spPr bwMode="auto">
              <a:xfrm>
                <a:off x="3264" y="1301"/>
                <a:ext cx="170" cy="261"/>
              </a:xfrm>
              <a:custGeom>
                <a:avLst/>
                <a:gdLst>
                  <a:gd name="T0" fmla="*/ 0 w 170"/>
                  <a:gd name="T1" fmla="*/ 1 h 522"/>
                  <a:gd name="T2" fmla="*/ 12 w 170"/>
                  <a:gd name="T3" fmla="*/ 1 h 522"/>
                  <a:gd name="T4" fmla="*/ 31 w 170"/>
                  <a:gd name="T5" fmla="*/ 1 h 522"/>
                  <a:gd name="T6" fmla="*/ 63 w 170"/>
                  <a:gd name="T7" fmla="*/ 1 h 522"/>
                  <a:gd name="T8" fmla="*/ 82 w 170"/>
                  <a:gd name="T9" fmla="*/ 1 h 522"/>
                  <a:gd name="T10" fmla="*/ 87 w 170"/>
                  <a:gd name="T11" fmla="*/ 1 h 522"/>
                  <a:gd name="T12" fmla="*/ 112 w 170"/>
                  <a:gd name="T13" fmla="*/ 0 h 522"/>
                  <a:gd name="T14" fmla="*/ 132 w 170"/>
                  <a:gd name="T15" fmla="*/ 1 h 522"/>
                  <a:gd name="T16" fmla="*/ 132 w 170"/>
                  <a:gd name="T17" fmla="*/ 1 h 522"/>
                  <a:gd name="T18" fmla="*/ 125 w 170"/>
                  <a:gd name="T19" fmla="*/ 1 h 522"/>
                  <a:gd name="T20" fmla="*/ 144 w 170"/>
                  <a:gd name="T21" fmla="*/ 1 h 522"/>
                  <a:gd name="T22" fmla="*/ 132 w 170"/>
                  <a:gd name="T23" fmla="*/ 1 h 522"/>
                  <a:gd name="T24" fmla="*/ 151 w 170"/>
                  <a:gd name="T25" fmla="*/ 1 h 522"/>
                  <a:gd name="T26" fmla="*/ 144 w 170"/>
                  <a:gd name="T27" fmla="*/ 1 h 522"/>
                  <a:gd name="T28" fmla="*/ 170 w 170"/>
                  <a:gd name="T29" fmla="*/ 1 h 522"/>
                  <a:gd name="T30" fmla="*/ 112 w 170"/>
                  <a:gd name="T31" fmla="*/ 1 h 522"/>
                  <a:gd name="T32" fmla="*/ 37 w 170"/>
                  <a:gd name="T33" fmla="*/ 1 h 522"/>
                  <a:gd name="T34" fmla="*/ 37 w 170"/>
                  <a:gd name="T35" fmla="*/ 1 h 522"/>
                  <a:gd name="T36" fmla="*/ 12 w 170"/>
                  <a:gd name="T37" fmla="*/ 1 h 522"/>
                  <a:gd name="T38" fmla="*/ 6 w 170"/>
                  <a:gd name="T39" fmla="*/ 1 h 522"/>
                  <a:gd name="T40" fmla="*/ 75 w 170"/>
                  <a:gd name="T41" fmla="*/ 1 h 522"/>
                  <a:gd name="T42" fmla="*/ 56 w 170"/>
                  <a:gd name="T43" fmla="*/ 1 h 522"/>
                  <a:gd name="T44" fmla="*/ 45 w 170"/>
                  <a:gd name="T45" fmla="*/ 1 h 522"/>
                  <a:gd name="T46" fmla="*/ 0 w 170"/>
                  <a:gd name="T47" fmla="*/ 1 h 52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0" h="522">
                    <a:moveTo>
                      <a:pt x="0" y="55"/>
                    </a:moveTo>
                    <a:lnTo>
                      <a:pt x="12" y="44"/>
                    </a:lnTo>
                    <a:lnTo>
                      <a:pt x="31" y="67"/>
                    </a:lnTo>
                    <a:lnTo>
                      <a:pt x="63" y="78"/>
                    </a:lnTo>
                    <a:lnTo>
                      <a:pt x="82" y="55"/>
                    </a:lnTo>
                    <a:lnTo>
                      <a:pt x="87" y="11"/>
                    </a:lnTo>
                    <a:lnTo>
                      <a:pt x="112" y="0"/>
                    </a:lnTo>
                    <a:lnTo>
                      <a:pt x="132" y="23"/>
                    </a:lnTo>
                    <a:lnTo>
                      <a:pt x="132" y="55"/>
                    </a:lnTo>
                    <a:lnTo>
                      <a:pt x="125" y="88"/>
                    </a:lnTo>
                    <a:lnTo>
                      <a:pt x="144" y="134"/>
                    </a:lnTo>
                    <a:lnTo>
                      <a:pt x="132" y="167"/>
                    </a:lnTo>
                    <a:lnTo>
                      <a:pt x="151" y="222"/>
                    </a:lnTo>
                    <a:lnTo>
                      <a:pt x="144" y="278"/>
                    </a:lnTo>
                    <a:lnTo>
                      <a:pt x="170" y="390"/>
                    </a:lnTo>
                    <a:lnTo>
                      <a:pt x="112" y="489"/>
                    </a:lnTo>
                    <a:lnTo>
                      <a:pt x="37" y="522"/>
                    </a:lnTo>
                    <a:lnTo>
                      <a:pt x="37" y="501"/>
                    </a:lnTo>
                    <a:lnTo>
                      <a:pt x="12" y="489"/>
                    </a:lnTo>
                    <a:lnTo>
                      <a:pt x="6" y="378"/>
                    </a:lnTo>
                    <a:lnTo>
                      <a:pt x="75" y="267"/>
                    </a:lnTo>
                    <a:lnTo>
                      <a:pt x="56" y="222"/>
                    </a:lnTo>
                    <a:lnTo>
                      <a:pt x="45" y="111"/>
                    </a:lnTo>
                    <a:lnTo>
                      <a:pt x="0" y="55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04" name="Freeform 302"/>
              <p:cNvSpPr>
                <a:spLocks/>
              </p:cNvSpPr>
              <p:nvPr/>
            </p:nvSpPr>
            <p:spPr bwMode="auto">
              <a:xfrm>
                <a:off x="3264" y="1301"/>
                <a:ext cx="170" cy="261"/>
              </a:xfrm>
              <a:custGeom>
                <a:avLst/>
                <a:gdLst>
                  <a:gd name="T0" fmla="*/ 0 w 170"/>
                  <a:gd name="T1" fmla="*/ 1 h 522"/>
                  <a:gd name="T2" fmla="*/ 12 w 170"/>
                  <a:gd name="T3" fmla="*/ 1 h 522"/>
                  <a:gd name="T4" fmla="*/ 31 w 170"/>
                  <a:gd name="T5" fmla="*/ 1 h 522"/>
                  <a:gd name="T6" fmla="*/ 63 w 170"/>
                  <a:gd name="T7" fmla="*/ 1 h 522"/>
                  <a:gd name="T8" fmla="*/ 82 w 170"/>
                  <a:gd name="T9" fmla="*/ 1 h 522"/>
                  <a:gd name="T10" fmla="*/ 87 w 170"/>
                  <a:gd name="T11" fmla="*/ 1 h 522"/>
                  <a:gd name="T12" fmla="*/ 112 w 170"/>
                  <a:gd name="T13" fmla="*/ 0 h 522"/>
                  <a:gd name="T14" fmla="*/ 132 w 170"/>
                  <a:gd name="T15" fmla="*/ 1 h 522"/>
                  <a:gd name="T16" fmla="*/ 132 w 170"/>
                  <a:gd name="T17" fmla="*/ 1 h 522"/>
                  <a:gd name="T18" fmla="*/ 125 w 170"/>
                  <a:gd name="T19" fmla="*/ 1 h 522"/>
                  <a:gd name="T20" fmla="*/ 144 w 170"/>
                  <a:gd name="T21" fmla="*/ 1 h 522"/>
                  <a:gd name="T22" fmla="*/ 132 w 170"/>
                  <a:gd name="T23" fmla="*/ 1 h 522"/>
                  <a:gd name="T24" fmla="*/ 151 w 170"/>
                  <a:gd name="T25" fmla="*/ 1 h 522"/>
                  <a:gd name="T26" fmla="*/ 144 w 170"/>
                  <a:gd name="T27" fmla="*/ 1 h 522"/>
                  <a:gd name="T28" fmla="*/ 170 w 170"/>
                  <a:gd name="T29" fmla="*/ 1 h 522"/>
                  <a:gd name="T30" fmla="*/ 112 w 170"/>
                  <a:gd name="T31" fmla="*/ 1 h 522"/>
                  <a:gd name="T32" fmla="*/ 37 w 170"/>
                  <a:gd name="T33" fmla="*/ 1 h 522"/>
                  <a:gd name="T34" fmla="*/ 37 w 170"/>
                  <a:gd name="T35" fmla="*/ 1 h 522"/>
                  <a:gd name="T36" fmla="*/ 12 w 170"/>
                  <a:gd name="T37" fmla="*/ 1 h 522"/>
                  <a:gd name="T38" fmla="*/ 6 w 170"/>
                  <a:gd name="T39" fmla="*/ 1 h 522"/>
                  <a:gd name="T40" fmla="*/ 75 w 170"/>
                  <a:gd name="T41" fmla="*/ 1 h 522"/>
                  <a:gd name="T42" fmla="*/ 56 w 170"/>
                  <a:gd name="T43" fmla="*/ 1 h 522"/>
                  <a:gd name="T44" fmla="*/ 45 w 170"/>
                  <a:gd name="T45" fmla="*/ 1 h 522"/>
                  <a:gd name="T46" fmla="*/ 0 w 170"/>
                  <a:gd name="T47" fmla="*/ 1 h 52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0" h="522">
                    <a:moveTo>
                      <a:pt x="0" y="55"/>
                    </a:moveTo>
                    <a:lnTo>
                      <a:pt x="12" y="44"/>
                    </a:lnTo>
                    <a:lnTo>
                      <a:pt x="31" y="67"/>
                    </a:lnTo>
                    <a:lnTo>
                      <a:pt x="63" y="78"/>
                    </a:lnTo>
                    <a:lnTo>
                      <a:pt x="82" y="55"/>
                    </a:lnTo>
                    <a:lnTo>
                      <a:pt x="87" y="11"/>
                    </a:lnTo>
                    <a:lnTo>
                      <a:pt x="112" y="0"/>
                    </a:lnTo>
                    <a:lnTo>
                      <a:pt x="132" y="23"/>
                    </a:lnTo>
                    <a:lnTo>
                      <a:pt x="132" y="55"/>
                    </a:lnTo>
                    <a:lnTo>
                      <a:pt x="125" y="88"/>
                    </a:lnTo>
                    <a:lnTo>
                      <a:pt x="144" y="134"/>
                    </a:lnTo>
                    <a:lnTo>
                      <a:pt x="132" y="167"/>
                    </a:lnTo>
                    <a:lnTo>
                      <a:pt x="151" y="222"/>
                    </a:lnTo>
                    <a:lnTo>
                      <a:pt x="144" y="278"/>
                    </a:lnTo>
                    <a:lnTo>
                      <a:pt x="170" y="390"/>
                    </a:lnTo>
                    <a:lnTo>
                      <a:pt x="112" y="489"/>
                    </a:lnTo>
                    <a:lnTo>
                      <a:pt x="37" y="522"/>
                    </a:lnTo>
                    <a:lnTo>
                      <a:pt x="37" y="501"/>
                    </a:lnTo>
                    <a:lnTo>
                      <a:pt x="12" y="489"/>
                    </a:lnTo>
                    <a:lnTo>
                      <a:pt x="6" y="378"/>
                    </a:lnTo>
                    <a:lnTo>
                      <a:pt x="75" y="267"/>
                    </a:lnTo>
                    <a:lnTo>
                      <a:pt x="56" y="222"/>
                    </a:lnTo>
                    <a:lnTo>
                      <a:pt x="45" y="111"/>
                    </a:lnTo>
                    <a:lnTo>
                      <a:pt x="0" y="55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460" name="Freeform 303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5876722" y="3376183"/>
              <a:ext cx="372911" cy="284162"/>
            </a:xfrm>
            <a:custGeom>
              <a:avLst/>
              <a:gdLst>
                <a:gd name="T0" fmla="*/ 0 w 201"/>
                <a:gd name="T1" fmla="*/ 2147483647 h 357"/>
                <a:gd name="T2" fmla="*/ 2147483647 w 201"/>
                <a:gd name="T3" fmla="*/ 2147483647 h 357"/>
                <a:gd name="T4" fmla="*/ 2147483647 w 201"/>
                <a:gd name="T5" fmla="*/ 2147483647 h 357"/>
                <a:gd name="T6" fmla="*/ 2147483647 w 201"/>
                <a:gd name="T7" fmla="*/ 2147483647 h 357"/>
                <a:gd name="T8" fmla="*/ 2147483647 w 201"/>
                <a:gd name="T9" fmla="*/ 2147483647 h 357"/>
                <a:gd name="T10" fmla="*/ 2147483647 w 201"/>
                <a:gd name="T11" fmla="*/ 2147483647 h 357"/>
                <a:gd name="T12" fmla="*/ 2147483647 w 201"/>
                <a:gd name="T13" fmla="*/ 2147483647 h 357"/>
                <a:gd name="T14" fmla="*/ 2147483647 w 201"/>
                <a:gd name="T15" fmla="*/ 2147483647 h 357"/>
                <a:gd name="T16" fmla="*/ 2147483647 w 201"/>
                <a:gd name="T17" fmla="*/ 2147483647 h 357"/>
                <a:gd name="T18" fmla="*/ 2147483647 w 201"/>
                <a:gd name="T19" fmla="*/ 2147483647 h 357"/>
                <a:gd name="T20" fmla="*/ 2147483647 w 201"/>
                <a:gd name="T21" fmla="*/ 2147483647 h 357"/>
                <a:gd name="T22" fmla="*/ 2147483647 w 201"/>
                <a:gd name="T23" fmla="*/ 2147483647 h 357"/>
                <a:gd name="T24" fmla="*/ 2147483647 w 201"/>
                <a:gd name="T25" fmla="*/ 2147483647 h 357"/>
                <a:gd name="T26" fmla="*/ 2147483647 w 201"/>
                <a:gd name="T27" fmla="*/ 2147483647 h 357"/>
                <a:gd name="T28" fmla="*/ 2147483647 w 201"/>
                <a:gd name="T29" fmla="*/ 2147483647 h 357"/>
                <a:gd name="T30" fmla="*/ 2147483647 w 201"/>
                <a:gd name="T31" fmla="*/ 2147483647 h 357"/>
                <a:gd name="T32" fmla="*/ 2147483647 w 201"/>
                <a:gd name="T33" fmla="*/ 2147483647 h 357"/>
                <a:gd name="T34" fmla="*/ 2147483647 w 201"/>
                <a:gd name="T35" fmla="*/ 2147483647 h 357"/>
                <a:gd name="T36" fmla="*/ 2147483647 w 201"/>
                <a:gd name="T37" fmla="*/ 2147483647 h 357"/>
                <a:gd name="T38" fmla="*/ 2147483647 w 201"/>
                <a:gd name="T39" fmla="*/ 2147483647 h 357"/>
                <a:gd name="T40" fmla="*/ 2147483647 w 201"/>
                <a:gd name="T41" fmla="*/ 0 h 357"/>
                <a:gd name="T42" fmla="*/ 2147483647 w 201"/>
                <a:gd name="T43" fmla="*/ 2147483647 h 357"/>
                <a:gd name="T44" fmla="*/ 2147483647 w 201"/>
                <a:gd name="T45" fmla="*/ 2147483647 h 357"/>
                <a:gd name="T46" fmla="*/ 2147483647 w 201"/>
                <a:gd name="T47" fmla="*/ 2147483647 h 357"/>
                <a:gd name="T48" fmla="*/ 2147483647 w 201"/>
                <a:gd name="T49" fmla="*/ 2147483647 h 357"/>
                <a:gd name="T50" fmla="*/ 0 w 201"/>
                <a:gd name="T51" fmla="*/ 2147483647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01" h="357">
                  <a:moveTo>
                    <a:pt x="0" y="111"/>
                  </a:moveTo>
                  <a:lnTo>
                    <a:pt x="13" y="146"/>
                  </a:lnTo>
                  <a:lnTo>
                    <a:pt x="50" y="156"/>
                  </a:lnTo>
                  <a:lnTo>
                    <a:pt x="45" y="177"/>
                  </a:lnTo>
                  <a:lnTo>
                    <a:pt x="56" y="200"/>
                  </a:lnTo>
                  <a:lnTo>
                    <a:pt x="63" y="246"/>
                  </a:lnTo>
                  <a:lnTo>
                    <a:pt x="50" y="313"/>
                  </a:lnTo>
                  <a:lnTo>
                    <a:pt x="101" y="344"/>
                  </a:lnTo>
                  <a:lnTo>
                    <a:pt x="125" y="357"/>
                  </a:lnTo>
                  <a:lnTo>
                    <a:pt x="125" y="323"/>
                  </a:lnTo>
                  <a:lnTo>
                    <a:pt x="137" y="313"/>
                  </a:lnTo>
                  <a:lnTo>
                    <a:pt x="170" y="323"/>
                  </a:lnTo>
                  <a:lnTo>
                    <a:pt x="194" y="300"/>
                  </a:lnTo>
                  <a:lnTo>
                    <a:pt x="182" y="255"/>
                  </a:lnTo>
                  <a:lnTo>
                    <a:pt x="182" y="211"/>
                  </a:lnTo>
                  <a:lnTo>
                    <a:pt x="170" y="190"/>
                  </a:lnTo>
                  <a:lnTo>
                    <a:pt x="194" y="146"/>
                  </a:lnTo>
                  <a:lnTo>
                    <a:pt x="201" y="88"/>
                  </a:lnTo>
                  <a:lnTo>
                    <a:pt x="170" y="67"/>
                  </a:lnTo>
                  <a:lnTo>
                    <a:pt x="163" y="67"/>
                  </a:lnTo>
                  <a:lnTo>
                    <a:pt x="120" y="0"/>
                  </a:lnTo>
                  <a:lnTo>
                    <a:pt x="101" y="13"/>
                  </a:lnTo>
                  <a:lnTo>
                    <a:pt x="82" y="79"/>
                  </a:lnTo>
                  <a:lnTo>
                    <a:pt x="50" y="67"/>
                  </a:lnTo>
                  <a:lnTo>
                    <a:pt x="50" y="111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61" name="Freeform 304"/>
            <p:cNvSpPr>
              <a:spLocks/>
            </p:cNvSpPr>
            <p:nvPr>
              <p:custDataLst>
                <p:tags r:id="rId269"/>
              </p:custDataLst>
            </p:nvPr>
          </p:nvSpPr>
          <p:spPr bwMode="auto">
            <a:xfrm>
              <a:off x="5876722" y="3376183"/>
              <a:ext cx="372911" cy="284162"/>
            </a:xfrm>
            <a:custGeom>
              <a:avLst/>
              <a:gdLst>
                <a:gd name="T0" fmla="*/ 0 w 201"/>
                <a:gd name="T1" fmla="*/ 2147483647 h 357"/>
                <a:gd name="T2" fmla="*/ 2147483647 w 201"/>
                <a:gd name="T3" fmla="*/ 2147483647 h 357"/>
                <a:gd name="T4" fmla="*/ 2147483647 w 201"/>
                <a:gd name="T5" fmla="*/ 2147483647 h 357"/>
                <a:gd name="T6" fmla="*/ 2147483647 w 201"/>
                <a:gd name="T7" fmla="*/ 2147483647 h 357"/>
                <a:gd name="T8" fmla="*/ 2147483647 w 201"/>
                <a:gd name="T9" fmla="*/ 2147483647 h 357"/>
                <a:gd name="T10" fmla="*/ 2147483647 w 201"/>
                <a:gd name="T11" fmla="*/ 2147483647 h 357"/>
                <a:gd name="T12" fmla="*/ 2147483647 w 201"/>
                <a:gd name="T13" fmla="*/ 2147483647 h 357"/>
                <a:gd name="T14" fmla="*/ 2147483647 w 201"/>
                <a:gd name="T15" fmla="*/ 2147483647 h 357"/>
                <a:gd name="T16" fmla="*/ 2147483647 w 201"/>
                <a:gd name="T17" fmla="*/ 2147483647 h 357"/>
                <a:gd name="T18" fmla="*/ 2147483647 w 201"/>
                <a:gd name="T19" fmla="*/ 2147483647 h 357"/>
                <a:gd name="T20" fmla="*/ 2147483647 w 201"/>
                <a:gd name="T21" fmla="*/ 2147483647 h 357"/>
                <a:gd name="T22" fmla="*/ 2147483647 w 201"/>
                <a:gd name="T23" fmla="*/ 2147483647 h 357"/>
                <a:gd name="T24" fmla="*/ 2147483647 w 201"/>
                <a:gd name="T25" fmla="*/ 2147483647 h 357"/>
                <a:gd name="T26" fmla="*/ 2147483647 w 201"/>
                <a:gd name="T27" fmla="*/ 2147483647 h 357"/>
                <a:gd name="T28" fmla="*/ 2147483647 w 201"/>
                <a:gd name="T29" fmla="*/ 2147483647 h 357"/>
                <a:gd name="T30" fmla="*/ 2147483647 w 201"/>
                <a:gd name="T31" fmla="*/ 2147483647 h 357"/>
                <a:gd name="T32" fmla="*/ 2147483647 w 201"/>
                <a:gd name="T33" fmla="*/ 2147483647 h 357"/>
                <a:gd name="T34" fmla="*/ 2147483647 w 201"/>
                <a:gd name="T35" fmla="*/ 2147483647 h 357"/>
                <a:gd name="T36" fmla="*/ 2147483647 w 201"/>
                <a:gd name="T37" fmla="*/ 2147483647 h 357"/>
                <a:gd name="T38" fmla="*/ 2147483647 w 201"/>
                <a:gd name="T39" fmla="*/ 2147483647 h 357"/>
                <a:gd name="T40" fmla="*/ 2147483647 w 201"/>
                <a:gd name="T41" fmla="*/ 0 h 357"/>
                <a:gd name="T42" fmla="*/ 2147483647 w 201"/>
                <a:gd name="T43" fmla="*/ 2147483647 h 357"/>
                <a:gd name="T44" fmla="*/ 2147483647 w 201"/>
                <a:gd name="T45" fmla="*/ 2147483647 h 357"/>
                <a:gd name="T46" fmla="*/ 2147483647 w 201"/>
                <a:gd name="T47" fmla="*/ 2147483647 h 357"/>
                <a:gd name="T48" fmla="*/ 2147483647 w 201"/>
                <a:gd name="T49" fmla="*/ 2147483647 h 357"/>
                <a:gd name="T50" fmla="*/ 0 w 201"/>
                <a:gd name="T51" fmla="*/ 2147483647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01" h="357">
                  <a:moveTo>
                    <a:pt x="0" y="111"/>
                  </a:moveTo>
                  <a:lnTo>
                    <a:pt x="13" y="146"/>
                  </a:lnTo>
                  <a:lnTo>
                    <a:pt x="50" y="156"/>
                  </a:lnTo>
                  <a:lnTo>
                    <a:pt x="45" y="177"/>
                  </a:lnTo>
                  <a:lnTo>
                    <a:pt x="56" y="200"/>
                  </a:lnTo>
                  <a:lnTo>
                    <a:pt x="63" y="246"/>
                  </a:lnTo>
                  <a:lnTo>
                    <a:pt x="50" y="313"/>
                  </a:lnTo>
                  <a:lnTo>
                    <a:pt x="101" y="344"/>
                  </a:lnTo>
                  <a:lnTo>
                    <a:pt x="125" y="357"/>
                  </a:lnTo>
                  <a:lnTo>
                    <a:pt x="125" y="323"/>
                  </a:lnTo>
                  <a:lnTo>
                    <a:pt x="137" y="313"/>
                  </a:lnTo>
                  <a:lnTo>
                    <a:pt x="170" y="323"/>
                  </a:lnTo>
                  <a:lnTo>
                    <a:pt x="194" y="300"/>
                  </a:lnTo>
                  <a:lnTo>
                    <a:pt x="182" y="255"/>
                  </a:lnTo>
                  <a:lnTo>
                    <a:pt x="182" y="211"/>
                  </a:lnTo>
                  <a:lnTo>
                    <a:pt x="170" y="190"/>
                  </a:lnTo>
                  <a:lnTo>
                    <a:pt x="194" y="146"/>
                  </a:lnTo>
                  <a:lnTo>
                    <a:pt x="201" y="88"/>
                  </a:lnTo>
                  <a:lnTo>
                    <a:pt x="170" y="67"/>
                  </a:lnTo>
                  <a:lnTo>
                    <a:pt x="163" y="67"/>
                  </a:lnTo>
                  <a:lnTo>
                    <a:pt x="120" y="0"/>
                  </a:lnTo>
                  <a:lnTo>
                    <a:pt x="101" y="13"/>
                  </a:lnTo>
                  <a:lnTo>
                    <a:pt x="82" y="79"/>
                  </a:lnTo>
                  <a:lnTo>
                    <a:pt x="50" y="67"/>
                  </a:lnTo>
                  <a:lnTo>
                    <a:pt x="50" y="111"/>
                  </a:lnTo>
                  <a:lnTo>
                    <a:pt x="0" y="111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62" name="Freeform 305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5876722" y="3376183"/>
              <a:ext cx="372911" cy="284162"/>
            </a:xfrm>
            <a:custGeom>
              <a:avLst/>
              <a:gdLst>
                <a:gd name="T0" fmla="*/ 0 w 201"/>
                <a:gd name="T1" fmla="*/ 2147483647 h 357"/>
                <a:gd name="T2" fmla="*/ 2147483647 w 201"/>
                <a:gd name="T3" fmla="*/ 2147483647 h 357"/>
                <a:gd name="T4" fmla="*/ 2147483647 w 201"/>
                <a:gd name="T5" fmla="*/ 2147483647 h 357"/>
                <a:gd name="T6" fmla="*/ 2147483647 w 201"/>
                <a:gd name="T7" fmla="*/ 2147483647 h 357"/>
                <a:gd name="T8" fmla="*/ 2147483647 w 201"/>
                <a:gd name="T9" fmla="*/ 2147483647 h 357"/>
                <a:gd name="T10" fmla="*/ 2147483647 w 201"/>
                <a:gd name="T11" fmla="*/ 2147483647 h 357"/>
                <a:gd name="T12" fmla="*/ 2147483647 w 201"/>
                <a:gd name="T13" fmla="*/ 2147483647 h 357"/>
                <a:gd name="T14" fmla="*/ 2147483647 w 201"/>
                <a:gd name="T15" fmla="*/ 2147483647 h 357"/>
                <a:gd name="T16" fmla="*/ 2147483647 w 201"/>
                <a:gd name="T17" fmla="*/ 2147483647 h 357"/>
                <a:gd name="T18" fmla="*/ 2147483647 w 201"/>
                <a:gd name="T19" fmla="*/ 2147483647 h 357"/>
                <a:gd name="T20" fmla="*/ 2147483647 w 201"/>
                <a:gd name="T21" fmla="*/ 2147483647 h 357"/>
                <a:gd name="T22" fmla="*/ 2147483647 w 201"/>
                <a:gd name="T23" fmla="*/ 2147483647 h 357"/>
                <a:gd name="T24" fmla="*/ 2147483647 w 201"/>
                <a:gd name="T25" fmla="*/ 2147483647 h 357"/>
                <a:gd name="T26" fmla="*/ 2147483647 w 201"/>
                <a:gd name="T27" fmla="*/ 2147483647 h 357"/>
                <a:gd name="T28" fmla="*/ 2147483647 w 201"/>
                <a:gd name="T29" fmla="*/ 2147483647 h 357"/>
                <a:gd name="T30" fmla="*/ 2147483647 w 201"/>
                <a:gd name="T31" fmla="*/ 2147483647 h 357"/>
                <a:gd name="T32" fmla="*/ 2147483647 w 201"/>
                <a:gd name="T33" fmla="*/ 2147483647 h 357"/>
                <a:gd name="T34" fmla="*/ 2147483647 w 201"/>
                <a:gd name="T35" fmla="*/ 2147483647 h 357"/>
                <a:gd name="T36" fmla="*/ 2147483647 w 201"/>
                <a:gd name="T37" fmla="*/ 2147483647 h 357"/>
                <a:gd name="T38" fmla="*/ 2147483647 w 201"/>
                <a:gd name="T39" fmla="*/ 2147483647 h 357"/>
                <a:gd name="T40" fmla="*/ 2147483647 w 201"/>
                <a:gd name="T41" fmla="*/ 0 h 357"/>
                <a:gd name="T42" fmla="*/ 2147483647 w 201"/>
                <a:gd name="T43" fmla="*/ 2147483647 h 357"/>
                <a:gd name="T44" fmla="*/ 2147483647 w 201"/>
                <a:gd name="T45" fmla="*/ 2147483647 h 357"/>
                <a:gd name="T46" fmla="*/ 2147483647 w 201"/>
                <a:gd name="T47" fmla="*/ 2147483647 h 357"/>
                <a:gd name="T48" fmla="*/ 2147483647 w 201"/>
                <a:gd name="T49" fmla="*/ 2147483647 h 357"/>
                <a:gd name="T50" fmla="*/ 0 w 201"/>
                <a:gd name="T51" fmla="*/ 2147483647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01" h="357">
                  <a:moveTo>
                    <a:pt x="0" y="111"/>
                  </a:moveTo>
                  <a:lnTo>
                    <a:pt x="13" y="146"/>
                  </a:lnTo>
                  <a:lnTo>
                    <a:pt x="50" y="156"/>
                  </a:lnTo>
                  <a:lnTo>
                    <a:pt x="45" y="177"/>
                  </a:lnTo>
                  <a:lnTo>
                    <a:pt x="56" y="200"/>
                  </a:lnTo>
                  <a:lnTo>
                    <a:pt x="63" y="246"/>
                  </a:lnTo>
                  <a:lnTo>
                    <a:pt x="50" y="313"/>
                  </a:lnTo>
                  <a:lnTo>
                    <a:pt x="101" y="344"/>
                  </a:lnTo>
                  <a:lnTo>
                    <a:pt x="125" y="357"/>
                  </a:lnTo>
                  <a:lnTo>
                    <a:pt x="125" y="323"/>
                  </a:lnTo>
                  <a:lnTo>
                    <a:pt x="137" y="313"/>
                  </a:lnTo>
                  <a:lnTo>
                    <a:pt x="170" y="323"/>
                  </a:lnTo>
                  <a:lnTo>
                    <a:pt x="194" y="300"/>
                  </a:lnTo>
                  <a:lnTo>
                    <a:pt x="182" y="255"/>
                  </a:lnTo>
                  <a:lnTo>
                    <a:pt x="182" y="211"/>
                  </a:lnTo>
                  <a:lnTo>
                    <a:pt x="170" y="190"/>
                  </a:lnTo>
                  <a:lnTo>
                    <a:pt x="194" y="146"/>
                  </a:lnTo>
                  <a:lnTo>
                    <a:pt x="201" y="88"/>
                  </a:lnTo>
                  <a:lnTo>
                    <a:pt x="170" y="67"/>
                  </a:lnTo>
                  <a:lnTo>
                    <a:pt x="163" y="67"/>
                  </a:lnTo>
                  <a:lnTo>
                    <a:pt x="120" y="0"/>
                  </a:lnTo>
                  <a:lnTo>
                    <a:pt x="101" y="13"/>
                  </a:lnTo>
                  <a:lnTo>
                    <a:pt x="82" y="79"/>
                  </a:lnTo>
                  <a:lnTo>
                    <a:pt x="50" y="67"/>
                  </a:lnTo>
                  <a:lnTo>
                    <a:pt x="50" y="111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63" name="Freeform 307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6259649" y="3631770"/>
              <a:ext cx="36088" cy="52388"/>
            </a:xfrm>
            <a:custGeom>
              <a:avLst/>
              <a:gdLst>
                <a:gd name="T0" fmla="*/ 0 w 19"/>
                <a:gd name="T1" fmla="*/ 2147483647 h 65"/>
                <a:gd name="T2" fmla="*/ 2147483647 w 19"/>
                <a:gd name="T3" fmla="*/ 2147483647 h 65"/>
                <a:gd name="T4" fmla="*/ 2147483647 w 19"/>
                <a:gd name="T5" fmla="*/ 0 h 65"/>
                <a:gd name="T6" fmla="*/ 0 w 19"/>
                <a:gd name="T7" fmla="*/ 2147483647 h 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65">
                  <a:moveTo>
                    <a:pt x="0" y="34"/>
                  </a:moveTo>
                  <a:lnTo>
                    <a:pt x="13" y="65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64" name="Freeform 308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259649" y="3631770"/>
              <a:ext cx="36088" cy="52388"/>
            </a:xfrm>
            <a:custGeom>
              <a:avLst/>
              <a:gdLst>
                <a:gd name="T0" fmla="*/ 0 w 19"/>
                <a:gd name="T1" fmla="*/ 2147483647 h 65"/>
                <a:gd name="T2" fmla="*/ 2147483647 w 19"/>
                <a:gd name="T3" fmla="*/ 2147483647 h 65"/>
                <a:gd name="T4" fmla="*/ 2147483647 w 19"/>
                <a:gd name="T5" fmla="*/ 0 h 65"/>
                <a:gd name="T6" fmla="*/ 0 w 19"/>
                <a:gd name="T7" fmla="*/ 2147483647 h 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65">
                  <a:moveTo>
                    <a:pt x="0" y="34"/>
                  </a:moveTo>
                  <a:lnTo>
                    <a:pt x="13" y="65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65" name="Freeform 309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6259649" y="3631770"/>
              <a:ext cx="36088" cy="52388"/>
            </a:xfrm>
            <a:custGeom>
              <a:avLst/>
              <a:gdLst>
                <a:gd name="T0" fmla="*/ 0 w 19"/>
                <a:gd name="T1" fmla="*/ 2147483647 h 65"/>
                <a:gd name="T2" fmla="*/ 2147483647 w 19"/>
                <a:gd name="T3" fmla="*/ 2147483647 h 65"/>
                <a:gd name="T4" fmla="*/ 2147483647 w 19"/>
                <a:gd name="T5" fmla="*/ 0 h 65"/>
                <a:gd name="T6" fmla="*/ 0 w 19"/>
                <a:gd name="T7" fmla="*/ 2147483647 h 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65">
                  <a:moveTo>
                    <a:pt x="0" y="34"/>
                  </a:moveTo>
                  <a:lnTo>
                    <a:pt x="13" y="65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66" name="Freeform 310"/>
            <p:cNvSpPr>
              <a:spLocks/>
            </p:cNvSpPr>
            <p:nvPr>
              <p:custDataLst>
                <p:tags r:id="rId274"/>
              </p:custDataLst>
            </p:nvPr>
          </p:nvSpPr>
          <p:spPr bwMode="auto">
            <a:xfrm>
              <a:off x="6259649" y="3631770"/>
              <a:ext cx="36088" cy="52388"/>
            </a:xfrm>
            <a:custGeom>
              <a:avLst/>
              <a:gdLst>
                <a:gd name="T0" fmla="*/ 0 w 19"/>
                <a:gd name="T1" fmla="*/ 2147483647 h 65"/>
                <a:gd name="T2" fmla="*/ 2147483647 w 19"/>
                <a:gd name="T3" fmla="*/ 2147483647 h 65"/>
                <a:gd name="T4" fmla="*/ 2147483647 w 19"/>
                <a:gd name="T5" fmla="*/ 0 h 65"/>
                <a:gd name="T6" fmla="*/ 0 w 19"/>
                <a:gd name="T7" fmla="*/ 2147483647 h 6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65">
                  <a:moveTo>
                    <a:pt x="0" y="34"/>
                  </a:moveTo>
                  <a:lnTo>
                    <a:pt x="13" y="65"/>
                  </a:lnTo>
                  <a:lnTo>
                    <a:pt x="19" y="0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67" name="Freeform 311"/>
            <p:cNvSpPr>
              <a:spLocks/>
            </p:cNvSpPr>
            <p:nvPr>
              <p:custDataLst>
                <p:tags r:id="rId275"/>
              </p:custDataLst>
            </p:nvPr>
          </p:nvSpPr>
          <p:spPr bwMode="auto">
            <a:xfrm>
              <a:off x="4208630" y="4658919"/>
              <a:ext cx="92225" cy="85725"/>
            </a:xfrm>
            <a:custGeom>
              <a:avLst/>
              <a:gdLst>
                <a:gd name="T0" fmla="*/ 0 w 50"/>
                <a:gd name="T1" fmla="*/ 2147483647 h 110"/>
                <a:gd name="T2" fmla="*/ 2147483647 w 50"/>
                <a:gd name="T3" fmla="*/ 0 h 110"/>
                <a:gd name="T4" fmla="*/ 2147483647 w 50"/>
                <a:gd name="T5" fmla="*/ 2147483647 h 110"/>
                <a:gd name="T6" fmla="*/ 2147483647 w 50"/>
                <a:gd name="T7" fmla="*/ 2147483647 h 110"/>
                <a:gd name="T8" fmla="*/ 0 w 50"/>
                <a:gd name="T9" fmla="*/ 2147483647 h 1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110">
                  <a:moveTo>
                    <a:pt x="0" y="100"/>
                  </a:moveTo>
                  <a:lnTo>
                    <a:pt x="8" y="0"/>
                  </a:lnTo>
                  <a:lnTo>
                    <a:pt x="50" y="44"/>
                  </a:lnTo>
                  <a:lnTo>
                    <a:pt x="25" y="11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68" name="Freeform 312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4208630" y="4658919"/>
              <a:ext cx="92225" cy="85725"/>
            </a:xfrm>
            <a:custGeom>
              <a:avLst/>
              <a:gdLst>
                <a:gd name="T0" fmla="*/ 0 w 50"/>
                <a:gd name="T1" fmla="*/ 2147483647 h 110"/>
                <a:gd name="T2" fmla="*/ 2147483647 w 50"/>
                <a:gd name="T3" fmla="*/ 0 h 110"/>
                <a:gd name="T4" fmla="*/ 2147483647 w 50"/>
                <a:gd name="T5" fmla="*/ 2147483647 h 110"/>
                <a:gd name="T6" fmla="*/ 2147483647 w 50"/>
                <a:gd name="T7" fmla="*/ 2147483647 h 110"/>
                <a:gd name="T8" fmla="*/ 0 w 50"/>
                <a:gd name="T9" fmla="*/ 2147483647 h 1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110">
                  <a:moveTo>
                    <a:pt x="0" y="100"/>
                  </a:moveTo>
                  <a:lnTo>
                    <a:pt x="8" y="0"/>
                  </a:lnTo>
                  <a:lnTo>
                    <a:pt x="50" y="44"/>
                  </a:lnTo>
                  <a:lnTo>
                    <a:pt x="25" y="110"/>
                  </a:lnTo>
                  <a:lnTo>
                    <a:pt x="0" y="10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69" name="Freeform 313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4208630" y="4658919"/>
              <a:ext cx="92225" cy="85725"/>
            </a:xfrm>
            <a:custGeom>
              <a:avLst/>
              <a:gdLst>
                <a:gd name="T0" fmla="*/ 0 w 50"/>
                <a:gd name="T1" fmla="*/ 2147483647 h 110"/>
                <a:gd name="T2" fmla="*/ 2147483647 w 50"/>
                <a:gd name="T3" fmla="*/ 0 h 110"/>
                <a:gd name="T4" fmla="*/ 2147483647 w 50"/>
                <a:gd name="T5" fmla="*/ 2147483647 h 110"/>
                <a:gd name="T6" fmla="*/ 2147483647 w 50"/>
                <a:gd name="T7" fmla="*/ 2147483647 h 110"/>
                <a:gd name="T8" fmla="*/ 0 w 50"/>
                <a:gd name="T9" fmla="*/ 2147483647 h 1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110">
                  <a:moveTo>
                    <a:pt x="0" y="100"/>
                  </a:moveTo>
                  <a:lnTo>
                    <a:pt x="8" y="0"/>
                  </a:lnTo>
                  <a:lnTo>
                    <a:pt x="50" y="44"/>
                  </a:lnTo>
                  <a:lnTo>
                    <a:pt x="25" y="11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70" name="Freeform 314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4208630" y="4658919"/>
              <a:ext cx="92225" cy="85725"/>
            </a:xfrm>
            <a:custGeom>
              <a:avLst/>
              <a:gdLst>
                <a:gd name="T0" fmla="*/ 0 w 50"/>
                <a:gd name="T1" fmla="*/ 2147483647 h 110"/>
                <a:gd name="T2" fmla="*/ 2147483647 w 50"/>
                <a:gd name="T3" fmla="*/ 0 h 110"/>
                <a:gd name="T4" fmla="*/ 2147483647 w 50"/>
                <a:gd name="T5" fmla="*/ 2147483647 h 110"/>
                <a:gd name="T6" fmla="*/ 2147483647 w 50"/>
                <a:gd name="T7" fmla="*/ 2147483647 h 110"/>
                <a:gd name="T8" fmla="*/ 0 w 50"/>
                <a:gd name="T9" fmla="*/ 2147483647 h 1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110">
                  <a:moveTo>
                    <a:pt x="0" y="100"/>
                  </a:moveTo>
                  <a:lnTo>
                    <a:pt x="8" y="0"/>
                  </a:lnTo>
                  <a:lnTo>
                    <a:pt x="50" y="44"/>
                  </a:lnTo>
                  <a:lnTo>
                    <a:pt x="25" y="110"/>
                  </a:lnTo>
                  <a:lnTo>
                    <a:pt x="0" y="10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71" name="Freeform 315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6179439" y="3252392"/>
              <a:ext cx="256627" cy="249237"/>
            </a:xfrm>
            <a:custGeom>
              <a:avLst/>
              <a:gdLst>
                <a:gd name="T0" fmla="*/ 0 w 139"/>
                <a:gd name="T1" fmla="*/ 2147483647 h 313"/>
                <a:gd name="T2" fmla="*/ 2147483647 w 139"/>
                <a:gd name="T3" fmla="*/ 2147483647 h 313"/>
                <a:gd name="T4" fmla="*/ 2147483647 w 139"/>
                <a:gd name="T5" fmla="*/ 2147483647 h 313"/>
                <a:gd name="T6" fmla="*/ 2147483647 w 139"/>
                <a:gd name="T7" fmla="*/ 2147483647 h 313"/>
                <a:gd name="T8" fmla="*/ 2147483647 w 139"/>
                <a:gd name="T9" fmla="*/ 2147483647 h 313"/>
                <a:gd name="T10" fmla="*/ 2147483647 w 139"/>
                <a:gd name="T11" fmla="*/ 2147483647 h 313"/>
                <a:gd name="T12" fmla="*/ 2147483647 w 139"/>
                <a:gd name="T13" fmla="*/ 2147483647 h 313"/>
                <a:gd name="T14" fmla="*/ 2147483647 w 139"/>
                <a:gd name="T15" fmla="*/ 2147483647 h 313"/>
                <a:gd name="T16" fmla="*/ 2147483647 w 139"/>
                <a:gd name="T17" fmla="*/ 2147483647 h 313"/>
                <a:gd name="T18" fmla="*/ 2147483647 w 139"/>
                <a:gd name="T19" fmla="*/ 2147483647 h 313"/>
                <a:gd name="T20" fmla="*/ 2147483647 w 139"/>
                <a:gd name="T21" fmla="*/ 2147483647 h 313"/>
                <a:gd name="T22" fmla="*/ 2147483647 w 139"/>
                <a:gd name="T23" fmla="*/ 2147483647 h 313"/>
                <a:gd name="T24" fmla="*/ 2147483647 w 139"/>
                <a:gd name="T25" fmla="*/ 2147483647 h 313"/>
                <a:gd name="T26" fmla="*/ 2147483647 w 139"/>
                <a:gd name="T27" fmla="*/ 2147483647 h 313"/>
                <a:gd name="T28" fmla="*/ 2147483647 w 139"/>
                <a:gd name="T29" fmla="*/ 2147483647 h 313"/>
                <a:gd name="T30" fmla="*/ 2147483647 w 139"/>
                <a:gd name="T31" fmla="*/ 2147483647 h 313"/>
                <a:gd name="T32" fmla="*/ 2147483647 w 139"/>
                <a:gd name="T33" fmla="*/ 0 h 313"/>
                <a:gd name="T34" fmla="*/ 2147483647 w 139"/>
                <a:gd name="T35" fmla="*/ 0 h 313"/>
                <a:gd name="T36" fmla="*/ 2147483647 w 139"/>
                <a:gd name="T37" fmla="*/ 2147483647 h 313"/>
                <a:gd name="T38" fmla="*/ 2147483647 w 139"/>
                <a:gd name="T39" fmla="*/ 2147483647 h 313"/>
                <a:gd name="T40" fmla="*/ 2147483647 w 139"/>
                <a:gd name="T41" fmla="*/ 2147483647 h 313"/>
                <a:gd name="T42" fmla="*/ 2147483647 w 139"/>
                <a:gd name="T43" fmla="*/ 2147483647 h 313"/>
                <a:gd name="T44" fmla="*/ 0 w 139"/>
                <a:gd name="T45" fmla="*/ 2147483647 h 31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39" h="313">
                  <a:moveTo>
                    <a:pt x="0" y="123"/>
                  </a:moveTo>
                  <a:lnTo>
                    <a:pt x="7" y="179"/>
                  </a:lnTo>
                  <a:lnTo>
                    <a:pt x="7" y="200"/>
                  </a:lnTo>
                  <a:lnTo>
                    <a:pt x="7" y="223"/>
                  </a:lnTo>
                  <a:lnTo>
                    <a:pt x="38" y="258"/>
                  </a:lnTo>
                  <a:lnTo>
                    <a:pt x="25" y="302"/>
                  </a:lnTo>
                  <a:lnTo>
                    <a:pt x="57" y="313"/>
                  </a:lnTo>
                  <a:lnTo>
                    <a:pt x="113" y="313"/>
                  </a:lnTo>
                  <a:lnTo>
                    <a:pt x="126" y="258"/>
                  </a:lnTo>
                  <a:lnTo>
                    <a:pt x="94" y="189"/>
                  </a:lnTo>
                  <a:lnTo>
                    <a:pt x="132" y="156"/>
                  </a:lnTo>
                  <a:lnTo>
                    <a:pt x="139" y="167"/>
                  </a:lnTo>
                  <a:lnTo>
                    <a:pt x="132" y="45"/>
                  </a:lnTo>
                  <a:lnTo>
                    <a:pt x="107" y="12"/>
                  </a:lnTo>
                  <a:lnTo>
                    <a:pt x="82" y="33"/>
                  </a:lnTo>
                  <a:lnTo>
                    <a:pt x="82" y="21"/>
                  </a:lnTo>
                  <a:lnTo>
                    <a:pt x="57" y="0"/>
                  </a:lnTo>
                  <a:lnTo>
                    <a:pt x="44" y="0"/>
                  </a:lnTo>
                  <a:lnTo>
                    <a:pt x="44" y="66"/>
                  </a:lnTo>
                  <a:lnTo>
                    <a:pt x="32" y="45"/>
                  </a:lnTo>
                  <a:lnTo>
                    <a:pt x="25" y="66"/>
                  </a:lnTo>
                  <a:lnTo>
                    <a:pt x="19" y="11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472" name="Group 316"/>
            <p:cNvGrpSpPr>
              <a:grpSpLocks/>
            </p:cNvGrpSpPr>
            <p:nvPr>
              <p:custDataLst>
                <p:tags r:id="rId280"/>
              </p:custDataLst>
            </p:nvPr>
          </p:nvGrpSpPr>
          <p:grpSpPr bwMode="auto">
            <a:xfrm>
              <a:off x="6179439" y="3252392"/>
              <a:ext cx="256627" cy="249237"/>
              <a:chOff x="3032" y="1679"/>
              <a:chExt cx="139" cy="157"/>
            </a:xfrm>
            <a:solidFill>
              <a:srgbClr val="CCFFCC"/>
            </a:solidFill>
          </p:grpSpPr>
          <p:sp>
            <p:nvSpPr>
              <p:cNvPr id="3301" name="Freeform 317"/>
              <p:cNvSpPr>
                <a:spLocks/>
              </p:cNvSpPr>
              <p:nvPr/>
            </p:nvSpPr>
            <p:spPr bwMode="auto">
              <a:xfrm>
                <a:off x="3032" y="1679"/>
                <a:ext cx="139" cy="157"/>
              </a:xfrm>
              <a:custGeom>
                <a:avLst/>
                <a:gdLst>
                  <a:gd name="T0" fmla="*/ 0 w 139"/>
                  <a:gd name="T1" fmla="*/ 1 h 313"/>
                  <a:gd name="T2" fmla="*/ 7 w 139"/>
                  <a:gd name="T3" fmla="*/ 1 h 313"/>
                  <a:gd name="T4" fmla="*/ 7 w 139"/>
                  <a:gd name="T5" fmla="*/ 1 h 313"/>
                  <a:gd name="T6" fmla="*/ 7 w 139"/>
                  <a:gd name="T7" fmla="*/ 1 h 313"/>
                  <a:gd name="T8" fmla="*/ 38 w 139"/>
                  <a:gd name="T9" fmla="*/ 1 h 313"/>
                  <a:gd name="T10" fmla="*/ 25 w 139"/>
                  <a:gd name="T11" fmla="*/ 1 h 313"/>
                  <a:gd name="T12" fmla="*/ 57 w 139"/>
                  <a:gd name="T13" fmla="*/ 1 h 313"/>
                  <a:gd name="T14" fmla="*/ 113 w 139"/>
                  <a:gd name="T15" fmla="*/ 1 h 313"/>
                  <a:gd name="T16" fmla="*/ 126 w 139"/>
                  <a:gd name="T17" fmla="*/ 1 h 313"/>
                  <a:gd name="T18" fmla="*/ 94 w 139"/>
                  <a:gd name="T19" fmla="*/ 1 h 313"/>
                  <a:gd name="T20" fmla="*/ 132 w 139"/>
                  <a:gd name="T21" fmla="*/ 1 h 313"/>
                  <a:gd name="T22" fmla="*/ 139 w 139"/>
                  <a:gd name="T23" fmla="*/ 1 h 313"/>
                  <a:gd name="T24" fmla="*/ 132 w 139"/>
                  <a:gd name="T25" fmla="*/ 1 h 313"/>
                  <a:gd name="T26" fmla="*/ 107 w 139"/>
                  <a:gd name="T27" fmla="*/ 1 h 313"/>
                  <a:gd name="T28" fmla="*/ 82 w 139"/>
                  <a:gd name="T29" fmla="*/ 1 h 313"/>
                  <a:gd name="T30" fmla="*/ 82 w 139"/>
                  <a:gd name="T31" fmla="*/ 1 h 313"/>
                  <a:gd name="T32" fmla="*/ 57 w 139"/>
                  <a:gd name="T33" fmla="*/ 0 h 313"/>
                  <a:gd name="T34" fmla="*/ 44 w 139"/>
                  <a:gd name="T35" fmla="*/ 0 h 313"/>
                  <a:gd name="T36" fmla="*/ 44 w 139"/>
                  <a:gd name="T37" fmla="*/ 1 h 313"/>
                  <a:gd name="T38" fmla="*/ 32 w 139"/>
                  <a:gd name="T39" fmla="*/ 1 h 313"/>
                  <a:gd name="T40" fmla="*/ 25 w 139"/>
                  <a:gd name="T41" fmla="*/ 1 h 313"/>
                  <a:gd name="T42" fmla="*/ 19 w 139"/>
                  <a:gd name="T43" fmla="*/ 1 h 313"/>
                  <a:gd name="T44" fmla="*/ 0 w 139"/>
                  <a:gd name="T45" fmla="*/ 1 h 3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39" h="313">
                    <a:moveTo>
                      <a:pt x="0" y="123"/>
                    </a:moveTo>
                    <a:lnTo>
                      <a:pt x="7" y="179"/>
                    </a:lnTo>
                    <a:lnTo>
                      <a:pt x="7" y="200"/>
                    </a:lnTo>
                    <a:lnTo>
                      <a:pt x="7" y="223"/>
                    </a:lnTo>
                    <a:lnTo>
                      <a:pt x="38" y="258"/>
                    </a:lnTo>
                    <a:lnTo>
                      <a:pt x="25" y="302"/>
                    </a:lnTo>
                    <a:lnTo>
                      <a:pt x="57" y="313"/>
                    </a:lnTo>
                    <a:lnTo>
                      <a:pt x="113" y="313"/>
                    </a:lnTo>
                    <a:lnTo>
                      <a:pt x="126" y="258"/>
                    </a:lnTo>
                    <a:lnTo>
                      <a:pt x="94" y="189"/>
                    </a:lnTo>
                    <a:lnTo>
                      <a:pt x="132" y="156"/>
                    </a:lnTo>
                    <a:lnTo>
                      <a:pt x="139" y="167"/>
                    </a:lnTo>
                    <a:lnTo>
                      <a:pt x="132" y="45"/>
                    </a:lnTo>
                    <a:lnTo>
                      <a:pt x="107" y="12"/>
                    </a:lnTo>
                    <a:lnTo>
                      <a:pt x="82" y="33"/>
                    </a:lnTo>
                    <a:lnTo>
                      <a:pt x="82" y="21"/>
                    </a:lnTo>
                    <a:lnTo>
                      <a:pt x="57" y="0"/>
                    </a:lnTo>
                    <a:lnTo>
                      <a:pt x="44" y="0"/>
                    </a:lnTo>
                    <a:lnTo>
                      <a:pt x="44" y="66"/>
                    </a:lnTo>
                    <a:lnTo>
                      <a:pt x="32" y="45"/>
                    </a:lnTo>
                    <a:lnTo>
                      <a:pt x="25" y="66"/>
                    </a:lnTo>
                    <a:lnTo>
                      <a:pt x="19" y="112"/>
                    </a:lnTo>
                    <a:lnTo>
                      <a:pt x="0" y="123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02" name="Freeform 318"/>
              <p:cNvSpPr>
                <a:spLocks/>
              </p:cNvSpPr>
              <p:nvPr/>
            </p:nvSpPr>
            <p:spPr bwMode="auto">
              <a:xfrm>
                <a:off x="3032" y="1679"/>
                <a:ext cx="139" cy="157"/>
              </a:xfrm>
              <a:custGeom>
                <a:avLst/>
                <a:gdLst>
                  <a:gd name="T0" fmla="*/ 0 w 139"/>
                  <a:gd name="T1" fmla="*/ 1 h 313"/>
                  <a:gd name="T2" fmla="*/ 7 w 139"/>
                  <a:gd name="T3" fmla="*/ 1 h 313"/>
                  <a:gd name="T4" fmla="*/ 7 w 139"/>
                  <a:gd name="T5" fmla="*/ 1 h 313"/>
                  <a:gd name="T6" fmla="*/ 7 w 139"/>
                  <a:gd name="T7" fmla="*/ 1 h 313"/>
                  <a:gd name="T8" fmla="*/ 38 w 139"/>
                  <a:gd name="T9" fmla="*/ 1 h 313"/>
                  <a:gd name="T10" fmla="*/ 25 w 139"/>
                  <a:gd name="T11" fmla="*/ 1 h 313"/>
                  <a:gd name="T12" fmla="*/ 57 w 139"/>
                  <a:gd name="T13" fmla="*/ 1 h 313"/>
                  <a:gd name="T14" fmla="*/ 113 w 139"/>
                  <a:gd name="T15" fmla="*/ 1 h 313"/>
                  <a:gd name="T16" fmla="*/ 126 w 139"/>
                  <a:gd name="T17" fmla="*/ 1 h 313"/>
                  <a:gd name="T18" fmla="*/ 94 w 139"/>
                  <a:gd name="T19" fmla="*/ 1 h 313"/>
                  <a:gd name="T20" fmla="*/ 132 w 139"/>
                  <a:gd name="T21" fmla="*/ 1 h 313"/>
                  <a:gd name="T22" fmla="*/ 139 w 139"/>
                  <a:gd name="T23" fmla="*/ 1 h 313"/>
                  <a:gd name="T24" fmla="*/ 132 w 139"/>
                  <a:gd name="T25" fmla="*/ 1 h 313"/>
                  <a:gd name="T26" fmla="*/ 107 w 139"/>
                  <a:gd name="T27" fmla="*/ 1 h 313"/>
                  <a:gd name="T28" fmla="*/ 82 w 139"/>
                  <a:gd name="T29" fmla="*/ 1 h 313"/>
                  <a:gd name="T30" fmla="*/ 82 w 139"/>
                  <a:gd name="T31" fmla="*/ 1 h 313"/>
                  <a:gd name="T32" fmla="*/ 57 w 139"/>
                  <a:gd name="T33" fmla="*/ 0 h 313"/>
                  <a:gd name="T34" fmla="*/ 44 w 139"/>
                  <a:gd name="T35" fmla="*/ 0 h 313"/>
                  <a:gd name="T36" fmla="*/ 44 w 139"/>
                  <a:gd name="T37" fmla="*/ 1 h 313"/>
                  <a:gd name="T38" fmla="*/ 32 w 139"/>
                  <a:gd name="T39" fmla="*/ 1 h 313"/>
                  <a:gd name="T40" fmla="*/ 25 w 139"/>
                  <a:gd name="T41" fmla="*/ 1 h 313"/>
                  <a:gd name="T42" fmla="*/ 19 w 139"/>
                  <a:gd name="T43" fmla="*/ 1 h 313"/>
                  <a:gd name="T44" fmla="*/ 0 w 139"/>
                  <a:gd name="T45" fmla="*/ 1 h 3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39" h="313">
                    <a:moveTo>
                      <a:pt x="0" y="123"/>
                    </a:moveTo>
                    <a:lnTo>
                      <a:pt x="7" y="179"/>
                    </a:lnTo>
                    <a:lnTo>
                      <a:pt x="7" y="200"/>
                    </a:lnTo>
                    <a:lnTo>
                      <a:pt x="7" y="223"/>
                    </a:lnTo>
                    <a:lnTo>
                      <a:pt x="38" y="258"/>
                    </a:lnTo>
                    <a:lnTo>
                      <a:pt x="25" y="302"/>
                    </a:lnTo>
                    <a:lnTo>
                      <a:pt x="57" y="313"/>
                    </a:lnTo>
                    <a:lnTo>
                      <a:pt x="113" y="313"/>
                    </a:lnTo>
                    <a:lnTo>
                      <a:pt x="126" y="258"/>
                    </a:lnTo>
                    <a:lnTo>
                      <a:pt x="94" y="189"/>
                    </a:lnTo>
                    <a:lnTo>
                      <a:pt x="132" y="156"/>
                    </a:lnTo>
                    <a:lnTo>
                      <a:pt x="139" y="167"/>
                    </a:lnTo>
                    <a:lnTo>
                      <a:pt x="132" y="45"/>
                    </a:lnTo>
                    <a:lnTo>
                      <a:pt x="107" y="12"/>
                    </a:lnTo>
                    <a:lnTo>
                      <a:pt x="82" y="33"/>
                    </a:lnTo>
                    <a:lnTo>
                      <a:pt x="82" y="21"/>
                    </a:lnTo>
                    <a:lnTo>
                      <a:pt x="57" y="0"/>
                    </a:lnTo>
                    <a:lnTo>
                      <a:pt x="44" y="0"/>
                    </a:lnTo>
                    <a:lnTo>
                      <a:pt x="44" y="66"/>
                    </a:lnTo>
                    <a:lnTo>
                      <a:pt x="32" y="45"/>
                    </a:lnTo>
                    <a:lnTo>
                      <a:pt x="25" y="66"/>
                    </a:lnTo>
                    <a:lnTo>
                      <a:pt x="19" y="112"/>
                    </a:lnTo>
                    <a:lnTo>
                      <a:pt x="0" y="12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473" name="Freeform 319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179439" y="3252392"/>
              <a:ext cx="256627" cy="249237"/>
            </a:xfrm>
            <a:custGeom>
              <a:avLst/>
              <a:gdLst>
                <a:gd name="T0" fmla="*/ 0 w 139"/>
                <a:gd name="T1" fmla="*/ 2147483647 h 313"/>
                <a:gd name="T2" fmla="*/ 2147483647 w 139"/>
                <a:gd name="T3" fmla="*/ 2147483647 h 313"/>
                <a:gd name="T4" fmla="*/ 2147483647 w 139"/>
                <a:gd name="T5" fmla="*/ 2147483647 h 313"/>
                <a:gd name="T6" fmla="*/ 2147483647 w 139"/>
                <a:gd name="T7" fmla="*/ 2147483647 h 313"/>
                <a:gd name="T8" fmla="*/ 2147483647 w 139"/>
                <a:gd name="T9" fmla="*/ 2147483647 h 313"/>
                <a:gd name="T10" fmla="*/ 2147483647 w 139"/>
                <a:gd name="T11" fmla="*/ 2147483647 h 313"/>
                <a:gd name="T12" fmla="*/ 2147483647 w 139"/>
                <a:gd name="T13" fmla="*/ 2147483647 h 313"/>
                <a:gd name="T14" fmla="*/ 2147483647 w 139"/>
                <a:gd name="T15" fmla="*/ 2147483647 h 313"/>
                <a:gd name="T16" fmla="*/ 2147483647 w 139"/>
                <a:gd name="T17" fmla="*/ 2147483647 h 313"/>
                <a:gd name="T18" fmla="*/ 2147483647 w 139"/>
                <a:gd name="T19" fmla="*/ 2147483647 h 313"/>
                <a:gd name="T20" fmla="*/ 2147483647 w 139"/>
                <a:gd name="T21" fmla="*/ 2147483647 h 313"/>
                <a:gd name="T22" fmla="*/ 2147483647 w 139"/>
                <a:gd name="T23" fmla="*/ 2147483647 h 313"/>
                <a:gd name="T24" fmla="*/ 2147483647 w 139"/>
                <a:gd name="T25" fmla="*/ 2147483647 h 313"/>
                <a:gd name="T26" fmla="*/ 2147483647 w 139"/>
                <a:gd name="T27" fmla="*/ 2147483647 h 313"/>
                <a:gd name="T28" fmla="*/ 2147483647 w 139"/>
                <a:gd name="T29" fmla="*/ 2147483647 h 313"/>
                <a:gd name="T30" fmla="*/ 2147483647 w 139"/>
                <a:gd name="T31" fmla="*/ 2147483647 h 313"/>
                <a:gd name="T32" fmla="*/ 2147483647 w 139"/>
                <a:gd name="T33" fmla="*/ 0 h 313"/>
                <a:gd name="T34" fmla="*/ 2147483647 w 139"/>
                <a:gd name="T35" fmla="*/ 0 h 313"/>
                <a:gd name="T36" fmla="*/ 2147483647 w 139"/>
                <a:gd name="T37" fmla="*/ 2147483647 h 313"/>
                <a:gd name="T38" fmla="*/ 2147483647 w 139"/>
                <a:gd name="T39" fmla="*/ 2147483647 h 313"/>
                <a:gd name="T40" fmla="*/ 2147483647 w 139"/>
                <a:gd name="T41" fmla="*/ 2147483647 h 313"/>
                <a:gd name="T42" fmla="*/ 2147483647 w 139"/>
                <a:gd name="T43" fmla="*/ 2147483647 h 313"/>
                <a:gd name="T44" fmla="*/ 0 w 139"/>
                <a:gd name="T45" fmla="*/ 2147483647 h 313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39" h="313">
                  <a:moveTo>
                    <a:pt x="0" y="123"/>
                  </a:moveTo>
                  <a:lnTo>
                    <a:pt x="7" y="179"/>
                  </a:lnTo>
                  <a:lnTo>
                    <a:pt x="7" y="200"/>
                  </a:lnTo>
                  <a:lnTo>
                    <a:pt x="7" y="223"/>
                  </a:lnTo>
                  <a:lnTo>
                    <a:pt x="38" y="258"/>
                  </a:lnTo>
                  <a:lnTo>
                    <a:pt x="25" y="302"/>
                  </a:lnTo>
                  <a:lnTo>
                    <a:pt x="57" y="313"/>
                  </a:lnTo>
                  <a:lnTo>
                    <a:pt x="113" y="313"/>
                  </a:lnTo>
                  <a:lnTo>
                    <a:pt x="126" y="258"/>
                  </a:lnTo>
                  <a:lnTo>
                    <a:pt x="94" y="189"/>
                  </a:lnTo>
                  <a:lnTo>
                    <a:pt x="132" y="156"/>
                  </a:lnTo>
                  <a:lnTo>
                    <a:pt x="139" y="167"/>
                  </a:lnTo>
                  <a:lnTo>
                    <a:pt x="132" y="45"/>
                  </a:lnTo>
                  <a:lnTo>
                    <a:pt x="107" y="12"/>
                  </a:lnTo>
                  <a:lnTo>
                    <a:pt x="82" y="33"/>
                  </a:lnTo>
                  <a:lnTo>
                    <a:pt x="82" y="21"/>
                  </a:lnTo>
                  <a:lnTo>
                    <a:pt x="57" y="0"/>
                  </a:lnTo>
                  <a:lnTo>
                    <a:pt x="44" y="0"/>
                  </a:lnTo>
                  <a:lnTo>
                    <a:pt x="44" y="66"/>
                  </a:lnTo>
                  <a:lnTo>
                    <a:pt x="32" y="45"/>
                  </a:lnTo>
                  <a:lnTo>
                    <a:pt x="25" y="66"/>
                  </a:lnTo>
                  <a:lnTo>
                    <a:pt x="19" y="11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474" name="Group 320"/>
            <p:cNvGrpSpPr>
              <a:grpSpLocks/>
            </p:cNvGrpSpPr>
            <p:nvPr>
              <p:custDataLst>
                <p:tags r:id="rId282"/>
              </p:custDataLst>
            </p:nvPr>
          </p:nvGrpSpPr>
          <p:grpSpPr bwMode="auto">
            <a:xfrm>
              <a:off x="6179439" y="3252392"/>
              <a:ext cx="256627" cy="249237"/>
              <a:chOff x="3032" y="1679"/>
              <a:chExt cx="139" cy="157"/>
            </a:xfrm>
            <a:solidFill>
              <a:srgbClr val="CCFFCC"/>
            </a:solidFill>
          </p:grpSpPr>
          <p:sp>
            <p:nvSpPr>
              <p:cNvPr id="3299" name="Freeform 321"/>
              <p:cNvSpPr>
                <a:spLocks/>
              </p:cNvSpPr>
              <p:nvPr/>
            </p:nvSpPr>
            <p:spPr bwMode="auto">
              <a:xfrm>
                <a:off x="3032" y="1679"/>
                <a:ext cx="139" cy="157"/>
              </a:xfrm>
              <a:custGeom>
                <a:avLst/>
                <a:gdLst>
                  <a:gd name="T0" fmla="*/ 0 w 139"/>
                  <a:gd name="T1" fmla="*/ 1 h 313"/>
                  <a:gd name="T2" fmla="*/ 7 w 139"/>
                  <a:gd name="T3" fmla="*/ 1 h 313"/>
                  <a:gd name="T4" fmla="*/ 7 w 139"/>
                  <a:gd name="T5" fmla="*/ 1 h 313"/>
                  <a:gd name="T6" fmla="*/ 7 w 139"/>
                  <a:gd name="T7" fmla="*/ 1 h 313"/>
                  <a:gd name="T8" fmla="*/ 38 w 139"/>
                  <a:gd name="T9" fmla="*/ 1 h 313"/>
                  <a:gd name="T10" fmla="*/ 25 w 139"/>
                  <a:gd name="T11" fmla="*/ 1 h 313"/>
                  <a:gd name="T12" fmla="*/ 57 w 139"/>
                  <a:gd name="T13" fmla="*/ 1 h 313"/>
                  <a:gd name="T14" fmla="*/ 113 w 139"/>
                  <a:gd name="T15" fmla="*/ 1 h 313"/>
                  <a:gd name="T16" fmla="*/ 126 w 139"/>
                  <a:gd name="T17" fmla="*/ 1 h 313"/>
                  <a:gd name="T18" fmla="*/ 94 w 139"/>
                  <a:gd name="T19" fmla="*/ 1 h 313"/>
                  <a:gd name="T20" fmla="*/ 132 w 139"/>
                  <a:gd name="T21" fmla="*/ 1 h 313"/>
                  <a:gd name="T22" fmla="*/ 139 w 139"/>
                  <a:gd name="T23" fmla="*/ 1 h 313"/>
                  <a:gd name="T24" fmla="*/ 132 w 139"/>
                  <a:gd name="T25" fmla="*/ 1 h 313"/>
                  <a:gd name="T26" fmla="*/ 107 w 139"/>
                  <a:gd name="T27" fmla="*/ 1 h 313"/>
                  <a:gd name="T28" fmla="*/ 82 w 139"/>
                  <a:gd name="T29" fmla="*/ 1 h 313"/>
                  <a:gd name="T30" fmla="*/ 82 w 139"/>
                  <a:gd name="T31" fmla="*/ 1 h 313"/>
                  <a:gd name="T32" fmla="*/ 57 w 139"/>
                  <a:gd name="T33" fmla="*/ 0 h 313"/>
                  <a:gd name="T34" fmla="*/ 44 w 139"/>
                  <a:gd name="T35" fmla="*/ 0 h 313"/>
                  <a:gd name="T36" fmla="*/ 44 w 139"/>
                  <a:gd name="T37" fmla="*/ 1 h 313"/>
                  <a:gd name="T38" fmla="*/ 32 w 139"/>
                  <a:gd name="T39" fmla="*/ 1 h 313"/>
                  <a:gd name="T40" fmla="*/ 25 w 139"/>
                  <a:gd name="T41" fmla="*/ 1 h 313"/>
                  <a:gd name="T42" fmla="*/ 19 w 139"/>
                  <a:gd name="T43" fmla="*/ 1 h 313"/>
                  <a:gd name="T44" fmla="*/ 0 w 139"/>
                  <a:gd name="T45" fmla="*/ 1 h 3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39" h="313">
                    <a:moveTo>
                      <a:pt x="0" y="123"/>
                    </a:moveTo>
                    <a:lnTo>
                      <a:pt x="7" y="179"/>
                    </a:lnTo>
                    <a:lnTo>
                      <a:pt x="7" y="200"/>
                    </a:lnTo>
                    <a:lnTo>
                      <a:pt x="7" y="223"/>
                    </a:lnTo>
                    <a:lnTo>
                      <a:pt x="38" y="258"/>
                    </a:lnTo>
                    <a:lnTo>
                      <a:pt x="25" y="302"/>
                    </a:lnTo>
                    <a:lnTo>
                      <a:pt x="57" y="313"/>
                    </a:lnTo>
                    <a:lnTo>
                      <a:pt x="113" y="313"/>
                    </a:lnTo>
                    <a:lnTo>
                      <a:pt x="126" y="258"/>
                    </a:lnTo>
                    <a:lnTo>
                      <a:pt x="94" y="189"/>
                    </a:lnTo>
                    <a:lnTo>
                      <a:pt x="132" y="156"/>
                    </a:lnTo>
                    <a:lnTo>
                      <a:pt x="139" y="167"/>
                    </a:lnTo>
                    <a:lnTo>
                      <a:pt x="132" y="45"/>
                    </a:lnTo>
                    <a:lnTo>
                      <a:pt x="107" y="12"/>
                    </a:lnTo>
                    <a:lnTo>
                      <a:pt x="82" y="33"/>
                    </a:lnTo>
                    <a:lnTo>
                      <a:pt x="82" y="21"/>
                    </a:lnTo>
                    <a:lnTo>
                      <a:pt x="57" y="0"/>
                    </a:lnTo>
                    <a:lnTo>
                      <a:pt x="44" y="0"/>
                    </a:lnTo>
                    <a:lnTo>
                      <a:pt x="44" y="66"/>
                    </a:lnTo>
                    <a:lnTo>
                      <a:pt x="32" y="45"/>
                    </a:lnTo>
                    <a:lnTo>
                      <a:pt x="25" y="66"/>
                    </a:lnTo>
                    <a:lnTo>
                      <a:pt x="19" y="112"/>
                    </a:lnTo>
                    <a:lnTo>
                      <a:pt x="0" y="123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300" name="Freeform 322"/>
              <p:cNvSpPr>
                <a:spLocks/>
              </p:cNvSpPr>
              <p:nvPr/>
            </p:nvSpPr>
            <p:spPr bwMode="auto">
              <a:xfrm>
                <a:off x="3032" y="1679"/>
                <a:ext cx="139" cy="157"/>
              </a:xfrm>
              <a:custGeom>
                <a:avLst/>
                <a:gdLst>
                  <a:gd name="T0" fmla="*/ 0 w 139"/>
                  <a:gd name="T1" fmla="*/ 1 h 313"/>
                  <a:gd name="T2" fmla="*/ 7 w 139"/>
                  <a:gd name="T3" fmla="*/ 1 h 313"/>
                  <a:gd name="T4" fmla="*/ 7 w 139"/>
                  <a:gd name="T5" fmla="*/ 1 h 313"/>
                  <a:gd name="T6" fmla="*/ 7 w 139"/>
                  <a:gd name="T7" fmla="*/ 1 h 313"/>
                  <a:gd name="T8" fmla="*/ 38 w 139"/>
                  <a:gd name="T9" fmla="*/ 1 h 313"/>
                  <a:gd name="T10" fmla="*/ 25 w 139"/>
                  <a:gd name="T11" fmla="*/ 1 h 313"/>
                  <a:gd name="T12" fmla="*/ 57 w 139"/>
                  <a:gd name="T13" fmla="*/ 1 h 313"/>
                  <a:gd name="T14" fmla="*/ 113 w 139"/>
                  <a:gd name="T15" fmla="*/ 1 h 313"/>
                  <a:gd name="T16" fmla="*/ 126 w 139"/>
                  <a:gd name="T17" fmla="*/ 1 h 313"/>
                  <a:gd name="T18" fmla="*/ 94 w 139"/>
                  <a:gd name="T19" fmla="*/ 1 h 313"/>
                  <a:gd name="T20" fmla="*/ 132 w 139"/>
                  <a:gd name="T21" fmla="*/ 1 h 313"/>
                  <a:gd name="T22" fmla="*/ 139 w 139"/>
                  <a:gd name="T23" fmla="*/ 1 h 313"/>
                  <a:gd name="T24" fmla="*/ 132 w 139"/>
                  <a:gd name="T25" fmla="*/ 1 h 313"/>
                  <a:gd name="T26" fmla="*/ 107 w 139"/>
                  <a:gd name="T27" fmla="*/ 1 h 313"/>
                  <a:gd name="T28" fmla="*/ 82 w 139"/>
                  <a:gd name="T29" fmla="*/ 1 h 313"/>
                  <a:gd name="T30" fmla="*/ 82 w 139"/>
                  <a:gd name="T31" fmla="*/ 1 h 313"/>
                  <a:gd name="T32" fmla="*/ 57 w 139"/>
                  <a:gd name="T33" fmla="*/ 0 h 313"/>
                  <a:gd name="T34" fmla="*/ 44 w 139"/>
                  <a:gd name="T35" fmla="*/ 0 h 313"/>
                  <a:gd name="T36" fmla="*/ 44 w 139"/>
                  <a:gd name="T37" fmla="*/ 1 h 313"/>
                  <a:gd name="T38" fmla="*/ 32 w 139"/>
                  <a:gd name="T39" fmla="*/ 1 h 313"/>
                  <a:gd name="T40" fmla="*/ 25 w 139"/>
                  <a:gd name="T41" fmla="*/ 1 h 313"/>
                  <a:gd name="T42" fmla="*/ 19 w 139"/>
                  <a:gd name="T43" fmla="*/ 1 h 313"/>
                  <a:gd name="T44" fmla="*/ 0 w 139"/>
                  <a:gd name="T45" fmla="*/ 1 h 31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39" h="313">
                    <a:moveTo>
                      <a:pt x="0" y="123"/>
                    </a:moveTo>
                    <a:lnTo>
                      <a:pt x="7" y="179"/>
                    </a:lnTo>
                    <a:lnTo>
                      <a:pt x="7" y="200"/>
                    </a:lnTo>
                    <a:lnTo>
                      <a:pt x="7" y="223"/>
                    </a:lnTo>
                    <a:lnTo>
                      <a:pt x="38" y="258"/>
                    </a:lnTo>
                    <a:lnTo>
                      <a:pt x="25" y="302"/>
                    </a:lnTo>
                    <a:lnTo>
                      <a:pt x="57" y="313"/>
                    </a:lnTo>
                    <a:lnTo>
                      <a:pt x="113" y="313"/>
                    </a:lnTo>
                    <a:lnTo>
                      <a:pt x="126" y="258"/>
                    </a:lnTo>
                    <a:lnTo>
                      <a:pt x="94" y="189"/>
                    </a:lnTo>
                    <a:lnTo>
                      <a:pt x="132" y="156"/>
                    </a:lnTo>
                    <a:lnTo>
                      <a:pt x="139" y="167"/>
                    </a:lnTo>
                    <a:lnTo>
                      <a:pt x="132" y="45"/>
                    </a:lnTo>
                    <a:lnTo>
                      <a:pt x="107" y="12"/>
                    </a:lnTo>
                    <a:lnTo>
                      <a:pt x="82" y="33"/>
                    </a:lnTo>
                    <a:lnTo>
                      <a:pt x="82" y="21"/>
                    </a:lnTo>
                    <a:lnTo>
                      <a:pt x="57" y="0"/>
                    </a:lnTo>
                    <a:lnTo>
                      <a:pt x="44" y="0"/>
                    </a:lnTo>
                    <a:lnTo>
                      <a:pt x="44" y="66"/>
                    </a:lnTo>
                    <a:lnTo>
                      <a:pt x="32" y="45"/>
                    </a:lnTo>
                    <a:lnTo>
                      <a:pt x="25" y="66"/>
                    </a:lnTo>
                    <a:lnTo>
                      <a:pt x="19" y="112"/>
                    </a:lnTo>
                    <a:lnTo>
                      <a:pt x="0" y="123"/>
                    </a:lnTo>
                  </a:path>
                </a:pathLst>
              </a:custGeom>
              <a:solidFill>
                <a:schemeClr val="accent6">
                  <a:lumMod val="60000"/>
                  <a:lumOff val="40000"/>
                </a:schemeClr>
              </a:solidFill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475" name="Freeform 323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6596473" y="3676230"/>
              <a:ext cx="186455" cy="150813"/>
            </a:xfrm>
            <a:custGeom>
              <a:avLst/>
              <a:gdLst>
                <a:gd name="T0" fmla="*/ 0 w 100"/>
                <a:gd name="T1" fmla="*/ 2147483647 h 190"/>
                <a:gd name="T2" fmla="*/ 2147483647 w 100"/>
                <a:gd name="T3" fmla="*/ 2147483647 h 190"/>
                <a:gd name="T4" fmla="*/ 2147483647 w 100"/>
                <a:gd name="T5" fmla="*/ 2147483647 h 190"/>
                <a:gd name="T6" fmla="*/ 2147483647 w 100"/>
                <a:gd name="T7" fmla="*/ 2147483647 h 190"/>
                <a:gd name="T8" fmla="*/ 2147483647 w 100"/>
                <a:gd name="T9" fmla="*/ 0 h 190"/>
                <a:gd name="T10" fmla="*/ 2147483647 w 100"/>
                <a:gd name="T11" fmla="*/ 2147483647 h 190"/>
                <a:gd name="T12" fmla="*/ 2147483647 w 100"/>
                <a:gd name="T13" fmla="*/ 2147483647 h 190"/>
                <a:gd name="T14" fmla="*/ 2147483647 w 100"/>
                <a:gd name="T15" fmla="*/ 2147483647 h 190"/>
                <a:gd name="T16" fmla="*/ 2147483647 w 100"/>
                <a:gd name="T17" fmla="*/ 2147483647 h 190"/>
                <a:gd name="T18" fmla="*/ 2147483647 w 100"/>
                <a:gd name="T19" fmla="*/ 2147483647 h 190"/>
                <a:gd name="T20" fmla="*/ 2147483647 w 100"/>
                <a:gd name="T21" fmla="*/ 2147483647 h 190"/>
                <a:gd name="T22" fmla="*/ 2147483647 w 100"/>
                <a:gd name="T23" fmla="*/ 2147483647 h 190"/>
                <a:gd name="T24" fmla="*/ 2147483647 w 100"/>
                <a:gd name="T25" fmla="*/ 2147483647 h 190"/>
                <a:gd name="T26" fmla="*/ 2147483647 w 100"/>
                <a:gd name="T27" fmla="*/ 2147483647 h 190"/>
                <a:gd name="T28" fmla="*/ 2147483647 w 100"/>
                <a:gd name="T29" fmla="*/ 2147483647 h 190"/>
                <a:gd name="T30" fmla="*/ 2147483647 w 100"/>
                <a:gd name="T31" fmla="*/ 2147483647 h 190"/>
                <a:gd name="T32" fmla="*/ 2147483647 w 100"/>
                <a:gd name="T33" fmla="*/ 2147483647 h 190"/>
                <a:gd name="T34" fmla="*/ 2147483647 w 100"/>
                <a:gd name="T35" fmla="*/ 2147483647 h 190"/>
                <a:gd name="T36" fmla="*/ 2147483647 w 100"/>
                <a:gd name="T37" fmla="*/ 2147483647 h 190"/>
                <a:gd name="T38" fmla="*/ 0 w 100"/>
                <a:gd name="T39" fmla="*/ 2147483647 h 1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0" h="190">
                  <a:moveTo>
                    <a:pt x="0" y="79"/>
                  </a:moveTo>
                  <a:lnTo>
                    <a:pt x="11" y="35"/>
                  </a:lnTo>
                  <a:lnTo>
                    <a:pt x="43" y="12"/>
                  </a:lnTo>
                  <a:lnTo>
                    <a:pt x="81" y="23"/>
                  </a:lnTo>
                  <a:lnTo>
                    <a:pt x="100" y="0"/>
                  </a:lnTo>
                  <a:lnTo>
                    <a:pt x="93" y="44"/>
                  </a:lnTo>
                  <a:lnTo>
                    <a:pt x="68" y="35"/>
                  </a:lnTo>
                  <a:lnTo>
                    <a:pt x="50" y="68"/>
                  </a:lnTo>
                  <a:lnTo>
                    <a:pt x="37" y="44"/>
                  </a:lnTo>
                  <a:lnTo>
                    <a:pt x="50" y="100"/>
                  </a:lnTo>
                  <a:lnTo>
                    <a:pt x="37" y="112"/>
                  </a:lnTo>
                  <a:lnTo>
                    <a:pt x="56" y="133"/>
                  </a:lnTo>
                  <a:lnTo>
                    <a:pt x="56" y="158"/>
                  </a:lnTo>
                  <a:lnTo>
                    <a:pt x="37" y="158"/>
                  </a:lnTo>
                  <a:lnTo>
                    <a:pt x="43" y="190"/>
                  </a:lnTo>
                  <a:lnTo>
                    <a:pt x="18" y="179"/>
                  </a:lnTo>
                  <a:lnTo>
                    <a:pt x="11" y="144"/>
                  </a:lnTo>
                  <a:lnTo>
                    <a:pt x="50" y="133"/>
                  </a:lnTo>
                  <a:lnTo>
                    <a:pt x="11" y="133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476" name="Group 324"/>
            <p:cNvGrpSpPr>
              <a:grpSpLocks/>
            </p:cNvGrpSpPr>
            <p:nvPr>
              <p:custDataLst>
                <p:tags r:id="rId284"/>
              </p:custDataLst>
            </p:nvPr>
          </p:nvGrpSpPr>
          <p:grpSpPr bwMode="auto">
            <a:xfrm>
              <a:off x="6596473" y="3676230"/>
              <a:ext cx="186455" cy="150813"/>
              <a:chOff x="3258" y="1946"/>
              <a:chExt cx="100" cy="9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97" name="Freeform 325"/>
              <p:cNvSpPr>
                <a:spLocks/>
              </p:cNvSpPr>
              <p:nvPr/>
            </p:nvSpPr>
            <p:spPr bwMode="auto">
              <a:xfrm>
                <a:off x="3258" y="1946"/>
                <a:ext cx="100" cy="95"/>
              </a:xfrm>
              <a:custGeom>
                <a:avLst/>
                <a:gdLst>
                  <a:gd name="T0" fmla="*/ 0 w 100"/>
                  <a:gd name="T1" fmla="*/ 1 h 190"/>
                  <a:gd name="T2" fmla="*/ 11 w 100"/>
                  <a:gd name="T3" fmla="*/ 1 h 190"/>
                  <a:gd name="T4" fmla="*/ 43 w 100"/>
                  <a:gd name="T5" fmla="*/ 1 h 190"/>
                  <a:gd name="T6" fmla="*/ 81 w 100"/>
                  <a:gd name="T7" fmla="*/ 1 h 190"/>
                  <a:gd name="T8" fmla="*/ 100 w 100"/>
                  <a:gd name="T9" fmla="*/ 0 h 190"/>
                  <a:gd name="T10" fmla="*/ 93 w 100"/>
                  <a:gd name="T11" fmla="*/ 1 h 190"/>
                  <a:gd name="T12" fmla="*/ 68 w 100"/>
                  <a:gd name="T13" fmla="*/ 1 h 190"/>
                  <a:gd name="T14" fmla="*/ 50 w 100"/>
                  <a:gd name="T15" fmla="*/ 1 h 190"/>
                  <a:gd name="T16" fmla="*/ 37 w 100"/>
                  <a:gd name="T17" fmla="*/ 1 h 190"/>
                  <a:gd name="T18" fmla="*/ 50 w 100"/>
                  <a:gd name="T19" fmla="*/ 1 h 190"/>
                  <a:gd name="T20" fmla="*/ 37 w 100"/>
                  <a:gd name="T21" fmla="*/ 1 h 190"/>
                  <a:gd name="T22" fmla="*/ 56 w 100"/>
                  <a:gd name="T23" fmla="*/ 1 h 190"/>
                  <a:gd name="T24" fmla="*/ 56 w 100"/>
                  <a:gd name="T25" fmla="*/ 1 h 190"/>
                  <a:gd name="T26" fmla="*/ 37 w 100"/>
                  <a:gd name="T27" fmla="*/ 1 h 190"/>
                  <a:gd name="T28" fmla="*/ 43 w 100"/>
                  <a:gd name="T29" fmla="*/ 1 h 190"/>
                  <a:gd name="T30" fmla="*/ 18 w 100"/>
                  <a:gd name="T31" fmla="*/ 1 h 190"/>
                  <a:gd name="T32" fmla="*/ 11 w 100"/>
                  <a:gd name="T33" fmla="*/ 1 h 190"/>
                  <a:gd name="T34" fmla="*/ 50 w 100"/>
                  <a:gd name="T35" fmla="*/ 1 h 190"/>
                  <a:gd name="T36" fmla="*/ 11 w 100"/>
                  <a:gd name="T37" fmla="*/ 1 h 190"/>
                  <a:gd name="T38" fmla="*/ 0 w 100"/>
                  <a:gd name="T39" fmla="*/ 1 h 1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0" h="190">
                    <a:moveTo>
                      <a:pt x="0" y="79"/>
                    </a:moveTo>
                    <a:lnTo>
                      <a:pt x="11" y="35"/>
                    </a:lnTo>
                    <a:lnTo>
                      <a:pt x="43" y="12"/>
                    </a:lnTo>
                    <a:lnTo>
                      <a:pt x="81" y="23"/>
                    </a:lnTo>
                    <a:lnTo>
                      <a:pt x="100" y="0"/>
                    </a:lnTo>
                    <a:lnTo>
                      <a:pt x="93" y="44"/>
                    </a:lnTo>
                    <a:lnTo>
                      <a:pt x="68" y="35"/>
                    </a:lnTo>
                    <a:lnTo>
                      <a:pt x="50" y="68"/>
                    </a:lnTo>
                    <a:lnTo>
                      <a:pt x="37" y="44"/>
                    </a:lnTo>
                    <a:lnTo>
                      <a:pt x="50" y="100"/>
                    </a:lnTo>
                    <a:lnTo>
                      <a:pt x="37" y="112"/>
                    </a:lnTo>
                    <a:lnTo>
                      <a:pt x="56" y="133"/>
                    </a:lnTo>
                    <a:lnTo>
                      <a:pt x="56" y="158"/>
                    </a:lnTo>
                    <a:lnTo>
                      <a:pt x="37" y="158"/>
                    </a:lnTo>
                    <a:lnTo>
                      <a:pt x="43" y="190"/>
                    </a:lnTo>
                    <a:lnTo>
                      <a:pt x="18" y="179"/>
                    </a:lnTo>
                    <a:lnTo>
                      <a:pt x="11" y="144"/>
                    </a:lnTo>
                    <a:lnTo>
                      <a:pt x="50" y="133"/>
                    </a:lnTo>
                    <a:lnTo>
                      <a:pt x="11" y="133"/>
                    </a:lnTo>
                    <a:lnTo>
                      <a:pt x="0" y="79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98" name="Freeform 326"/>
              <p:cNvSpPr>
                <a:spLocks/>
              </p:cNvSpPr>
              <p:nvPr/>
            </p:nvSpPr>
            <p:spPr bwMode="auto">
              <a:xfrm>
                <a:off x="3258" y="1946"/>
                <a:ext cx="100" cy="95"/>
              </a:xfrm>
              <a:custGeom>
                <a:avLst/>
                <a:gdLst>
                  <a:gd name="T0" fmla="*/ 0 w 100"/>
                  <a:gd name="T1" fmla="*/ 1 h 190"/>
                  <a:gd name="T2" fmla="*/ 11 w 100"/>
                  <a:gd name="T3" fmla="*/ 1 h 190"/>
                  <a:gd name="T4" fmla="*/ 43 w 100"/>
                  <a:gd name="T5" fmla="*/ 1 h 190"/>
                  <a:gd name="T6" fmla="*/ 81 w 100"/>
                  <a:gd name="T7" fmla="*/ 1 h 190"/>
                  <a:gd name="T8" fmla="*/ 100 w 100"/>
                  <a:gd name="T9" fmla="*/ 0 h 190"/>
                  <a:gd name="T10" fmla="*/ 93 w 100"/>
                  <a:gd name="T11" fmla="*/ 1 h 190"/>
                  <a:gd name="T12" fmla="*/ 68 w 100"/>
                  <a:gd name="T13" fmla="*/ 1 h 190"/>
                  <a:gd name="T14" fmla="*/ 50 w 100"/>
                  <a:gd name="T15" fmla="*/ 1 h 190"/>
                  <a:gd name="T16" fmla="*/ 37 w 100"/>
                  <a:gd name="T17" fmla="*/ 1 h 190"/>
                  <a:gd name="T18" fmla="*/ 50 w 100"/>
                  <a:gd name="T19" fmla="*/ 1 h 190"/>
                  <a:gd name="T20" fmla="*/ 37 w 100"/>
                  <a:gd name="T21" fmla="*/ 1 h 190"/>
                  <a:gd name="T22" fmla="*/ 56 w 100"/>
                  <a:gd name="T23" fmla="*/ 1 h 190"/>
                  <a:gd name="T24" fmla="*/ 56 w 100"/>
                  <a:gd name="T25" fmla="*/ 1 h 190"/>
                  <a:gd name="T26" fmla="*/ 37 w 100"/>
                  <a:gd name="T27" fmla="*/ 1 h 190"/>
                  <a:gd name="T28" fmla="*/ 43 w 100"/>
                  <a:gd name="T29" fmla="*/ 1 h 190"/>
                  <a:gd name="T30" fmla="*/ 18 w 100"/>
                  <a:gd name="T31" fmla="*/ 1 h 190"/>
                  <a:gd name="T32" fmla="*/ 11 w 100"/>
                  <a:gd name="T33" fmla="*/ 1 h 190"/>
                  <a:gd name="T34" fmla="*/ 50 w 100"/>
                  <a:gd name="T35" fmla="*/ 1 h 190"/>
                  <a:gd name="T36" fmla="*/ 11 w 100"/>
                  <a:gd name="T37" fmla="*/ 1 h 190"/>
                  <a:gd name="T38" fmla="*/ 0 w 100"/>
                  <a:gd name="T39" fmla="*/ 1 h 1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0" h="190">
                    <a:moveTo>
                      <a:pt x="0" y="79"/>
                    </a:moveTo>
                    <a:lnTo>
                      <a:pt x="11" y="35"/>
                    </a:lnTo>
                    <a:lnTo>
                      <a:pt x="43" y="12"/>
                    </a:lnTo>
                    <a:lnTo>
                      <a:pt x="81" y="23"/>
                    </a:lnTo>
                    <a:lnTo>
                      <a:pt x="100" y="0"/>
                    </a:lnTo>
                    <a:lnTo>
                      <a:pt x="93" y="44"/>
                    </a:lnTo>
                    <a:lnTo>
                      <a:pt x="68" y="35"/>
                    </a:lnTo>
                    <a:lnTo>
                      <a:pt x="50" y="68"/>
                    </a:lnTo>
                    <a:lnTo>
                      <a:pt x="37" y="44"/>
                    </a:lnTo>
                    <a:lnTo>
                      <a:pt x="50" y="100"/>
                    </a:lnTo>
                    <a:lnTo>
                      <a:pt x="37" y="112"/>
                    </a:lnTo>
                    <a:lnTo>
                      <a:pt x="56" y="133"/>
                    </a:lnTo>
                    <a:lnTo>
                      <a:pt x="56" y="158"/>
                    </a:lnTo>
                    <a:lnTo>
                      <a:pt x="37" y="158"/>
                    </a:lnTo>
                    <a:lnTo>
                      <a:pt x="43" y="190"/>
                    </a:lnTo>
                    <a:lnTo>
                      <a:pt x="18" y="179"/>
                    </a:lnTo>
                    <a:lnTo>
                      <a:pt x="11" y="144"/>
                    </a:lnTo>
                    <a:lnTo>
                      <a:pt x="50" y="133"/>
                    </a:lnTo>
                    <a:lnTo>
                      <a:pt x="11" y="133"/>
                    </a:lnTo>
                    <a:lnTo>
                      <a:pt x="0" y="7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477" name="Freeform 32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6596473" y="3676230"/>
              <a:ext cx="186455" cy="150813"/>
            </a:xfrm>
            <a:custGeom>
              <a:avLst/>
              <a:gdLst>
                <a:gd name="T0" fmla="*/ 0 w 100"/>
                <a:gd name="T1" fmla="*/ 2147483647 h 190"/>
                <a:gd name="T2" fmla="*/ 2147483647 w 100"/>
                <a:gd name="T3" fmla="*/ 2147483647 h 190"/>
                <a:gd name="T4" fmla="*/ 2147483647 w 100"/>
                <a:gd name="T5" fmla="*/ 2147483647 h 190"/>
                <a:gd name="T6" fmla="*/ 2147483647 w 100"/>
                <a:gd name="T7" fmla="*/ 2147483647 h 190"/>
                <a:gd name="T8" fmla="*/ 2147483647 w 100"/>
                <a:gd name="T9" fmla="*/ 0 h 190"/>
                <a:gd name="T10" fmla="*/ 2147483647 w 100"/>
                <a:gd name="T11" fmla="*/ 2147483647 h 190"/>
                <a:gd name="T12" fmla="*/ 2147483647 w 100"/>
                <a:gd name="T13" fmla="*/ 2147483647 h 190"/>
                <a:gd name="T14" fmla="*/ 2147483647 w 100"/>
                <a:gd name="T15" fmla="*/ 2147483647 h 190"/>
                <a:gd name="T16" fmla="*/ 2147483647 w 100"/>
                <a:gd name="T17" fmla="*/ 2147483647 h 190"/>
                <a:gd name="T18" fmla="*/ 2147483647 w 100"/>
                <a:gd name="T19" fmla="*/ 2147483647 h 190"/>
                <a:gd name="T20" fmla="*/ 2147483647 w 100"/>
                <a:gd name="T21" fmla="*/ 2147483647 h 190"/>
                <a:gd name="T22" fmla="*/ 2147483647 w 100"/>
                <a:gd name="T23" fmla="*/ 2147483647 h 190"/>
                <a:gd name="T24" fmla="*/ 2147483647 w 100"/>
                <a:gd name="T25" fmla="*/ 2147483647 h 190"/>
                <a:gd name="T26" fmla="*/ 2147483647 w 100"/>
                <a:gd name="T27" fmla="*/ 2147483647 h 190"/>
                <a:gd name="T28" fmla="*/ 2147483647 w 100"/>
                <a:gd name="T29" fmla="*/ 2147483647 h 190"/>
                <a:gd name="T30" fmla="*/ 2147483647 w 100"/>
                <a:gd name="T31" fmla="*/ 2147483647 h 190"/>
                <a:gd name="T32" fmla="*/ 2147483647 w 100"/>
                <a:gd name="T33" fmla="*/ 2147483647 h 190"/>
                <a:gd name="T34" fmla="*/ 2147483647 w 100"/>
                <a:gd name="T35" fmla="*/ 2147483647 h 190"/>
                <a:gd name="T36" fmla="*/ 2147483647 w 100"/>
                <a:gd name="T37" fmla="*/ 2147483647 h 190"/>
                <a:gd name="T38" fmla="*/ 0 w 100"/>
                <a:gd name="T39" fmla="*/ 2147483647 h 1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00" h="190">
                  <a:moveTo>
                    <a:pt x="0" y="79"/>
                  </a:moveTo>
                  <a:lnTo>
                    <a:pt x="11" y="35"/>
                  </a:lnTo>
                  <a:lnTo>
                    <a:pt x="43" y="12"/>
                  </a:lnTo>
                  <a:lnTo>
                    <a:pt x="81" y="23"/>
                  </a:lnTo>
                  <a:lnTo>
                    <a:pt x="100" y="0"/>
                  </a:lnTo>
                  <a:lnTo>
                    <a:pt x="93" y="44"/>
                  </a:lnTo>
                  <a:lnTo>
                    <a:pt x="68" y="35"/>
                  </a:lnTo>
                  <a:lnTo>
                    <a:pt x="50" y="68"/>
                  </a:lnTo>
                  <a:lnTo>
                    <a:pt x="37" y="44"/>
                  </a:lnTo>
                  <a:lnTo>
                    <a:pt x="50" y="100"/>
                  </a:lnTo>
                  <a:lnTo>
                    <a:pt x="37" y="112"/>
                  </a:lnTo>
                  <a:lnTo>
                    <a:pt x="56" y="133"/>
                  </a:lnTo>
                  <a:lnTo>
                    <a:pt x="56" y="158"/>
                  </a:lnTo>
                  <a:lnTo>
                    <a:pt x="37" y="158"/>
                  </a:lnTo>
                  <a:lnTo>
                    <a:pt x="43" y="190"/>
                  </a:lnTo>
                  <a:lnTo>
                    <a:pt x="18" y="179"/>
                  </a:lnTo>
                  <a:lnTo>
                    <a:pt x="11" y="144"/>
                  </a:lnTo>
                  <a:lnTo>
                    <a:pt x="50" y="133"/>
                  </a:lnTo>
                  <a:lnTo>
                    <a:pt x="11" y="133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478" name="Group 328"/>
            <p:cNvGrpSpPr>
              <a:grpSpLocks/>
            </p:cNvGrpSpPr>
            <p:nvPr>
              <p:custDataLst>
                <p:tags r:id="rId286"/>
              </p:custDataLst>
            </p:nvPr>
          </p:nvGrpSpPr>
          <p:grpSpPr bwMode="auto">
            <a:xfrm>
              <a:off x="6596473" y="3676230"/>
              <a:ext cx="186455" cy="150813"/>
              <a:chOff x="3258" y="1946"/>
              <a:chExt cx="100" cy="9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95" name="Freeform 329"/>
              <p:cNvSpPr>
                <a:spLocks/>
              </p:cNvSpPr>
              <p:nvPr/>
            </p:nvSpPr>
            <p:spPr bwMode="auto">
              <a:xfrm>
                <a:off x="3258" y="1946"/>
                <a:ext cx="100" cy="95"/>
              </a:xfrm>
              <a:custGeom>
                <a:avLst/>
                <a:gdLst>
                  <a:gd name="T0" fmla="*/ 0 w 100"/>
                  <a:gd name="T1" fmla="*/ 1 h 190"/>
                  <a:gd name="T2" fmla="*/ 11 w 100"/>
                  <a:gd name="T3" fmla="*/ 1 h 190"/>
                  <a:gd name="T4" fmla="*/ 43 w 100"/>
                  <a:gd name="T5" fmla="*/ 1 h 190"/>
                  <a:gd name="T6" fmla="*/ 81 w 100"/>
                  <a:gd name="T7" fmla="*/ 1 h 190"/>
                  <a:gd name="T8" fmla="*/ 100 w 100"/>
                  <a:gd name="T9" fmla="*/ 0 h 190"/>
                  <a:gd name="T10" fmla="*/ 93 w 100"/>
                  <a:gd name="T11" fmla="*/ 1 h 190"/>
                  <a:gd name="T12" fmla="*/ 68 w 100"/>
                  <a:gd name="T13" fmla="*/ 1 h 190"/>
                  <a:gd name="T14" fmla="*/ 50 w 100"/>
                  <a:gd name="T15" fmla="*/ 1 h 190"/>
                  <a:gd name="T16" fmla="*/ 37 w 100"/>
                  <a:gd name="T17" fmla="*/ 1 h 190"/>
                  <a:gd name="T18" fmla="*/ 50 w 100"/>
                  <a:gd name="T19" fmla="*/ 1 h 190"/>
                  <a:gd name="T20" fmla="*/ 37 w 100"/>
                  <a:gd name="T21" fmla="*/ 1 h 190"/>
                  <a:gd name="T22" fmla="*/ 56 w 100"/>
                  <a:gd name="T23" fmla="*/ 1 h 190"/>
                  <a:gd name="T24" fmla="*/ 56 w 100"/>
                  <a:gd name="T25" fmla="*/ 1 h 190"/>
                  <a:gd name="T26" fmla="*/ 37 w 100"/>
                  <a:gd name="T27" fmla="*/ 1 h 190"/>
                  <a:gd name="T28" fmla="*/ 43 w 100"/>
                  <a:gd name="T29" fmla="*/ 1 h 190"/>
                  <a:gd name="T30" fmla="*/ 18 w 100"/>
                  <a:gd name="T31" fmla="*/ 1 h 190"/>
                  <a:gd name="T32" fmla="*/ 11 w 100"/>
                  <a:gd name="T33" fmla="*/ 1 h 190"/>
                  <a:gd name="T34" fmla="*/ 50 w 100"/>
                  <a:gd name="T35" fmla="*/ 1 h 190"/>
                  <a:gd name="T36" fmla="*/ 11 w 100"/>
                  <a:gd name="T37" fmla="*/ 1 h 190"/>
                  <a:gd name="T38" fmla="*/ 0 w 100"/>
                  <a:gd name="T39" fmla="*/ 1 h 1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0" h="190">
                    <a:moveTo>
                      <a:pt x="0" y="79"/>
                    </a:moveTo>
                    <a:lnTo>
                      <a:pt x="11" y="35"/>
                    </a:lnTo>
                    <a:lnTo>
                      <a:pt x="43" y="12"/>
                    </a:lnTo>
                    <a:lnTo>
                      <a:pt x="81" y="23"/>
                    </a:lnTo>
                    <a:lnTo>
                      <a:pt x="100" y="0"/>
                    </a:lnTo>
                    <a:lnTo>
                      <a:pt x="93" y="44"/>
                    </a:lnTo>
                    <a:lnTo>
                      <a:pt x="68" y="35"/>
                    </a:lnTo>
                    <a:lnTo>
                      <a:pt x="50" y="68"/>
                    </a:lnTo>
                    <a:lnTo>
                      <a:pt x="37" y="44"/>
                    </a:lnTo>
                    <a:lnTo>
                      <a:pt x="50" y="100"/>
                    </a:lnTo>
                    <a:lnTo>
                      <a:pt x="37" y="112"/>
                    </a:lnTo>
                    <a:lnTo>
                      <a:pt x="56" y="133"/>
                    </a:lnTo>
                    <a:lnTo>
                      <a:pt x="56" y="158"/>
                    </a:lnTo>
                    <a:lnTo>
                      <a:pt x="37" y="158"/>
                    </a:lnTo>
                    <a:lnTo>
                      <a:pt x="43" y="190"/>
                    </a:lnTo>
                    <a:lnTo>
                      <a:pt x="18" y="179"/>
                    </a:lnTo>
                    <a:lnTo>
                      <a:pt x="11" y="144"/>
                    </a:lnTo>
                    <a:lnTo>
                      <a:pt x="50" y="133"/>
                    </a:lnTo>
                    <a:lnTo>
                      <a:pt x="11" y="133"/>
                    </a:lnTo>
                    <a:lnTo>
                      <a:pt x="0" y="79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96" name="Freeform 330"/>
              <p:cNvSpPr>
                <a:spLocks/>
              </p:cNvSpPr>
              <p:nvPr/>
            </p:nvSpPr>
            <p:spPr bwMode="auto">
              <a:xfrm>
                <a:off x="3258" y="1946"/>
                <a:ext cx="100" cy="95"/>
              </a:xfrm>
              <a:custGeom>
                <a:avLst/>
                <a:gdLst>
                  <a:gd name="T0" fmla="*/ 0 w 100"/>
                  <a:gd name="T1" fmla="*/ 1 h 190"/>
                  <a:gd name="T2" fmla="*/ 11 w 100"/>
                  <a:gd name="T3" fmla="*/ 1 h 190"/>
                  <a:gd name="T4" fmla="*/ 43 w 100"/>
                  <a:gd name="T5" fmla="*/ 1 h 190"/>
                  <a:gd name="T6" fmla="*/ 81 w 100"/>
                  <a:gd name="T7" fmla="*/ 1 h 190"/>
                  <a:gd name="T8" fmla="*/ 100 w 100"/>
                  <a:gd name="T9" fmla="*/ 0 h 190"/>
                  <a:gd name="T10" fmla="*/ 93 w 100"/>
                  <a:gd name="T11" fmla="*/ 1 h 190"/>
                  <a:gd name="T12" fmla="*/ 68 w 100"/>
                  <a:gd name="T13" fmla="*/ 1 h 190"/>
                  <a:gd name="T14" fmla="*/ 50 w 100"/>
                  <a:gd name="T15" fmla="*/ 1 h 190"/>
                  <a:gd name="T16" fmla="*/ 37 w 100"/>
                  <a:gd name="T17" fmla="*/ 1 h 190"/>
                  <a:gd name="T18" fmla="*/ 50 w 100"/>
                  <a:gd name="T19" fmla="*/ 1 h 190"/>
                  <a:gd name="T20" fmla="*/ 37 w 100"/>
                  <a:gd name="T21" fmla="*/ 1 h 190"/>
                  <a:gd name="T22" fmla="*/ 56 w 100"/>
                  <a:gd name="T23" fmla="*/ 1 h 190"/>
                  <a:gd name="T24" fmla="*/ 56 w 100"/>
                  <a:gd name="T25" fmla="*/ 1 h 190"/>
                  <a:gd name="T26" fmla="*/ 37 w 100"/>
                  <a:gd name="T27" fmla="*/ 1 h 190"/>
                  <a:gd name="T28" fmla="*/ 43 w 100"/>
                  <a:gd name="T29" fmla="*/ 1 h 190"/>
                  <a:gd name="T30" fmla="*/ 18 w 100"/>
                  <a:gd name="T31" fmla="*/ 1 h 190"/>
                  <a:gd name="T32" fmla="*/ 11 w 100"/>
                  <a:gd name="T33" fmla="*/ 1 h 190"/>
                  <a:gd name="T34" fmla="*/ 50 w 100"/>
                  <a:gd name="T35" fmla="*/ 1 h 190"/>
                  <a:gd name="T36" fmla="*/ 11 w 100"/>
                  <a:gd name="T37" fmla="*/ 1 h 190"/>
                  <a:gd name="T38" fmla="*/ 0 w 100"/>
                  <a:gd name="T39" fmla="*/ 1 h 190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100" h="190">
                    <a:moveTo>
                      <a:pt x="0" y="79"/>
                    </a:moveTo>
                    <a:lnTo>
                      <a:pt x="11" y="35"/>
                    </a:lnTo>
                    <a:lnTo>
                      <a:pt x="43" y="12"/>
                    </a:lnTo>
                    <a:lnTo>
                      <a:pt x="81" y="23"/>
                    </a:lnTo>
                    <a:lnTo>
                      <a:pt x="100" y="0"/>
                    </a:lnTo>
                    <a:lnTo>
                      <a:pt x="93" y="44"/>
                    </a:lnTo>
                    <a:lnTo>
                      <a:pt x="68" y="35"/>
                    </a:lnTo>
                    <a:lnTo>
                      <a:pt x="50" y="68"/>
                    </a:lnTo>
                    <a:lnTo>
                      <a:pt x="37" y="44"/>
                    </a:lnTo>
                    <a:lnTo>
                      <a:pt x="50" y="100"/>
                    </a:lnTo>
                    <a:lnTo>
                      <a:pt x="37" y="112"/>
                    </a:lnTo>
                    <a:lnTo>
                      <a:pt x="56" y="133"/>
                    </a:lnTo>
                    <a:lnTo>
                      <a:pt x="56" y="158"/>
                    </a:lnTo>
                    <a:lnTo>
                      <a:pt x="37" y="158"/>
                    </a:lnTo>
                    <a:lnTo>
                      <a:pt x="43" y="190"/>
                    </a:lnTo>
                    <a:lnTo>
                      <a:pt x="18" y="179"/>
                    </a:lnTo>
                    <a:lnTo>
                      <a:pt x="11" y="144"/>
                    </a:lnTo>
                    <a:lnTo>
                      <a:pt x="50" y="133"/>
                    </a:lnTo>
                    <a:lnTo>
                      <a:pt x="11" y="133"/>
                    </a:lnTo>
                    <a:lnTo>
                      <a:pt x="0" y="79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479" name="Freeform 331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6690690" y="3861962"/>
              <a:ext cx="92225" cy="26987"/>
            </a:xfrm>
            <a:custGeom>
              <a:avLst/>
              <a:gdLst>
                <a:gd name="T0" fmla="*/ 0 w 49"/>
                <a:gd name="T1" fmla="*/ 2147483647 h 32"/>
                <a:gd name="T2" fmla="*/ 2147483647 w 49"/>
                <a:gd name="T3" fmla="*/ 0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0 w 49"/>
                <a:gd name="T9" fmla="*/ 2147483647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2">
                  <a:moveTo>
                    <a:pt x="0" y="32"/>
                  </a:moveTo>
                  <a:lnTo>
                    <a:pt x="5" y="0"/>
                  </a:lnTo>
                  <a:lnTo>
                    <a:pt x="49" y="32"/>
                  </a:lnTo>
                  <a:lnTo>
                    <a:pt x="18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80" name="Freeform 332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6690690" y="3861962"/>
              <a:ext cx="92225" cy="26987"/>
            </a:xfrm>
            <a:custGeom>
              <a:avLst/>
              <a:gdLst>
                <a:gd name="T0" fmla="*/ 0 w 49"/>
                <a:gd name="T1" fmla="*/ 2147483647 h 32"/>
                <a:gd name="T2" fmla="*/ 2147483647 w 49"/>
                <a:gd name="T3" fmla="*/ 0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0 w 49"/>
                <a:gd name="T9" fmla="*/ 2147483647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2">
                  <a:moveTo>
                    <a:pt x="0" y="32"/>
                  </a:moveTo>
                  <a:lnTo>
                    <a:pt x="5" y="0"/>
                  </a:lnTo>
                  <a:lnTo>
                    <a:pt x="49" y="32"/>
                  </a:lnTo>
                  <a:lnTo>
                    <a:pt x="18" y="32"/>
                  </a:lnTo>
                  <a:lnTo>
                    <a:pt x="0" y="3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81" name="Freeform 333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6690690" y="3861962"/>
              <a:ext cx="92225" cy="26987"/>
            </a:xfrm>
            <a:custGeom>
              <a:avLst/>
              <a:gdLst>
                <a:gd name="T0" fmla="*/ 0 w 49"/>
                <a:gd name="T1" fmla="*/ 2147483647 h 32"/>
                <a:gd name="T2" fmla="*/ 2147483647 w 49"/>
                <a:gd name="T3" fmla="*/ 0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0 w 49"/>
                <a:gd name="T9" fmla="*/ 2147483647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2">
                  <a:moveTo>
                    <a:pt x="0" y="32"/>
                  </a:moveTo>
                  <a:lnTo>
                    <a:pt x="5" y="0"/>
                  </a:lnTo>
                  <a:lnTo>
                    <a:pt x="49" y="32"/>
                  </a:lnTo>
                  <a:lnTo>
                    <a:pt x="18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82" name="Freeform 334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6690690" y="3861962"/>
              <a:ext cx="92225" cy="26987"/>
            </a:xfrm>
            <a:custGeom>
              <a:avLst/>
              <a:gdLst>
                <a:gd name="T0" fmla="*/ 0 w 49"/>
                <a:gd name="T1" fmla="*/ 2147483647 h 32"/>
                <a:gd name="T2" fmla="*/ 2147483647 w 49"/>
                <a:gd name="T3" fmla="*/ 0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0 w 49"/>
                <a:gd name="T9" fmla="*/ 2147483647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9" h="32">
                  <a:moveTo>
                    <a:pt x="0" y="32"/>
                  </a:moveTo>
                  <a:lnTo>
                    <a:pt x="5" y="0"/>
                  </a:lnTo>
                  <a:lnTo>
                    <a:pt x="49" y="32"/>
                  </a:lnTo>
                  <a:lnTo>
                    <a:pt x="18" y="32"/>
                  </a:lnTo>
                  <a:lnTo>
                    <a:pt x="0" y="3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83" name="Freeform 335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3121975" y="4339828"/>
              <a:ext cx="114280" cy="106363"/>
            </a:xfrm>
            <a:custGeom>
              <a:avLst/>
              <a:gdLst>
                <a:gd name="T0" fmla="*/ 0 w 62"/>
                <a:gd name="T1" fmla="*/ 2147483647 h 134"/>
                <a:gd name="T2" fmla="*/ 2147483647 w 62"/>
                <a:gd name="T3" fmla="*/ 2147483647 h 134"/>
                <a:gd name="T4" fmla="*/ 2147483647 w 62"/>
                <a:gd name="T5" fmla="*/ 2147483647 h 134"/>
                <a:gd name="T6" fmla="*/ 2147483647 w 62"/>
                <a:gd name="T7" fmla="*/ 2147483647 h 134"/>
                <a:gd name="T8" fmla="*/ 2147483647 w 62"/>
                <a:gd name="T9" fmla="*/ 0 h 134"/>
                <a:gd name="T10" fmla="*/ 2147483647 w 62"/>
                <a:gd name="T11" fmla="*/ 2147483647 h 134"/>
                <a:gd name="T12" fmla="*/ 2147483647 w 62"/>
                <a:gd name="T13" fmla="*/ 2147483647 h 134"/>
                <a:gd name="T14" fmla="*/ 2147483647 w 62"/>
                <a:gd name="T15" fmla="*/ 2147483647 h 134"/>
                <a:gd name="T16" fmla="*/ 2147483647 w 62"/>
                <a:gd name="T17" fmla="*/ 2147483647 h 134"/>
                <a:gd name="T18" fmla="*/ 0 w 62"/>
                <a:gd name="T19" fmla="*/ 2147483647 h 1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2" h="134">
                  <a:moveTo>
                    <a:pt x="0" y="111"/>
                  </a:moveTo>
                  <a:lnTo>
                    <a:pt x="12" y="55"/>
                  </a:lnTo>
                  <a:lnTo>
                    <a:pt x="31" y="55"/>
                  </a:lnTo>
                  <a:lnTo>
                    <a:pt x="12" y="11"/>
                  </a:lnTo>
                  <a:lnTo>
                    <a:pt x="50" y="0"/>
                  </a:lnTo>
                  <a:lnTo>
                    <a:pt x="57" y="67"/>
                  </a:lnTo>
                  <a:lnTo>
                    <a:pt x="62" y="67"/>
                  </a:lnTo>
                  <a:lnTo>
                    <a:pt x="50" y="111"/>
                  </a:lnTo>
                  <a:lnTo>
                    <a:pt x="38" y="134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84" name="Freeform 336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3121975" y="4339828"/>
              <a:ext cx="114280" cy="106363"/>
            </a:xfrm>
            <a:custGeom>
              <a:avLst/>
              <a:gdLst>
                <a:gd name="T0" fmla="*/ 0 w 62"/>
                <a:gd name="T1" fmla="*/ 2147483647 h 134"/>
                <a:gd name="T2" fmla="*/ 2147483647 w 62"/>
                <a:gd name="T3" fmla="*/ 2147483647 h 134"/>
                <a:gd name="T4" fmla="*/ 2147483647 w 62"/>
                <a:gd name="T5" fmla="*/ 2147483647 h 134"/>
                <a:gd name="T6" fmla="*/ 2147483647 w 62"/>
                <a:gd name="T7" fmla="*/ 2147483647 h 134"/>
                <a:gd name="T8" fmla="*/ 2147483647 w 62"/>
                <a:gd name="T9" fmla="*/ 0 h 134"/>
                <a:gd name="T10" fmla="*/ 2147483647 w 62"/>
                <a:gd name="T11" fmla="*/ 2147483647 h 134"/>
                <a:gd name="T12" fmla="*/ 2147483647 w 62"/>
                <a:gd name="T13" fmla="*/ 2147483647 h 134"/>
                <a:gd name="T14" fmla="*/ 2147483647 w 62"/>
                <a:gd name="T15" fmla="*/ 2147483647 h 134"/>
                <a:gd name="T16" fmla="*/ 2147483647 w 62"/>
                <a:gd name="T17" fmla="*/ 2147483647 h 134"/>
                <a:gd name="T18" fmla="*/ 0 w 62"/>
                <a:gd name="T19" fmla="*/ 2147483647 h 1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2" h="134">
                  <a:moveTo>
                    <a:pt x="0" y="111"/>
                  </a:moveTo>
                  <a:lnTo>
                    <a:pt x="12" y="55"/>
                  </a:lnTo>
                  <a:lnTo>
                    <a:pt x="31" y="55"/>
                  </a:lnTo>
                  <a:lnTo>
                    <a:pt x="12" y="11"/>
                  </a:lnTo>
                  <a:lnTo>
                    <a:pt x="50" y="0"/>
                  </a:lnTo>
                  <a:lnTo>
                    <a:pt x="57" y="67"/>
                  </a:lnTo>
                  <a:lnTo>
                    <a:pt x="62" y="67"/>
                  </a:lnTo>
                  <a:lnTo>
                    <a:pt x="50" y="111"/>
                  </a:lnTo>
                  <a:lnTo>
                    <a:pt x="38" y="134"/>
                  </a:lnTo>
                  <a:lnTo>
                    <a:pt x="0" y="1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85" name="Freeform 337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3121975" y="4339828"/>
              <a:ext cx="114280" cy="106363"/>
            </a:xfrm>
            <a:custGeom>
              <a:avLst/>
              <a:gdLst>
                <a:gd name="T0" fmla="*/ 0 w 62"/>
                <a:gd name="T1" fmla="*/ 2147483647 h 134"/>
                <a:gd name="T2" fmla="*/ 2147483647 w 62"/>
                <a:gd name="T3" fmla="*/ 2147483647 h 134"/>
                <a:gd name="T4" fmla="*/ 2147483647 w 62"/>
                <a:gd name="T5" fmla="*/ 2147483647 h 134"/>
                <a:gd name="T6" fmla="*/ 2147483647 w 62"/>
                <a:gd name="T7" fmla="*/ 2147483647 h 134"/>
                <a:gd name="T8" fmla="*/ 2147483647 w 62"/>
                <a:gd name="T9" fmla="*/ 0 h 134"/>
                <a:gd name="T10" fmla="*/ 2147483647 w 62"/>
                <a:gd name="T11" fmla="*/ 2147483647 h 134"/>
                <a:gd name="T12" fmla="*/ 2147483647 w 62"/>
                <a:gd name="T13" fmla="*/ 2147483647 h 134"/>
                <a:gd name="T14" fmla="*/ 2147483647 w 62"/>
                <a:gd name="T15" fmla="*/ 2147483647 h 134"/>
                <a:gd name="T16" fmla="*/ 2147483647 w 62"/>
                <a:gd name="T17" fmla="*/ 2147483647 h 134"/>
                <a:gd name="T18" fmla="*/ 0 w 62"/>
                <a:gd name="T19" fmla="*/ 2147483647 h 1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2" h="134">
                  <a:moveTo>
                    <a:pt x="0" y="111"/>
                  </a:moveTo>
                  <a:lnTo>
                    <a:pt x="12" y="55"/>
                  </a:lnTo>
                  <a:lnTo>
                    <a:pt x="31" y="55"/>
                  </a:lnTo>
                  <a:lnTo>
                    <a:pt x="12" y="11"/>
                  </a:lnTo>
                  <a:lnTo>
                    <a:pt x="50" y="0"/>
                  </a:lnTo>
                  <a:lnTo>
                    <a:pt x="57" y="67"/>
                  </a:lnTo>
                  <a:lnTo>
                    <a:pt x="62" y="67"/>
                  </a:lnTo>
                  <a:lnTo>
                    <a:pt x="50" y="111"/>
                  </a:lnTo>
                  <a:lnTo>
                    <a:pt x="38" y="134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86" name="Freeform 338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3121975" y="4339828"/>
              <a:ext cx="114280" cy="106363"/>
            </a:xfrm>
            <a:custGeom>
              <a:avLst/>
              <a:gdLst>
                <a:gd name="T0" fmla="*/ 0 w 62"/>
                <a:gd name="T1" fmla="*/ 2147483647 h 134"/>
                <a:gd name="T2" fmla="*/ 2147483647 w 62"/>
                <a:gd name="T3" fmla="*/ 2147483647 h 134"/>
                <a:gd name="T4" fmla="*/ 2147483647 w 62"/>
                <a:gd name="T5" fmla="*/ 2147483647 h 134"/>
                <a:gd name="T6" fmla="*/ 2147483647 w 62"/>
                <a:gd name="T7" fmla="*/ 2147483647 h 134"/>
                <a:gd name="T8" fmla="*/ 2147483647 w 62"/>
                <a:gd name="T9" fmla="*/ 0 h 134"/>
                <a:gd name="T10" fmla="*/ 2147483647 w 62"/>
                <a:gd name="T11" fmla="*/ 2147483647 h 134"/>
                <a:gd name="T12" fmla="*/ 2147483647 w 62"/>
                <a:gd name="T13" fmla="*/ 2147483647 h 134"/>
                <a:gd name="T14" fmla="*/ 2147483647 w 62"/>
                <a:gd name="T15" fmla="*/ 2147483647 h 134"/>
                <a:gd name="T16" fmla="*/ 2147483647 w 62"/>
                <a:gd name="T17" fmla="*/ 2147483647 h 134"/>
                <a:gd name="T18" fmla="*/ 0 w 62"/>
                <a:gd name="T19" fmla="*/ 2147483647 h 1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2" h="134">
                  <a:moveTo>
                    <a:pt x="0" y="111"/>
                  </a:moveTo>
                  <a:lnTo>
                    <a:pt x="12" y="55"/>
                  </a:lnTo>
                  <a:lnTo>
                    <a:pt x="31" y="55"/>
                  </a:lnTo>
                  <a:lnTo>
                    <a:pt x="12" y="11"/>
                  </a:lnTo>
                  <a:lnTo>
                    <a:pt x="50" y="0"/>
                  </a:lnTo>
                  <a:lnTo>
                    <a:pt x="57" y="67"/>
                  </a:lnTo>
                  <a:lnTo>
                    <a:pt x="62" y="67"/>
                  </a:lnTo>
                  <a:lnTo>
                    <a:pt x="50" y="111"/>
                  </a:lnTo>
                  <a:lnTo>
                    <a:pt x="38" y="134"/>
                  </a:lnTo>
                  <a:lnTo>
                    <a:pt x="0" y="1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87" name="Freeform 339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4012169" y="4587445"/>
              <a:ext cx="140343" cy="177800"/>
            </a:xfrm>
            <a:custGeom>
              <a:avLst/>
              <a:gdLst>
                <a:gd name="T0" fmla="*/ 0 w 76"/>
                <a:gd name="T1" fmla="*/ 2147483647 h 223"/>
                <a:gd name="T2" fmla="*/ 2147483647 w 76"/>
                <a:gd name="T3" fmla="*/ 2147483647 h 223"/>
                <a:gd name="T4" fmla="*/ 2147483647 w 76"/>
                <a:gd name="T5" fmla="*/ 2147483647 h 223"/>
                <a:gd name="T6" fmla="*/ 2147483647 w 76"/>
                <a:gd name="T7" fmla="*/ 2147483647 h 223"/>
                <a:gd name="T8" fmla="*/ 2147483647 w 76"/>
                <a:gd name="T9" fmla="*/ 2147483647 h 223"/>
                <a:gd name="T10" fmla="*/ 2147483647 w 76"/>
                <a:gd name="T11" fmla="*/ 2147483647 h 223"/>
                <a:gd name="T12" fmla="*/ 2147483647 w 76"/>
                <a:gd name="T13" fmla="*/ 2147483647 h 223"/>
                <a:gd name="T14" fmla="*/ 2147483647 w 76"/>
                <a:gd name="T15" fmla="*/ 2147483647 h 223"/>
                <a:gd name="T16" fmla="*/ 2147483647 w 76"/>
                <a:gd name="T17" fmla="*/ 0 h 223"/>
                <a:gd name="T18" fmla="*/ 2147483647 w 76"/>
                <a:gd name="T19" fmla="*/ 2147483647 h 223"/>
                <a:gd name="T20" fmla="*/ 2147483647 w 76"/>
                <a:gd name="T21" fmla="*/ 2147483647 h 223"/>
                <a:gd name="T22" fmla="*/ 0 w 76"/>
                <a:gd name="T23" fmla="*/ 2147483647 h 2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6" h="223">
                  <a:moveTo>
                    <a:pt x="0" y="65"/>
                  </a:moveTo>
                  <a:lnTo>
                    <a:pt x="13" y="100"/>
                  </a:lnTo>
                  <a:lnTo>
                    <a:pt x="31" y="123"/>
                  </a:lnTo>
                  <a:lnTo>
                    <a:pt x="26" y="188"/>
                  </a:lnTo>
                  <a:lnTo>
                    <a:pt x="31" y="223"/>
                  </a:lnTo>
                  <a:lnTo>
                    <a:pt x="76" y="200"/>
                  </a:lnTo>
                  <a:lnTo>
                    <a:pt x="50" y="132"/>
                  </a:lnTo>
                  <a:lnTo>
                    <a:pt x="69" y="79"/>
                  </a:lnTo>
                  <a:lnTo>
                    <a:pt x="26" y="0"/>
                  </a:lnTo>
                  <a:lnTo>
                    <a:pt x="13" y="21"/>
                  </a:lnTo>
                  <a:lnTo>
                    <a:pt x="19" y="44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88" name="Freeform 340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4012169" y="4587445"/>
              <a:ext cx="140343" cy="177800"/>
            </a:xfrm>
            <a:custGeom>
              <a:avLst/>
              <a:gdLst>
                <a:gd name="T0" fmla="*/ 0 w 76"/>
                <a:gd name="T1" fmla="*/ 2147483647 h 223"/>
                <a:gd name="T2" fmla="*/ 2147483647 w 76"/>
                <a:gd name="T3" fmla="*/ 2147483647 h 223"/>
                <a:gd name="T4" fmla="*/ 2147483647 w 76"/>
                <a:gd name="T5" fmla="*/ 2147483647 h 223"/>
                <a:gd name="T6" fmla="*/ 2147483647 w 76"/>
                <a:gd name="T7" fmla="*/ 2147483647 h 223"/>
                <a:gd name="T8" fmla="*/ 2147483647 w 76"/>
                <a:gd name="T9" fmla="*/ 2147483647 h 223"/>
                <a:gd name="T10" fmla="*/ 2147483647 w 76"/>
                <a:gd name="T11" fmla="*/ 2147483647 h 223"/>
                <a:gd name="T12" fmla="*/ 2147483647 w 76"/>
                <a:gd name="T13" fmla="*/ 2147483647 h 223"/>
                <a:gd name="T14" fmla="*/ 2147483647 w 76"/>
                <a:gd name="T15" fmla="*/ 2147483647 h 223"/>
                <a:gd name="T16" fmla="*/ 2147483647 w 76"/>
                <a:gd name="T17" fmla="*/ 0 h 223"/>
                <a:gd name="T18" fmla="*/ 2147483647 w 76"/>
                <a:gd name="T19" fmla="*/ 2147483647 h 223"/>
                <a:gd name="T20" fmla="*/ 2147483647 w 76"/>
                <a:gd name="T21" fmla="*/ 2147483647 h 223"/>
                <a:gd name="T22" fmla="*/ 0 w 76"/>
                <a:gd name="T23" fmla="*/ 2147483647 h 2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6" h="223">
                  <a:moveTo>
                    <a:pt x="0" y="65"/>
                  </a:moveTo>
                  <a:lnTo>
                    <a:pt x="13" y="100"/>
                  </a:lnTo>
                  <a:lnTo>
                    <a:pt x="31" y="123"/>
                  </a:lnTo>
                  <a:lnTo>
                    <a:pt x="26" y="188"/>
                  </a:lnTo>
                  <a:lnTo>
                    <a:pt x="31" y="223"/>
                  </a:lnTo>
                  <a:lnTo>
                    <a:pt x="76" y="200"/>
                  </a:lnTo>
                  <a:lnTo>
                    <a:pt x="50" y="132"/>
                  </a:lnTo>
                  <a:lnTo>
                    <a:pt x="69" y="79"/>
                  </a:lnTo>
                  <a:lnTo>
                    <a:pt x="26" y="0"/>
                  </a:lnTo>
                  <a:lnTo>
                    <a:pt x="13" y="21"/>
                  </a:lnTo>
                  <a:lnTo>
                    <a:pt x="19" y="44"/>
                  </a:lnTo>
                  <a:lnTo>
                    <a:pt x="0" y="6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89" name="Freeform 341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4012169" y="4587445"/>
              <a:ext cx="140343" cy="177800"/>
            </a:xfrm>
            <a:custGeom>
              <a:avLst/>
              <a:gdLst>
                <a:gd name="T0" fmla="*/ 0 w 76"/>
                <a:gd name="T1" fmla="*/ 2147483647 h 223"/>
                <a:gd name="T2" fmla="*/ 2147483647 w 76"/>
                <a:gd name="T3" fmla="*/ 2147483647 h 223"/>
                <a:gd name="T4" fmla="*/ 2147483647 w 76"/>
                <a:gd name="T5" fmla="*/ 2147483647 h 223"/>
                <a:gd name="T6" fmla="*/ 2147483647 w 76"/>
                <a:gd name="T7" fmla="*/ 2147483647 h 223"/>
                <a:gd name="T8" fmla="*/ 2147483647 w 76"/>
                <a:gd name="T9" fmla="*/ 2147483647 h 223"/>
                <a:gd name="T10" fmla="*/ 2147483647 w 76"/>
                <a:gd name="T11" fmla="*/ 2147483647 h 223"/>
                <a:gd name="T12" fmla="*/ 2147483647 w 76"/>
                <a:gd name="T13" fmla="*/ 2147483647 h 223"/>
                <a:gd name="T14" fmla="*/ 2147483647 w 76"/>
                <a:gd name="T15" fmla="*/ 2147483647 h 223"/>
                <a:gd name="T16" fmla="*/ 2147483647 w 76"/>
                <a:gd name="T17" fmla="*/ 0 h 223"/>
                <a:gd name="T18" fmla="*/ 2147483647 w 76"/>
                <a:gd name="T19" fmla="*/ 2147483647 h 223"/>
                <a:gd name="T20" fmla="*/ 2147483647 w 76"/>
                <a:gd name="T21" fmla="*/ 2147483647 h 223"/>
                <a:gd name="T22" fmla="*/ 0 w 76"/>
                <a:gd name="T23" fmla="*/ 2147483647 h 2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6" h="223">
                  <a:moveTo>
                    <a:pt x="0" y="65"/>
                  </a:moveTo>
                  <a:lnTo>
                    <a:pt x="13" y="100"/>
                  </a:lnTo>
                  <a:lnTo>
                    <a:pt x="31" y="123"/>
                  </a:lnTo>
                  <a:lnTo>
                    <a:pt x="26" y="188"/>
                  </a:lnTo>
                  <a:lnTo>
                    <a:pt x="31" y="223"/>
                  </a:lnTo>
                  <a:lnTo>
                    <a:pt x="76" y="200"/>
                  </a:lnTo>
                  <a:lnTo>
                    <a:pt x="50" y="132"/>
                  </a:lnTo>
                  <a:lnTo>
                    <a:pt x="69" y="79"/>
                  </a:lnTo>
                  <a:lnTo>
                    <a:pt x="26" y="0"/>
                  </a:lnTo>
                  <a:lnTo>
                    <a:pt x="13" y="21"/>
                  </a:lnTo>
                  <a:lnTo>
                    <a:pt x="19" y="44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90" name="Freeform 342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4012169" y="4587445"/>
              <a:ext cx="140343" cy="177800"/>
            </a:xfrm>
            <a:custGeom>
              <a:avLst/>
              <a:gdLst>
                <a:gd name="T0" fmla="*/ 0 w 76"/>
                <a:gd name="T1" fmla="*/ 2147483647 h 223"/>
                <a:gd name="T2" fmla="*/ 2147483647 w 76"/>
                <a:gd name="T3" fmla="*/ 2147483647 h 223"/>
                <a:gd name="T4" fmla="*/ 2147483647 w 76"/>
                <a:gd name="T5" fmla="*/ 2147483647 h 223"/>
                <a:gd name="T6" fmla="*/ 2147483647 w 76"/>
                <a:gd name="T7" fmla="*/ 2147483647 h 223"/>
                <a:gd name="T8" fmla="*/ 2147483647 w 76"/>
                <a:gd name="T9" fmla="*/ 2147483647 h 223"/>
                <a:gd name="T10" fmla="*/ 2147483647 w 76"/>
                <a:gd name="T11" fmla="*/ 2147483647 h 223"/>
                <a:gd name="T12" fmla="*/ 2147483647 w 76"/>
                <a:gd name="T13" fmla="*/ 2147483647 h 223"/>
                <a:gd name="T14" fmla="*/ 2147483647 w 76"/>
                <a:gd name="T15" fmla="*/ 2147483647 h 223"/>
                <a:gd name="T16" fmla="*/ 2147483647 w 76"/>
                <a:gd name="T17" fmla="*/ 0 h 223"/>
                <a:gd name="T18" fmla="*/ 2147483647 w 76"/>
                <a:gd name="T19" fmla="*/ 2147483647 h 223"/>
                <a:gd name="T20" fmla="*/ 2147483647 w 76"/>
                <a:gd name="T21" fmla="*/ 2147483647 h 223"/>
                <a:gd name="T22" fmla="*/ 0 w 76"/>
                <a:gd name="T23" fmla="*/ 2147483647 h 22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76" h="223">
                  <a:moveTo>
                    <a:pt x="0" y="65"/>
                  </a:moveTo>
                  <a:lnTo>
                    <a:pt x="13" y="100"/>
                  </a:lnTo>
                  <a:lnTo>
                    <a:pt x="31" y="123"/>
                  </a:lnTo>
                  <a:lnTo>
                    <a:pt x="26" y="188"/>
                  </a:lnTo>
                  <a:lnTo>
                    <a:pt x="31" y="223"/>
                  </a:lnTo>
                  <a:lnTo>
                    <a:pt x="76" y="200"/>
                  </a:lnTo>
                  <a:lnTo>
                    <a:pt x="50" y="132"/>
                  </a:lnTo>
                  <a:lnTo>
                    <a:pt x="69" y="79"/>
                  </a:lnTo>
                  <a:lnTo>
                    <a:pt x="26" y="0"/>
                  </a:lnTo>
                  <a:lnTo>
                    <a:pt x="13" y="21"/>
                  </a:lnTo>
                  <a:lnTo>
                    <a:pt x="19" y="44"/>
                  </a:lnTo>
                  <a:lnTo>
                    <a:pt x="0" y="6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91" name="Freeform 343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3641241" y="4285820"/>
              <a:ext cx="70171" cy="44450"/>
            </a:xfrm>
            <a:custGeom>
              <a:avLst/>
              <a:gdLst>
                <a:gd name="T0" fmla="*/ 0 w 38"/>
                <a:gd name="T1" fmla="*/ 2147483647 h 55"/>
                <a:gd name="T2" fmla="*/ 2147483647 w 38"/>
                <a:gd name="T3" fmla="*/ 2147483647 h 55"/>
                <a:gd name="T4" fmla="*/ 2147483647 w 38"/>
                <a:gd name="T5" fmla="*/ 2147483647 h 55"/>
                <a:gd name="T6" fmla="*/ 2147483647 w 38"/>
                <a:gd name="T7" fmla="*/ 0 h 55"/>
                <a:gd name="T8" fmla="*/ 2147483647 w 38"/>
                <a:gd name="T9" fmla="*/ 2147483647 h 55"/>
                <a:gd name="T10" fmla="*/ 0 w 38"/>
                <a:gd name="T11" fmla="*/ 2147483647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55">
                  <a:moveTo>
                    <a:pt x="0" y="46"/>
                  </a:moveTo>
                  <a:lnTo>
                    <a:pt x="32" y="46"/>
                  </a:lnTo>
                  <a:lnTo>
                    <a:pt x="12" y="11"/>
                  </a:lnTo>
                  <a:lnTo>
                    <a:pt x="38" y="0"/>
                  </a:lnTo>
                  <a:lnTo>
                    <a:pt x="38" y="55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92" name="Freeform 344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3641241" y="4285820"/>
              <a:ext cx="70171" cy="44450"/>
            </a:xfrm>
            <a:custGeom>
              <a:avLst/>
              <a:gdLst>
                <a:gd name="T0" fmla="*/ 0 w 38"/>
                <a:gd name="T1" fmla="*/ 2147483647 h 55"/>
                <a:gd name="T2" fmla="*/ 2147483647 w 38"/>
                <a:gd name="T3" fmla="*/ 2147483647 h 55"/>
                <a:gd name="T4" fmla="*/ 2147483647 w 38"/>
                <a:gd name="T5" fmla="*/ 2147483647 h 55"/>
                <a:gd name="T6" fmla="*/ 2147483647 w 38"/>
                <a:gd name="T7" fmla="*/ 0 h 55"/>
                <a:gd name="T8" fmla="*/ 2147483647 w 38"/>
                <a:gd name="T9" fmla="*/ 2147483647 h 55"/>
                <a:gd name="T10" fmla="*/ 0 w 38"/>
                <a:gd name="T11" fmla="*/ 2147483647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55">
                  <a:moveTo>
                    <a:pt x="0" y="46"/>
                  </a:moveTo>
                  <a:lnTo>
                    <a:pt x="32" y="46"/>
                  </a:lnTo>
                  <a:lnTo>
                    <a:pt x="12" y="11"/>
                  </a:lnTo>
                  <a:lnTo>
                    <a:pt x="38" y="0"/>
                  </a:lnTo>
                  <a:lnTo>
                    <a:pt x="38" y="55"/>
                  </a:lnTo>
                  <a:lnTo>
                    <a:pt x="0" y="4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93" name="Freeform 345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3641241" y="4285820"/>
              <a:ext cx="70171" cy="44450"/>
            </a:xfrm>
            <a:custGeom>
              <a:avLst/>
              <a:gdLst>
                <a:gd name="T0" fmla="*/ 0 w 38"/>
                <a:gd name="T1" fmla="*/ 2147483647 h 55"/>
                <a:gd name="T2" fmla="*/ 2147483647 w 38"/>
                <a:gd name="T3" fmla="*/ 2147483647 h 55"/>
                <a:gd name="T4" fmla="*/ 2147483647 w 38"/>
                <a:gd name="T5" fmla="*/ 2147483647 h 55"/>
                <a:gd name="T6" fmla="*/ 2147483647 w 38"/>
                <a:gd name="T7" fmla="*/ 0 h 55"/>
                <a:gd name="T8" fmla="*/ 2147483647 w 38"/>
                <a:gd name="T9" fmla="*/ 2147483647 h 55"/>
                <a:gd name="T10" fmla="*/ 0 w 38"/>
                <a:gd name="T11" fmla="*/ 2147483647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55">
                  <a:moveTo>
                    <a:pt x="0" y="46"/>
                  </a:moveTo>
                  <a:lnTo>
                    <a:pt x="32" y="46"/>
                  </a:lnTo>
                  <a:lnTo>
                    <a:pt x="12" y="11"/>
                  </a:lnTo>
                  <a:lnTo>
                    <a:pt x="38" y="0"/>
                  </a:lnTo>
                  <a:lnTo>
                    <a:pt x="38" y="55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94" name="Freeform 346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3641241" y="4285820"/>
              <a:ext cx="70171" cy="44450"/>
            </a:xfrm>
            <a:custGeom>
              <a:avLst/>
              <a:gdLst>
                <a:gd name="T0" fmla="*/ 0 w 38"/>
                <a:gd name="T1" fmla="*/ 2147483647 h 55"/>
                <a:gd name="T2" fmla="*/ 2147483647 w 38"/>
                <a:gd name="T3" fmla="*/ 2147483647 h 55"/>
                <a:gd name="T4" fmla="*/ 2147483647 w 38"/>
                <a:gd name="T5" fmla="*/ 2147483647 h 55"/>
                <a:gd name="T6" fmla="*/ 2147483647 w 38"/>
                <a:gd name="T7" fmla="*/ 0 h 55"/>
                <a:gd name="T8" fmla="*/ 2147483647 w 38"/>
                <a:gd name="T9" fmla="*/ 2147483647 h 55"/>
                <a:gd name="T10" fmla="*/ 0 w 38"/>
                <a:gd name="T11" fmla="*/ 2147483647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8" h="55">
                  <a:moveTo>
                    <a:pt x="0" y="46"/>
                  </a:moveTo>
                  <a:lnTo>
                    <a:pt x="32" y="46"/>
                  </a:lnTo>
                  <a:lnTo>
                    <a:pt x="12" y="11"/>
                  </a:lnTo>
                  <a:lnTo>
                    <a:pt x="38" y="0"/>
                  </a:lnTo>
                  <a:lnTo>
                    <a:pt x="38" y="55"/>
                  </a:lnTo>
                  <a:lnTo>
                    <a:pt x="0" y="4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95" name="Freeform 347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3202181" y="4392208"/>
              <a:ext cx="172421" cy="79375"/>
            </a:xfrm>
            <a:custGeom>
              <a:avLst/>
              <a:gdLst>
                <a:gd name="T0" fmla="*/ 0 w 93"/>
                <a:gd name="T1" fmla="*/ 2147483647 h 100"/>
                <a:gd name="T2" fmla="*/ 2147483647 w 93"/>
                <a:gd name="T3" fmla="*/ 0 h 100"/>
                <a:gd name="T4" fmla="*/ 2147483647 w 93"/>
                <a:gd name="T5" fmla="*/ 0 h 100"/>
                <a:gd name="T6" fmla="*/ 2147483647 w 93"/>
                <a:gd name="T7" fmla="*/ 2147483647 h 100"/>
                <a:gd name="T8" fmla="*/ 2147483647 w 93"/>
                <a:gd name="T9" fmla="*/ 2147483647 h 100"/>
                <a:gd name="T10" fmla="*/ 2147483647 w 93"/>
                <a:gd name="T11" fmla="*/ 2147483647 h 100"/>
                <a:gd name="T12" fmla="*/ 2147483647 w 93"/>
                <a:gd name="T13" fmla="*/ 2147483647 h 100"/>
                <a:gd name="T14" fmla="*/ 0 w 93"/>
                <a:gd name="T15" fmla="*/ 2147483647 h 1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3" h="100">
                  <a:moveTo>
                    <a:pt x="0" y="44"/>
                  </a:moveTo>
                  <a:lnTo>
                    <a:pt x="18" y="0"/>
                  </a:lnTo>
                  <a:lnTo>
                    <a:pt x="69" y="0"/>
                  </a:lnTo>
                  <a:lnTo>
                    <a:pt x="93" y="35"/>
                  </a:lnTo>
                  <a:lnTo>
                    <a:pt x="74" y="35"/>
                  </a:lnTo>
                  <a:lnTo>
                    <a:pt x="37" y="100"/>
                  </a:lnTo>
                  <a:lnTo>
                    <a:pt x="25" y="79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96" name="Freeform 348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3202181" y="4392208"/>
              <a:ext cx="172421" cy="79375"/>
            </a:xfrm>
            <a:custGeom>
              <a:avLst/>
              <a:gdLst>
                <a:gd name="T0" fmla="*/ 0 w 93"/>
                <a:gd name="T1" fmla="*/ 2147483647 h 100"/>
                <a:gd name="T2" fmla="*/ 2147483647 w 93"/>
                <a:gd name="T3" fmla="*/ 0 h 100"/>
                <a:gd name="T4" fmla="*/ 2147483647 w 93"/>
                <a:gd name="T5" fmla="*/ 0 h 100"/>
                <a:gd name="T6" fmla="*/ 2147483647 w 93"/>
                <a:gd name="T7" fmla="*/ 2147483647 h 100"/>
                <a:gd name="T8" fmla="*/ 2147483647 w 93"/>
                <a:gd name="T9" fmla="*/ 2147483647 h 100"/>
                <a:gd name="T10" fmla="*/ 2147483647 w 93"/>
                <a:gd name="T11" fmla="*/ 2147483647 h 100"/>
                <a:gd name="T12" fmla="*/ 2147483647 w 93"/>
                <a:gd name="T13" fmla="*/ 2147483647 h 100"/>
                <a:gd name="T14" fmla="*/ 0 w 93"/>
                <a:gd name="T15" fmla="*/ 2147483647 h 1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3" h="100">
                  <a:moveTo>
                    <a:pt x="0" y="44"/>
                  </a:moveTo>
                  <a:lnTo>
                    <a:pt x="18" y="0"/>
                  </a:lnTo>
                  <a:lnTo>
                    <a:pt x="69" y="0"/>
                  </a:lnTo>
                  <a:lnTo>
                    <a:pt x="93" y="35"/>
                  </a:lnTo>
                  <a:lnTo>
                    <a:pt x="74" y="35"/>
                  </a:lnTo>
                  <a:lnTo>
                    <a:pt x="37" y="100"/>
                  </a:lnTo>
                  <a:lnTo>
                    <a:pt x="25" y="79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97" name="Freeform 349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3202181" y="4392208"/>
              <a:ext cx="172421" cy="79375"/>
            </a:xfrm>
            <a:custGeom>
              <a:avLst/>
              <a:gdLst>
                <a:gd name="T0" fmla="*/ 0 w 93"/>
                <a:gd name="T1" fmla="*/ 2147483647 h 100"/>
                <a:gd name="T2" fmla="*/ 2147483647 w 93"/>
                <a:gd name="T3" fmla="*/ 0 h 100"/>
                <a:gd name="T4" fmla="*/ 2147483647 w 93"/>
                <a:gd name="T5" fmla="*/ 0 h 100"/>
                <a:gd name="T6" fmla="*/ 2147483647 w 93"/>
                <a:gd name="T7" fmla="*/ 2147483647 h 100"/>
                <a:gd name="T8" fmla="*/ 2147483647 w 93"/>
                <a:gd name="T9" fmla="*/ 2147483647 h 100"/>
                <a:gd name="T10" fmla="*/ 2147483647 w 93"/>
                <a:gd name="T11" fmla="*/ 2147483647 h 100"/>
                <a:gd name="T12" fmla="*/ 2147483647 w 93"/>
                <a:gd name="T13" fmla="*/ 2147483647 h 100"/>
                <a:gd name="T14" fmla="*/ 0 w 93"/>
                <a:gd name="T15" fmla="*/ 2147483647 h 1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3" h="100">
                  <a:moveTo>
                    <a:pt x="0" y="44"/>
                  </a:moveTo>
                  <a:lnTo>
                    <a:pt x="18" y="0"/>
                  </a:lnTo>
                  <a:lnTo>
                    <a:pt x="69" y="0"/>
                  </a:lnTo>
                  <a:lnTo>
                    <a:pt x="93" y="35"/>
                  </a:lnTo>
                  <a:lnTo>
                    <a:pt x="74" y="35"/>
                  </a:lnTo>
                  <a:lnTo>
                    <a:pt x="37" y="100"/>
                  </a:lnTo>
                  <a:lnTo>
                    <a:pt x="25" y="79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98" name="Freeform 350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3202181" y="4392208"/>
              <a:ext cx="172421" cy="79375"/>
            </a:xfrm>
            <a:custGeom>
              <a:avLst/>
              <a:gdLst>
                <a:gd name="T0" fmla="*/ 0 w 93"/>
                <a:gd name="T1" fmla="*/ 2147483647 h 100"/>
                <a:gd name="T2" fmla="*/ 2147483647 w 93"/>
                <a:gd name="T3" fmla="*/ 0 h 100"/>
                <a:gd name="T4" fmla="*/ 2147483647 w 93"/>
                <a:gd name="T5" fmla="*/ 0 h 100"/>
                <a:gd name="T6" fmla="*/ 2147483647 w 93"/>
                <a:gd name="T7" fmla="*/ 2147483647 h 100"/>
                <a:gd name="T8" fmla="*/ 2147483647 w 93"/>
                <a:gd name="T9" fmla="*/ 2147483647 h 100"/>
                <a:gd name="T10" fmla="*/ 2147483647 w 93"/>
                <a:gd name="T11" fmla="*/ 2147483647 h 100"/>
                <a:gd name="T12" fmla="*/ 2147483647 w 93"/>
                <a:gd name="T13" fmla="*/ 2147483647 h 100"/>
                <a:gd name="T14" fmla="*/ 0 w 93"/>
                <a:gd name="T15" fmla="*/ 2147483647 h 1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3" h="100">
                  <a:moveTo>
                    <a:pt x="0" y="44"/>
                  </a:moveTo>
                  <a:lnTo>
                    <a:pt x="18" y="0"/>
                  </a:lnTo>
                  <a:lnTo>
                    <a:pt x="69" y="0"/>
                  </a:lnTo>
                  <a:lnTo>
                    <a:pt x="93" y="35"/>
                  </a:lnTo>
                  <a:lnTo>
                    <a:pt x="74" y="35"/>
                  </a:lnTo>
                  <a:lnTo>
                    <a:pt x="37" y="100"/>
                  </a:lnTo>
                  <a:lnTo>
                    <a:pt x="25" y="79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499" name="Freeform 351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6480187" y="3466685"/>
              <a:ext cx="186455" cy="85725"/>
            </a:xfrm>
            <a:custGeom>
              <a:avLst/>
              <a:gdLst>
                <a:gd name="T0" fmla="*/ 0 w 100"/>
                <a:gd name="T1" fmla="*/ 2147483647 h 110"/>
                <a:gd name="T2" fmla="*/ 2147483647 w 100"/>
                <a:gd name="T3" fmla="*/ 2147483647 h 110"/>
                <a:gd name="T4" fmla="*/ 2147483647 w 100"/>
                <a:gd name="T5" fmla="*/ 2147483647 h 110"/>
                <a:gd name="T6" fmla="*/ 2147483647 w 100"/>
                <a:gd name="T7" fmla="*/ 0 h 110"/>
                <a:gd name="T8" fmla="*/ 2147483647 w 100"/>
                <a:gd name="T9" fmla="*/ 2147483647 h 110"/>
                <a:gd name="T10" fmla="*/ 2147483647 w 100"/>
                <a:gd name="T11" fmla="*/ 2147483647 h 110"/>
                <a:gd name="T12" fmla="*/ 2147483647 w 100"/>
                <a:gd name="T13" fmla="*/ 2147483647 h 110"/>
                <a:gd name="T14" fmla="*/ 2147483647 w 100"/>
                <a:gd name="T15" fmla="*/ 2147483647 h 110"/>
                <a:gd name="T16" fmla="*/ 0 w 100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110">
                  <a:moveTo>
                    <a:pt x="0" y="66"/>
                  </a:moveTo>
                  <a:lnTo>
                    <a:pt x="13" y="21"/>
                  </a:lnTo>
                  <a:lnTo>
                    <a:pt x="31" y="33"/>
                  </a:lnTo>
                  <a:lnTo>
                    <a:pt x="69" y="0"/>
                  </a:lnTo>
                  <a:lnTo>
                    <a:pt x="94" y="10"/>
                  </a:lnTo>
                  <a:lnTo>
                    <a:pt x="100" y="21"/>
                  </a:lnTo>
                  <a:lnTo>
                    <a:pt x="63" y="98"/>
                  </a:lnTo>
                  <a:lnTo>
                    <a:pt x="24" y="110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00" name="Freeform 352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480187" y="3466685"/>
              <a:ext cx="186455" cy="85725"/>
            </a:xfrm>
            <a:custGeom>
              <a:avLst/>
              <a:gdLst>
                <a:gd name="T0" fmla="*/ 0 w 100"/>
                <a:gd name="T1" fmla="*/ 2147483647 h 110"/>
                <a:gd name="T2" fmla="*/ 2147483647 w 100"/>
                <a:gd name="T3" fmla="*/ 2147483647 h 110"/>
                <a:gd name="T4" fmla="*/ 2147483647 w 100"/>
                <a:gd name="T5" fmla="*/ 2147483647 h 110"/>
                <a:gd name="T6" fmla="*/ 2147483647 w 100"/>
                <a:gd name="T7" fmla="*/ 0 h 110"/>
                <a:gd name="T8" fmla="*/ 2147483647 w 100"/>
                <a:gd name="T9" fmla="*/ 2147483647 h 110"/>
                <a:gd name="T10" fmla="*/ 2147483647 w 100"/>
                <a:gd name="T11" fmla="*/ 2147483647 h 110"/>
                <a:gd name="T12" fmla="*/ 2147483647 w 100"/>
                <a:gd name="T13" fmla="*/ 2147483647 h 110"/>
                <a:gd name="T14" fmla="*/ 2147483647 w 100"/>
                <a:gd name="T15" fmla="*/ 2147483647 h 110"/>
                <a:gd name="T16" fmla="*/ 0 w 100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110">
                  <a:moveTo>
                    <a:pt x="0" y="66"/>
                  </a:moveTo>
                  <a:lnTo>
                    <a:pt x="13" y="21"/>
                  </a:lnTo>
                  <a:lnTo>
                    <a:pt x="31" y="33"/>
                  </a:lnTo>
                  <a:lnTo>
                    <a:pt x="69" y="0"/>
                  </a:lnTo>
                  <a:lnTo>
                    <a:pt x="94" y="10"/>
                  </a:lnTo>
                  <a:lnTo>
                    <a:pt x="100" y="21"/>
                  </a:lnTo>
                  <a:lnTo>
                    <a:pt x="63" y="98"/>
                  </a:lnTo>
                  <a:lnTo>
                    <a:pt x="24" y="110"/>
                  </a:lnTo>
                  <a:lnTo>
                    <a:pt x="0" y="6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01" name="Freeform 353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480187" y="3466685"/>
              <a:ext cx="186455" cy="85725"/>
            </a:xfrm>
            <a:custGeom>
              <a:avLst/>
              <a:gdLst>
                <a:gd name="T0" fmla="*/ 0 w 100"/>
                <a:gd name="T1" fmla="*/ 2147483647 h 110"/>
                <a:gd name="T2" fmla="*/ 2147483647 w 100"/>
                <a:gd name="T3" fmla="*/ 2147483647 h 110"/>
                <a:gd name="T4" fmla="*/ 2147483647 w 100"/>
                <a:gd name="T5" fmla="*/ 2147483647 h 110"/>
                <a:gd name="T6" fmla="*/ 2147483647 w 100"/>
                <a:gd name="T7" fmla="*/ 0 h 110"/>
                <a:gd name="T8" fmla="*/ 2147483647 w 100"/>
                <a:gd name="T9" fmla="*/ 2147483647 h 110"/>
                <a:gd name="T10" fmla="*/ 2147483647 w 100"/>
                <a:gd name="T11" fmla="*/ 2147483647 h 110"/>
                <a:gd name="T12" fmla="*/ 2147483647 w 100"/>
                <a:gd name="T13" fmla="*/ 2147483647 h 110"/>
                <a:gd name="T14" fmla="*/ 2147483647 w 100"/>
                <a:gd name="T15" fmla="*/ 2147483647 h 110"/>
                <a:gd name="T16" fmla="*/ 0 w 100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110">
                  <a:moveTo>
                    <a:pt x="0" y="66"/>
                  </a:moveTo>
                  <a:lnTo>
                    <a:pt x="13" y="21"/>
                  </a:lnTo>
                  <a:lnTo>
                    <a:pt x="31" y="33"/>
                  </a:lnTo>
                  <a:lnTo>
                    <a:pt x="69" y="0"/>
                  </a:lnTo>
                  <a:lnTo>
                    <a:pt x="94" y="10"/>
                  </a:lnTo>
                  <a:lnTo>
                    <a:pt x="100" y="21"/>
                  </a:lnTo>
                  <a:lnTo>
                    <a:pt x="63" y="98"/>
                  </a:lnTo>
                  <a:lnTo>
                    <a:pt x="24" y="110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02" name="Freeform 354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6480187" y="3466685"/>
              <a:ext cx="186455" cy="85725"/>
            </a:xfrm>
            <a:custGeom>
              <a:avLst/>
              <a:gdLst>
                <a:gd name="T0" fmla="*/ 0 w 100"/>
                <a:gd name="T1" fmla="*/ 2147483647 h 110"/>
                <a:gd name="T2" fmla="*/ 2147483647 w 100"/>
                <a:gd name="T3" fmla="*/ 2147483647 h 110"/>
                <a:gd name="T4" fmla="*/ 2147483647 w 100"/>
                <a:gd name="T5" fmla="*/ 2147483647 h 110"/>
                <a:gd name="T6" fmla="*/ 2147483647 w 100"/>
                <a:gd name="T7" fmla="*/ 0 h 110"/>
                <a:gd name="T8" fmla="*/ 2147483647 w 100"/>
                <a:gd name="T9" fmla="*/ 2147483647 h 110"/>
                <a:gd name="T10" fmla="*/ 2147483647 w 100"/>
                <a:gd name="T11" fmla="*/ 2147483647 h 110"/>
                <a:gd name="T12" fmla="*/ 2147483647 w 100"/>
                <a:gd name="T13" fmla="*/ 2147483647 h 110"/>
                <a:gd name="T14" fmla="*/ 2147483647 w 100"/>
                <a:gd name="T15" fmla="*/ 2147483647 h 110"/>
                <a:gd name="T16" fmla="*/ 0 w 100"/>
                <a:gd name="T17" fmla="*/ 2147483647 h 11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00" h="110">
                  <a:moveTo>
                    <a:pt x="0" y="66"/>
                  </a:moveTo>
                  <a:lnTo>
                    <a:pt x="13" y="21"/>
                  </a:lnTo>
                  <a:lnTo>
                    <a:pt x="31" y="33"/>
                  </a:lnTo>
                  <a:lnTo>
                    <a:pt x="69" y="0"/>
                  </a:lnTo>
                  <a:lnTo>
                    <a:pt x="94" y="10"/>
                  </a:lnTo>
                  <a:lnTo>
                    <a:pt x="100" y="21"/>
                  </a:lnTo>
                  <a:lnTo>
                    <a:pt x="63" y="98"/>
                  </a:lnTo>
                  <a:lnTo>
                    <a:pt x="24" y="110"/>
                  </a:lnTo>
                  <a:lnTo>
                    <a:pt x="0" y="6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03" name="Group 355"/>
            <p:cNvGrpSpPr>
              <a:grpSpLocks/>
            </p:cNvGrpSpPr>
            <p:nvPr>
              <p:custDataLst>
                <p:tags r:id="rId311"/>
              </p:custDataLst>
            </p:nvPr>
          </p:nvGrpSpPr>
          <p:grpSpPr bwMode="auto">
            <a:xfrm>
              <a:off x="4272783" y="1926795"/>
              <a:ext cx="1748269" cy="1130300"/>
              <a:chOff x="1806" y="844"/>
              <a:chExt cx="945" cy="712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87" name="Freeform 356"/>
              <p:cNvSpPr>
                <a:spLocks/>
              </p:cNvSpPr>
              <p:nvPr/>
            </p:nvSpPr>
            <p:spPr bwMode="auto">
              <a:xfrm>
                <a:off x="1806" y="844"/>
                <a:ext cx="945" cy="712"/>
              </a:xfrm>
              <a:custGeom>
                <a:avLst/>
                <a:gdLst>
                  <a:gd name="T0" fmla="*/ 106 w 945"/>
                  <a:gd name="T1" fmla="*/ 0 h 1426"/>
                  <a:gd name="T2" fmla="*/ 125 w 945"/>
                  <a:gd name="T3" fmla="*/ 0 h 1426"/>
                  <a:gd name="T4" fmla="*/ 82 w 945"/>
                  <a:gd name="T5" fmla="*/ 0 h 1426"/>
                  <a:gd name="T6" fmla="*/ 175 w 945"/>
                  <a:gd name="T7" fmla="*/ 0 h 1426"/>
                  <a:gd name="T8" fmla="*/ 276 w 945"/>
                  <a:gd name="T9" fmla="*/ 0 h 1426"/>
                  <a:gd name="T10" fmla="*/ 350 w 945"/>
                  <a:gd name="T11" fmla="*/ 0 h 1426"/>
                  <a:gd name="T12" fmla="*/ 331 w 945"/>
                  <a:gd name="T13" fmla="*/ 0 h 1426"/>
                  <a:gd name="T14" fmla="*/ 445 w 945"/>
                  <a:gd name="T15" fmla="*/ 0 h 1426"/>
                  <a:gd name="T16" fmla="*/ 501 w 945"/>
                  <a:gd name="T17" fmla="*/ 0 h 1426"/>
                  <a:gd name="T18" fmla="*/ 420 w 945"/>
                  <a:gd name="T19" fmla="*/ 0 h 1426"/>
                  <a:gd name="T20" fmla="*/ 520 w 945"/>
                  <a:gd name="T21" fmla="*/ 0 h 1426"/>
                  <a:gd name="T22" fmla="*/ 520 w 945"/>
                  <a:gd name="T23" fmla="*/ 0 h 1426"/>
                  <a:gd name="T24" fmla="*/ 714 w 945"/>
                  <a:gd name="T25" fmla="*/ 0 h 1426"/>
                  <a:gd name="T26" fmla="*/ 732 w 945"/>
                  <a:gd name="T27" fmla="*/ 0 h 1426"/>
                  <a:gd name="T28" fmla="*/ 795 w 945"/>
                  <a:gd name="T29" fmla="*/ 0 h 1426"/>
                  <a:gd name="T30" fmla="*/ 607 w 945"/>
                  <a:gd name="T31" fmla="*/ 0 h 1426"/>
                  <a:gd name="T32" fmla="*/ 707 w 945"/>
                  <a:gd name="T33" fmla="*/ 0 h 1426"/>
                  <a:gd name="T34" fmla="*/ 820 w 945"/>
                  <a:gd name="T35" fmla="*/ 0 h 1426"/>
                  <a:gd name="T36" fmla="*/ 901 w 945"/>
                  <a:gd name="T37" fmla="*/ 0 h 1426"/>
                  <a:gd name="T38" fmla="*/ 801 w 945"/>
                  <a:gd name="T39" fmla="*/ 0 h 1426"/>
                  <a:gd name="T40" fmla="*/ 870 w 945"/>
                  <a:gd name="T41" fmla="*/ 0 h 1426"/>
                  <a:gd name="T42" fmla="*/ 807 w 945"/>
                  <a:gd name="T43" fmla="*/ 0 h 1426"/>
                  <a:gd name="T44" fmla="*/ 820 w 945"/>
                  <a:gd name="T45" fmla="*/ 0 h 1426"/>
                  <a:gd name="T46" fmla="*/ 801 w 945"/>
                  <a:gd name="T47" fmla="*/ 0 h 1426"/>
                  <a:gd name="T48" fmla="*/ 827 w 945"/>
                  <a:gd name="T49" fmla="*/ 0 h 1426"/>
                  <a:gd name="T50" fmla="*/ 795 w 945"/>
                  <a:gd name="T51" fmla="*/ 0 h 1426"/>
                  <a:gd name="T52" fmla="*/ 814 w 945"/>
                  <a:gd name="T53" fmla="*/ 0 h 1426"/>
                  <a:gd name="T54" fmla="*/ 820 w 945"/>
                  <a:gd name="T55" fmla="*/ 0 h 1426"/>
                  <a:gd name="T56" fmla="*/ 720 w 945"/>
                  <a:gd name="T57" fmla="*/ 0 h 1426"/>
                  <a:gd name="T58" fmla="*/ 740 w 945"/>
                  <a:gd name="T59" fmla="*/ 0 h 1426"/>
                  <a:gd name="T60" fmla="*/ 795 w 945"/>
                  <a:gd name="T61" fmla="*/ 0 h 1426"/>
                  <a:gd name="T62" fmla="*/ 789 w 945"/>
                  <a:gd name="T63" fmla="*/ 0 h 1426"/>
                  <a:gd name="T64" fmla="*/ 707 w 945"/>
                  <a:gd name="T65" fmla="*/ 0 h 1426"/>
                  <a:gd name="T66" fmla="*/ 726 w 945"/>
                  <a:gd name="T67" fmla="*/ 0 h 1426"/>
                  <a:gd name="T68" fmla="*/ 726 w 945"/>
                  <a:gd name="T69" fmla="*/ 0 h 1426"/>
                  <a:gd name="T70" fmla="*/ 639 w 945"/>
                  <a:gd name="T71" fmla="*/ 0 h 1426"/>
                  <a:gd name="T72" fmla="*/ 576 w 945"/>
                  <a:gd name="T73" fmla="*/ 0 h 1426"/>
                  <a:gd name="T74" fmla="*/ 551 w 945"/>
                  <a:gd name="T75" fmla="*/ 0 h 1426"/>
                  <a:gd name="T76" fmla="*/ 494 w 945"/>
                  <a:gd name="T77" fmla="*/ 0 h 1426"/>
                  <a:gd name="T78" fmla="*/ 494 w 945"/>
                  <a:gd name="T79" fmla="*/ 0 h 1426"/>
                  <a:gd name="T80" fmla="*/ 494 w 945"/>
                  <a:gd name="T81" fmla="*/ 0 h 1426"/>
                  <a:gd name="T82" fmla="*/ 456 w 945"/>
                  <a:gd name="T83" fmla="*/ 0 h 1426"/>
                  <a:gd name="T84" fmla="*/ 387 w 945"/>
                  <a:gd name="T85" fmla="*/ 0 h 1426"/>
                  <a:gd name="T86" fmla="*/ 369 w 945"/>
                  <a:gd name="T87" fmla="*/ 0 h 1426"/>
                  <a:gd name="T88" fmla="*/ 337 w 945"/>
                  <a:gd name="T89" fmla="*/ 0 h 1426"/>
                  <a:gd name="T90" fmla="*/ 326 w 945"/>
                  <a:gd name="T91" fmla="*/ 0 h 1426"/>
                  <a:gd name="T92" fmla="*/ 319 w 945"/>
                  <a:gd name="T93" fmla="*/ 0 h 1426"/>
                  <a:gd name="T94" fmla="*/ 313 w 945"/>
                  <a:gd name="T95" fmla="*/ 0 h 1426"/>
                  <a:gd name="T96" fmla="*/ 326 w 945"/>
                  <a:gd name="T97" fmla="*/ 0 h 1426"/>
                  <a:gd name="T98" fmla="*/ 350 w 945"/>
                  <a:gd name="T99" fmla="*/ 0 h 1426"/>
                  <a:gd name="T100" fmla="*/ 331 w 945"/>
                  <a:gd name="T101" fmla="*/ 0 h 1426"/>
                  <a:gd name="T102" fmla="*/ 300 w 945"/>
                  <a:gd name="T103" fmla="*/ 0 h 1426"/>
                  <a:gd name="T104" fmla="*/ 276 w 945"/>
                  <a:gd name="T105" fmla="*/ 0 h 1426"/>
                  <a:gd name="T106" fmla="*/ 257 w 945"/>
                  <a:gd name="T107" fmla="*/ 0 h 1426"/>
                  <a:gd name="T108" fmla="*/ 188 w 945"/>
                  <a:gd name="T109" fmla="*/ 0 h 1426"/>
                  <a:gd name="T110" fmla="*/ 106 w 945"/>
                  <a:gd name="T111" fmla="*/ 0 h 1426"/>
                  <a:gd name="T112" fmla="*/ 25 w 945"/>
                  <a:gd name="T113" fmla="*/ 0 h 1426"/>
                  <a:gd name="T114" fmla="*/ 106 w 945"/>
                  <a:gd name="T115" fmla="*/ 0 h 14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945" h="1426">
                    <a:moveTo>
                      <a:pt x="0" y="402"/>
                    </a:moveTo>
                    <a:lnTo>
                      <a:pt x="6" y="379"/>
                    </a:lnTo>
                    <a:lnTo>
                      <a:pt x="68" y="346"/>
                    </a:lnTo>
                    <a:lnTo>
                      <a:pt x="106" y="346"/>
                    </a:lnTo>
                    <a:lnTo>
                      <a:pt x="131" y="312"/>
                    </a:lnTo>
                    <a:lnTo>
                      <a:pt x="125" y="302"/>
                    </a:lnTo>
                    <a:lnTo>
                      <a:pt x="137" y="290"/>
                    </a:lnTo>
                    <a:lnTo>
                      <a:pt x="125" y="279"/>
                    </a:lnTo>
                    <a:lnTo>
                      <a:pt x="144" y="267"/>
                    </a:lnTo>
                    <a:lnTo>
                      <a:pt x="137" y="256"/>
                    </a:lnTo>
                    <a:lnTo>
                      <a:pt x="112" y="279"/>
                    </a:lnTo>
                    <a:lnTo>
                      <a:pt x="82" y="244"/>
                    </a:lnTo>
                    <a:lnTo>
                      <a:pt x="119" y="233"/>
                    </a:lnTo>
                    <a:lnTo>
                      <a:pt x="137" y="189"/>
                    </a:lnTo>
                    <a:lnTo>
                      <a:pt x="181" y="189"/>
                    </a:lnTo>
                    <a:lnTo>
                      <a:pt x="175" y="135"/>
                    </a:lnTo>
                    <a:lnTo>
                      <a:pt x="212" y="135"/>
                    </a:lnTo>
                    <a:lnTo>
                      <a:pt x="244" y="168"/>
                    </a:lnTo>
                    <a:lnTo>
                      <a:pt x="200" y="123"/>
                    </a:lnTo>
                    <a:lnTo>
                      <a:pt x="276" y="100"/>
                    </a:lnTo>
                    <a:lnTo>
                      <a:pt x="295" y="123"/>
                    </a:lnTo>
                    <a:lnTo>
                      <a:pt x="295" y="156"/>
                    </a:lnTo>
                    <a:lnTo>
                      <a:pt x="307" y="123"/>
                    </a:lnTo>
                    <a:lnTo>
                      <a:pt x="350" y="156"/>
                    </a:lnTo>
                    <a:lnTo>
                      <a:pt x="331" y="123"/>
                    </a:lnTo>
                    <a:lnTo>
                      <a:pt x="356" y="135"/>
                    </a:lnTo>
                    <a:lnTo>
                      <a:pt x="337" y="112"/>
                    </a:lnTo>
                    <a:lnTo>
                      <a:pt x="331" y="89"/>
                    </a:lnTo>
                    <a:lnTo>
                      <a:pt x="345" y="89"/>
                    </a:lnTo>
                    <a:lnTo>
                      <a:pt x="432" y="145"/>
                    </a:lnTo>
                    <a:lnTo>
                      <a:pt x="425" y="123"/>
                    </a:lnTo>
                    <a:lnTo>
                      <a:pt x="445" y="123"/>
                    </a:lnTo>
                    <a:lnTo>
                      <a:pt x="432" y="100"/>
                    </a:lnTo>
                    <a:lnTo>
                      <a:pt x="463" y="112"/>
                    </a:lnTo>
                    <a:lnTo>
                      <a:pt x="413" y="66"/>
                    </a:lnTo>
                    <a:lnTo>
                      <a:pt x="501" y="89"/>
                    </a:lnTo>
                    <a:lnTo>
                      <a:pt x="482" y="66"/>
                    </a:lnTo>
                    <a:lnTo>
                      <a:pt x="432" y="56"/>
                    </a:lnTo>
                    <a:lnTo>
                      <a:pt x="451" y="56"/>
                    </a:lnTo>
                    <a:lnTo>
                      <a:pt x="420" y="35"/>
                    </a:lnTo>
                    <a:lnTo>
                      <a:pt x="456" y="45"/>
                    </a:lnTo>
                    <a:lnTo>
                      <a:pt x="438" y="35"/>
                    </a:lnTo>
                    <a:lnTo>
                      <a:pt x="456" y="22"/>
                    </a:lnTo>
                    <a:lnTo>
                      <a:pt x="520" y="66"/>
                    </a:lnTo>
                    <a:lnTo>
                      <a:pt x="512" y="45"/>
                    </a:lnTo>
                    <a:lnTo>
                      <a:pt x="544" y="35"/>
                    </a:lnTo>
                    <a:lnTo>
                      <a:pt x="520" y="35"/>
                    </a:lnTo>
                    <a:lnTo>
                      <a:pt x="520" y="12"/>
                    </a:lnTo>
                    <a:lnTo>
                      <a:pt x="532" y="0"/>
                    </a:lnTo>
                    <a:lnTo>
                      <a:pt x="707" y="12"/>
                    </a:lnTo>
                    <a:lnTo>
                      <a:pt x="720" y="22"/>
                    </a:lnTo>
                    <a:lnTo>
                      <a:pt x="714" y="35"/>
                    </a:lnTo>
                    <a:lnTo>
                      <a:pt x="601" y="35"/>
                    </a:lnTo>
                    <a:lnTo>
                      <a:pt x="614" y="45"/>
                    </a:lnTo>
                    <a:lnTo>
                      <a:pt x="570" y="56"/>
                    </a:lnTo>
                    <a:lnTo>
                      <a:pt x="732" y="35"/>
                    </a:lnTo>
                    <a:lnTo>
                      <a:pt x="740" y="56"/>
                    </a:lnTo>
                    <a:lnTo>
                      <a:pt x="714" y="66"/>
                    </a:lnTo>
                    <a:lnTo>
                      <a:pt x="751" y="56"/>
                    </a:lnTo>
                    <a:lnTo>
                      <a:pt x="795" y="79"/>
                    </a:lnTo>
                    <a:lnTo>
                      <a:pt x="732" y="123"/>
                    </a:lnTo>
                    <a:lnTo>
                      <a:pt x="626" y="112"/>
                    </a:lnTo>
                    <a:lnTo>
                      <a:pt x="650" y="123"/>
                    </a:lnTo>
                    <a:lnTo>
                      <a:pt x="607" y="135"/>
                    </a:lnTo>
                    <a:lnTo>
                      <a:pt x="607" y="156"/>
                    </a:lnTo>
                    <a:lnTo>
                      <a:pt x="726" y="123"/>
                    </a:lnTo>
                    <a:lnTo>
                      <a:pt x="732" y="135"/>
                    </a:lnTo>
                    <a:lnTo>
                      <a:pt x="707" y="168"/>
                    </a:lnTo>
                    <a:lnTo>
                      <a:pt x="782" y="123"/>
                    </a:lnTo>
                    <a:lnTo>
                      <a:pt x="789" y="168"/>
                    </a:lnTo>
                    <a:lnTo>
                      <a:pt x="751" y="244"/>
                    </a:lnTo>
                    <a:lnTo>
                      <a:pt x="820" y="156"/>
                    </a:lnTo>
                    <a:lnTo>
                      <a:pt x="820" y="168"/>
                    </a:lnTo>
                    <a:lnTo>
                      <a:pt x="857" y="168"/>
                    </a:lnTo>
                    <a:lnTo>
                      <a:pt x="864" y="135"/>
                    </a:lnTo>
                    <a:lnTo>
                      <a:pt x="901" y="135"/>
                    </a:lnTo>
                    <a:lnTo>
                      <a:pt x="945" y="156"/>
                    </a:lnTo>
                    <a:lnTo>
                      <a:pt x="901" y="200"/>
                    </a:lnTo>
                    <a:lnTo>
                      <a:pt x="907" y="212"/>
                    </a:lnTo>
                    <a:lnTo>
                      <a:pt x="801" y="233"/>
                    </a:lnTo>
                    <a:lnTo>
                      <a:pt x="889" y="233"/>
                    </a:lnTo>
                    <a:lnTo>
                      <a:pt x="820" y="267"/>
                    </a:lnTo>
                    <a:lnTo>
                      <a:pt x="827" y="290"/>
                    </a:lnTo>
                    <a:lnTo>
                      <a:pt x="870" y="267"/>
                    </a:lnTo>
                    <a:lnTo>
                      <a:pt x="839" y="302"/>
                    </a:lnTo>
                    <a:lnTo>
                      <a:pt x="832" y="335"/>
                    </a:lnTo>
                    <a:lnTo>
                      <a:pt x="839" y="323"/>
                    </a:lnTo>
                    <a:lnTo>
                      <a:pt x="807" y="356"/>
                    </a:lnTo>
                    <a:lnTo>
                      <a:pt x="801" y="435"/>
                    </a:lnTo>
                    <a:lnTo>
                      <a:pt x="814" y="425"/>
                    </a:lnTo>
                    <a:lnTo>
                      <a:pt x="839" y="435"/>
                    </a:lnTo>
                    <a:lnTo>
                      <a:pt x="820" y="435"/>
                    </a:lnTo>
                    <a:lnTo>
                      <a:pt x="820" y="456"/>
                    </a:lnTo>
                    <a:lnTo>
                      <a:pt x="851" y="469"/>
                    </a:lnTo>
                    <a:lnTo>
                      <a:pt x="857" y="490"/>
                    </a:lnTo>
                    <a:lnTo>
                      <a:pt x="801" y="490"/>
                    </a:lnTo>
                    <a:lnTo>
                      <a:pt x="814" y="500"/>
                    </a:lnTo>
                    <a:lnTo>
                      <a:pt x="789" y="500"/>
                    </a:lnTo>
                    <a:lnTo>
                      <a:pt x="801" y="534"/>
                    </a:lnTo>
                    <a:lnTo>
                      <a:pt x="827" y="534"/>
                    </a:lnTo>
                    <a:lnTo>
                      <a:pt x="814" y="557"/>
                    </a:lnTo>
                    <a:lnTo>
                      <a:pt x="832" y="569"/>
                    </a:lnTo>
                    <a:lnTo>
                      <a:pt x="832" y="602"/>
                    </a:lnTo>
                    <a:lnTo>
                      <a:pt x="795" y="579"/>
                    </a:lnTo>
                    <a:lnTo>
                      <a:pt x="820" y="602"/>
                    </a:lnTo>
                    <a:lnTo>
                      <a:pt x="801" y="613"/>
                    </a:lnTo>
                    <a:lnTo>
                      <a:pt x="814" y="613"/>
                    </a:lnTo>
                    <a:lnTo>
                      <a:pt x="814" y="636"/>
                    </a:lnTo>
                    <a:lnTo>
                      <a:pt x="839" y="646"/>
                    </a:lnTo>
                    <a:lnTo>
                      <a:pt x="795" y="646"/>
                    </a:lnTo>
                    <a:lnTo>
                      <a:pt x="789" y="657"/>
                    </a:lnTo>
                    <a:lnTo>
                      <a:pt x="820" y="690"/>
                    </a:lnTo>
                    <a:lnTo>
                      <a:pt x="820" y="713"/>
                    </a:lnTo>
                    <a:lnTo>
                      <a:pt x="789" y="725"/>
                    </a:lnTo>
                    <a:lnTo>
                      <a:pt x="764" y="690"/>
                    </a:lnTo>
                    <a:lnTo>
                      <a:pt x="720" y="725"/>
                    </a:lnTo>
                    <a:lnTo>
                      <a:pt x="751" y="736"/>
                    </a:lnTo>
                    <a:lnTo>
                      <a:pt x="720" y="757"/>
                    </a:lnTo>
                    <a:lnTo>
                      <a:pt x="751" y="757"/>
                    </a:lnTo>
                    <a:lnTo>
                      <a:pt x="740" y="790"/>
                    </a:lnTo>
                    <a:lnTo>
                      <a:pt x="751" y="769"/>
                    </a:lnTo>
                    <a:lnTo>
                      <a:pt x="789" y="801"/>
                    </a:lnTo>
                    <a:lnTo>
                      <a:pt x="776" y="824"/>
                    </a:lnTo>
                    <a:lnTo>
                      <a:pt x="795" y="813"/>
                    </a:lnTo>
                    <a:lnTo>
                      <a:pt x="789" y="846"/>
                    </a:lnTo>
                    <a:lnTo>
                      <a:pt x="801" y="834"/>
                    </a:lnTo>
                    <a:lnTo>
                      <a:pt x="801" y="892"/>
                    </a:lnTo>
                    <a:lnTo>
                      <a:pt x="789" y="869"/>
                    </a:lnTo>
                    <a:lnTo>
                      <a:pt x="789" y="892"/>
                    </a:lnTo>
                    <a:lnTo>
                      <a:pt x="770" y="892"/>
                    </a:lnTo>
                    <a:lnTo>
                      <a:pt x="751" y="834"/>
                    </a:lnTo>
                    <a:lnTo>
                      <a:pt x="707" y="813"/>
                    </a:lnTo>
                    <a:lnTo>
                      <a:pt x="740" y="846"/>
                    </a:lnTo>
                    <a:lnTo>
                      <a:pt x="695" y="859"/>
                    </a:lnTo>
                    <a:lnTo>
                      <a:pt x="689" y="892"/>
                    </a:lnTo>
                    <a:lnTo>
                      <a:pt x="726" y="903"/>
                    </a:lnTo>
                    <a:lnTo>
                      <a:pt x="689" y="913"/>
                    </a:lnTo>
                    <a:lnTo>
                      <a:pt x="740" y="892"/>
                    </a:lnTo>
                    <a:lnTo>
                      <a:pt x="789" y="924"/>
                    </a:lnTo>
                    <a:lnTo>
                      <a:pt x="726" y="991"/>
                    </a:lnTo>
                    <a:lnTo>
                      <a:pt x="669" y="1026"/>
                    </a:lnTo>
                    <a:lnTo>
                      <a:pt x="645" y="1026"/>
                    </a:lnTo>
                    <a:lnTo>
                      <a:pt x="632" y="991"/>
                    </a:lnTo>
                    <a:lnTo>
                      <a:pt x="639" y="1026"/>
                    </a:lnTo>
                    <a:lnTo>
                      <a:pt x="620" y="1047"/>
                    </a:lnTo>
                    <a:lnTo>
                      <a:pt x="601" y="1114"/>
                    </a:lnTo>
                    <a:lnTo>
                      <a:pt x="581" y="1114"/>
                    </a:lnTo>
                    <a:lnTo>
                      <a:pt x="576" y="1136"/>
                    </a:lnTo>
                    <a:lnTo>
                      <a:pt x="557" y="1136"/>
                    </a:lnTo>
                    <a:lnTo>
                      <a:pt x="551" y="1136"/>
                    </a:lnTo>
                    <a:lnTo>
                      <a:pt x="563" y="1114"/>
                    </a:lnTo>
                    <a:lnTo>
                      <a:pt x="551" y="1114"/>
                    </a:lnTo>
                    <a:lnTo>
                      <a:pt x="544" y="1159"/>
                    </a:lnTo>
                    <a:lnTo>
                      <a:pt x="512" y="1159"/>
                    </a:lnTo>
                    <a:lnTo>
                      <a:pt x="512" y="1193"/>
                    </a:lnTo>
                    <a:lnTo>
                      <a:pt x="494" y="1193"/>
                    </a:lnTo>
                    <a:lnTo>
                      <a:pt x="512" y="1214"/>
                    </a:lnTo>
                    <a:lnTo>
                      <a:pt x="494" y="1224"/>
                    </a:lnTo>
                    <a:lnTo>
                      <a:pt x="507" y="1247"/>
                    </a:lnTo>
                    <a:lnTo>
                      <a:pt x="494" y="1247"/>
                    </a:lnTo>
                    <a:lnTo>
                      <a:pt x="507" y="1258"/>
                    </a:lnTo>
                    <a:lnTo>
                      <a:pt x="494" y="1281"/>
                    </a:lnTo>
                    <a:lnTo>
                      <a:pt x="482" y="1281"/>
                    </a:lnTo>
                    <a:lnTo>
                      <a:pt x="494" y="1291"/>
                    </a:lnTo>
                    <a:lnTo>
                      <a:pt x="470" y="1303"/>
                    </a:lnTo>
                    <a:lnTo>
                      <a:pt x="482" y="1347"/>
                    </a:lnTo>
                    <a:lnTo>
                      <a:pt x="470" y="1402"/>
                    </a:lnTo>
                    <a:lnTo>
                      <a:pt x="456" y="1402"/>
                    </a:lnTo>
                    <a:lnTo>
                      <a:pt x="470" y="1426"/>
                    </a:lnTo>
                    <a:lnTo>
                      <a:pt x="438" y="1426"/>
                    </a:lnTo>
                    <a:lnTo>
                      <a:pt x="432" y="1391"/>
                    </a:lnTo>
                    <a:lnTo>
                      <a:pt x="387" y="1391"/>
                    </a:lnTo>
                    <a:lnTo>
                      <a:pt x="401" y="1381"/>
                    </a:lnTo>
                    <a:lnTo>
                      <a:pt x="376" y="1370"/>
                    </a:lnTo>
                    <a:lnTo>
                      <a:pt x="387" y="1358"/>
                    </a:lnTo>
                    <a:lnTo>
                      <a:pt x="369" y="1358"/>
                    </a:lnTo>
                    <a:lnTo>
                      <a:pt x="376" y="1326"/>
                    </a:lnTo>
                    <a:lnTo>
                      <a:pt x="369" y="1337"/>
                    </a:lnTo>
                    <a:lnTo>
                      <a:pt x="337" y="1258"/>
                    </a:lnTo>
                    <a:lnTo>
                      <a:pt x="337" y="1237"/>
                    </a:lnTo>
                    <a:lnTo>
                      <a:pt x="356" y="1203"/>
                    </a:lnTo>
                    <a:lnTo>
                      <a:pt x="350" y="1193"/>
                    </a:lnTo>
                    <a:lnTo>
                      <a:pt x="326" y="1224"/>
                    </a:lnTo>
                    <a:lnTo>
                      <a:pt x="326" y="1170"/>
                    </a:lnTo>
                    <a:lnTo>
                      <a:pt x="307" y="1136"/>
                    </a:lnTo>
                    <a:lnTo>
                      <a:pt x="313" y="1091"/>
                    </a:lnTo>
                    <a:lnTo>
                      <a:pt x="300" y="1070"/>
                    </a:lnTo>
                    <a:lnTo>
                      <a:pt x="319" y="1026"/>
                    </a:lnTo>
                    <a:lnTo>
                      <a:pt x="307" y="1026"/>
                    </a:lnTo>
                    <a:lnTo>
                      <a:pt x="345" y="1026"/>
                    </a:lnTo>
                    <a:lnTo>
                      <a:pt x="345" y="1003"/>
                    </a:lnTo>
                    <a:lnTo>
                      <a:pt x="313" y="1003"/>
                    </a:lnTo>
                    <a:lnTo>
                      <a:pt x="356" y="968"/>
                    </a:lnTo>
                    <a:lnTo>
                      <a:pt x="345" y="957"/>
                    </a:lnTo>
                    <a:lnTo>
                      <a:pt x="356" y="913"/>
                    </a:lnTo>
                    <a:lnTo>
                      <a:pt x="326" y="913"/>
                    </a:lnTo>
                    <a:lnTo>
                      <a:pt x="287" y="880"/>
                    </a:lnTo>
                    <a:lnTo>
                      <a:pt x="350" y="903"/>
                    </a:lnTo>
                    <a:lnTo>
                      <a:pt x="337" y="880"/>
                    </a:lnTo>
                    <a:lnTo>
                      <a:pt x="350" y="880"/>
                    </a:lnTo>
                    <a:lnTo>
                      <a:pt x="326" y="846"/>
                    </a:lnTo>
                    <a:lnTo>
                      <a:pt x="331" y="834"/>
                    </a:lnTo>
                    <a:lnTo>
                      <a:pt x="319" y="846"/>
                    </a:lnTo>
                    <a:lnTo>
                      <a:pt x="331" y="834"/>
                    </a:lnTo>
                    <a:lnTo>
                      <a:pt x="313" y="834"/>
                    </a:lnTo>
                    <a:lnTo>
                      <a:pt x="331" y="824"/>
                    </a:lnTo>
                    <a:lnTo>
                      <a:pt x="307" y="801"/>
                    </a:lnTo>
                    <a:lnTo>
                      <a:pt x="300" y="834"/>
                    </a:lnTo>
                    <a:lnTo>
                      <a:pt x="276" y="834"/>
                    </a:lnTo>
                    <a:lnTo>
                      <a:pt x="269" y="824"/>
                    </a:lnTo>
                    <a:lnTo>
                      <a:pt x="287" y="801"/>
                    </a:lnTo>
                    <a:lnTo>
                      <a:pt x="276" y="801"/>
                    </a:lnTo>
                    <a:lnTo>
                      <a:pt x="287" y="746"/>
                    </a:lnTo>
                    <a:lnTo>
                      <a:pt x="276" y="736"/>
                    </a:lnTo>
                    <a:lnTo>
                      <a:pt x="281" y="713"/>
                    </a:lnTo>
                    <a:lnTo>
                      <a:pt x="257" y="646"/>
                    </a:lnTo>
                    <a:lnTo>
                      <a:pt x="262" y="646"/>
                    </a:lnTo>
                    <a:lnTo>
                      <a:pt x="225" y="592"/>
                    </a:lnTo>
                    <a:lnTo>
                      <a:pt x="225" y="569"/>
                    </a:lnTo>
                    <a:lnTo>
                      <a:pt x="188" y="546"/>
                    </a:lnTo>
                    <a:lnTo>
                      <a:pt x="156" y="523"/>
                    </a:lnTo>
                    <a:lnTo>
                      <a:pt x="119" y="557"/>
                    </a:lnTo>
                    <a:lnTo>
                      <a:pt x="93" y="534"/>
                    </a:lnTo>
                    <a:lnTo>
                      <a:pt x="106" y="557"/>
                    </a:lnTo>
                    <a:lnTo>
                      <a:pt x="75" y="546"/>
                    </a:lnTo>
                    <a:lnTo>
                      <a:pt x="56" y="523"/>
                    </a:lnTo>
                    <a:lnTo>
                      <a:pt x="75" y="500"/>
                    </a:lnTo>
                    <a:lnTo>
                      <a:pt x="25" y="490"/>
                    </a:lnTo>
                    <a:lnTo>
                      <a:pt x="43" y="469"/>
                    </a:lnTo>
                    <a:lnTo>
                      <a:pt x="106" y="469"/>
                    </a:lnTo>
                    <a:lnTo>
                      <a:pt x="112" y="469"/>
                    </a:lnTo>
                    <a:lnTo>
                      <a:pt x="106" y="456"/>
                    </a:lnTo>
                    <a:lnTo>
                      <a:pt x="112" y="446"/>
                    </a:lnTo>
                    <a:lnTo>
                      <a:pt x="56" y="456"/>
                    </a:lnTo>
                    <a:lnTo>
                      <a:pt x="0" y="40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88" name="Freeform 357"/>
              <p:cNvSpPr>
                <a:spLocks/>
              </p:cNvSpPr>
              <p:nvPr/>
            </p:nvSpPr>
            <p:spPr bwMode="auto">
              <a:xfrm>
                <a:off x="1806" y="844"/>
                <a:ext cx="945" cy="712"/>
              </a:xfrm>
              <a:custGeom>
                <a:avLst/>
                <a:gdLst>
                  <a:gd name="T0" fmla="*/ 106 w 945"/>
                  <a:gd name="T1" fmla="*/ 0 h 1426"/>
                  <a:gd name="T2" fmla="*/ 125 w 945"/>
                  <a:gd name="T3" fmla="*/ 0 h 1426"/>
                  <a:gd name="T4" fmla="*/ 82 w 945"/>
                  <a:gd name="T5" fmla="*/ 0 h 1426"/>
                  <a:gd name="T6" fmla="*/ 175 w 945"/>
                  <a:gd name="T7" fmla="*/ 0 h 1426"/>
                  <a:gd name="T8" fmla="*/ 276 w 945"/>
                  <a:gd name="T9" fmla="*/ 0 h 1426"/>
                  <a:gd name="T10" fmla="*/ 350 w 945"/>
                  <a:gd name="T11" fmla="*/ 0 h 1426"/>
                  <a:gd name="T12" fmla="*/ 331 w 945"/>
                  <a:gd name="T13" fmla="*/ 0 h 1426"/>
                  <a:gd name="T14" fmla="*/ 445 w 945"/>
                  <a:gd name="T15" fmla="*/ 0 h 1426"/>
                  <a:gd name="T16" fmla="*/ 501 w 945"/>
                  <a:gd name="T17" fmla="*/ 0 h 1426"/>
                  <a:gd name="T18" fmla="*/ 420 w 945"/>
                  <a:gd name="T19" fmla="*/ 0 h 1426"/>
                  <a:gd name="T20" fmla="*/ 520 w 945"/>
                  <a:gd name="T21" fmla="*/ 0 h 1426"/>
                  <a:gd name="T22" fmla="*/ 520 w 945"/>
                  <a:gd name="T23" fmla="*/ 0 h 1426"/>
                  <a:gd name="T24" fmla="*/ 714 w 945"/>
                  <a:gd name="T25" fmla="*/ 0 h 1426"/>
                  <a:gd name="T26" fmla="*/ 732 w 945"/>
                  <a:gd name="T27" fmla="*/ 0 h 1426"/>
                  <a:gd name="T28" fmla="*/ 795 w 945"/>
                  <a:gd name="T29" fmla="*/ 0 h 1426"/>
                  <a:gd name="T30" fmla="*/ 607 w 945"/>
                  <a:gd name="T31" fmla="*/ 0 h 1426"/>
                  <a:gd name="T32" fmla="*/ 707 w 945"/>
                  <a:gd name="T33" fmla="*/ 0 h 1426"/>
                  <a:gd name="T34" fmla="*/ 820 w 945"/>
                  <a:gd name="T35" fmla="*/ 0 h 1426"/>
                  <a:gd name="T36" fmla="*/ 901 w 945"/>
                  <a:gd name="T37" fmla="*/ 0 h 1426"/>
                  <a:gd name="T38" fmla="*/ 801 w 945"/>
                  <a:gd name="T39" fmla="*/ 0 h 1426"/>
                  <a:gd name="T40" fmla="*/ 870 w 945"/>
                  <a:gd name="T41" fmla="*/ 0 h 1426"/>
                  <a:gd name="T42" fmla="*/ 807 w 945"/>
                  <a:gd name="T43" fmla="*/ 0 h 1426"/>
                  <a:gd name="T44" fmla="*/ 820 w 945"/>
                  <a:gd name="T45" fmla="*/ 0 h 1426"/>
                  <a:gd name="T46" fmla="*/ 801 w 945"/>
                  <a:gd name="T47" fmla="*/ 0 h 1426"/>
                  <a:gd name="T48" fmla="*/ 827 w 945"/>
                  <a:gd name="T49" fmla="*/ 0 h 1426"/>
                  <a:gd name="T50" fmla="*/ 795 w 945"/>
                  <a:gd name="T51" fmla="*/ 0 h 1426"/>
                  <a:gd name="T52" fmla="*/ 814 w 945"/>
                  <a:gd name="T53" fmla="*/ 0 h 1426"/>
                  <a:gd name="T54" fmla="*/ 820 w 945"/>
                  <a:gd name="T55" fmla="*/ 0 h 1426"/>
                  <a:gd name="T56" fmla="*/ 720 w 945"/>
                  <a:gd name="T57" fmla="*/ 0 h 1426"/>
                  <a:gd name="T58" fmla="*/ 740 w 945"/>
                  <a:gd name="T59" fmla="*/ 0 h 1426"/>
                  <a:gd name="T60" fmla="*/ 795 w 945"/>
                  <a:gd name="T61" fmla="*/ 0 h 1426"/>
                  <a:gd name="T62" fmla="*/ 789 w 945"/>
                  <a:gd name="T63" fmla="*/ 0 h 1426"/>
                  <a:gd name="T64" fmla="*/ 707 w 945"/>
                  <a:gd name="T65" fmla="*/ 0 h 1426"/>
                  <a:gd name="T66" fmla="*/ 726 w 945"/>
                  <a:gd name="T67" fmla="*/ 0 h 1426"/>
                  <a:gd name="T68" fmla="*/ 726 w 945"/>
                  <a:gd name="T69" fmla="*/ 0 h 1426"/>
                  <a:gd name="T70" fmla="*/ 639 w 945"/>
                  <a:gd name="T71" fmla="*/ 0 h 1426"/>
                  <a:gd name="T72" fmla="*/ 576 w 945"/>
                  <a:gd name="T73" fmla="*/ 0 h 1426"/>
                  <a:gd name="T74" fmla="*/ 551 w 945"/>
                  <a:gd name="T75" fmla="*/ 0 h 1426"/>
                  <a:gd name="T76" fmla="*/ 494 w 945"/>
                  <a:gd name="T77" fmla="*/ 0 h 1426"/>
                  <a:gd name="T78" fmla="*/ 494 w 945"/>
                  <a:gd name="T79" fmla="*/ 0 h 1426"/>
                  <a:gd name="T80" fmla="*/ 494 w 945"/>
                  <a:gd name="T81" fmla="*/ 0 h 1426"/>
                  <a:gd name="T82" fmla="*/ 456 w 945"/>
                  <a:gd name="T83" fmla="*/ 0 h 1426"/>
                  <a:gd name="T84" fmla="*/ 387 w 945"/>
                  <a:gd name="T85" fmla="*/ 0 h 1426"/>
                  <a:gd name="T86" fmla="*/ 369 w 945"/>
                  <a:gd name="T87" fmla="*/ 0 h 1426"/>
                  <a:gd name="T88" fmla="*/ 337 w 945"/>
                  <a:gd name="T89" fmla="*/ 0 h 1426"/>
                  <a:gd name="T90" fmla="*/ 326 w 945"/>
                  <a:gd name="T91" fmla="*/ 0 h 1426"/>
                  <a:gd name="T92" fmla="*/ 319 w 945"/>
                  <a:gd name="T93" fmla="*/ 0 h 1426"/>
                  <a:gd name="T94" fmla="*/ 313 w 945"/>
                  <a:gd name="T95" fmla="*/ 0 h 1426"/>
                  <a:gd name="T96" fmla="*/ 326 w 945"/>
                  <a:gd name="T97" fmla="*/ 0 h 1426"/>
                  <a:gd name="T98" fmla="*/ 350 w 945"/>
                  <a:gd name="T99" fmla="*/ 0 h 1426"/>
                  <a:gd name="T100" fmla="*/ 331 w 945"/>
                  <a:gd name="T101" fmla="*/ 0 h 1426"/>
                  <a:gd name="T102" fmla="*/ 300 w 945"/>
                  <a:gd name="T103" fmla="*/ 0 h 1426"/>
                  <a:gd name="T104" fmla="*/ 276 w 945"/>
                  <a:gd name="T105" fmla="*/ 0 h 1426"/>
                  <a:gd name="T106" fmla="*/ 257 w 945"/>
                  <a:gd name="T107" fmla="*/ 0 h 1426"/>
                  <a:gd name="T108" fmla="*/ 188 w 945"/>
                  <a:gd name="T109" fmla="*/ 0 h 1426"/>
                  <a:gd name="T110" fmla="*/ 106 w 945"/>
                  <a:gd name="T111" fmla="*/ 0 h 1426"/>
                  <a:gd name="T112" fmla="*/ 25 w 945"/>
                  <a:gd name="T113" fmla="*/ 0 h 1426"/>
                  <a:gd name="T114" fmla="*/ 106 w 945"/>
                  <a:gd name="T115" fmla="*/ 0 h 14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945" h="1426">
                    <a:moveTo>
                      <a:pt x="0" y="402"/>
                    </a:moveTo>
                    <a:lnTo>
                      <a:pt x="6" y="379"/>
                    </a:lnTo>
                    <a:lnTo>
                      <a:pt x="68" y="346"/>
                    </a:lnTo>
                    <a:lnTo>
                      <a:pt x="106" y="346"/>
                    </a:lnTo>
                    <a:lnTo>
                      <a:pt x="131" y="312"/>
                    </a:lnTo>
                    <a:lnTo>
                      <a:pt x="125" y="302"/>
                    </a:lnTo>
                    <a:lnTo>
                      <a:pt x="137" y="290"/>
                    </a:lnTo>
                    <a:lnTo>
                      <a:pt x="125" y="279"/>
                    </a:lnTo>
                    <a:lnTo>
                      <a:pt x="144" y="267"/>
                    </a:lnTo>
                    <a:lnTo>
                      <a:pt x="137" y="256"/>
                    </a:lnTo>
                    <a:lnTo>
                      <a:pt x="112" y="279"/>
                    </a:lnTo>
                    <a:lnTo>
                      <a:pt x="82" y="244"/>
                    </a:lnTo>
                    <a:lnTo>
                      <a:pt x="119" y="233"/>
                    </a:lnTo>
                    <a:lnTo>
                      <a:pt x="137" y="189"/>
                    </a:lnTo>
                    <a:lnTo>
                      <a:pt x="181" y="189"/>
                    </a:lnTo>
                    <a:lnTo>
                      <a:pt x="175" y="135"/>
                    </a:lnTo>
                    <a:lnTo>
                      <a:pt x="212" y="135"/>
                    </a:lnTo>
                    <a:lnTo>
                      <a:pt x="244" y="168"/>
                    </a:lnTo>
                    <a:lnTo>
                      <a:pt x="200" y="123"/>
                    </a:lnTo>
                    <a:lnTo>
                      <a:pt x="276" y="100"/>
                    </a:lnTo>
                    <a:lnTo>
                      <a:pt x="295" y="123"/>
                    </a:lnTo>
                    <a:lnTo>
                      <a:pt x="295" y="156"/>
                    </a:lnTo>
                    <a:lnTo>
                      <a:pt x="307" y="123"/>
                    </a:lnTo>
                    <a:lnTo>
                      <a:pt x="350" y="156"/>
                    </a:lnTo>
                    <a:lnTo>
                      <a:pt x="331" y="123"/>
                    </a:lnTo>
                    <a:lnTo>
                      <a:pt x="356" y="135"/>
                    </a:lnTo>
                    <a:lnTo>
                      <a:pt x="337" y="112"/>
                    </a:lnTo>
                    <a:lnTo>
                      <a:pt x="331" y="89"/>
                    </a:lnTo>
                    <a:lnTo>
                      <a:pt x="345" y="89"/>
                    </a:lnTo>
                    <a:lnTo>
                      <a:pt x="432" y="145"/>
                    </a:lnTo>
                    <a:lnTo>
                      <a:pt x="425" y="123"/>
                    </a:lnTo>
                    <a:lnTo>
                      <a:pt x="445" y="123"/>
                    </a:lnTo>
                    <a:lnTo>
                      <a:pt x="432" y="100"/>
                    </a:lnTo>
                    <a:lnTo>
                      <a:pt x="463" y="112"/>
                    </a:lnTo>
                    <a:lnTo>
                      <a:pt x="413" y="66"/>
                    </a:lnTo>
                    <a:lnTo>
                      <a:pt x="501" y="89"/>
                    </a:lnTo>
                    <a:lnTo>
                      <a:pt x="482" y="66"/>
                    </a:lnTo>
                    <a:lnTo>
                      <a:pt x="432" y="56"/>
                    </a:lnTo>
                    <a:lnTo>
                      <a:pt x="451" y="56"/>
                    </a:lnTo>
                    <a:lnTo>
                      <a:pt x="420" y="35"/>
                    </a:lnTo>
                    <a:lnTo>
                      <a:pt x="456" y="45"/>
                    </a:lnTo>
                    <a:lnTo>
                      <a:pt x="438" y="35"/>
                    </a:lnTo>
                    <a:lnTo>
                      <a:pt x="456" y="22"/>
                    </a:lnTo>
                    <a:lnTo>
                      <a:pt x="520" y="66"/>
                    </a:lnTo>
                    <a:lnTo>
                      <a:pt x="512" y="45"/>
                    </a:lnTo>
                    <a:lnTo>
                      <a:pt x="544" y="35"/>
                    </a:lnTo>
                    <a:lnTo>
                      <a:pt x="520" y="35"/>
                    </a:lnTo>
                    <a:lnTo>
                      <a:pt x="520" y="12"/>
                    </a:lnTo>
                    <a:lnTo>
                      <a:pt x="532" y="0"/>
                    </a:lnTo>
                    <a:lnTo>
                      <a:pt x="707" y="12"/>
                    </a:lnTo>
                    <a:lnTo>
                      <a:pt x="720" y="22"/>
                    </a:lnTo>
                    <a:lnTo>
                      <a:pt x="714" y="35"/>
                    </a:lnTo>
                    <a:lnTo>
                      <a:pt x="601" y="35"/>
                    </a:lnTo>
                    <a:lnTo>
                      <a:pt x="614" y="45"/>
                    </a:lnTo>
                    <a:lnTo>
                      <a:pt x="570" y="56"/>
                    </a:lnTo>
                    <a:lnTo>
                      <a:pt x="732" y="35"/>
                    </a:lnTo>
                    <a:lnTo>
                      <a:pt x="740" y="56"/>
                    </a:lnTo>
                    <a:lnTo>
                      <a:pt x="714" y="66"/>
                    </a:lnTo>
                    <a:lnTo>
                      <a:pt x="751" y="56"/>
                    </a:lnTo>
                    <a:lnTo>
                      <a:pt x="795" y="79"/>
                    </a:lnTo>
                    <a:lnTo>
                      <a:pt x="732" y="123"/>
                    </a:lnTo>
                    <a:lnTo>
                      <a:pt x="626" y="112"/>
                    </a:lnTo>
                    <a:lnTo>
                      <a:pt x="650" y="123"/>
                    </a:lnTo>
                    <a:lnTo>
                      <a:pt x="607" y="135"/>
                    </a:lnTo>
                    <a:lnTo>
                      <a:pt x="607" y="156"/>
                    </a:lnTo>
                    <a:lnTo>
                      <a:pt x="726" y="123"/>
                    </a:lnTo>
                    <a:lnTo>
                      <a:pt x="732" y="135"/>
                    </a:lnTo>
                    <a:lnTo>
                      <a:pt x="707" y="168"/>
                    </a:lnTo>
                    <a:lnTo>
                      <a:pt x="782" y="123"/>
                    </a:lnTo>
                    <a:lnTo>
                      <a:pt x="789" y="168"/>
                    </a:lnTo>
                    <a:lnTo>
                      <a:pt x="751" y="244"/>
                    </a:lnTo>
                    <a:lnTo>
                      <a:pt x="820" y="156"/>
                    </a:lnTo>
                    <a:lnTo>
                      <a:pt x="820" y="168"/>
                    </a:lnTo>
                    <a:lnTo>
                      <a:pt x="857" y="168"/>
                    </a:lnTo>
                    <a:lnTo>
                      <a:pt x="864" y="135"/>
                    </a:lnTo>
                    <a:lnTo>
                      <a:pt x="901" y="135"/>
                    </a:lnTo>
                    <a:lnTo>
                      <a:pt x="945" y="156"/>
                    </a:lnTo>
                    <a:lnTo>
                      <a:pt x="901" y="200"/>
                    </a:lnTo>
                    <a:lnTo>
                      <a:pt x="907" y="212"/>
                    </a:lnTo>
                    <a:lnTo>
                      <a:pt x="801" y="233"/>
                    </a:lnTo>
                    <a:lnTo>
                      <a:pt x="889" y="233"/>
                    </a:lnTo>
                    <a:lnTo>
                      <a:pt x="820" y="267"/>
                    </a:lnTo>
                    <a:lnTo>
                      <a:pt x="827" y="290"/>
                    </a:lnTo>
                    <a:lnTo>
                      <a:pt x="870" y="267"/>
                    </a:lnTo>
                    <a:lnTo>
                      <a:pt x="839" y="302"/>
                    </a:lnTo>
                    <a:lnTo>
                      <a:pt x="832" y="335"/>
                    </a:lnTo>
                    <a:lnTo>
                      <a:pt x="839" y="323"/>
                    </a:lnTo>
                    <a:lnTo>
                      <a:pt x="807" y="356"/>
                    </a:lnTo>
                    <a:lnTo>
                      <a:pt x="801" y="435"/>
                    </a:lnTo>
                    <a:lnTo>
                      <a:pt x="814" y="425"/>
                    </a:lnTo>
                    <a:lnTo>
                      <a:pt x="839" y="435"/>
                    </a:lnTo>
                    <a:lnTo>
                      <a:pt x="820" y="435"/>
                    </a:lnTo>
                    <a:lnTo>
                      <a:pt x="820" y="456"/>
                    </a:lnTo>
                    <a:lnTo>
                      <a:pt x="851" y="469"/>
                    </a:lnTo>
                    <a:lnTo>
                      <a:pt x="857" y="490"/>
                    </a:lnTo>
                    <a:lnTo>
                      <a:pt x="801" y="490"/>
                    </a:lnTo>
                    <a:lnTo>
                      <a:pt x="814" y="500"/>
                    </a:lnTo>
                    <a:lnTo>
                      <a:pt x="789" y="500"/>
                    </a:lnTo>
                    <a:lnTo>
                      <a:pt x="801" y="534"/>
                    </a:lnTo>
                    <a:lnTo>
                      <a:pt x="827" y="534"/>
                    </a:lnTo>
                    <a:lnTo>
                      <a:pt x="814" y="557"/>
                    </a:lnTo>
                    <a:lnTo>
                      <a:pt x="832" y="569"/>
                    </a:lnTo>
                    <a:lnTo>
                      <a:pt x="832" y="602"/>
                    </a:lnTo>
                    <a:lnTo>
                      <a:pt x="795" y="579"/>
                    </a:lnTo>
                    <a:lnTo>
                      <a:pt x="820" y="602"/>
                    </a:lnTo>
                    <a:lnTo>
                      <a:pt x="801" y="613"/>
                    </a:lnTo>
                    <a:lnTo>
                      <a:pt x="814" y="613"/>
                    </a:lnTo>
                    <a:lnTo>
                      <a:pt x="814" y="636"/>
                    </a:lnTo>
                    <a:lnTo>
                      <a:pt x="839" y="646"/>
                    </a:lnTo>
                    <a:lnTo>
                      <a:pt x="795" y="646"/>
                    </a:lnTo>
                    <a:lnTo>
                      <a:pt x="789" y="657"/>
                    </a:lnTo>
                    <a:lnTo>
                      <a:pt x="820" y="690"/>
                    </a:lnTo>
                    <a:lnTo>
                      <a:pt x="820" y="713"/>
                    </a:lnTo>
                    <a:lnTo>
                      <a:pt x="789" y="725"/>
                    </a:lnTo>
                    <a:lnTo>
                      <a:pt x="764" y="690"/>
                    </a:lnTo>
                    <a:lnTo>
                      <a:pt x="720" y="725"/>
                    </a:lnTo>
                    <a:lnTo>
                      <a:pt x="751" y="736"/>
                    </a:lnTo>
                    <a:lnTo>
                      <a:pt x="720" y="757"/>
                    </a:lnTo>
                    <a:lnTo>
                      <a:pt x="751" y="757"/>
                    </a:lnTo>
                    <a:lnTo>
                      <a:pt x="740" y="790"/>
                    </a:lnTo>
                    <a:lnTo>
                      <a:pt x="751" y="769"/>
                    </a:lnTo>
                    <a:lnTo>
                      <a:pt x="789" y="801"/>
                    </a:lnTo>
                    <a:lnTo>
                      <a:pt x="776" y="824"/>
                    </a:lnTo>
                    <a:lnTo>
                      <a:pt x="795" y="813"/>
                    </a:lnTo>
                    <a:lnTo>
                      <a:pt x="789" y="846"/>
                    </a:lnTo>
                    <a:lnTo>
                      <a:pt x="801" y="834"/>
                    </a:lnTo>
                    <a:lnTo>
                      <a:pt x="801" y="892"/>
                    </a:lnTo>
                    <a:lnTo>
                      <a:pt x="789" y="869"/>
                    </a:lnTo>
                    <a:lnTo>
                      <a:pt x="789" y="892"/>
                    </a:lnTo>
                    <a:lnTo>
                      <a:pt x="770" y="892"/>
                    </a:lnTo>
                    <a:lnTo>
                      <a:pt x="751" y="834"/>
                    </a:lnTo>
                    <a:lnTo>
                      <a:pt x="707" y="813"/>
                    </a:lnTo>
                    <a:lnTo>
                      <a:pt x="740" y="846"/>
                    </a:lnTo>
                    <a:lnTo>
                      <a:pt x="695" y="859"/>
                    </a:lnTo>
                    <a:lnTo>
                      <a:pt x="689" y="892"/>
                    </a:lnTo>
                    <a:lnTo>
                      <a:pt x="726" y="903"/>
                    </a:lnTo>
                    <a:lnTo>
                      <a:pt x="689" y="913"/>
                    </a:lnTo>
                    <a:lnTo>
                      <a:pt x="740" y="892"/>
                    </a:lnTo>
                    <a:lnTo>
                      <a:pt x="789" y="924"/>
                    </a:lnTo>
                    <a:lnTo>
                      <a:pt x="726" y="991"/>
                    </a:lnTo>
                    <a:lnTo>
                      <a:pt x="669" y="1026"/>
                    </a:lnTo>
                    <a:lnTo>
                      <a:pt x="645" y="1026"/>
                    </a:lnTo>
                    <a:lnTo>
                      <a:pt x="632" y="991"/>
                    </a:lnTo>
                    <a:lnTo>
                      <a:pt x="639" y="1026"/>
                    </a:lnTo>
                    <a:lnTo>
                      <a:pt x="620" y="1047"/>
                    </a:lnTo>
                    <a:lnTo>
                      <a:pt x="601" y="1114"/>
                    </a:lnTo>
                    <a:lnTo>
                      <a:pt x="581" y="1114"/>
                    </a:lnTo>
                    <a:lnTo>
                      <a:pt x="576" y="1136"/>
                    </a:lnTo>
                    <a:lnTo>
                      <a:pt x="557" y="1136"/>
                    </a:lnTo>
                    <a:lnTo>
                      <a:pt x="551" y="1136"/>
                    </a:lnTo>
                    <a:lnTo>
                      <a:pt x="563" y="1114"/>
                    </a:lnTo>
                    <a:lnTo>
                      <a:pt x="551" y="1114"/>
                    </a:lnTo>
                    <a:lnTo>
                      <a:pt x="544" y="1159"/>
                    </a:lnTo>
                    <a:lnTo>
                      <a:pt x="512" y="1159"/>
                    </a:lnTo>
                    <a:lnTo>
                      <a:pt x="512" y="1193"/>
                    </a:lnTo>
                    <a:lnTo>
                      <a:pt x="494" y="1193"/>
                    </a:lnTo>
                    <a:lnTo>
                      <a:pt x="512" y="1214"/>
                    </a:lnTo>
                    <a:lnTo>
                      <a:pt x="494" y="1224"/>
                    </a:lnTo>
                    <a:lnTo>
                      <a:pt x="507" y="1247"/>
                    </a:lnTo>
                    <a:lnTo>
                      <a:pt x="494" y="1247"/>
                    </a:lnTo>
                    <a:lnTo>
                      <a:pt x="507" y="1258"/>
                    </a:lnTo>
                    <a:lnTo>
                      <a:pt x="494" y="1281"/>
                    </a:lnTo>
                    <a:lnTo>
                      <a:pt x="482" y="1281"/>
                    </a:lnTo>
                    <a:lnTo>
                      <a:pt x="494" y="1291"/>
                    </a:lnTo>
                    <a:lnTo>
                      <a:pt x="470" y="1303"/>
                    </a:lnTo>
                    <a:lnTo>
                      <a:pt x="482" y="1347"/>
                    </a:lnTo>
                    <a:lnTo>
                      <a:pt x="470" y="1402"/>
                    </a:lnTo>
                    <a:lnTo>
                      <a:pt x="456" y="1402"/>
                    </a:lnTo>
                    <a:lnTo>
                      <a:pt x="470" y="1426"/>
                    </a:lnTo>
                    <a:lnTo>
                      <a:pt x="438" y="1426"/>
                    </a:lnTo>
                    <a:lnTo>
                      <a:pt x="432" y="1391"/>
                    </a:lnTo>
                    <a:lnTo>
                      <a:pt x="387" y="1391"/>
                    </a:lnTo>
                    <a:lnTo>
                      <a:pt x="401" y="1381"/>
                    </a:lnTo>
                    <a:lnTo>
                      <a:pt x="376" y="1370"/>
                    </a:lnTo>
                    <a:lnTo>
                      <a:pt x="387" y="1358"/>
                    </a:lnTo>
                    <a:lnTo>
                      <a:pt x="369" y="1358"/>
                    </a:lnTo>
                    <a:lnTo>
                      <a:pt x="376" y="1326"/>
                    </a:lnTo>
                    <a:lnTo>
                      <a:pt x="369" y="1337"/>
                    </a:lnTo>
                    <a:lnTo>
                      <a:pt x="337" y="1258"/>
                    </a:lnTo>
                    <a:lnTo>
                      <a:pt x="337" y="1237"/>
                    </a:lnTo>
                    <a:lnTo>
                      <a:pt x="356" y="1203"/>
                    </a:lnTo>
                    <a:lnTo>
                      <a:pt x="350" y="1193"/>
                    </a:lnTo>
                    <a:lnTo>
                      <a:pt x="326" y="1224"/>
                    </a:lnTo>
                    <a:lnTo>
                      <a:pt x="326" y="1170"/>
                    </a:lnTo>
                    <a:lnTo>
                      <a:pt x="307" y="1136"/>
                    </a:lnTo>
                    <a:lnTo>
                      <a:pt x="313" y="1091"/>
                    </a:lnTo>
                    <a:lnTo>
                      <a:pt x="300" y="1070"/>
                    </a:lnTo>
                    <a:lnTo>
                      <a:pt x="319" y="1026"/>
                    </a:lnTo>
                    <a:lnTo>
                      <a:pt x="307" y="1026"/>
                    </a:lnTo>
                    <a:lnTo>
                      <a:pt x="345" y="1026"/>
                    </a:lnTo>
                    <a:lnTo>
                      <a:pt x="345" y="1003"/>
                    </a:lnTo>
                    <a:lnTo>
                      <a:pt x="313" y="1003"/>
                    </a:lnTo>
                    <a:lnTo>
                      <a:pt x="356" y="968"/>
                    </a:lnTo>
                    <a:lnTo>
                      <a:pt x="345" y="957"/>
                    </a:lnTo>
                    <a:lnTo>
                      <a:pt x="356" y="913"/>
                    </a:lnTo>
                    <a:lnTo>
                      <a:pt x="326" y="913"/>
                    </a:lnTo>
                    <a:lnTo>
                      <a:pt x="287" y="880"/>
                    </a:lnTo>
                    <a:lnTo>
                      <a:pt x="350" y="903"/>
                    </a:lnTo>
                    <a:lnTo>
                      <a:pt x="337" y="880"/>
                    </a:lnTo>
                    <a:lnTo>
                      <a:pt x="350" y="880"/>
                    </a:lnTo>
                    <a:lnTo>
                      <a:pt x="326" y="846"/>
                    </a:lnTo>
                    <a:lnTo>
                      <a:pt x="331" y="834"/>
                    </a:lnTo>
                    <a:lnTo>
                      <a:pt x="319" y="846"/>
                    </a:lnTo>
                    <a:lnTo>
                      <a:pt x="331" y="834"/>
                    </a:lnTo>
                    <a:lnTo>
                      <a:pt x="313" y="834"/>
                    </a:lnTo>
                    <a:lnTo>
                      <a:pt x="331" y="824"/>
                    </a:lnTo>
                    <a:lnTo>
                      <a:pt x="307" y="801"/>
                    </a:lnTo>
                    <a:lnTo>
                      <a:pt x="300" y="834"/>
                    </a:lnTo>
                    <a:lnTo>
                      <a:pt x="276" y="834"/>
                    </a:lnTo>
                    <a:lnTo>
                      <a:pt x="269" y="824"/>
                    </a:lnTo>
                    <a:lnTo>
                      <a:pt x="287" y="801"/>
                    </a:lnTo>
                    <a:lnTo>
                      <a:pt x="276" y="801"/>
                    </a:lnTo>
                    <a:lnTo>
                      <a:pt x="287" y="746"/>
                    </a:lnTo>
                    <a:lnTo>
                      <a:pt x="276" y="736"/>
                    </a:lnTo>
                    <a:lnTo>
                      <a:pt x="281" y="713"/>
                    </a:lnTo>
                    <a:lnTo>
                      <a:pt x="257" y="646"/>
                    </a:lnTo>
                    <a:lnTo>
                      <a:pt x="262" y="646"/>
                    </a:lnTo>
                    <a:lnTo>
                      <a:pt x="225" y="592"/>
                    </a:lnTo>
                    <a:lnTo>
                      <a:pt x="225" y="569"/>
                    </a:lnTo>
                    <a:lnTo>
                      <a:pt x="188" y="546"/>
                    </a:lnTo>
                    <a:lnTo>
                      <a:pt x="156" y="523"/>
                    </a:lnTo>
                    <a:lnTo>
                      <a:pt x="119" y="557"/>
                    </a:lnTo>
                    <a:lnTo>
                      <a:pt x="93" y="534"/>
                    </a:lnTo>
                    <a:lnTo>
                      <a:pt x="106" y="557"/>
                    </a:lnTo>
                    <a:lnTo>
                      <a:pt x="75" y="546"/>
                    </a:lnTo>
                    <a:lnTo>
                      <a:pt x="56" y="523"/>
                    </a:lnTo>
                    <a:lnTo>
                      <a:pt x="75" y="500"/>
                    </a:lnTo>
                    <a:lnTo>
                      <a:pt x="25" y="490"/>
                    </a:lnTo>
                    <a:lnTo>
                      <a:pt x="43" y="469"/>
                    </a:lnTo>
                    <a:lnTo>
                      <a:pt x="106" y="469"/>
                    </a:lnTo>
                    <a:lnTo>
                      <a:pt x="112" y="469"/>
                    </a:lnTo>
                    <a:lnTo>
                      <a:pt x="106" y="456"/>
                    </a:lnTo>
                    <a:lnTo>
                      <a:pt x="112" y="446"/>
                    </a:lnTo>
                    <a:lnTo>
                      <a:pt x="56" y="456"/>
                    </a:lnTo>
                    <a:lnTo>
                      <a:pt x="0" y="40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89" name="Freeform 358"/>
              <p:cNvSpPr>
                <a:spLocks/>
              </p:cNvSpPr>
              <p:nvPr/>
            </p:nvSpPr>
            <p:spPr bwMode="auto">
              <a:xfrm>
                <a:off x="1806" y="844"/>
                <a:ext cx="945" cy="712"/>
              </a:xfrm>
              <a:custGeom>
                <a:avLst/>
                <a:gdLst>
                  <a:gd name="T0" fmla="*/ 106 w 945"/>
                  <a:gd name="T1" fmla="*/ 0 h 1426"/>
                  <a:gd name="T2" fmla="*/ 125 w 945"/>
                  <a:gd name="T3" fmla="*/ 0 h 1426"/>
                  <a:gd name="T4" fmla="*/ 82 w 945"/>
                  <a:gd name="T5" fmla="*/ 0 h 1426"/>
                  <a:gd name="T6" fmla="*/ 175 w 945"/>
                  <a:gd name="T7" fmla="*/ 0 h 1426"/>
                  <a:gd name="T8" fmla="*/ 276 w 945"/>
                  <a:gd name="T9" fmla="*/ 0 h 1426"/>
                  <a:gd name="T10" fmla="*/ 350 w 945"/>
                  <a:gd name="T11" fmla="*/ 0 h 1426"/>
                  <a:gd name="T12" fmla="*/ 331 w 945"/>
                  <a:gd name="T13" fmla="*/ 0 h 1426"/>
                  <a:gd name="T14" fmla="*/ 445 w 945"/>
                  <a:gd name="T15" fmla="*/ 0 h 1426"/>
                  <a:gd name="T16" fmla="*/ 501 w 945"/>
                  <a:gd name="T17" fmla="*/ 0 h 1426"/>
                  <a:gd name="T18" fmla="*/ 420 w 945"/>
                  <a:gd name="T19" fmla="*/ 0 h 1426"/>
                  <a:gd name="T20" fmla="*/ 520 w 945"/>
                  <a:gd name="T21" fmla="*/ 0 h 1426"/>
                  <a:gd name="T22" fmla="*/ 520 w 945"/>
                  <a:gd name="T23" fmla="*/ 0 h 1426"/>
                  <a:gd name="T24" fmla="*/ 714 w 945"/>
                  <a:gd name="T25" fmla="*/ 0 h 1426"/>
                  <a:gd name="T26" fmla="*/ 732 w 945"/>
                  <a:gd name="T27" fmla="*/ 0 h 1426"/>
                  <a:gd name="T28" fmla="*/ 795 w 945"/>
                  <a:gd name="T29" fmla="*/ 0 h 1426"/>
                  <a:gd name="T30" fmla="*/ 607 w 945"/>
                  <a:gd name="T31" fmla="*/ 0 h 1426"/>
                  <a:gd name="T32" fmla="*/ 707 w 945"/>
                  <a:gd name="T33" fmla="*/ 0 h 1426"/>
                  <a:gd name="T34" fmla="*/ 820 w 945"/>
                  <a:gd name="T35" fmla="*/ 0 h 1426"/>
                  <a:gd name="T36" fmla="*/ 901 w 945"/>
                  <a:gd name="T37" fmla="*/ 0 h 1426"/>
                  <a:gd name="T38" fmla="*/ 801 w 945"/>
                  <a:gd name="T39" fmla="*/ 0 h 1426"/>
                  <a:gd name="T40" fmla="*/ 870 w 945"/>
                  <a:gd name="T41" fmla="*/ 0 h 1426"/>
                  <a:gd name="T42" fmla="*/ 807 w 945"/>
                  <a:gd name="T43" fmla="*/ 0 h 1426"/>
                  <a:gd name="T44" fmla="*/ 820 w 945"/>
                  <a:gd name="T45" fmla="*/ 0 h 1426"/>
                  <a:gd name="T46" fmla="*/ 801 w 945"/>
                  <a:gd name="T47" fmla="*/ 0 h 1426"/>
                  <a:gd name="T48" fmla="*/ 827 w 945"/>
                  <a:gd name="T49" fmla="*/ 0 h 1426"/>
                  <a:gd name="T50" fmla="*/ 795 w 945"/>
                  <a:gd name="T51" fmla="*/ 0 h 1426"/>
                  <a:gd name="T52" fmla="*/ 814 w 945"/>
                  <a:gd name="T53" fmla="*/ 0 h 1426"/>
                  <a:gd name="T54" fmla="*/ 820 w 945"/>
                  <a:gd name="T55" fmla="*/ 0 h 1426"/>
                  <a:gd name="T56" fmla="*/ 720 w 945"/>
                  <a:gd name="T57" fmla="*/ 0 h 1426"/>
                  <a:gd name="T58" fmla="*/ 740 w 945"/>
                  <a:gd name="T59" fmla="*/ 0 h 1426"/>
                  <a:gd name="T60" fmla="*/ 795 w 945"/>
                  <a:gd name="T61" fmla="*/ 0 h 1426"/>
                  <a:gd name="T62" fmla="*/ 789 w 945"/>
                  <a:gd name="T63" fmla="*/ 0 h 1426"/>
                  <a:gd name="T64" fmla="*/ 707 w 945"/>
                  <a:gd name="T65" fmla="*/ 0 h 1426"/>
                  <a:gd name="T66" fmla="*/ 726 w 945"/>
                  <a:gd name="T67" fmla="*/ 0 h 1426"/>
                  <a:gd name="T68" fmla="*/ 726 w 945"/>
                  <a:gd name="T69" fmla="*/ 0 h 1426"/>
                  <a:gd name="T70" fmla="*/ 639 w 945"/>
                  <a:gd name="T71" fmla="*/ 0 h 1426"/>
                  <a:gd name="T72" fmla="*/ 576 w 945"/>
                  <a:gd name="T73" fmla="*/ 0 h 1426"/>
                  <a:gd name="T74" fmla="*/ 551 w 945"/>
                  <a:gd name="T75" fmla="*/ 0 h 1426"/>
                  <a:gd name="T76" fmla="*/ 494 w 945"/>
                  <a:gd name="T77" fmla="*/ 0 h 1426"/>
                  <a:gd name="T78" fmla="*/ 494 w 945"/>
                  <a:gd name="T79" fmla="*/ 0 h 1426"/>
                  <a:gd name="T80" fmla="*/ 494 w 945"/>
                  <a:gd name="T81" fmla="*/ 0 h 1426"/>
                  <a:gd name="T82" fmla="*/ 456 w 945"/>
                  <a:gd name="T83" fmla="*/ 0 h 1426"/>
                  <a:gd name="T84" fmla="*/ 387 w 945"/>
                  <a:gd name="T85" fmla="*/ 0 h 1426"/>
                  <a:gd name="T86" fmla="*/ 369 w 945"/>
                  <a:gd name="T87" fmla="*/ 0 h 1426"/>
                  <a:gd name="T88" fmla="*/ 337 w 945"/>
                  <a:gd name="T89" fmla="*/ 0 h 1426"/>
                  <a:gd name="T90" fmla="*/ 326 w 945"/>
                  <a:gd name="T91" fmla="*/ 0 h 1426"/>
                  <a:gd name="T92" fmla="*/ 319 w 945"/>
                  <a:gd name="T93" fmla="*/ 0 h 1426"/>
                  <a:gd name="T94" fmla="*/ 313 w 945"/>
                  <a:gd name="T95" fmla="*/ 0 h 1426"/>
                  <a:gd name="T96" fmla="*/ 326 w 945"/>
                  <a:gd name="T97" fmla="*/ 0 h 1426"/>
                  <a:gd name="T98" fmla="*/ 350 w 945"/>
                  <a:gd name="T99" fmla="*/ 0 h 1426"/>
                  <a:gd name="T100" fmla="*/ 331 w 945"/>
                  <a:gd name="T101" fmla="*/ 0 h 1426"/>
                  <a:gd name="T102" fmla="*/ 300 w 945"/>
                  <a:gd name="T103" fmla="*/ 0 h 1426"/>
                  <a:gd name="T104" fmla="*/ 276 w 945"/>
                  <a:gd name="T105" fmla="*/ 0 h 1426"/>
                  <a:gd name="T106" fmla="*/ 257 w 945"/>
                  <a:gd name="T107" fmla="*/ 0 h 1426"/>
                  <a:gd name="T108" fmla="*/ 188 w 945"/>
                  <a:gd name="T109" fmla="*/ 0 h 1426"/>
                  <a:gd name="T110" fmla="*/ 106 w 945"/>
                  <a:gd name="T111" fmla="*/ 0 h 1426"/>
                  <a:gd name="T112" fmla="*/ 25 w 945"/>
                  <a:gd name="T113" fmla="*/ 0 h 1426"/>
                  <a:gd name="T114" fmla="*/ 106 w 945"/>
                  <a:gd name="T115" fmla="*/ 0 h 14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945" h="1426">
                    <a:moveTo>
                      <a:pt x="0" y="402"/>
                    </a:moveTo>
                    <a:lnTo>
                      <a:pt x="6" y="379"/>
                    </a:lnTo>
                    <a:lnTo>
                      <a:pt x="68" y="346"/>
                    </a:lnTo>
                    <a:lnTo>
                      <a:pt x="106" y="346"/>
                    </a:lnTo>
                    <a:lnTo>
                      <a:pt x="131" y="312"/>
                    </a:lnTo>
                    <a:lnTo>
                      <a:pt x="125" y="302"/>
                    </a:lnTo>
                    <a:lnTo>
                      <a:pt x="137" y="290"/>
                    </a:lnTo>
                    <a:lnTo>
                      <a:pt x="125" y="279"/>
                    </a:lnTo>
                    <a:lnTo>
                      <a:pt x="144" y="267"/>
                    </a:lnTo>
                    <a:lnTo>
                      <a:pt x="137" y="256"/>
                    </a:lnTo>
                    <a:lnTo>
                      <a:pt x="112" y="279"/>
                    </a:lnTo>
                    <a:lnTo>
                      <a:pt x="82" y="244"/>
                    </a:lnTo>
                    <a:lnTo>
                      <a:pt x="119" y="233"/>
                    </a:lnTo>
                    <a:lnTo>
                      <a:pt x="137" y="189"/>
                    </a:lnTo>
                    <a:lnTo>
                      <a:pt x="181" y="189"/>
                    </a:lnTo>
                    <a:lnTo>
                      <a:pt x="175" y="135"/>
                    </a:lnTo>
                    <a:lnTo>
                      <a:pt x="212" y="135"/>
                    </a:lnTo>
                    <a:lnTo>
                      <a:pt x="244" y="168"/>
                    </a:lnTo>
                    <a:lnTo>
                      <a:pt x="200" y="123"/>
                    </a:lnTo>
                    <a:lnTo>
                      <a:pt x="276" y="100"/>
                    </a:lnTo>
                    <a:lnTo>
                      <a:pt x="295" y="123"/>
                    </a:lnTo>
                    <a:lnTo>
                      <a:pt x="295" y="156"/>
                    </a:lnTo>
                    <a:lnTo>
                      <a:pt x="307" y="123"/>
                    </a:lnTo>
                    <a:lnTo>
                      <a:pt x="350" y="156"/>
                    </a:lnTo>
                    <a:lnTo>
                      <a:pt x="331" y="123"/>
                    </a:lnTo>
                    <a:lnTo>
                      <a:pt x="356" y="135"/>
                    </a:lnTo>
                    <a:lnTo>
                      <a:pt x="337" y="112"/>
                    </a:lnTo>
                    <a:lnTo>
                      <a:pt x="331" y="89"/>
                    </a:lnTo>
                    <a:lnTo>
                      <a:pt x="345" y="89"/>
                    </a:lnTo>
                    <a:lnTo>
                      <a:pt x="432" y="145"/>
                    </a:lnTo>
                    <a:lnTo>
                      <a:pt x="425" y="123"/>
                    </a:lnTo>
                    <a:lnTo>
                      <a:pt x="445" y="123"/>
                    </a:lnTo>
                    <a:lnTo>
                      <a:pt x="432" y="100"/>
                    </a:lnTo>
                    <a:lnTo>
                      <a:pt x="463" y="112"/>
                    </a:lnTo>
                    <a:lnTo>
                      <a:pt x="413" y="66"/>
                    </a:lnTo>
                    <a:lnTo>
                      <a:pt x="501" y="89"/>
                    </a:lnTo>
                    <a:lnTo>
                      <a:pt x="482" y="66"/>
                    </a:lnTo>
                    <a:lnTo>
                      <a:pt x="432" y="56"/>
                    </a:lnTo>
                    <a:lnTo>
                      <a:pt x="451" y="56"/>
                    </a:lnTo>
                    <a:lnTo>
                      <a:pt x="420" y="35"/>
                    </a:lnTo>
                    <a:lnTo>
                      <a:pt x="456" y="45"/>
                    </a:lnTo>
                    <a:lnTo>
                      <a:pt x="438" y="35"/>
                    </a:lnTo>
                    <a:lnTo>
                      <a:pt x="456" y="22"/>
                    </a:lnTo>
                    <a:lnTo>
                      <a:pt x="520" y="66"/>
                    </a:lnTo>
                    <a:lnTo>
                      <a:pt x="512" y="45"/>
                    </a:lnTo>
                    <a:lnTo>
                      <a:pt x="544" y="35"/>
                    </a:lnTo>
                    <a:lnTo>
                      <a:pt x="520" y="35"/>
                    </a:lnTo>
                    <a:lnTo>
                      <a:pt x="520" y="12"/>
                    </a:lnTo>
                    <a:lnTo>
                      <a:pt x="532" y="0"/>
                    </a:lnTo>
                    <a:lnTo>
                      <a:pt x="707" y="12"/>
                    </a:lnTo>
                    <a:lnTo>
                      <a:pt x="720" y="22"/>
                    </a:lnTo>
                    <a:lnTo>
                      <a:pt x="714" y="35"/>
                    </a:lnTo>
                    <a:lnTo>
                      <a:pt x="601" y="35"/>
                    </a:lnTo>
                    <a:lnTo>
                      <a:pt x="614" y="45"/>
                    </a:lnTo>
                    <a:lnTo>
                      <a:pt x="570" y="56"/>
                    </a:lnTo>
                    <a:lnTo>
                      <a:pt x="732" y="35"/>
                    </a:lnTo>
                    <a:lnTo>
                      <a:pt x="740" y="56"/>
                    </a:lnTo>
                    <a:lnTo>
                      <a:pt x="714" y="66"/>
                    </a:lnTo>
                    <a:lnTo>
                      <a:pt x="751" y="56"/>
                    </a:lnTo>
                    <a:lnTo>
                      <a:pt x="795" y="79"/>
                    </a:lnTo>
                    <a:lnTo>
                      <a:pt x="732" y="123"/>
                    </a:lnTo>
                    <a:lnTo>
                      <a:pt x="626" y="112"/>
                    </a:lnTo>
                    <a:lnTo>
                      <a:pt x="650" y="123"/>
                    </a:lnTo>
                    <a:lnTo>
                      <a:pt x="607" y="135"/>
                    </a:lnTo>
                    <a:lnTo>
                      <a:pt x="607" y="156"/>
                    </a:lnTo>
                    <a:lnTo>
                      <a:pt x="726" y="123"/>
                    </a:lnTo>
                    <a:lnTo>
                      <a:pt x="732" y="135"/>
                    </a:lnTo>
                    <a:lnTo>
                      <a:pt x="707" y="168"/>
                    </a:lnTo>
                    <a:lnTo>
                      <a:pt x="782" y="123"/>
                    </a:lnTo>
                    <a:lnTo>
                      <a:pt x="789" y="168"/>
                    </a:lnTo>
                    <a:lnTo>
                      <a:pt x="751" y="244"/>
                    </a:lnTo>
                    <a:lnTo>
                      <a:pt x="820" y="156"/>
                    </a:lnTo>
                    <a:lnTo>
                      <a:pt x="820" y="168"/>
                    </a:lnTo>
                    <a:lnTo>
                      <a:pt x="857" y="168"/>
                    </a:lnTo>
                    <a:lnTo>
                      <a:pt x="864" y="135"/>
                    </a:lnTo>
                    <a:lnTo>
                      <a:pt x="901" y="135"/>
                    </a:lnTo>
                    <a:lnTo>
                      <a:pt x="945" y="156"/>
                    </a:lnTo>
                    <a:lnTo>
                      <a:pt x="901" y="200"/>
                    </a:lnTo>
                    <a:lnTo>
                      <a:pt x="907" y="212"/>
                    </a:lnTo>
                    <a:lnTo>
                      <a:pt x="801" y="233"/>
                    </a:lnTo>
                    <a:lnTo>
                      <a:pt x="889" y="233"/>
                    </a:lnTo>
                    <a:lnTo>
                      <a:pt x="820" y="267"/>
                    </a:lnTo>
                    <a:lnTo>
                      <a:pt x="827" y="290"/>
                    </a:lnTo>
                    <a:lnTo>
                      <a:pt x="870" y="267"/>
                    </a:lnTo>
                    <a:lnTo>
                      <a:pt x="839" y="302"/>
                    </a:lnTo>
                    <a:lnTo>
                      <a:pt x="832" y="335"/>
                    </a:lnTo>
                    <a:lnTo>
                      <a:pt x="839" y="323"/>
                    </a:lnTo>
                    <a:lnTo>
                      <a:pt x="807" y="356"/>
                    </a:lnTo>
                    <a:lnTo>
                      <a:pt x="801" y="435"/>
                    </a:lnTo>
                    <a:lnTo>
                      <a:pt x="814" y="425"/>
                    </a:lnTo>
                    <a:lnTo>
                      <a:pt x="839" y="435"/>
                    </a:lnTo>
                    <a:lnTo>
                      <a:pt x="820" y="435"/>
                    </a:lnTo>
                    <a:lnTo>
                      <a:pt x="820" y="456"/>
                    </a:lnTo>
                    <a:lnTo>
                      <a:pt x="851" y="469"/>
                    </a:lnTo>
                    <a:lnTo>
                      <a:pt x="857" y="490"/>
                    </a:lnTo>
                    <a:lnTo>
                      <a:pt x="801" y="490"/>
                    </a:lnTo>
                    <a:lnTo>
                      <a:pt x="814" y="500"/>
                    </a:lnTo>
                    <a:lnTo>
                      <a:pt x="789" y="500"/>
                    </a:lnTo>
                    <a:lnTo>
                      <a:pt x="801" y="534"/>
                    </a:lnTo>
                    <a:lnTo>
                      <a:pt x="827" y="534"/>
                    </a:lnTo>
                    <a:lnTo>
                      <a:pt x="814" y="557"/>
                    </a:lnTo>
                    <a:lnTo>
                      <a:pt x="832" y="569"/>
                    </a:lnTo>
                    <a:lnTo>
                      <a:pt x="832" y="602"/>
                    </a:lnTo>
                    <a:lnTo>
                      <a:pt x="795" y="579"/>
                    </a:lnTo>
                    <a:lnTo>
                      <a:pt x="820" y="602"/>
                    </a:lnTo>
                    <a:lnTo>
                      <a:pt x="801" y="613"/>
                    </a:lnTo>
                    <a:lnTo>
                      <a:pt x="814" y="613"/>
                    </a:lnTo>
                    <a:lnTo>
                      <a:pt x="814" y="636"/>
                    </a:lnTo>
                    <a:lnTo>
                      <a:pt x="839" y="646"/>
                    </a:lnTo>
                    <a:lnTo>
                      <a:pt x="795" y="646"/>
                    </a:lnTo>
                    <a:lnTo>
                      <a:pt x="789" y="657"/>
                    </a:lnTo>
                    <a:lnTo>
                      <a:pt x="820" y="690"/>
                    </a:lnTo>
                    <a:lnTo>
                      <a:pt x="820" y="713"/>
                    </a:lnTo>
                    <a:lnTo>
                      <a:pt x="789" y="725"/>
                    </a:lnTo>
                    <a:lnTo>
                      <a:pt x="764" y="690"/>
                    </a:lnTo>
                    <a:lnTo>
                      <a:pt x="720" y="725"/>
                    </a:lnTo>
                    <a:lnTo>
                      <a:pt x="751" y="736"/>
                    </a:lnTo>
                    <a:lnTo>
                      <a:pt x="720" y="757"/>
                    </a:lnTo>
                    <a:lnTo>
                      <a:pt x="751" y="757"/>
                    </a:lnTo>
                    <a:lnTo>
                      <a:pt x="740" y="790"/>
                    </a:lnTo>
                    <a:lnTo>
                      <a:pt x="751" y="769"/>
                    </a:lnTo>
                    <a:lnTo>
                      <a:pt x="789" y="801"/>
                    </a:lnTo>
                    <a:lnTo>
                      <a:pt x="776" y="824"/>
                    </a:lnTo>
                    <a:lnTo>
                      <a:pt x="795" y="813"/>
                    </a:lnTo>
                    <a:lnTo>
                      <a:pt x="789" y="846"/>
                    </a:lnTo>
                    <a:lnTo>
                      <a:pt x="801" y="834"/>
                    </a:lnTo>
                    <a:lnTo>
                      <a:pt x="801" y="892"/>
                    </a:lnTo>
                    <a:lnTo>
                      <a:pt x="789" y="869"/>
                    </a:lnTo>
                    <a:lnTo>
                      <a:pt x="789" y="892"/>
                    </a:lnTo>
                    <a:lnTo>
                      <a:pt x="770" y="892"/>
                    </a:lnTo>
                    <a:lnTo>
                      <a:pt x="751" y="834"/>
                    </a:lnTo>
                    <a:lnTo>
                      <a:pt x="707" y="813"/>
                    </a:lnTo>
                    <a:lnTo>
                      <a:pt x="740" y="846"/>
                    </a:lnTo>
                    <a:lnTo>
                      <a:pt x="695" y="859"/>
                    </a:lnTo>
                    <a:lnTo>
                      <a:pt x="689" y="892"/>
                    </a:lnTo>
                    <a:lnTo>
                      <a:pt x="726" y="903"/>
                    </a:lnTo>
                    <a:lnTo>
                      <a:pt x="689" y="913"/>
                    </a:lnTo>
                    <a:lnTo>
                      <a:pt x="740" y="892"/>
                    </a:lnTo>
                    <a:lnTo>
                      <a:pt x="789" y="924"/>
                    </a:lnTo>
                    <a:lnTo>
                      <a:pt x="726" y="991"/>
                    </a:lnTo>
                    <a:lnTo>
                      <a:pt x="669" y="1026"/>
                    </a:lnTo>
                    <a:lnTo>
                      <a:pt x="645" y="1026"/>
                    </a:lnTo>
                    <a:lnTo>
                      <a:pt x="632" y="991"/>
                    </a:lnTo>
                    <a:lnTo>
                      <a:pt x="639" y="1026"/>
                    </a:lnTo>
                    <a:lnTo>
                      <a:pt x="620" y="1047"/>
                    </a:lnTo>
                    <a:lnTo>
                      <a:pt x="601" y="1114"/>
                    </a:lnTo>
                    <a:lnTo>
                      <a:pt x="581" y="1114"/>
                    </a:lnTo>
                    <a:lnTo>
                      <a:pt x="576" y="1136"/>
                    </a:lnTo>
                    <a:lnTo>
                      <a:pt x="557" y="1136"/>
                    </a:lnTo>
                    <a:lnTo>
                      <a:pt x="551" y="1136"/>
                    </a:lnTo>
                    <a:lnTo>
                      <a:pt x="563" y="1114"/>
                    </a:lnTo>
                    <a:lnTo>
                      <a:pt x="551" y="1114"/>
                    </a:lnTo>
                    <a:lnTo>
                      <a:pt x="544" y="1159"/>
                    </a:lnTo>
                    <a:lnTo>
                      <a:pt x="512" y="1159"/>
                    </a:lnTo>
                    <a:lnTo>
                      <a:pt x="512" y="1193"/>
                    </a:lnTo>
                    <a:lnTo>
                      <a:pt x="494" y="1193"/>
                    </a:lnTo>
                    <a:lnTo>
                      <a:pt x="512" y="1214"/>
                    </a:lnTo>
                    <a:lnTo>
                      <a:pt x="494" y="1224"/>
                    </a:lnTo>
                    <a:lnTo>
                      <a:pt x="507" y="1247"/>
                    </a:lnTo>
                    <a:lnTo>
                      <a:pt x="494" y="1247"/>
                    </a:lnTo>
                    <a:lnTo>
                      <a:pt x="507" y="1258"/>
                    </a:lnTo>
                    <a:lnTo>
                      <a:pt x="494" y="1281"/>
                    </a:lnTo>
                    <a:lnTo>
                      <a:pt x="482" y="1281"/>
                    </a:lnTo>
                    <a:lnTo>
                      <a:pt x="494" y="1291"/>
                    </a:lnTo>
                    <a:lnTo>
                      <a:pt x="470" y="1303"/>
                    </a:lnTo>
                    <a:lnTo>
                      <a:pt x="482" y="1347"/>
                    </a:lnTo>
                    <a:lnTo>
                      <a:pt x="470" y="1402"/>
                    </a:lnTo>
                    <a:lnTo>
                      <a:pt x="456" y="1402"/>
                    </a:lnTo>
                    <a:lnTo>
                      <a:pt x="470" y="1426"/>
                    </a:lnTo>
                    <a:lnTo>
                      <a:pt x="438" y="1426"/>
                    </a:lnTo>
                    <a:lnTo>
                      <a:pt x="432" y="1391"/>
                    </a:lnTo>
                    <a:lnTo>
                      <a:pt x="387" y="1391"/>
                    </a:lnTo>
                    <a:lnTo>
                      <a:pt x="401" y="1381"/>
                    </a:lnTo>
                    <a:lnTo>
                      <a:pt x="376" y="1370"/>
                    </a:lnTo>
                    <a:lnTo>
                      <a:pt x="387" y="1358"/>
                    </a:lnTo>
                    <a:lnTo>
                      <a:pt x="369" y="1358"/>
                    </a:lnTo>
                    <a:lnTo>
                      <a:pt x="376" y="1326"/>
                    </a:lnTo>
                    <a:lnTo>
                      <a:pt x="369" y="1337"/>
                    </a:lnTo>
                    <a:lnTo>
                      <a:pt x="337" y="1258"/>
                    </a:lnTo>
                    <a:lnTo>
                      <a:pt x="337" y="1237"/>
                    </a:lnTo>
                    <a:lnTo>
                      <a:pt x="356" y="1203"/>
                    </a:lnTo>
                    <a:lnTo>
                      <a:pt x="350" y="1193"/>
                    </a:lnTo>
                    <a:lnTo>
                      <a:pt x="326" y="1224"/>
                    </a:lnTo>
                    <a:lnTo>
                      <a:pt x="326" y="1170"/>
                    </a:lnTo>
                    <a:lnTo>
                      <a:pt x="307" y="1136"/>
                    </a:lnTo>
                    <a:lnTo>
                      <a:pt x="313" y="1091"/>
                    </a:lnTo>
                    <a:lnTo>
                      <a:pt x="300" y="1070"/>
                    </a:lnTo>
                    <a:lnTo>
                      <a:pt x="319" y="1026"/>
                    </a:lnTo>
                    <a:lnTo>
                      <a:pt x="307" y="1026"/>
                    </a:lnTo>
                    <a:lnTo>
                      <a:pt x="345" y="1026"/>
                    </a:lnTo>
                    <a:lnTo>
                      <a:pt x="345" y="1003"/>
                    </a:lnTo>
                    <a:lnTo>
                      <a:pt x="313" y="1003"/>
                    </a:lnTo>
                    <a:lnTo>
                      <a:pt x="356" y="968"/>
                    </a:lnTo>
                    <a:lnTo>
                      <a:pt x="345" y="957"/>
                    </a:lnTo>
                    <a:lnTo>
                      <a:pt x="356" y="913"/>
                    </a:lnTo>
                    <a:lnTo>
                      <a:pt x="326" y="913"/>
                    </a:lnTo>
                    <a:lnTo>
                      <a:pt x="287" y="880"/>
                    </a:lnTo>
                    <a:lnTo>
                      <a:pt x="350" y="903"/>
                    </a:lnTo>
                    <a:lnTo>
                      <a:pt x="337" y="880"/>
                    </a:lnTo>
                    <a:lnTo>
                      <a:pt x="350" y="880"/>
                    </a:lnTo>
                    <a:lnTo>
                      <a:pt x="326" y="846"/>
                    </a:lnTo>
                    <a:lnTo>
                      <a:pt x="331" y="834"/>
                    </a:lnTo>
                    <a:lnTo>
                      <a:pt x="319" y="846"/>
                    </a:lnTo>
                    <a:lnTo>
                      <a:pt x="331" y="834"/>
                    </a:lnTo>
                    <a:lnTo>
                      <a:pt x="313" y="834"/>
                    </a:lnTo>
                    <a:lnTo>
                      <a:pt x="331" y="824"/>
                    </a:lnTo>
                    <a:lnTo>
                      <a:pt x="307" y="801"/>
                    </a:lnTo>
                    <a:lnTo>
                      <a:pt x="300" y="834"/>
                    </a:lnTo>
                    <a:lnTo>
                      <a:pt x="276" y="834"/>
                    </a:lnTo>
                    <a:lnTo>
                      <a:pt x="269" y="824"/>
                    </a:lnTo>
                    <a:lnTo>
                      <a:pt x="287" y="801"/>
                    </a:lnTo>
                    <a:lnTo>
                      <a:pt x="276" y="801"/>
                    </a:lnTo>
                    <a:lnTo>
                      <a:pt x="287" y="746"/>
                    </a:lnTo>
                    <a:lnTo>
                      <a:pt x="276" y="736"/>
                    </a:lnTo>
                    <a:lnTo>
                      <a:pt x="281" y="713"/>
                    </a:lnTo>
                    <a:lnTo>
                      <a:pt x="257" y="646"/>
                    </a:lnTo>
                    <a:lnTo>
                      <a:pt x="262" y="646"/>
                    </a:lnTo>
                    <a:lnTo>
                      <a:pt x="225" y="592"/>
                    </a:lnTo>
                    <a:lnTo>
                      <a:pt x="225" y="569"/>
                    </a:lnTo>
                    <a:lnTo>
                      <a:pt x="188" y="546"/>
                    </a:lnTo>
                    <a:lnTo>
                      <a:pt x="156" y="523"/>
                    </a:lnTo>
                    <a:lnTo>
                      <a:pt x="119" y="557"/>
                    </a:lnTo>
                    <a:lnTo>
                      <a:pt x="93" y="534"/>
                    </a:lnTo>
                    <a:lnTo>
                      <a:pt x="106" y="557"/>
                    </a:lnTo>
                    <a:lnTo>
                      <a:pt x="75" y="546"/>
                    </a:lnTo>
                    <a:lnTo>
                      <a:pt x="56" y="523"/>
                    </a:lnTo>
                    <a:lnTo>
                      <a:pt x="75" y="500"/>
                    </a:lnTo>
                    <a:lnTo>
                      <a:pt x="25" y="490"/>
                    </a:lnTo>
                    <a:lnTo>
                      <a:pt x="43" y="469"/>
                    </a:lnTo>
                    <a:lnTo>
                      <a:pt x="106" y="469"/>
                    </a:lnTo>
                    <a:lnTo>
                      <a:pt x="112" y="469"/>
                    </a:lnTo>
                    <a:lnTo>
                      <a:pt x="106" y="456"/>
                    </a:lnTo>
                    <a:lnTo>
                      <a:pt x="112" y="446"/>
                    </a:lnTo>
                    <a:lnTo>
                      <a:pt x="56" y="456"/>
                    </a:lnTo>
                    <a:lnTo>
                      <a:pt x="0" y="40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90" name="Freeform 359"/>
              <p:cNvSpPr>
                <a:spLocks/>
              </p:cNvSpPr>
              <p:nvPr/>
            </p:nvSpPr>
            <p:spPr bwMode="auto">
              <a:xfrm>
                <a:off x="1806" y="844"/>
                <a:ext cx="945" cy="712"/>
              </a:xfrm>
              <a:custGeom>
                <a:avLst/>
                <a:gdLst>
                  <a:gd name="T0" fmla="*/ 106 w 945"/>
                  <a:gd name="T1" fmla="*/ 0 h 1426"/>
                  <a:gd name="T2" fmla="*/ 125 w 945"/>
                  <a:gd name="T3" fmla="*/ 0 h 1426"/>
                  <a:gd name="T4" fmla="*/ 82 w 945"/>
                  <a:gd name="T5" fmla="*/ 0 h 1426"/>
                  <a:gd name="T6" fmla="*/ 175 w 945"/>
                  <a:gd name="T7" fmla="*/ 0 h 1426"/>
                  <a:gd name="T8" fmla="*/ 276 w 945"/>
                  <a:gd name="T9" fmla="*/ 0 h 1426"/>
                  <a:gd name="T10" fmla="*/ 350 w 945"/>
                  <a:gd name="T11" fmla="*/ 0 h 1426"/>
                  <a:gd name="T12" fmla="*/ 331 w 945"/>
                  <a:gd name="T13" fmla="*/ 0 h 1426"/>
                  <a:gd name="T14" fmla="*/ 445 w 945"/>
                  <a:gd name="T15" fmla="*/ 0 h 1426"/>
                  <a:gd name="T16" fmla="*/ 501 w 945"/>
                  <a:gd name="T17" fmla="*/ 0 h 1426"/>
                  <a:gd name="T18" fmla="*/ 420 w 945"/>
                  <a:gd name="T19" fmla="*/ 0 h 1426"/>
                  <a:gd name="T20" fmla="*/ 520 w 945"/>
                  <a:gd name="T21" fmla="*/ 0 h 1426"/>
                  <a:gd name="T22" fmla="*/ 520 w 945"/>
                  <a:gd name="T23" fmla="*/ 0 h 1426"/>
                  <a:gd name="T24" fmla="*/ 714 w 945"/>
                  <a:gd name="T25" fmla="*/ 0 h 1426"/>
                  <a:gd name="T26" fmla="*/ 732 w 945"/>
                  <a:gd name="T27" fmla="*/ 0 h 1426"/>
                  <a:gd name="T28" fmla="*/ 795 w 945"/>
                  <a:gd name="T29" fmla="*/ 0 h 1426"/>
                  <a:gd name="T30" fmla="*/ 607 w 945"/>
                  <a:gd name="T31" fmla="*/ 0 h 1426"/>
                  <a:gd name="T32" fmla="*/ 707 w 945"/>
                  <a:gd name="T33" fmla="*/ 0 h 1426"/>
                  <a:gd name="T34" fmla="*/ 820 w 945"/>
                  <a:gd name="T35" fmla="*/ 0 h 1426"/>
                  <a:gd name="T36" fmla="*/ 901 w 945"/>
                  <a:gd name="T37" fmla="*/ 0 h 1426"/>
                  <a:gd name="T38" fmla="*/ 801 w 945"/>
                  <a:gd name="T39" fmla="*/ 0 h 1426"/>
                  <a:gd name="T40" fmla="*/ 870 w 945"/>
                  <a:gd name="T41" fmla="*/ 0 h 1426"/>
                  <a:gd name="T42" fmla="*/ 807 w 945"/>
                  <a:gd name="T43" fmla="*/ 0 h 1426"/>
                  <a:gd name="T44" fmla="*/ 820 w 945"/>
                  <a:gd name="T45" fmla="*/ 0 h 1426"/>
                  <a:gd name="T46" fmla="*/ 801 w 945"/>
                  <a:gd name="T47" fmla="*/ 0 h 1426"/>
                  <a:gd name="T48" fmla="*/ 827 w 945"/>
                  <a:gd name="T49" fmla="*/ 0 h 1426"/>
                  <a:gd name="T50" fmla="*/ 795 w 945"/>
                  <a:gd name="T51" fmla="*/ 0 h 1426"/>
                  <a:gd name="T52" fmla="*/ 814 w 945"/>
                  <a:gd name="T53" fmla="*/ 0 h 1426"/>
                  <a:gd name="T54" fmla="*/ 820 w 945"/>
                  <a:gd name="T55" fmla="*/ 0 h 1426"/>
                  <a:gd name="T56" fmla="*/ 720 w 945"/>
                  <a:gd name="T57" fmla="*/ 0 h 1426"/>
                  <a:gd name="T58" fmla="*/ 740 w 945"/>
                  <a:gd name="T59" fmla="*/ 0 h 1426"/>
                  <a:gd name="T60" fmla="*/ 795 w 945"/>
                  <a:gd name="T61" fmla="*/ 0 h 1426"/>
                  <a:gd name="T62" fmla="*/ 789 w 945"/>
                  <a:gd name="T63" fmla="*/ 0 h 1426"/>
                  <a:gd name="T64" fmla="*/ 707 w 945"/>
                  <a:gd name="T65" fmla="*/ 0 h 1426"/>
                  <a:gd name="T66" fmla="*/ 726 w 945"/>
                  <a:gd name="T67" fmla="*/ 0 h 1426"/>
                  <a:gd name="T68" fmla="*/ 726 w 945"/>
                  <a:gd name="T69" fmla="*/ 0 h 1426"/>
                  <a:gd name="T70" fmla="*/ 639 w 945"/>
                  <a:gd name="T71" fmla="*/ 0 h 1426"/>
                  <a:gd name="T72" fmla="*/ 576 w 945"/>
                  <a:gd name="T73" fmla="*/ 0 h 1426"/>
                  <a:gd name="T74" fmla="*/ 551 w 945"/>
                  <a:gd name="T75" fmla="*/ 0 h 1426"/>
                  <a:gd name="T76" fmla="*/ 494 w 945"/>
                  <a:gd name="T77" fmla="*/ 0 h 1426"/>
                  <a:gd name="T78" fmla="*/ 494 w 945"/>
                  <a:gd name="T79" fmla="*/ 0 h 1426"/>
                  <a:gd name="T80" fmla="*/ 494 w 945"/>
                  <a:gd name="T81" fmla="*/ 0 h 1426"/>
                  <a:gd name="T82" fmla="*/ 456 w 945"/>
                  <a:gd name="T83" fmla="*/ 0 h 1426"/>
                  <a:gd name="T84" fmla="*/ 387 w 945"/>
                  <a:gd name="T85" fmla="*/ 0 h 1426"/>
                  <a:gd name="T86" fmla="*/ 369 w 945"/>
                  <a:gd name="T87" fmla="*/ 0 h 1426"/>
                  <a:gd name="T88" fmla="*/ 337 w 945"/>
                  <a:gd name="T89" fmla="*/ 0 h 1426"/>
                  <a:gd name="T90" fmla="*/ 326 w 945"/>
                  <a:gd name="T91" fmla="*/ 0 h 1426"/>
                  <a:gd name="T92" fmla="*/ 319 w 945"/>
                  <a:gd name="T93" fmla="*/ 0 h 1426"/>
                  <a:gd name="T94" fmla="*/ 313 w 945"/>
                  <a:gd name="T95" fmla="*/ 0 h 1426"/>
                  <a:gd name="T96" fmla="*/ 326 w 945"/>
                  <a:gd name="T97" fmla="*/ 0 h 1426"/>
                  <a:gd name="T98" fmla="*/ 350 w 945"/>
                  <a:gd name="T99" fmla="*/ 0 h 1426"/>
                  <a:gd name="T100" fmla="*/ 331 w 945"/>
                  <a:gd name="T101" fmla="*/ 0 h 1426"/>
                  <a:gd name="T102" fmla="*/ 300 w 945"/>
                  <a:gd name="T103" fmla="*/ 0 h 1426"/>
                  <a:gd name="T104" fmla="*/ 276 w 945"/>
                  <a:gd name="T105" fmla="*/ 0 h 1426"/>
                  <a:gd name="T106" fmla="*/ 257 w 945"/>
                  <a:gd name="T107" fmla="*/ 0 h 1426"/>
                  <a:gd name="T108" fmla="*/ 188 w 945"/>
                  <a:gd name="T109" fmla="*/ 0 h 1426"/>
                  <a:gd name="T110" fmla="*/ 106 w 945"/>
                  <a:gd name="T111" fmla="*/ 0 h 1426"/>
                  <a:gd name="T112" fmla="*/ 25 w 945"/>
                  <a:gd name="T113" fmla="*/ 0 h 1426"/>
                  <a:gd name="T114" fmla="*/ 106 w 945"/>
                  <a:gd name="T115" fmla="*/ 0 h 14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945" h="1426">
                    <a:moveTo>
                      <a:pt x="0" y="402"/>
                    </a:moveTo>
                    <a:lnTo>
                      <a:pt x="6" y="379"/>
                    </a:lnTo>
                    <a:lnTo>
                      <a:pt x="68" y="346"/>
                    </a:lnTo>
                    <a:lnTo>
                      <a:pt x="106" y="346"/>
                    </a:lnTo>
                    <a:lnTo>
                      <a:pt x="131" y="312"/>
                    </a:lnTo>
                    <a:lnTo>
                      <a:pt x="125" y="302"/>
                    </a:lnTo>
                    <a:lnTo>
                      <a:pt x="137" y="290"/>
                    </a:lnTo>
                    <a:lnTo>
                      <a:pt x="125" y="279"/>
                    </a:lnTo>
                    <a:lnTo>
                      <a:pt x="144" y="267"/>
                    </a:lnTo>
                    <a:lnTo>
                      <a:pt x="137" y="256"/>
                    </a:lnTo>
                    <a:lnTo>
                      <a:pt x="112" y="279"/>
                    </a:lnTo>
                    <a:lnTo>
                      <a:pt x="82" y="244"/>
                    </a:lnTo>
                    <a:lnTo>
                      <a:pt x="119" y="233"/>
                    </a:lnTo>
                    <a:lnTo>
                      <a:pt x="137" y="189"/>
                    </a:lnTo>
                    <a:lnTo>
                      <a:pt x="181" y="189"/>
                    </a:lnTo>
                    <a:lnTo>
                      <a:pt x="175" y="135"/>
                    </a:lnTo>
                    <a:lnTo>
                      <a:pt x="212" y="135"/>
                    </a:lnTo>
                    <a:lnTo>
                      <a:pt x="244" y="168"/>
                    </a:lnTo>
                    <a:lnTo>
                      <a:pt x="200" y="123"/>
                    </a:lnTo>
                    <a:lnTo>
                      <a:pt x="276" y="100"/>
                    </a:lnTo>
                    <a:lnTo>
                      <a:pt x="295" y="123"/>
                    </a:lnTo>
                    <a:lnTo>
                      <a:pt x="295" y="156"/>
                    </a:lnTo>
                    <a:lnTo>
                      <a:pt x="307" y="123"/>
                    </a:lnTo>
                    <a:lnTo>
                      <a:pt x="350" y="156"/>
                    </a:lnTo>
                    <a:lnTo>
                      <a:pt x="331" y="123"/>
                    </a:lnTo>
                    <a:lnTo>
                      <a:pt x="356" y="135"/>
                    </a:lnTo>
                    <a:lnTo>
                      <a:pt x="337" y="112"/>
                    </a:lnTo>
                    <a:lnTo>
                      <a:pt x="331" y="89"/>
                    </a:lnTo>
                    <a:lnTo>
                      <a:pt x="345" y="89"/>
                    </a:lnTo>
                    <a:lnTo>
                      <a:pt x="432" y="145"/>
                    </a:lnTo>
                    <a:lnTo>
                      <a:pt x="425" y="123"/>
                    </a:lnTo>
                    <a:lnTo>
                      <a:pt x="445" y="123"/>
                    </a:lnTo>
                    <a:lnTo>
                      <a:pt x="432" y="100"/>
                    </a:lnTo>
                    <a:lnTo>
                      <a:pt x="463" y="112"/>
                    </a:lnTo>
                    <a:lnTo>
                      <a:pt x="413" y="66"/>
                    </a:lnTo>
                    <a:lnTo>
                      <a:pt x="501" y="89"/>
                    </a:lnTo>
                    <a:lnTo>
                      <a:pt x="482" y="66"/>
                    </a:lnTo>
                    <a:lnTo>
                      <a:pt x="432" y="56"/>
                    </a:lnTo>
                    <a:lnTo>
                      <a:pt x="451" y="56"/>
                    </a:lnTo>
                    <a:lnTo>
                      <a:pt x="420" y="35"/>
                    </a:lnTo>
                    <a:lnTo>
                      <a:pt x="456" y="45"/>
                    </a:lnTo>
                    <a:lnTo>
                      <a:pt x="438" y="35"/>
                    </a:lnTo>
                    <a:lnTo>
                      <a:pt x="456" y="22"/>
                    </a:lnTo>
                    <a:lnTo>
                      <a:pt x="520" y="66"/>
                    </a:lnTo>
                    <a:lnTo>
                      <a:pt x="512" y="45"/>
                    </a:lnTo>
                    <a:lnTo>
                      <a:pt x="544" y="35"/>
                    </a:lnTo>
                    <a:lnTo>
                      <a:pt x="520" y="35"/>
                    </a:lnTo>
                    <a:lnTo>
                      <a:pt x="520" y="12"/>
                    </a:lnTo>
                    <a:lnTo>
                      <a:pt x="532" y="0"/>
                    </a:lnTo>
                    <a:lnTo>
                      <a:pt x="707" y="12"/>
                    </a:lnTo>
                    <a:lnTo>
                      <a:pt x="720" y="22"/>
                    </a:lnTo>
                    <a:lnTo>
                      <a:pt x="714" y="35"/>
                    </a:lnTo>
                    <a:lnTo>
                      <a:pt x="601" y="35"/>
                    </a:lnTo>
                    <a:lnTo>
                      <a:pt x="614" y="45"/>
                    </a:lnTo>
                    <a:lnTo>
                      <a:pt x="570" y="56"/>
                    </a:lnTo>
                    <a:lnTo>
                      <a:pt x="732" y="35"/>
                    </a:lnTo>
                    <a:lnTo>
                      <a:pt x="740" y="56"/>
                    </a:lnTo>
                    <a:lnTo>
                      <a:pt x="714" y="66"/>
                    </a:lnTo>
                    <a:lnTo>
                      <a:pt x="751" y="56"/>
                    </a:lnTo>
                    <a:lnTo>
                      <a:pt x="795" y="79"/>
                    </a:lnTo>
                    <a:lnTo>
                      <a:pt x="732" y="123"/>
                    </a:lnTo>
                    <a:lnTo>
                      <a:pt x="626" y="112"/>
                    </a:lnTo>
                    <a:lnTo>
                      <a:pt x="650" y="123"/>
                    </a:lnTo>
                    <a:lnTo>
                      <a:pt x="607" y="135"/>
                    </a:lnTo>
                    <a:lnTo>
                      <a:pt x="607" y="156"/>
                    </a:lnTo>
                    <a:lnTo>
                      <a:pt x="726" y="123"/>
                    </a:lnTo>
                    <a:lnTo>
                      <a:pt x="732" y="135"/>
                    </a:lnTo>
                    <a:lnTo>
                      <a:pt x="707" y="168"/>
                    </a:lnTo>
                    <a:lnTo>
                      <a:pt x="782" y="123"/>
                    </a:lnTo>
                    <a:lnTo>
                      <a:pt x="789" y="168"/>
                    </a:lnTo>
                    <a:lnTo>
                      <a:pt x="751" y="244"/>
                    </a:lnTo>
                    <a:lnTo>
                      <a:pt x="820" y="156"/>
                    </a:lnTo>
                    <a:lnTo>
                      <a:pt x="820" y="168"/>
                    </a:lnTo>
                    <a:lnTo>
                      <a:pt x="857" y="168"/>
                    </a:lnTo>
                    <a:lnTo>
                      <a:pt x="864" y="135"/>
                    </a:lnTo>
                    <a:lnTo>
                      <a:pt x="901" y="135"/>
                    </a:lnTo>
                    <a:lnTo>
                      <a:pt x="945" y="156"/>
                    </a:lnTo>
                    <a:lnTo>
                      <a:pt x="901" y="200"/>
                    </a:lnTo>
                    <a:lnTo>
                      <a:pt x="907" y="212"/>
                    </a:lnTo>
                    <a:lnTo>
                      <a:pt x="801" y="233"/>
                    </a:lnTo>
                    <a:lnTo>
                      <a:pt x="889" y="233"/>
                    </a:lnTo>
                    <a:lnTo>
                      <a:pt x="820" y="267"/>
                    </a:lnTo>
                    <a:lnTo>
                      <a:pt x="827" y="290"/>
                    </a:lnTo>
                    <a:lnTo>
                      <a:pt x="870" y="267"/>
                    </a:lnTo>
                    <a:lnTo>
                      <a:pt x="839" y="302"/>
                    </a:lnTo>
                    <a:lnTo>
                      <a:pt x="832" y="335"/>
                    </a:lnTo>
                    <a:lnTo>
                      <a:pt x="839" y="323"/>
                    </a:lnTo>
                    <a:lnTo>
                      <a:pt x="807" y="356"/>
                    </a:lnTo>
                    <a:lnTo>
                      <a:pt x="801" y="435"/>
                    </a:lnTo>
                    <a:lnTo>
                      <a:pt x="814" y="425"/>
                    </a:lnTo>
                    <a:lnTo>
                      <a:pt x="839" y="435"/>
                    </a:lnTo>
                    <a:lnTo>
                      <a:pt x="820" y="435"/>
                    </a:lnTo>
                    <a:lnTo>
                      <a:pt x="820" y="456"/>
                    </a:lnTo>
                    <a:lnTo>
                      <a:pt x="851" y="469"/>
                    </a:lnTo>
                    <a:lnTo>
                      <a:pt x="857" y="490"/>
                    </a:lnTo>
                    <a:lnTo>
                      <a:pt x="801" y="490"/>
                    </a:lnTo>
                    <a:lnTo>
                      <a:pt x="814" y="500"/>
                    </a:lnTo>
                    <a:lnTo>
                      <a:pt x="789" y="500"/>
                    </a:lnTo>
                    <a:lnTo>
                      <a:pt x="801" y="534"/>
                    </a:lnTo>
                    <a:lnTo>
                      <a:pt x="827" y="534"/>
                    </a:lnTo>
                    <a:lnTo>
                      <a:pt x="814" y="557"/>
                    </a:lnTo>
                    <a:lnTo>
                      <a:pt x="832" y="569"/>
                    </a:lnTo>
                    <a:lnTo>
                      <a:pt x="832" y="602"/>
                    </a:lnTo>
                    <a:lnTo>
                      <a:pt x="795" y="579"/>
                    </a:lnTo>
                    <a:lnTo>
                      <a:pt x="820" y="602"/>
                    </a:lnTo>
                    <a:lnTo>
                      <a:pt x="801" y="613"/>
                    </a:lnTo>
                    <a:lnTo>
                      <a:pt x="814" y="613"/>
                    </a:lnTo>
                    <a:lnTo>
                      <a:pt x="814" y="636"/>
                    </a:lnTo>
                    <a:lnTo>
                      <a:pt x="839" y="646"/>
                    </a:lnTo>
                    <a:lnTo>
                      <a:pt x="795" y="646"/>
                    </a:lnTo>
                    <a:lnTo>
                      <a:pt x="789" y="657"/>
                    </a:lnTo>
                    <a:lnTo>
                      <a:pt x="820" y="690"/>
                    </a:lnTo>
                    <a:lnTo>
                      <a:pt x="820" y="713"/>
                    </a:lnTo>
                    <a:lnTo>
                      <a:pt x="789" y="725"/>
                    </a:lnTo>
                    <a:lnTo>
                      <a:pt x="764" y="690"/>
                    </a:lnTo>
                    <a:lnTo>
                      <a:pt x="720" y="725"/>
                    </a:lnTo>
                    <a:lnTo>
                      <a:pt x="751" y="736"/>
                    </a:lnTo>
                    <a:lnTo>
                      <a:pt x="720" y="757"/>
                    </a:lnTo>
                    <a:lnTo>
                      <a:pt x="751" y="757"/>
                    </a:lnTo>
                    <a:lnTo>
                      <a:pt x="740" y="790"/>
                    </a:lnTo>
                    <a:lnTo>
                      <a:pt x="751" y="769"/>
                    </a:lnTo>
                    <a:lnTo>
                      <a:pt x="789" y="801"/>
                    </a:lnTo>
                    <a:lnTo>
                      <a:pt x="776" y="824"/>
                    </a:lnTo>
                    <a:lnTo>
                      <a:pt x="795" y="813"/>
                    </a:lnTo>
                    <a:lnTo>
                      <a:pt x="789" y="846"/>
                    </a:lnTo>
                    <a:lnTo>
                      <a:pt x="801" y="834"/>
                    </a:lnTo>
                    <a:lnTo>
                      <a:pt x="801" y="892"/>
                    </a:lnTo>
                    <a:lnTo>
                      <a:pt x="789" y="869"/>
                    </a:lnTo>
                    <a:lnTo>
                      <a:pt x="789" y="892"/>
                    </a:lnTo>
                    <a:lnTo>
                      <a:pt x="770" y="892"/>
                    </a:lnTo>
                    <a:lnTo>
                      <a:pt x="751" y="834"/>
                    </a:lnTo>
                    <a:lnTo>
                      <a:pt x="707" y="813"/>
                    </a:lnTo>
                    <a:lnTo>
                      <a:pt x="740" y="846"/>
                    </a:lnTo>
                    <a:lnTo>
                      <a:pt x="695" y="859"/>
                    </a:lnTo>
                    <a:lnTo>
                      <a:pt x="689" y="892"/>
                    </a:lnTo>
                    <a:lnTo>
                      <a:pt x="726" y="903"/>
                    </a:lnTo>
                    <a:lnTo>
                      <a:pt x="689" y="913"/>
                    </a:lnTo>
                    <a:lnTo>
                      <a:pt x="740" y="892"/>
                    </a:lnTo>
                    <a:lnTo>
                      <a:pt x="789" y="924"/>
                    </a:lnTo>
                    <a:lnTo>
                      <a:pt x="726" y="991"/>
                    </a:lnTo>
                    <a:lnTo>
                      <a:pt x="669" y="1026"/>
                    </a:lnTo>
                    <a:lnTo>
                      <a:pt x="645" y="1026"/>
                    </a:lnTo>
                    <a:lnTo>
                      <a:pt x="632" y="991"/>
                    </a:lnTo>
                    <a:lnTo>
                      <a:pt x="639" y="1026"/>
                    </a:lnTo>
                    <a:lnTo>
                      <a:pt x="620" y="1047"/>
                    </a:lnTo>
                    <a:lnTo>
                      <a:pt x="601" y="1114"/>
                    </a:lnTo>
                    <a:lnTo>
                      <a:pt x="581" y="1114"/>
                    </a:lnTo>
                    <a:lnTo>
                      <a:pt x="576" y="1136"/>
                    </a:lnTo>
                    <a:lnTo>
                      <a:pt x="557" y="1136"/>
                    </a:lnTo>
                    <a:lnTo>
                      <a:pt x="551" y="1136"/>
                    </a:lnTo>
                    <a:lnTo>
                      <a:pt x="563" y="1114"/>
                    </a:lnTo>
                    <a:lnTo>
                      <a:pt x="551" y="1114"/>
                    </a:lnTo>
                    <a:lnTo>
                      <a:pt x="544" y="1159"/>
                    </a:lnTo>
                    <a:lnTo>
                      <a:pt x="512" y="1159"/>
                    </a:lnTo>
                    <a:lnTo>
                      <a:pt x="512" y="1193"/>
                    </a:lnTo>
                    <a:lnTo>
                      <a:pt x="494" y="1193"/>
                    </a:lnTo>
                    <a:lnTo>
                      <a:pt x="512" y="1214"/>
                    </a:lnTo>
                    <a:lnTo>
                      <a:pt x="494" y="1224"/>
                    </a:lnTo>
                    <a:lnTo>
                      <a:pt x="507" y="1247"/>
                    </a:lnTo>
                    <a:lnTo>
                      <a:pt x="494" y="1247"/>
                    </a:lnTo>
                    <a:lnTo>
                      <a:pt x="507" y="1258"/>
                    </a:lnTo>
                    <a:lnTo>
                      <a:pt x="494" y="1281"/>
                    </a:lnTo>
                    <a:lnTo>
                      <a:pt x="482" y="1281"/>
                    </a:lnTo>
                    <a:lnTo>
                      <a:pt x="494" y="1291"/>
                    </a:lnTo>
                    <a:lnTo>
                      <a:pt x="470" y="1303"/>
                    </a:lnTo>
                    <a:lnTo>
                      <a:pt x="482" y="1347"/>
                    </a:lnTo>
                    <a:lnTo>
                      <a:pt x="470" y="1402"/>
                    </a:lnTo>
                    <a:lnTo>
                      <a:pt x="456" y="1402"/>
                    </a:lnTo>
                    <a:lnTo>
                      <a:pt x="470" y="1426"/>
                    </a:lnTo>
                    <a:lnTo>
                      <a:pt x="438" y="1426"/>
                    </a:lnTo>
                    <a:lnTo>
                      <a:pt x="432" y="1391"/>
                    </a:lnTo>
                    <a:lnTo>
                      <a:pt x="387" y="1391"/>
                    </a:lnTo>
                    <a:lnTo>
                      <a:pt x="401" y="1381"/>
                    </a:lnTo>
                    <a:lnTo>
                      <a:pt x="376" y="1370"/>
                    </a:lnTo>
                    <a:lnTo>
                      <a:pt x="387" y="1358"/>
                    </a:lnTo>
                    <a:lnTo>
                      <a:pt x="369" y="1358"/>
                    </a:lnTo>
                    <a:lnTo>
                      <a:pt x="376" y="1326"/>
                    </a:lnTo>
                    <a:lnTo>
                      <a:pt x="369" y="1337"/>
                    </a:lnTo>
                    <a:lnTo>
                      <a:pt x="337" y="1258"/>
                    </a:lnTo>
                    <a:lnTo>
                      <a:pt x="337" y="1237"/>
                    </a:lnTo>
                    <a:lnTo>
                      <a:pt x="356" y="1203"/>
                    </a:lnTo>
                    <a:lnTo>
                      <a:pt x="350" y="1193"/>
                    </a:lnTo>
                    <a:lnTo>
                      <a:pt x="326" y="1224"/>
                    </a:lnTo>
                    <a:lnTo>
                      <a:pt x="326" y="1170"/>
                    </a:lnTo>
                    <a:lnTo>
                      <a:pt x="307" y="1136"/>
                    </a:lnTo>
                    <a:lnTo>
                      <a:pt x="313" y="1091"/>
                    </a:lnTo>
                    <a:lnTo>
                      <a:pt x="300" y="1070"/>
                    </a:lnTo>
                    <a:lnTo>
                      <a:pt x="319" y="1026"/>
                    </a:lnTo>
                    <a:lnTo>
                      <a:pt x="307" y="1026"/>
                    </a:lnTo>
                    <a:lnTo>
                      <a:pt x="345" y="1026"/>
                    </a:lnTo>
                    <a:lnTo>
                      <a:pt x="345" y="1003"/>
                    </a:lnTo>
                    <a:lnTo>
                      <a:pt x="313" y="1003"/>
                    </a:lnTo>
                    <a:lnTo>
                      <a:pt x="356" y="968"/>
                    </a:lnTo>
                    <a:lnTo>
                      <a:pt x="345" y="957"/>
                    </a:lnTo>
                    <a:lnTo>
                      <a:pt x="356" y="913"/>
                    </a:lnTo>
                    <a:lnTo>
                      <a:pt x="326" y="913"/>
                    </a:lnTo>
                    <a:lnTo>
                      <a:pt x="287" y="880"/>
                    </a:lnTo>
                    <a:lnTo>
                      <a:pt x="350" y="903"/>
                    </a:lnTo>
                    <a:lnTo>
                      <a:pt x="337" y="880"/>
                    </a:lnTo>
                    <a:lnTo>
                      <a:pt x="350" y="880"/>
                    </a:lnTo>
                    <a:lnTo>
                      <a:pt x="326" y="846"/>
                    </a:lnTo>
                    <a:lnTo>
                      <a:pt x="331" y="834"/>
                    </a:lnTo>
                    <a:lnTo>
                      <a:pt x="319" y="846"/>
                    </a:lnTo>
                    <a:lnTo>
                      <a:pt x="331" y="834"/>
                    </a:lnTo>
                    <a:lnTo>
                      <a:pt x="313" y="834"/>
                    </a:lnTo>
                    <a:lnTo>
                      <a:pt x="331" y="824"/>
                    </a:lnTo>
                    <a:lnTo>
                      <a:pt x="307" y="801"/>
                    </a:lnTo>
                    <a:lnTo>
                      <a:pt x="300" y="834"/>
                    </a:lnTo>
                    <a:lnTo>
                      <a:pt x="276" y="834"/>
                    </a:lnTo>
                    <a:lnTo>
                      <a:pt x="269" y="824"/>
                    </a:lnTo>
                    <a:lnTo>
                      <a:pt x="287" y="801"/>
                    </a:lnTo>
                    <a:lnTo>
                      <a:pt x="276" y="801"/>
                    </a:lnTo>
                    <a:lnTo>
                      <a:pt x="287" y="746"/>
                    </a:lnTo>
                    <a:lnTo>
                      <a:pt x="276" y="736"/>
                    </a:lnTo>
                    <a:lnTo>
                      <a:pt x="281" y="713"/>
                    </a:lnTo>
                    <a:lnTo>
                      <a:pt x="257" y="646"/>
                    </a:lnTo>
                    <a:lnTo>
                      <a:pt x="262" y="646"/>
                    </a:lnTo>
                    <a:lnTo>
                      <a:pt x="225" y="592"/>
                    </a:lnTo>
                    <a:lnTo>
                      <a:pt x="225" y="569"/>
                    </a:lnTo>
                    <a:lnTo>
                      <a:pt x="188" y="546"/>
                    </a:lnTo>
                    <a:lnTo>
                      <a:pt x="156" y="523"/>
                    </a:lnTo>
                    <a:lnTo>
                      <a:pt x="119" y="557"/>
                    </a:lnTo>
                    <a:lnTo>
                      <a:pt x="93" y="534"/>
                    </a:lnTo>
                    <a:lnTo>
                      <a:pt x="106" y="557"/>
                    </a:lnTo>
                    <a:lnTo>
                      <a:pt x="75" y="546"/>
                    </a:lnTo>
                    <a:lnTo>
                      <a:pt x="56" y="523"/>
                    </a:lnTo>
                    <a:lnTo>
                      <a:pt x="75" y="500"/>
                    </a:lnTo>
                    <a:lnTo>
                      <a:pt x="25" y="490"/>
                    </a:lnTo>
                    <a:lnTo>
                      <a:pt x="43" y="469"/>
                    </a:lnTo>
                    <a:lnTo>
                      <a:pt x="106" y="469"/>
                    </a:lnTo>
                    <a:lnTo>
                      <a:pt x="112" y="469"/>
                    </a:lnTo>
                    <a:lnTo>
                      <a:pt x="106" y="456"/>
                    </a:lnTo>
                    <a:lnTo>
                      <a:pt x="112" y="446"/>
                    </a:lnTo>
                    <a:lnTo>
                      <a:pt x="56" y="456"/>
                    </a:lnTo>
                    <a:lnTo>
                      <a:pt x="0" y="40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91" name="Freeform 360"/>
              <p:cNvSpPr>
                <a:spLocks/>
              </p:cNvSpPr>
              <p:nvPr/>
            </p:nvSpPr>
            <p:spPr bwMode="auto">
              <a:xfrm>
                <a:off x="2564" y="1395"/>
                <a:ext cx="167" cy="83"/>
              </a:xfrm>
              <a:custGeom>
                <a:avLst/>
                <a:gdLst>
                  <a:gd name="T0" fmla="*/ 0 w 167"/>
                  <a:gd name="T1" fmla="*/ 0 h 167"/>
                  <a:gd name="T2" fmla="*/ 6 w 167"/>
                  <a:gd name="T3" fmla="*/ 0 h 167"/>
                  <a:gd name="T4" fmla="*/ 6 w 167"/>
                  <a:gd name="T5" fmla="*/ 0 h 167"/>
                  <a:gd name="T6" fmla="*/ 19 w 167"/>
                  <a:gd name="T7" fmla="*/ 0 h 167"/>
                  <a:gd name="T8" fmla="*/ 12 w 167"/>
                  <a:gd name="T9" fmla="*/ 0 h 167"/>
                  <a:gd name="T10" fmla="*/ 31 w 167"/>
                  <a:gd name="T11" fmla="*/ 0 h 167"/>
                  <a:gd name="T12" fmla="*/ 19 w 167"/>
                  <a:gd name="T13" fmla="*/ 0 h 167"/>
                  <a:gd name="T14" fmla="*/ 49 w 167"/>
                  <a:gd name="T15" fmla="*/ 0 h 167"/>
                  <a:gd name="T16" fmla="*/ 49 w 167"/>
                  <a:gd name="T17" fmla="*/ 0 h 167"/>
                  <a:gd name="T18" fmla="*/ 62 w 167"/>
                  <a:gd name="T19" fmla="*/ 0 h 167"/>
                  <a:gd name="T20" fmla="*/ 74 w 167"/>
                  <a:gd name="T21" fmla="*/ 0 h 167"/>
                  <a:gd name="T22" fmla="*/ 87 w 167"/>
                  <a:gd name="T23" fmla="*/ 0 h 167"/>
                  <a:gd name="T24" fmla="*/ 98 w 167"/>
                  <a:gd name="T25" fmla="*/ 0 h 167"/>
                  <a:gd name="T26" fmla="*/ 93 w 167"/>
                  <a:gd name="T27" fmla="*/ 0 h 167"/>
                  <a:gd name="T28" fmla="*/ 124 w 167"/>
                  <a:gd name="T29" fmla="*/ 0 h 167"/>
                  <a:gd name="T30" fmla="*/ 124 w 167"/>
                  <a:gd name="T31" fmla="*/ 0 h 167"/>
                  <a:gd name="T32" fmla="*/ 136 w 167"/>
                  <a:gd name="T33" fmla="*/ 0 h 167"/>
                  <a:gd name="T34" fmla="*/ 156 w 167"/>
                  <a:gd name="T35" fmla="*/ 0 h 167"/>
                  <a:gd name="T36" fmla="*/ 143 w 167"/>
                  <a:gd name="T37" fmla="*/ 0 h 167"/>
                  <a:gd name="T38" fmla="*/ 167 w 167"/>
                  <a:gd name="T39" fmla="*/ 0 h 167"/>
                  <a:gd name="T40" fmla="*/ 148 w 167"/>
                  <a:gd name="T41" fmla="*/ 0 h 167"/>
                  <a:gd name="T42" fmla="*/ 87 w 167"/>
                  <a:gd name="T43" fmla="*/ 0 h 167"/>
                  <a:gd name="T44" fmla="*/ 24 w 167"/>
                  <a:gd name="T45" fmla="*/ 0 h 167"/>
                  <a:gd name="T46" fmla="*/ 43 w 167"/>
                  <a:gd name="T47" fmla="*/ 0 h 167"/>
                  <a:gd name="T48" fmla="*/ 6 w 167"/>
                  <a:gd name="T49" fmla="*/ 0 h 167"/>
                  <a:gd name="T50" fmla="*/ 43 w 167"/>
                  <a:gd name="T51" fmla="*/ 0 h 167"/>
                  <a:gd name="T52" fmla="*/ 31 w 167"/>
                  <a:gd name="T53" fmla="*/ 0 h 167"/>
                  <a:gd name="T54" fmla="*/ 43 w 167"/>
                  <a:gd name="T55" fmla="*/ 0 h 167"/>
                  <a:gd name="T56" fmla="*/ 0 w 167"/>
                  <a:gd name="T57" fmla="*/ 0 h 16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67" h="167">
                    <a:moveTo>
                      <a:pt x="0" y="67"/>
                    </a:moveTo>
                    <a:lnTo>
                      <a:pt x="6" y="58"/>
                    </a:lnTo>
                    <a:lnTo>
                      <a:pt x="6" y="44"/>
                    </a:lnTo>
                    <a:lnTo>
                      <a:pt x="19" y="44"/>
                    </a:lnTo>
                    <a:lnTo>
                      <a:pt x="12" y="23"/>
                    </a:lnTo>
                    <a:lnTo>
                      <a:pt x="31" y="44"/>
                    </a:lnTo>
                    <a:lnTo>
                      <a:pt x="19" y="13"/>
                    </a:lnTo>
                    <a:lnTo>
                      <a:pt x="49" y="34"/>
                    </a:lnTo>
                    <a:lnTo>
                      <a:pt x="49" y="79"/>
                    </a:lnTo>
                    <a:lnTo>
                      <a:pt x="62" y="34"/>
                    </a:lnTo>
                    <a:lnTo>
                      <a:pt x="74" y="44"/>
                    </a:lnTo>
                    <a:lnTo>
                      <a:pt x="87" y="23"/>
                    </a:lnTo>
                    <a:lnTo>
                      <a:pt x="98" y="44"/>
                    </a:lnTo>
                    <a:lnTo>
                      <a:pt x="93" y="23"/>
                    </a:lnTo>
                    <a:lnTo>
                      <a:pt x="124" y="23"/>
                    </a:lnTo>
                    <a:lnTo>
                      <a:pt x="124" y="0"/>
                    </a:lnTo>
                    <a:lnTo>
                      <a:pt x="136" y="23"/>
                    </a:lnTo>
                    <a:lnTo>
                      <a:pt x="156" y="13"/>
                    </a:lnTo>
                    <a:lnTo>
                      <a:pt x="143" y="34"/>
                    </a:lnTo>
                    <a:lnTo>
                      <a:pt x="167" y="79"/>
                    </a:lnTo>
                    <a:lnTo>
                      <a:pt x="148" y="123"/>
                    </a:lnTo>
                    <a:lnTo>
                      <a:pt x="87" y="167"/>
                    </a:lnTo>
                    <a:lnTo>
                      <a:pt x="24" y="146"/>
                    </a:lnTo>
                    <a:lnTo>
                      <a:pt x="43" y="102"/>
                    </a:lnTo>
                    <a:lnTo>
                      <a:pt x="6" y="90"/>
                    </a:lnTo>
                    <a:lnTo>
                      <a:pt x="43" y="90"/>
                    </a:lnTo>
                    <a:lnTo>
                      <a:pt x="31" y="79"/>
                    </a:lnTo>
                    <a:lnTo>
                      <a:pt x="43" y="67"/>
                    </a:lnTo>
                    <a:lnTo>
                      <a:pt x="0" y="67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92" name="Freeform 361"/>
              <p:cNvSpPr>
                <a:spLocks/>
              </p:cNvSpPr>
              <p:nvPr/>
            </p:nvSpPr>
            <p:spPr bwMode="auto">
              <a:xfrm>
                <a:off x="2564" y="1395"/>
                <a:ext cx="167" cy="83"/>
              </a:xfrm>
              <a:custGeom>
                <a:avLst/>
                <a:gdLst>
                  <a:gd name="T0" fmla="*/ 0 w 167"/>
                  <a:gd name="T1" fmla="*/ 0 h 167"/>
                  <a:gd name="T2" fmla="*/ 6 w 167"/>
                  <a:gd name="T3" fmla="*/ 0 h 167"/>
                  <a:gd name="T4" fmla="*/ 6 w 167"/>
                  <a:gd name="T5" fmla="*/ 0 h 167"/>
                  <a:gd name="T6" fmla="*/ 19 w 167"/>
                  <a:gd name="T7" fmla="*/ 0 h 167"/>
                  <a:gd name="T8" fmla="*/ 12 w 167"/>
                  <a:gd name="T9" fmla="*/ 0 h 167"/>
                  <a:gd name="T10" fmla="*/ 31 w 167"/>
                  <a:gd name="T11" fmla="*/ 0 h 167"/>
                  <a:gd name="T12" fmla="*/ 19 w 167"/>
                  <a:gd name="T13" fmla="*/ 0 h 167"/>
                  <a:gd name="T14" fmla="*/ 49 w 167"/>
                  <a:gd name="T15" fmla="*/ 0 h 167"/>
                  <a:gd name="T16" fmla="*/ 49 w 167"/>
                  <a:gd name="T17" fmla="*/ 0 h 167"/>
                  <a:gd name="T18" fmla="*/ 62 w 167"/>
                  <a:gd name="T19" fmla="*/ 0 h 167"/>
                  <a:gd name="T20" fmla="*/ 74 w 167"/>
                  <a:gd name="T21" fmla="*/ 0 h 167"/>
                  <a:gd name="T22" fmla="*/ 87 w 167"/>
                  <a:gd name="T23" fmla="*/ 0 h 167"/>
                  <a:gd name="T24" fmla="*/ 98 w 167"/>
                  <a:gd name="T25" fmla="*/ 0 h 167"/>
                  <a:gd name="T26" fmla="*/ 93 w 167"/>
                  <a:gd name="T27" fmla="*/ 0 h 167"/>
                  <a:gd name="T28" fmla="*/ 124 w 167"/>
                  <a:gd name="T29" fmla="*/ 0 h 167"/>
                  <a:gd name="T30" fmla="*/ 124 w 167"/>
                  <a:gd name="T31" fmla="*/ 0 h 167"/>
                  <a:gd name="T32" fmla="*/ 136 w 167"/>
                  <a:gd name="T33" fmla="*/ 0 h 167"/>
                  <a:gd name="T34" fmla="*/ 156 w 167"/>
                  <a:gd name="T35" fmla="*/ 0 h 167"/>
                  <a:gd name="T36" fmla="*/ 143 w 167"/>
                  <a:gd name="T37" fmla="*/ 0 h 167"/>
                  <a:gd name="T38" fmla="*/ 167 w 167"/>
                  <a:gd name="T39" fmla="*/ 0 h 167"/>
                  <a:gd name="T40" fmla="*/ 148 w 167"/>
                  <a:gd name="T41" fmla="*/ 0 h 167"/>
                  <a:gd name="T42" fmla="*/ 87 w 167"/>
                  <a:gd name="T43" fmla="*/ 0 h 167"/>
                  <a:gd name="T44" fmla="*/ 24 w 167"/>
                  <a:gd name="T45" fmla="*/ 0 h 167"/>
                  <a:gd name="T46" fmla="*/ 43 w 167"/>
                  <a:gd name="T47" fmla="*/ 0 h 167"/>
                  <a:gd name="T48" fmla="*/ 6 w 167"/>
                  <a:gd name="T49" fmla="*/ 0 h 167"/>
                  <a:gd name="T50" fmla="*/ 43 w 167"/>
                  <a:gd name="T51" fmla="*/ 0 h 167"/>
                  <a:gd name="T52" fmla="*/ 31 w 167"/>
                  <a:gd name="T53" fmla="*/ 0 h 167"/>
                  <a:gd name="T54" fmla="*/ 43 w 167"/>
                  <a:gd name="T55" fmla="*/ 0 h 167"/>
                  <a:gd name="T56" fmla="*/ 0 w 167"/>
                  <a:gd name="T57" fmla="*/ 0 h 16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67" h="167">
                    <a:moveTo>
                      <a:pt x="0" y="67"/>
                    </a:moveTo>
                    <a:lnTo>
                      <a:pt x="6" y="58"/>
                    </a:lnTo>
                    <a:lnTo>
                      <a:pt x="6" y="44"/>
                    </a:lnTo>
                    <a:lnTo>
                      <a:pt x="19" y="44"/>
                    </a:lnTo>
                    <a:lnTo>
                      <a:pt x="12" y="23"/>
                    </a:lnTo>
                    <a:lnTo>
                      <a:pt x="31" y="44"/>
                    </a:lnTo>
                    <a:lnTo>
                      <a:pt x="19" y="13"/>
                    </a:lnTo>
                    <a:lnTo>
                      <a:pt x="49" y="34"/>
                    </a:lnTo>
                    <a:lnTo>
                      <a:pt x="49" y="79"/>
                    </a:lnTo>
                    <a:lnTo>
                      <a:pt x="62" y="34"/>
                    </a:lnTo>
                    <a:lnTo>
                      <a:pt x="74" y="44"/>
                    </a:lnTo>
                    <a:lnTo>
                      <a:pt x="87" y="23"/>
                    </a:lnTo>
                    <a:lnTo>
                      <a:pt x="98" y="44"/>
                    </a:lnTo>
                    <a:lnTo>
                      <a:pt x="93" y="23"/>
                    </a:lnTo>
                    <a:lnTo>
                      <a:pt x="124" y="23"/>
                    </a:lnTo>
                    <a:lnTo>
                      <a:pt x="124" y="0"/>
                    </a:lnTo>
                    <a:lnTo>
                      <a:pt x="136" y="23"/>
                    </a:lnTo>
                    <a:lnTo>
                      <a:pt x="156" y="13"/>
                    </a:lnTo>
                    <a:lnTo>
                      <a:pt x="143" y="34"/>
                    </a:lnTo>
                    <a:lnTo>
                      <a:pt x="167" y="79"/>
                    </a:lnTo>
                    <a:lnTo>
                      <a:pt x="148" y="123"/>
                    </a:lnTo>
                    <a:lnTo>
                      <a:pt x="87" y="167"/>
                    </a:lnTo>
                    <a:lnTo>
                      <a:pt x="24" y="146"/>
                    </a:lnTo>
                    <a:lnTo>
                      <a:pt x="43" y="102"/>
                    </a:lnTo>
                    <a:lnTo>
                      <a:pt x="6" y="90"/>
                    </a:lnTo>
                    <a:lnTo>
                      <a:pt x="43" y="90"/>
                    </a:lnTo>
                    <a:lnTo>
                      <a:pt x="31" y="79"/>
                    </a:lnTo>
                    <a:lnTo>
                      <a:pt x="43" y="67"/>
                    </a:lnTo>
                    <a:lnTo>
                      <a:pt x="0" y="67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93" name="Freeform 362"/>
              <p:cNvSpPr>
                <a:spLocks/>
              </p:cNvSpPr>
              <p:nvPr/>
            </p:nvSpPr>
            <p:spPr bwMode="auto">
              <a:xfrm>
                <a:off x="2564" y="1395"/>
                <a:ext cx="167" cy="83"/>
              </a:xfrm>
              <a:custGeom>
                <a:avLst/>
                <a:gdLst>
                  <a:gd name="T0" fmla="*/ 0 w 167"/>
                  <a:gd name="T1" fmla="*/ 0 h 167"/>
                  <a:gd name="T2" fmla="*/ 6 w 167"/>
                  <a:gd name="T3" fmla="*/ 0 h 167"/>
                  <a:gd name="T4" fmla="*/ 6 w 167"/>
                  <a:gd name="T5" fmla="*/ 0 h 167"/>
                  <a:gd name="T6" fmla="*/ 19 w 167"/>
                  <a:gd name="T7" fmla="*/ 0 h 167"/>
                  <a:gd name="T8" fmla="*/ 12 w 167"/>
                  <a:gd name="T9" fmla="*/ 0 h 167"/>
                  <a:gd name="T10" fmla="*/ 31 w 167"/>
                  <a:gd name="T11" fmla="*/ 0 h 167"/>
                  <a:gd name="T12" fmla="*/ 19 w 167"/>
                  <a:gd name="T13" fmla="*/ 0 h 167"/>
                  <a:gd name="T14" fmla="*/ 49 w 167"/>
                  <a:gd name="T15" fmla="*/ 0 h 167"/>
                  <a:gd name="T16" fmla="*/ 49 w 167"/>
                  <a:gd name="T17" fmla="*/ 0 h 167"/>
                  <a:gd name="T18" fmla="*/ 62 w 167"/>
                  <a:gd name="T19" fmla="*/ 0 h 167"/>
                  <a:gd name="T20" fmla="*/ 74 w 167"/>
                  <a:gd name="T21" fmla="*/ 0 h 167"/>
                  <a:gd name="T22" fmla="*/ 87 w 167"/>
                  <a:gd name="T23" fmla="*/ 0 h 167"/>
                  <a:gd name="T24" fmla="*/ 98 w 167"/>
                  <a:gd name="T25" fmla="*/ 0 h 167"/>
                  <a:gd name="T26" fmla="*/ 93 w 167"/>
                  <a:gd name="T27" fmla="*/ 0 h 167"/>
                  <a:gd name="T28" fmla="*/ 124 w 167"/>
                  <a:gd name="T29" fmla="*/ 0 h 167"/>
                  <a:gd name="T30" fmla="*/ 124 w 167"/>
                  <a:gd name="T31" fmla="*/ 0 h 167"/>
                  <a:gd name="T32" fmla="*/ 136 w 167"/>
                  <a:gd name="T33" fmla="*/ 0 h 167"/>
                  <a:gd name="T34" fmla="*/ 156 w 167"/>
                  <a:gd name="T35" fmla="*/ 0 h 167"/>
                  <a:gd name="T36" fmla="*/ 143 w 167"/>
                  <a:gd name="T37" fmla="*/ 0 h 167"/>
                  <a:gd name="T38" fmla="*/ 167 w 167"/>
                  <a:gd name="T39" fmla="*/ 0 h 167"/>
                  <a:gd name="T40" fmla="*/ 148 w 167"/>
                  <a:gd name="T41" fmla="*/ 0 h 167"/>
                  <a:gd name="T42" fmla="*/ 87 w 167"/>
                  <a:gd name="T43" fmla="*/ 0 h 167"/>
                  <a:gd name="T44" fmla="*/ 24 w 167"/>
                  <a:gd name="T45" fmla="*/ 0 h 167"/>
                  <a:gd name="T46" fmla="*/ 43 w 167"/>
                  <a:gd name="T47" fmla="*/ 0 h 167"/>
                  <a:gd name="T48" fmla="*/ 6 w 167"/>
                  <a:gd name="T49" fmla="*/ 0 h 167"/>
                  <a:gd name="T50" fmla="*/ 43 w 167"/>
                  <a:gd name="T51" fmla="*/ 0 h 167"/>
                  <a:gd name="T52" fmla="*/ 31 w 167"/>
                  <a:gd name="T53" fmla="*/ 0 h 167"/>
                  <a:gd name="T54" fmla="*/ 43 w 167"/>
                  <a:gd name="T55" fmla="*/ 0 h 167"/>
                  <a:gd name="T56" fmla="*/ 0 w 167"/>
                  <a:gd name="T57" fmla="*/ 0 h 16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67" h="167">
                    <a:moveTo>
                      <a:pt x="0" y="67"/>
                    </a:moveTo>
                    <a:lnTo>
                      <a:pt x="6" y="58"/>
                    </a:lnTo>
                    <a:lnTo>
                      <a:pt x="6" y="44"/>
                    </a:lnTo>
                    <a:lnTo>
                      <a:pt x="19" y="44"/>
                    </a:lnTo>
                    <a:lnTo>
                      <a:pt x="12" y="23"/>
                    </a:lnTo>
                    <a:lnTo>
                      <a:pt x="31" y="44"/>
                    </a:lnTo>
                    <a:lnTo>
                      <a:pt x="19" y="13"/>
                    </a:lnTo>
                    <a:lnTo>
                      <a:pt x="49" y="34"/>
                    </a:lnTo>
                    <a:lnTo>
                      <a:pt x="49" y="79"/>
                    </a:lnTo>
                    <a:lnTo>
                      <a:pt x="62" y="34"/>
                    </a:lnTo>
                    <a:lnTo>
                      <a:pt x="74" y="44"/>
                    </a:lnTo>
                    <a:lnTo>
                      <a:pt x="87" y="23"/>
                    </a:lnTo>
                    <a:lnTo>
                      <a:pt x="98" y="44"/>
                    </a:lnTo>
                    <a:lnTo>
                      <a:pt x="93" y="23"/>
                    </a:lnTo>
                    <a:lnTo>
                      <a:pt x="124" y="23"/>
                    </a:lnTo>
                    <a:lnTo>
                      <a:pt x="124" y="0"/>
                    </a:lnTo>
                    <a:lnTo>
                      <a:pt x="136" y="23"/>
                    </a:lnTo>
                    <a:lnTo>
                      <a:pt x="156" y="13"/>
                    </a:lnTo>
                    <a:lnTo>
                      <a:pt x="143" y="34"/>
                    </a:lnTo>
                    <a:lnTo>
                      <a:pt x="167" y="79"/>
                    </a:lnTo>
                    <a:lnTo>
                      <a:pt x="148" y="123"/>
                    </a:lnTo>
                    <a:lnTo>
                      <a:pt x="87" y="167"/>
                    </a:lnTo>
                    <a:lnTo>
                      <a:pt x="24" y="146"/>
                    </a:lnTo>
                    <a:lnTo>
                      <a:pt x="43" y="102"/>
                    </a:lnTo>
                    <a:lnTo>
                      <a:pt x="6" y="90"/>
                    </a:lnTo>
                    <a:lnTo>
                      <a:pt x="43" y="90"/>
                    </a:lnTo>
                    <a:lnTo>
                      <a:pt x="31" y="79"/>
                    </a:lnTo>
                    <a:lnTo>
                      <a:pt x="43" y="67"/>
                    </a:lnTo>
                    <a:lnTo>
                      <a:pt x="0" y="67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94" name="Freeform 363"/>
              <p:cNvSpPr>
                <a:spLocks/>
              </p:cNvSpPr>
              <p:nvPr/>
            </p:nvSpPr>
            <p:spPr bwMode="auto">
              <a:xfrm>
                <a:off x="2564" y="1395"/>
                <a:ext cx="167" cy="83"/>
              </a:xfrm>
              <a:custGeom>
                <a:avLst/>
                <a:gdLst>
                  <a:gd name="T0" fmla="*/ 0 w 167"/>
                  <a:gd name="T1" fmla="*/ 0 h 167"/>
                  <a:gd name="T2" fmla="*/ 6 w 167"/>
                  <a:gd name="T3" fmla="*/ 0 h 167"/>
                  <a:gd name="T4" fmla="*/ 6 w 167"/>
                  <a:gd name="T5" fmla="*/ 0 h 167"/>
                  <a:gd name="T6" fmla="*/ 19 w 167"/>
                  <a:gd name="T7" fmla="*/ 0 h 167"/>
                  <a:gd name="T8" fmla="*/ 12 w 167"/>
                  <a:gd name="T9" fmla="*/ 0 h 167"/>
                  <a:gd name="T10" fmla="*/ 31 w 167"/>
                  <a:gd name="T11" fmla="*/ 0 h 167"/>
                  <a:gd name="T12" fmla="*/ 19 w 167"/>
                  <a:gd name="T13" fmla="*/ 0 h 167"/>
                  <a:gd name="T14" fmla="*/ 49 w 167"/>
                  <a:gd name="T15" fmla="*/ 0 h 167"/>
                  <a:gd name="T16" fmla="*/ 49 w 167"/>
                  <a:gd name="T17" fmla="*/ 0 h 167"/>
                  <a:gd name="T18" fmla="*/ 62 w 167"/>
                  <a:gd name="T19" fmla="*/ 0 h 167"/>
                  <a:gd name="T20" fmla="*/ 74 w 167"/>
                  <a:gd name="T21" fmla="*/ 0 h 167"/>
                  <a:gd name="T22" fmla="*/ 87 w 167"/>
                  <a:gd name="T23" fmla="*/ 0 h 167"/>
                  <a:gd name="T24" fmla="*/ 98 w 167"/>
                  <a:gd name="T25" fmla="*/ 0 h 167"/>
                  <a:gd name="T26" fmla="*/ 93 w 167"/>
                  <a:gd name="T27" fmla="*/ 0 h 167"/>
                  <a:gd name="T28" fmla="*/ 124 w 167"/>
                  <a:gd name="T29" fmla="*/ 0 h 167"/>
                  <a:gd name="T30" fmla="*/ 124 w 167"/>
                  <a:gd name="T31" fmla="*/ 0 h 167"/>
                  <a:gd name="T32" fmla="*/ 136 w 167"/>
                  <a:gd name="T33" fmla="*/ 0 h 167"/>
                  <a:gd name="T34" fmla="*/ 156 w 167"/>
                  <a:gd name="T35" fmla="*/ 0 h 167"/>
                  <a:gd name="T36" fmla="*/ 143 w 167"/>
                  <a:gd name="T37" fmla="*/ 0 h 167"/>
                  <a:gd name="T38" fmla="*/ 167 w 167"/>
                  <a:gd name="T39" fmla="*/ 0 h 167"/>
                  <a:gd name="T40" fmla="*/ 148 w 167"/>
                  <a:gd name="T41" fmla="*/ 0 h 167"/>
                  <a:gd name="T42" fmla="*/ 87 w 167"/>
                  <a:gd name="T43" fmla="*/ 0 h 167"/>
                  <a:gd name="T44" fmla="*/ 24 w 167"/>
                  <a:gd name="T45" fmla="*/ 0 h 167"/>
                  <a:gd name="T46" fmla="*/ 43 w 167"/>
                  <a:gd name="T47" fmla="*/ 0 h 167"/>
                  <a:gd name="T48" fmla="*/ 6 w 167"/>
                  <a:gd name="T49" fmla="*/ 0 h 167"/>
                  <a:gd name="T50" fmla="*/ 43 w 167"/>
                  <a:gd name="T51" fmla="*/ 0 h 167"/>
                  <a:gd name="T52" fmla="*/ 31 w 167"/>
                  <a:gd name="T53" fmla="*/ 0 h 167"/>
                  <a:gd name="T54" fmla="*/ 43 w 167"/>
                  <a:gd name="T55" fmla="*/ 0 h 167"/>
                  <a:gd name="T56" fmla="*/ 0 w 167"/>
                  <a:gd name="T57" fmla="*/ 0 h 16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167" h="167">
                    <a:moveTo>
                      <a:pt x="0" y="67"/>
                    </a:moveTo>
                    <a:lnTo>
                      <a:pt x="6" y="58"/>
                    </a:lnTo>
                    <a:lnTo>
                      <a:pt x="6" y="44"/>
                    </a:lnTo>
                    <a:lnTo>
                      <a:pt x="19" y="44"/>
                    </a:lnTo>
                    <a:lnTo>
                      <a:pt x="12" y="23"/>
                    </a:lnTo>
                    <a:lnTo>
                      <a:pt x="31" y="44"/>
                    </a:lnTo>
                    <a:lnTo>
                      <a:pt x="19" y="13"/>
                    </a:lnTo>
                    <a:lnTo>
                      <a:pt x="49" y="34"/>
                    </a:lnTo>
                    <a:lnTo>
                      <a:pt x="49" y="79"/>
                    </a:lnTo>
                    <a:lnTo>
                      <a:pt x="62" y="34"/>
                    </a:lnTo>
                    <a:lnTo>
                      <a:pt x="74" y="44"/>
                    </a:lnTo>
                    <a:lnTo>
                      <a:pt x="87" y="23"/>
                    </a:lnTo>
                    <a:lnTo>
                      <a:pt x="98" y="44"/>
                    </a:lnTo>
                    <a:lnTo>
                      <a:pt x="93" y="23"/>
                    </a:lnTo>
                    <a:lnTo>
                      <a:pt x="124" y="23"/>
                    </a:lnTo>
                    <a:lnTo>
                      <a:pt x="124" y="0"/>
                    </a:lnTo>
                    <a:lnTo>
                      <a:pt x="136" y="23"/>
                    </a:lnTo>
                    <a:lnTo>
                      <a:pt x="156" y="13"/>
                    </a:lnTo>
                    <a:lnTo>
                      <a:pt x="143" y="34"/>
                    </a:lnTo>
                    <a:lnTo>
                      <a:pt x="167" y="79"/>
                    </a:lnTo>
                    <a:lnTo>
                      <a:pt x="148" y="123"/>
                    </a:lnTo>
                    <a:lnTo>
                      <a:pt x="87" y="167"/>
                    </a:lnTo>
                    <a:lnTo>
                      <a:pt x="24" y="146"/>
                    </a:lnTo>
                    <a:lnTo>
                      <a:pt x="43" y="102"/>
                    </a:lnTo>
                    <a:lnTo>
                      <a:pt x="6" y="90"/>
                    </a:lnTo>
                    <a:lnTo>
                      <a:pt x="43" y="90"/>
                    </a:lnTo>
                    <a:lnTo>
                      <a:pt x="31" y="79"/>
                    </a:lnTo>
                    <a:lnTo>
                      <a:pt x="43" y="67"/>
                    </a:lnTo>
                    <a:lnTo>
                      <a:pt x="0" y="67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04" name="Freeform 36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7975827" y="3844495"/>
              <a:ext cx="842056" cy="750888"/>
            </a:xfrm>
            <a:custGeom>
              <a:avLst/>
              <a:gdLst>
                <a:gd name="T0" fmla="*/ 0 w 455"/>
                <a:gd name="T1" fmla="*/ 2147483647 h 946"/>
                <a:gd name="T2" fmla="*/ 2147483647 w 455"/>
                <a:gd name="T3" fmla="*/ 2147483647 h 946"/>
                <a:gd name="T4" fmla="*/ 2147483647 w 455"/>
                <a:gd name="T5" fmla="*/ 2147483647 h 946"/>
                <a:gd name="T6" fmla="*/ 2147483647 w 455"/>
                <a:gd name="T7" fmla="*/ 2147483647 h 946"/>
                <a:gd name="T8" fmla="*/ 2147483647 w 455"/>
                <a:gd name="T9" fmla="*/ 2147483647 h 946"/>
                <a:gd name="T10" fmla="*/ 2147483647 w 455"/>
                <a:gd name="T11" fmla="*/ 2147483647 h 946"/>
                <a:gd name="T12" fmla="*/ 2147483647 w 455"/>
                <a:gd name="T13" fmla="*/ 2147483647 h 946"/>
                <a:gd name="T14" fmla="*/ 2147483647 w 455"/>
                <a:gd name="T15" fmla="*/ 2147483647 h 946"/>
                <a:gd name="T16" fmla="*/ 2147483647 w 455"/>
                <a:gd name="T17" fmla="*/ 2147483647 h 946"/>
                <a:gd name="T18" fmla="*/ 2147483647 w 455"/>
                <a:gd name="T19" fmla="*/ 2147483647 h 946"/>
                <a:gd name="T20" fmla="*/ 2147483647 w 455"/>
                <a:gd name="T21" fmla="*/ 2147483647 h 946"/>
                <a:gd name="T22" fmla="*/ 2147483647 w 455"/>
                <a:gd name="T23" fmla="*/ 2147483647 h 946"/>
                <a:gd name="T24" fmla="*/ 2147483647 w 455"/>
                <a:gd name="T25" fmla="*/ 2147483647 h 946"/>
                <a:gd name="T26" fmla="*/ 2147483647 w 455"/>
                <a:gd name="T27" fmla="*/ 0 h 946"/>
                <a:gd name="T28" fmla="*/ 2147483647 w 455"/>
                <a:gd name="T29" fmla="*/ 2147483647 h 946"/>
                <a:gd name="T30" fmla="*/ 2147483647 w 455"/>
                <a:gd name="T31" fmla="*/ 2147483647 h 946"/>
                <a:gd name="T32" fmla="*/ 2147483647 w 455"/>
                <a:gd name="T33" fmla="*/ 2147483647 h 946"/>
                <a:gd name="T34" fmla="*/ 2147483647 w 455"/>
                <a:gd name="T35" fmla="*/ 2147483647 h 946"/>
                <a:gd name="T36" fmla="*/ 2147483647 w 455"/>
                <a:gd name="T37" fmla="*/ 2147483647 h 946"/>
                <a:gd name="T38" fmla="*/ 2147483647 w 455"/>
                <a:gd name="T39" fmla="*/ 2147483647 h 946"/>
                <a:gd name="T40" fmla="*/ 2147483647 w 455"/>
                <a:gd name="T41" fmla="*/ 2147483647 h 946"/>
                <a:gd name="T42" fmla="*/ 2147483647 w 455"/>
                <a:gd name="T43" fmla="*/ 2147483647 h 946"/>
                <a:gd name="T44" fmla="*/ 2147483647 w 455"/>
                <a:gd name="T45" fmla="*/ 2147483647 h 946"/>
                <a:gd name="T46" fmla="*/ 2147483647 w 455"/>
                <a:gd name="T47" fmla="*/ 2147483647 h 946"/>
                <a:gd name="T48" fmla="*/ 2147483647 w 455"/>
                <a:gd name="T49" fmla="*/ 2147483647 h 946"/>
                <a:gd name="T50" fmla="*/ 2147483647 w 455"/>
                <a:gd name="T51" fmla="*/ 2147483647 h 946"/>
                <a:gd name="T52" fmla="*/ 2147483647 w 455"/>
                <a:gd name="T53" fmla="*/ 2147483647 h 946"/>
                <a:gd name="T54" fmla="*/ 2147483647 w 455"/>
                <a:gd name="T55" fmla="*/ 2147483647 h 946"/>
                <a:gd name="T56" fmla="*/ 2147483647 w 455"/>
                <a:gd name="T57" fmla="*/ 2147483647 h 946"/>
                <a:gd name="T58" fmla="*/ 2147483647 w 455"/>
                <a:gd name="T59" fmla="*/ 2147483647 h 946"/>
                <a:gd name="T60" fmla="*/ 2147483647 w 455"/>
                <a:gd name="T61" fmla="*/ 2147483647 h 946"/>
                <a:gd name="T62" fmla="*/ 2147483647 w 455"/>
                <a:gd name="T63" fmla="*/ 2147483647 h 946"/>
                <a:gd name="T64" fmla="*/ 2147483647 w 455"/>
                <a:gd name="T65" fmla="*/ 2147483647 h 946"/>
                <a:gd name="T66" fmla="*/ 2147483647 w 455"/>
                <a:gd name="T67" fmla="*/ 2147483647 h 946"/>
                <a:gd name="T68" fmla="*/ 2147483647 w 455"/>
                <a:gd name="T69" fmla="*/ 2147483647 h 946"/>
                <a:gd name="T70" fmla="*/ 2147483647 w 455"/>
                <a:gd name="T71" fmla="*/ 2147483647 h 946"/>
                <a:gd name="T72" fmla="*/ 2147483647 w 455"/>
                <a:gd name="T73" fmla="*/ 2147483647 h 946"/>
                <a:gd name="T74" fmla="*/ 2147483647 w 455"/>
                <a:gd name="T75" fmla="*/ 2147483647 h 946"/>
                <a:gd name="T76" fmla="*/ 2147483647 w 455"/>
                <a:gd name="T77" fmla="*/ 2147483647 h 946"/>
                <a:gd name="T78" fmla="*/ 2147483647 w 455"/>
                <a:gd name="T79" fmla="*/ 2147483647 h 946"/>
                <a:gd name="T80" fmla="*/ 2147483647 w 455"/>
                <a:gd name="T81" fmla="*/ 2147483647 h 946"/>
                <a:gd name="T82" fmla="*/ 2147483647 w 455"/>
                <a:gd name="T83" fmla="*/ 2147483647 h 946"/>
                <a:gd name="T84" fmla="*/ 2147483647 w 455"/>
                <a:gd name="T85" fmla="*/ 2147483647 h 946"/>
                <a:gd name="T86" fmla="*/ 2147483647 w 455"/>
                <a:gd name="T87" fmla="*/ 2147483647 h 946"/>
                <a:gd name="T88" fmla="*/ 2147483647 w 455"/>
                <a:gd name="T89" fmla="*/ 2147483647 h 946"/>
                <a:gd name="T90" fmla="*/ 2147483647 w 455"/>
                <a:gd name="T91" fmla="*/ 2147483647 h 946"/>
                <a:gd name="T92" fmla="*/ 2147483647 w 455"/>
                <a:gd name="T93" fmla="*/ 2147483647 h 946"/>
                <a:gd name="T94" fmla="*/ 2147483647 w 455"/>
                <a:gd name="T95" fmla="*/ 2147483647 h 946"/>
                <a:gd name="T96" fmla="*/ 2147483647 w 455"/>
                <a:gd name="T97" fmla="*/ 2147483647 h 946"/>
                <a:gd name="T98" fmla="*/ 2147483647 w 455"/>
                <a:gd name="T99" fmla="*/ 2147483647 h 946"/>
                <a:gd name="T100" fmla="*/ 2147483647 w 455"/>
                <a:gd name="T101" fmla="*/ 2147483647 h 946"/>
                <a:gd name="T102" fmla="*/ 2147483647 w 455"/>
                <a:gd name="T103" fmla="*/ 2147483647 h 946"/>
                <a:gd name="T104" fmla="*/ 2147483647 w 455"/>
                <a:gd name="T105" fmla="*/ 2147483647 h 946"/>
                <a:gd name="T106" fmla="*/ 2147483647 w 455"/>
                <a:gd name="T107" fmla="*/ 2147483647 h 946"/>
                <a:gd name="T108" fmla="*/ 2147483647 w 455"/>
                <a:gd name="T109" fmla="*/ 2147483647 h 946"/>
                <a:gd name="T110" fmla="*/ 2147483647 w 455"/>
                <a:gd name="T111" fmla="*/ 2147483647 h 946"/>
                <a:gd name="T112" fmla="*/ 2147483647 w 455"/>
                <a:gd name="T113" fmla="*/ 2147483647 h 946"/>
                <a:gd name="T114" fmla="*/ 2147483647 w 455"/>
                <a:gd name="T115" fmla="*/ 2147483647 h 946"/>
                <a:gd name="T116" fmla="*/ 2147483647 w 455"/>
                <a:gd name="T117" fmla="*/ 2147483647 h 946"/>
                <a:gd name="T118" fmla="*/ 2147483647 w 455"/>
                <a:gd name="T119" fmla="*/ 2147483647 h 946"/>
                <a:gd name="T120" fmla="*/ 2147483647 w 455"/>
                <a:gd name="T121" fmla="*/ 2147483647 h 946"/>
                <a:gd name="T122" fmla="*/ 0 w 455"/>
                <a:gd name="T123" fmla="*/ 2147483647 h 94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55" h="946">
                  <a:moveTo>
                    <a:pt x="0" y="436"/>
                  </a:moveTo>
                  <a:lnTo>
                    <a:pt x="11" y="412"/>
                  </a:lnTo>
                  <a:lnTo>
                    <a:pt x="49" y="412"/>
                  </a:lnTo>
                  <a:lnTo>
                    <a:pt x="25" y="313"/>
                  </a:lnTo>
                  <a:lnTo>
                    <a:pt x="37" y="290"/>
                  </a:lnTo>
                  <a:lnTo>
                    <a:pt x="56" y="290"/>
                  </a:lnTo>
                  <a:lnTo>
                    <a:pt x="106" y="178"/>
                  </a:lnTo>
                  <a:lnTo>
                    <a:pt x="99" y="157"/>
                  </a:lnTo>
                  <a:lnTo>
                    <a:pt x="111" y="134"/>
                  </a:lnTo>
                  <a:lnTo>
                    <a:pt x="93" y="99"/>
                  </a:lnTo>
                  <a:lnTo>
                    <a:pt x="93" y="55"/>
                  </a:lnTo>
                  <a:lnTo>
                    <a:pt x="137" y="55"/>
                  </a:lnTo>
                  <a:lnTo>
                    <a:pt x="149" y="25"/>
                  </a:lnTo>
                  <a:lnTo>
                    <a:pt x="175" y="0"/>
                  </a:lnTo>
                  <a:lnTo>
                    <a:pt x="194" y="25"/>
                  </a:lnTo>
                  <a:lnTo>
                    <a:pt x="168" y="78"/>
                  </a:lnTo>
                  <a:lnTo>
                    <a:pt x="180" y="122"/>
                  </a:lnTo>
                  <a:lnTo>
                    <a:pt x="161" y="122"/>
                  </a:lnTo>
                  <a:lnTo>
                    <a:pt x="168" y="190"/>
                  </a:lnTo>
                  <a:lnTo>
                    <a:pt x="199" y="201"/>
                  </a:lnTo>
                  <a:lnTo>
                    <a:pt x="186" y="257"/>
                  </a:lnTo>
                  <a:lnTo>
                    <a:pt x="225" y="313"/>
                  </a:lnTo>
                  <a:lnTo>
                    <a:pt x="305" y="336"/>
                  </a:lnTo>
                  <a:lnTo>
                    <a:pt x="312" y="290"/>
                  </a:lnTo>
                  <a:lnTo>
                    <a:pt x="324" y="290"/>
                  </a:lnTo>
                  <a:lnTo>
                    <a:pt x="324" y="313"/>
                  </a:lnTo>
                  <a:lnTo>
                    <a:pt x="331" y="336"/>
                  </a:lnTo>
                  <a:lnTo>
                    <a:pt x="368" y="324"/>
                  </a:lnTo>
                  <a:lnTo>
                    <a:pt x="368" y="290"/>
                  </a:lnTo>
                  <a:lnTo>
                    <a:pt x="437" y="234"/>
                  </a:lnTo>
                  <a:lnTo>
                    <a:pt x="437" y="267"/>
                  </a:lnTo>
                  <a:lnTo>
                    <a:pt x="455" y="280"/>
                  </a:lnTo>
                  <a:lnTo>
                    <a:pt x="450" y="324"/>
                  </a:lnTo>
                  <a:lnTo>
                    <a:pt x="424" y="336"/>
                  </a:lnTo>
                  <a:lnTo>
                    <a:pt x="381" y="489"/>
                  </a:lnTo>
                  <a:lnTo>
                    <a:pt x="374" y="436"/>
                  </a:lnTo>
                  <a:lnTo>
                    <a:pt x="368" y="459"/>
                  </a:lnTo>
                  <a:lnTo>
                    <a:pt x="355" y="424"/>
                  </a:lnTo>
                  <a:lnTo>
                    <a:pt x="374" y="389"/>
                  </a:lnTo>
                  <a:lnTo>
                    <a:pt x="336" y="380"/>
                  </a:lnTo>
                  <a:lnTo>
                    <a:pt x="318" y="336"/>
                  </a:lnTo>
                  <a:lnTo>
                    <a:pt x="312" y="357"/>
                  </a:lnTo>
                  <a:lnTo>
                    <a:pt x="318" y="380"/>
                  </a:lnTo>
                  <a:lnTo>
                    <a:pt x="305" y="389"/>
                  </a:lnTo>
                  <a:lnTo>
                    <a:pt x="318" y="412"/>
                  </a:lnTo>
                  <a:lnTo>
                    <a:pt x="324" y="503"/>
                  </a:lnTo>
                  <a:lnTo>
                    <a:pt x="312" y="489"/>
                  </a:lnTo>
                  <a:lnTo>
                    <a:pt x="286" y="557"/>
                  </a:lnTo>
                  <a:lnTo>
                    <a:pt x="194" y="701"/>
                  </a:lnTo>
                  <a:lnTo>
                    <a:pt x="180" y="881"/>
                  </a:lnTo>
                  <a:lnTo>
                    <a:pt x="144" y="946"/>
                  </a:lnTo>
                  <a:lnTo>
                    <a:pt x="106" y="814"/>
                  </a:lnTo>
                  <a:lnTo>
                    <a:pt x="93" y="701"/>
                  </a:lnTo>
                  <a:lnTo>
                    <a:pt x="80" y="679"/>
                  </a:lnTo>
                  <a:lnTo>
                    <a:pt x="69" y="480"/>
                  </a:lnTo>
                  <a:lnTo>
                    <a:pt x="61" y="468"/>
                  </a:lnTo>
                  <a:lnTo>
                    <a:pt x="56" y="512"/>
                  </a:lnTo>
                  <a:lnTo>
                    <a:pt x="37" y="533"/>
                  </a:lnTo>
                  <a:lnTo>
                    <a:pt x="11" y="480"/>
                  </a:lnTo>
                  <a:lnTo>
                    <a:pt x="37" y="459"/>
                  </a:lnTo>
                  <a:lnTo>
                    <a:pt x="11" y="459"/>
                  </a:lnTo>
                  <a:lnTo>
                    <a:pt x="0" y="43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05" name="Group 365"/>
            <p:cNvGrpSpPr>
              <a:grpSpLocks/>
            </p:cNvGrpSpPr>
            <p:nvPr>
              <p:custDataLst>
                <p:tags r:id="rId313"/>
              </p:custDataLst>
            </p:nvPr>
          </p:nvGrpSpPr>
          <p:grpSpPr bwMode="auto">
            <a:xfrm>
              <a:off x="7975827" y="3844495"/>
              <a:ext cx="842056" cy="750888"/>
              <a:chOff x="4003" y="2052"/>
              <a:chExt cx="455" cy="473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85" name="Freeform 366"/>
              <p:cNvSpPr>
                <a:spLocks/>
              </p:cNvSpPr>
              <p:nvPr/>
            </p:nvSpPr>
            <p:spPr bwMode="auto">
              <a:xfrm>
                <a:off x="4003" y="2052"/>
                <a:ext cx="455" cy="473"/>
              </a:xfrm>
              <a:custGeom>
                <a:avLst/>
                <a:gdLst>
                  <a:gd name="T0" fmla="*/ 0 w 455"/>
                  <a:gd name="T1" fmla="*/ 1 h 946"/>
                  <a:gd name="T2" fmla="*/ 11 w 455"/>
                  <a:gd name="T3" fmla="*/ 1 h 946"/>
                  <a:gd name="T4" fmla="*/ 49 w 455"/>
                  <a:gd name="T5" fmla="*/ 1 h 946"/>
                  <a:gd name="T6" fmla="*/ 25 w 455"/>
                  <a:gd name="T7" fmla="*/ 1 h 946"/>
                  <a:gd name="T8" fmla="*/ 37 w 455"/>
                  <a:gd name="T9" fmla="*/ 1 h 946"/>
                  <a:gd name="T10" fmla="*/ 56 w 455"/>
                  <a:gd name="T11" fmla="*/ 1 h 946"/>
                  <a:gd name="T12" fmla="*/ 106 w 455"/>
                  <a:gd name="T13" fmla="*/ 1 h 946"/>
                  <a:gd name="T14" fmla="*/ 99 w 455"/>
                  <a:gd name="T15" fmla="*/ 1 h 946"/>
                  <a:gd name="T16" fmla="*/ 111 w 455"/>
                  <a:gd name="T17" fmla="*/ 1 h 946"/>
                  <a:gd name="T18" fmla="*/ 93 w 455"/>
                  <a:gd name="T19" fmla="*/ 1 h 946"/>
                  <a:gd name="T20" fmla="*/ 93 w 455"/>
                  <a:gd name="T21" fmla="*/ 1 h 946"/>
                  <a:gd name="T22" fmla="*/ 137 w 455"/>
                  <a:gd name="T23" fmla="*/ 1 h 946"/>
                  <a:gd name="T24" fmla="*/ 149 w 455"/>
                  <a:gd name="T25" fmla="*/ 1 h 946"/>
                  <a:gd name="T26" fmla="*/ 175 w 455"/>
                  <a:gd name="T27" fmla="*/ 0 h 946"/>
                  <a:gd name="T28" fmla="*/ 194 w 455"/>
                  <a:gd name="T29" fmla="*/ 1 h 946"/>
                  <a:gd name="T30" fmla="*/ 168 w 455"/>
                  <a:gd name="T31" fmla="*/ 1 h 946"/>
                  <a:gd name="T32" fmla="*/ 180 w 455"/>
                  <a:gd name="T33" fmla="*/ 1 h 946"/>
                  <a:gd name="T34" fmla="*/ 161 w 455"/>
                  <a:gd name="T35" fmla="*/ 1 h 946"/>
                  <a:gd name="T36" fmla="*/ 168 w 455"/>
                  <a:gd name="T37" fmla="*/ 1 h 946"/>
                  <a:gd name="T38" fmla="*/ 199 w 455"/>
                  <a:gd name="T39" fmla="*/ 1 h 946"/>
                  <a:gd name="T40" fmla="*/ 186 w 455"/>
                  <a:gd name="T41" fmla="*/ 1 h 946"/>
                  <a:gd name="T42" fmla="*/ 225 w 455"/>
                  <a:gd name="T43" fmla="*/ 1 h 946"/>
                  <a:gd name="T44" fmla="*/ 305 w 455"/>
                  <a:gd name="T45" fmla="*/ 1 h 946"/>
                  <a:gd name="T46" fmla="*/ 312 w 455"/>
                  <a:gd name="T47" fmla="*/ 1 h 946"/>
                  <a:gd name="T48" fmla="*/ 324 w 455"/>
                  <a:gd name="T49" fmla="*/ 1 h 946"/>
                  <a:gd name="T50" fmla="*/ 324 w 455"/>
                  <a:gd name="T51" fmla="*/ 1 h 946"/>
                  <a:gd name="T52" fmla="*/ 331 w 455"/>
                  <a:gd name="T53" fmla="*/ 1 h 946"/>
                  <a:gd name="T54" fmla="*/ 368 w 455"/>
                  <a:gd name="T55" fmla="*/ 1 h 946"/>
                  <a:gd name="T56" fmla="*/ 368 w 455"/>
                  <a:gd name="T57" fmla="*/ 1 h 946"/>
                  <a:gd name="T58" fmla="*/ 437 w 455"/>
                  <a:gd name="T59" fmla="*/ 1 h 946"/>
                  <a:gd name="T60" fmla="*/ 437 w 455"/>
                  <a:gd name="T61" fmla="*/ 1 h 946"/>
                  <a:gd name="T62" fmla="*/ 455 w 455"/>
                  <a:gd name="T63" fmla="*/ 1 h 946"/>
                  <a:gd name="T64" fmla="*/ 450 w 455"/>
                  <a:gd name="T65" fmla="*/ 1 h 946"/>
                  <a:gd name="T66" fmla="*/ 424 w 455"/>
                  <a:gd name="T67" fmla="*/ 1 h 946"/>
                  <a:gd name="T68" fmla="*/ 381 w 455"/>
                  <a:gd name="T69" fmla="*/ 1 h 946"/>
                  <a:gd name="T70" fmla="*/ 374 w 455"/>
                  <a:gd name="T71" fmla="*/ 1 h 946"/>
                  <a:gd name="T72" fmla="*/ 368 w 455"/>
                  <a:gd name="T73" fmla="*/ 1 h 946"/>
                  <a:gd name="T74" fmla="*/ 355 w 455"/>
                  <a:gd name="T75" fmla="*/ 1 h 946"/>
                  <a:gd name="T76" fmla="*/ 374 w 455"/>
                  <a:gd name="T77" fmla="*/ 1 h 946"/>
                  <a:gd name="T78" fmla="*/ 336 w 455"/>
                  <a:gd name="T79" fmla="*/ 1 h 946"/>
                  <a:gd name="T80" fmla="*/ 318 w 455"/>
                  <a:gd name="T81" fmla="*/ 1 h 946"/>
                  <a:gd name="T82" fmla="*/ 312 w 455"/>
                  <a:gd name="T83" fmla="*/ 1 h 946"/>
                  <a:gd name="T84" fmla="*/ 318 w 455"/>
                  <a:gd name="T85" fmla="*/ 1 h 946"/>
                  <a:gd name="T86" fmla="*/ 305 w 455"/>
                  <a:gd name="T87" fmla="*/ 1 h 946"/>
                  <a:gd name="T88" fmla="*/ 318 w 455"/>
                  <a:gd name="T89" fmla="*/ 1 h 946"/>
                  <a:gd name="T90" fmla="*/ 324 w 455"/>
                  <a:gd name="T91" fmla="*/ 1 h 946"/>
                  <a:gd name="T92" fmla="*/ 312 w 455"/>
                  <a:gd name="T93" fmla="*/ 1 h 946"/>
                  <a:gd name="T94" fmla="*/ 286 w 455"/>
                  <a:gd name="T95" fmla="*/ 1 h 946"/>
                  <a:gd name="T96" fmla="*/ 194 w 455"/>
                  <a:gd name="T97" fmla="*/ 1 h 946"/>
                  <a:gd name="T98" fmla="*/ 180 w 455"/>
                  <a:gd name="T99" fmla="*/ 1 h 946"/>
                  <a:gd name="T100" fmla="*/ 144 w 455"/>
                  <a:gd name="T101" fmla="*/ 1 h 946"/>
                  <a:gd name="T102" fmla="*/ 106 w 455"/>
                  <a:gd name="T103" fmla="*/ 1 h 946"/>
                  <a:gd name="T104" fmla="*/ 93 w 455"/>
                  <a:gd name="T105" fmla="*/ 1 h 946"/>
                  <a:gd name="T106" fmla="*/ 80 w 455"/>
                  <a:gd name="T107" fmla="*/ 1 h 946"/>
                  <a:gd name="T108" fmla="*/ 69 w 455"/>
                  <a:gd name="T109" fmla="*/ 1 h 946"/>
                  <a:gd name="T110" fmla="*/ 61 w 455"/>
                  <a:gd name="T111" fmla="*/ 1 h 946"/>
                  <a:gd name="T112" fmla="*/ 56 w 455"/>
                  <a:gd name="T113" fmla="*/ 1 h 946"/>
                  <a:gd name="T114" fmla="*/ 37 w 455"/>
                  <a:gd name="T115" fmla="*/ 1 h 946"/>
                  <a:gd name="T116" fmla="*/ 11 w 455"/>
                  <a:gd name="T117" fmla="*/ 1 h 946"/>
                  <a:gd name="T118" fmla="*/ 37 w 455"/>
                  <a:gd name="T119" fmla="*/ 1 h 946"/>
                  <a:gd name="T120" fmla="*/ 11 w 455"/>
                  <a:gd name="T121" fmla="*/ 1 h 946"/>
                  <a:gd name="T122" fmla="*/ 0 w 455"/>
                  <a:gd name="T123" fmla="*/ 1 h 9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55" h="946">
                    <a:moveTo>
                      <a:pt x="0" y="436"/>
                    </a:moveTo>
                    <a:lnTo>
                      <a:pt x="11" y="412"/>
                    </a:lnTo>
                    <a:lnTo>
                      <a:pt x="49" y="412"/>
                    </a:lnTo>
                    <a:lnTo>
                      <a:pt x="25" y="313"/>
                    </a:lnTo>
                    <a:lnTo>
                      <a:pt x="37" y="290"/>
                    </a:lnTo>
                    <a:lnTo>
                      <a:pt x="56" y="290"/>
                    </a:lnTo>
                    <a:lnTo>
                      <a:pt x="106" y="178"/>
                    </a:lnTo>
                    <a:lnTo>
                      <a:pt x="99" y="157"/>
                    </a:lnTo>
                    <a:lnTo>
                      <a:pt x="111" y="134"/>
                    </a:lnTo>
                    <a:lnTo>
                      <a:pt x="93" y="99"/>
                    </a:lnTo>
                    <a:lnTo>
                      <a:pt x="93" y="55"/>
                    </a:lnTo>
                    <a:lnTo>
                      <a:pt x="137" y="55"/>
                    </a:lnTo>
                    <a:lnTo>
                      <a:pt x="149" y="25"/>
                    </a:lnTo>
                    <a:lnTo>
                      <a:pt x="175" y="0"/>
                    </a:lnTo>
                    <a:lnTo>
                      <a:pt x="194" y="25"/>
                    </a:lnTo>
                    <a:lnTo>
                      <a:pt x="168" y="78"/>
                    </a:lnTo>
                    <a:lnTo>
                      <a:pt x="180" y="122"/>
                    </a:lnTo>
                    <a:lnTo>
                      <a:pt x="161" y="122"/>
                    </a:lnTo>
                    <a:lnTo>
                      <a:pt x="168" y="190"/>
                    </a:lnTo>
                    <a:lnTo>
                      <a:pt x="199" y="201"/>
                    </a:lnTo>
                    <a:lnTo>
                      <a:pt x="186" y="257"/>
                    </a:lnTo>
                    <a:lnTo>
                      <a:pt x="225" y="313"/>
                    </a:lnTo>
                    <a:lnTo>
                      <a:pt x="305" y="336"/>
                    </a:lnTo>
                    <a:lnTo>
                      <a:pt x="312" y="290"/>
                    </a:lnTo>
                    <a:lnTo>
                      <a:pt x="324" y="290"/>
                    </a:lnTo>
                    <a:lnTo>
                      <a:pt x="324" y="313"/>
                    </a:lnTo>
                    <a:lnTo>
                      <a:pt x="331" y="336"/>
                    </a:lnTo>
                    <a:lnTo>
                      <a:pt x="368" y="324"/>
                    </a:lnTo>
                    <a:lnTo>
                      <a:pt x="368" y="290"/>
                    </a:lnTo>
                    <a:lnTo>
                      <a:pt x="437" y="234"/>
                    </a:lnTo>
                    <a:lnTo>
                      <a:pt x="437" y="267"/>
                    </a:lnTo>
                    <a:lnTo>
                      <a:pt x="455" y="280"/>
                    </a:lnTo>
                    <a:lnTo>
                      <a:pt x="450" y="324"/>
                    </a:lnTo>
                    <a:lnTo>
                      <a:pt x="424" y="336"/>
                    </a:lnTo>
                    <a:lnTo>
                      <a:pt x="381" y="489"/>
                    </a:lnTo>
                    <a:lnTo>
                      <a:pt x="374" y="436"/>
                    </a:lnTo>
                    <a:lnTo>
                      <a:pt x="368" y="459"/>
                    </a:lnTo>
                    <a:lnTo>
                      <a:pt x="355" y="424"/>
                    </a:lnTo>
                    <a:lnTo>
                      <a:pt x="374" y="389"/>
                    </a:lnTo>
                    <a:lnTo>
                      <a:pt x="336" y="380"/>
                    </a:lnTo>
                    <a:lnTo>
                      <a:pt x="318" y="336"/>
                    </a:lnTo>
                    <a:lnTo>
                      <a:pt x="312" y="357"/>
                    </a:lnTo>
                    <a:lnTo>
                      <a:pt x="318" y="380"/>
                    </a:lnTo>
                    <a:lnTo>
                      <a:pt x="305" y="389"/>
                    </a:lnTo>
                    <a:lnTo>
                      <a:pt x="318" y="412"/>
                    </a:lnTo>
                    <a:lnTo>
                      <a:pt x="324" y="503"/>
                    </a:lnTo>
                    <a:lnTo>
                      <a:pt x="312" y="489"/>
                    </a:lnTo>
                    <a:lnTo>
                      <a:pt x="286" y="557"/>
                    </a:lnTo>
                    <a:lnTo>
                      <a:pt x="194" y="701"/>
                    </a:lnTo>
                    <a:lnTo>
                      <a:pt x="180" y="881"/>
                    </a:lnTo>
                    <a:lnTo>
                      <a:pt x="144" y="946"/>
                    </a:lnTo>
                    <a:lnTo>
                      <a:pt x="106" y="814"/>
                    </a:lnTo>
                    <a:lnTo>
                      <a:pt x="93" y="701"/>
                    </a:lnTo>
                    <a:lnTo>
                      <a:pt x="80" y="679"/>
                    </a:lnTo>
                    <a:lnTo>
                      <a:pt x="69" y="480"/>
                    </a:lnTo>
                    <a:lnTo>
                      <a:pt x="61" y="468"/>
                    </a:lnTo>
                    <a:lnTo>
                      <a:pt x="56" y="512"/>
                    </a:lnTo>
                    <a:lnTo>
                      <a:pt x="37" y="533"/>
                    </a:lnTo>
                    <a:lnTo>
                      <a:pt x="11" y="480"/>
                    </a:lnTo>
                    <a:lnTo>
                      <a:pt x="37" y="459"/>
                    </a:lnTo>
                    <a:lnTo>
                      <a:pt x="11" y="459"/>
                    </a:lnTo>
                    <a:lnTo>
                      <a:pt x="0" y="436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86" name="Freeform 367"/>
              <p:cNvSpPr>
                <a:spLocks/>
              </p:cNvSpPr>
              <p:nvPr/>
            </p:nvSpPr>
            <p:spPr bwMode="auto">
              <a:xfrm>
                <a:off x="4003" y="2052"/>
                <a:ext cx="455" cy="473"/>
              </a:xfrm>
              <a:custGeom>
                <a:avLst/>
                <a:gdLst>
                  <a:gd name="T0" fmla="*/ 0 w 455"/>
                  <a:gd name="T1" fmla="*/ 1 h 946"/>
                  <a:gd name="T2" fmla="*/ 11 w 455"/>
                  <a:gd name="T3" fmla="*/ 1 h 946"/>
                  <a:gd name="T4" fmla="*/ 49 w 455"/>
                  <a:gd name="T5" fmla="*/ 1 h 946"/>
                  <a:gd name="T6" fmla="*/ 25 w 455"/>
                  <a:gd name="T7" fmla="*/ 1 h 946"/>
                  <a:gd name="T8" fmla="*/ 37 w 455"/>
                  <a:gd name="T9" fmla="*/ 1 h 946"/>
                  <a:gd name="T10" fmla="*/ 56 w 455"/>
                  <a:gd name="T11" fmla="*/ 1 h 946"/>
                  <a:gd name="T12" fmla="*/ 106 w 455"/>
                  <a:gd name="T13" fmla="*/ 1 h 946"/>
                  <a:gd name="T14" fmla="*/ 99 w 455"/>
                  <a:gd name="T15" fmla="*/ 1 h 946"/>
                  <a:gd name="T16" fmla="*/ 111 w 455"/>
                  <a:gd name="T17" fmla="*/ 1 h 946"/>
                  <a:gd name="T18" fmla="*/ 93 w 455"/>
                  <a:gd name="T19" fmla="*/ 1 h 946"/>
                  <a:gd name="T20" fmla="*/ 93 w 455"/>
                  <a:gd name="T21" fmla="*/ 1 h 946"/>
                  <a:gd name="T22" fmla="*/ 137 w 455"/>
                  <a:gd name="T23" fmla="*/ 1 h 946"/>
                  <a:gd name="T24" fmla="*/ 149 w 455"/>
                  <a:gd name="T25" fmla="*/ 1 h 946"/>
                  <a:gd name="T26" fmla="*/ 175 w 455"/>
                  <a:gd name="T27" fmla="*/ 0 h 946"/>
                  <a:gd name="T28" fmla="*/ 194 w 455"/>
                  <a:gd name="T29" fmla="*/ 1 h 946"/>
                  <a:gd name="T30" fmla="*/ 168 w 455"/>
                  <a:gd name="T31" fmla="*/ 1 h 946"/>
                  <a:gd name="T32" fmla="*/ 180 w 455"/>
                  <a:gd name="T33" fmla="*/ 1 h 946"/>
                  <a:gd name="T34" fmla="*/ 161 w 455"/>
                  <a:gd name="T35" fmla="*/ 1 h 946"/>
                  <a:gd name="T36" fmla="*/ 168 w 455"/>
                  <a:gd name="T37" fmla="*/ 1 h 946"/>
                  <a:gd name="T38" fmla="*/ 199 w 455"/>
                  <a:gd name="T39" fmla="*/ 1 h 946"/>
                  <a:gd name="T40" fmla="*/ 186 w 455"/>
                  <a:gd name="T41" fmla="*/ 1 h 946"/>
                  <a:gd name="T42" fmla="*/ 225 w 455"/>
                  <a:gd name="T43" fmla="*/ 1 h 946"/>
                  <a:gd name="T44" fmla="*/ 305 w 455"/>
                  <a:gd name="T45" fmla="*/ 1 h 946"/>
                  <a:gd name="T46" fmla="*/ 312 w 455"/>
                  <a:gd name="T47" fmla="*/ 1 h 946"/>
                  <a:gd name="T48" fmla="*/ 324 w 455"/>
                  <a:gd name="T49" fmla="*/ 1 h 946"/>
                  <a:gd name="T50" fmla="*/ 324 w 455"/>
                  <a:gd name="T51" fmla="*/ 1 h 946"/>
                  <a:gd name="T52" fmla="*/ 331 w 455"/>
                  <a:gd name="T53" fmla="*/ 1 h 946"/>
                  <a:gd name="T54" fmla="*/ 368 w 455"/>
                  <a:gd name="T55" fmla="*/ 1 h 946"/>
                  <a:gd name="T56" fmla="*/ 368 w 455"/>
                  <a:gd name="T57" fmla="*/ 1 h 946"/>
                  <a:gd name="T58" fmla="*/ 437 w 455"/>
                  <a:gd name="T59" fmla="*/ 1 h 946"/>
                  <a:gd name="T60" fmla="*/ 437 w 455"/>
                  <a:gd name="T61" fmla="*/ 1 h 946"/>
                  <a:gd name="T62" fmla="*/ 455 w 455"/>
                  <a:gd name="T63" fmla="*/ 1 h 946"/>
                  <a:gd name="T64" fmla="*/ 450 w 455"/>
                  <a:gd name="T65" fmla="*/ 1 h 946"/>
                  <a:gd name="T66" fmla="*/ 424 w 455"/>
                  <a:gd name="T67" fmla="*/ 1 h 946"/>
                  <a:gd name="T68" fmla="*/ 381 w 455"/>
                  <a:gd name="T69" fmla="*/ 1 h 946"/>
                  <a:gd name="T70" fmla="*/ 374 w 455"/>
                  <a:gd name="T71" fmla="*/ 1 h 946"/>
                  <a:gd name="T72" fmla="*/ 368 w 455"/>
                  <a:gd name="T73" fmla="*/ 1 h 946"/>
                  <a:gd name="T74" fmla="*/ 355 w 455"/>
                  <a:gd name="T75" fmla="*/ 1 h 946"/>
                  <a:gd name="T76" fmla="*/ 374 w 455"/>
                  <a:gd name="T77" fmla="*/ 1 h 946"/>
                  <a:gd name="T78" fmla="*/ 336 w 455"/>
                  <a:gd name="T79" fmla="*/ 1 h 946"/>
                  <a:gd name="T80" fmla="*/ 318 w 455"/>
                  <a:gd name="T81" fmla="*/ 1 h 946"/>
                  <a:gd name="T82" fmla="*/ 312 w 455"/>
                  <a:gd name="T83" fmla="*/ 1 h 946"/>
                  <a:gd name="T84" fmla="*/ 318 w 455"/>
                  <a:gd name="T85" fmla="*/ 1 h 946"/>
                  <a:gd name="T86" fmla="*/ 305 w 455"/>
                  <a:gd name="T87" fmla="*/ 1 h 946"/>
                  <a:gd name="T88" fmla="*/ 318 w 455"/>
                  <a:gd name="T89" fmla="*/ 1 h 946"/>
                  <a:gd name="T90" fmla="*/ 324 w 455"/>
                  <a:gd name="T91" fmla="*/ 1 h 946"/>
                  <a:gd name="T92" fmla="*/ 312 w 455"/>
                  <a:gd name="T93" fmla="*/ 1 h 946"/>
                  <a:gd name="T94" fmla="*/ 286 w 455"/>
                  <a:gd name="T95" fmla="*/ 1 h 946"/>
                  <a:gd name="T96" fmla="*/ 194 w 455"/>
                  <a:gd name="T97" fmla="*/ 1 h 946"/>
                  <a:gd name="T98" fmla="*/ 180 w 455"/>
                  <a:gd name="T99" fmla="*/ 1 h 946"/>
                  <a:gd name="T100" fmla="*/ 144 w 455"/>
                  <a:gd name="T101" fmla="*/ 1 h 946"/>
                  <a:gd name="T102" fmla="*/ 106 w 455"/>
                  <a:gd name="T103" fmla="*/ 1 h 946"/>
                  <a:gd name="T104" fmla="*/ 93 w 455"/>
                  <a:gd name="T105" fmla="*/ 1 h 946"/>
                  <a:gd name="T106" fmla="*/ 80 w 455"/>
                  <a:gd name="T107" fmla="*/ 1 h 946"/>
                  <a:gd name="T108" fmla="*/ 69 w 455"/>
                  <a:gd name="T109" fmla="*/ 1 h 946"/>
                  <a:gd name="T110" fmla="*/ 61 w 455"/>
                  <a:gd name="T111" fmla="*/ 1 h 946"/>
                  <a:gd name="T112" fmla="*/ 56 w 455"/>
                  <a:gd name="T113" fmla="*/ 1 h 946"/>
                  <a:gd name="T114" fmla="*/ 37 w 455"/>
                  <a:gd name="T115" fmla="*/ 1 h 946"/>
                  <a:gd name="T116" fmla="*/ 11 w 455"/>
                  <a:gd name="T117" fmla="*/ 1 h 946"/>
                  <a:gd name="T118" fmla="*/ 37 w 455"/>
                  <a:gd name="T119" fmla="*/ 1 h 946"/>
                  <a:gd name="T120" fmla="*/ 11 w 455"/>
                  <a:gd name="T121" fmla="*/ 1 h 946"/>
                  <a:gd name="T122" fmla="*/ 0 w 455"/>
                  <a:gd name="T123" fmla="*/ 1 h 9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55" h="946">
                    <a:moveTo>
                      <a:pt x="0" y="436"/>
                    </a:moveTo>
                    <a:lnTo>
                      <a:pt x="11" y="412"/>
                    </a:lnTo>
                    <a:lnTo>
                      <a:pt x="49" y="412"/>
                    </a:lnTo>
                    <a:lnTo>
                      <a:pt x="25" y="313"/>
                    </a:lnTo>
                    <a:lnTo>
                      <a:pt x="37" y="290"/>
                    </a:lnTo>
                    <a:lnTo>
                      <a:pt x="56" y="290"/>
                    </a:lnTo>
                    <a:lnTo>
                      <a:pt x="106" y="178"/>
                    </a:lnTo>
                    <a:lnTo>
                      <a:pt x="99" y="157"/>
                    </a:lnTo>
                    <a:lnTo>
                      <a:pt x="111" y="134"/>
                    </a:lnTo>
                    <a:lnTo>
                      <a:pt x="93" y="99"/>
                    </a:lnTo>
                    <a:lnTo>
                      <a:pt x="93" y="55"/>
                    </a:lnTo>
                    <a:lnTo>
                      <a:pt x="137" y="55"/>
                    </a:lnTo>
                    <a:lnTo>
                      <a:pt x="149" y="25"/>
                    </a:lnTo>
                    <a:lnTo>
                      <a:pt x="175" y="0"/>
                    </a:lnTo>
                    <a:lnTo>
                      <a:pt x="194" y="25"/>
                    </a:lnTo>
                    <a:lnTo>
                      <a:pt x="168" y="78"/>
                    </a:lnTo>
                    <a:lnTo>
                      <a:pt x="180" y="122"/>
                    </a:lnTo>
                    <a:lnTo>
                      <a:pt x="161" y="122"/>
                    </a:lnTo>
                    <a:lnTo>
                      <a:pt x="168" y="190"/>
                    </a:lnTo>
                    <a:lnTo>
                      <a:pt x="199" y="201"/>
                    </a:lnTo>
                    <a:lnTo>
                      <a:pt x="186" y="257"/>
                    </a:lnTo>
                    <a:lnTo>
                      <a:pt x="225" y="313"/>
                    </a:lnTo>
                    <a:lnTo>
                      <a:pt x="305" y="336"/>
                    </a:lnTo>
                    <a:lnTo>
                      <a:pt x="312" y="290"/>
                    </a:lnTo>
                    <a:lnTo>
                      <a:pt x="324" y="290"/>
                    </a:lnTo>
                    <a:lnTo>
                      <a:pt x="324" y="313"/>
                    </a:lnTo>
                    <a:lnTo>
                      <a:pt x="331" y="336"/>
                    </a:lnTo>
                    <a:lnTo>
                      <a:pt x="368" y="324"/>
                    </a:lnTo>
                    <a:lnTo>
                      <a:pt x="368" y="290"/>
                    </a:lnTo>
                    <a:lnTo>
                      <a:pt x="437" y="234"/>
                    </a:lnTo>
                    <a:lnTo>
                      <a:pt x="437" y="267"/>
                    </a:lnTo>
                    <a:lnTo>
                      <a:pt x="455" y="280"/>
                    </a:lnTo>
                    <a:lnTo>
                      <a:pt x="450" y="324"/>
                    </a:lnTo>
                    <a:lnTo>
                      <a:pt x="424" y="336"/>
                    </a:lnTo>
                    <a:lnTo>
                      <a:pt x="381" y="489"/>
                    </a:lnTo>
                    <a:lnTo>
                      <a:pt x="374" y="436"/>
                    </a:lnTo>
                    <a:lnTo>
                      <a:pt x="368" y="459"/>
                    </a:lnTo>
                    <a:lnTo>
                      <a:pt x="355" y="424"/>
                    </a:lnTo>
                    <a:lnTo>
                      <a:pt x="374" y="389"/>
                    </a:lnTo>
                    <a:lnTo>
                      <a:pt x="336" y="380"/>
                    </a:lnTo>
                    <a:lnTo>
                      <a:pt x="318" y="336"/>
                    </a:lnTo>
                    <a:lnTo>
                      <a:pt x="312" y="357"/>
                    </a:lnTo>
                    <a:lnTo>
                      <a:pt x="318" y="380"/>
                    </a:lnTo>
                    <a:lnTo>
                      <a:pt x="305" y="389"/>
                    </a:lnTo>
                    <a:lnTo>
                      <a:pt x="318" y="412"/>
                    </a:lnTo>
                    <a:lnTo>
                      <a:pt x="324" y="503"/>
                    </a:lnTo>
                    <a:lnTo>
                      <a:pt x="312" y="489"/>
                    </a:lnTo>
                    <a:lnTo>
                      <a:pt x="286" y="557"/>
                    </a:lnTo>
                    <a:lnTo>
                      <a:pt x="194" y="701"/>
                    </a:lnTo>
                    <a:lnTo>
                      <a:pt x="180" y="881"/>
                    </a:lnTo>
                    <a:lnTo>
                      <a:pt x="144" y="946"/>
                    </a:lnTo>
                    <a:lnTo>
                      <a:pt x="106" y="814"/>
                    </a:lnTo>
                    <a:lnTo>
                      <a:pt x="93" y="701"/>
                    </a:lnTo>
                    <a:lnTo>
                      <a:pt x="80" y="679"/>
                    </a:lnTo>
                    <a:lnTo>
                      <a:pt x="69" y="480"/>
                    </a:lnTo>
                    <a:lnTo>
                      <a:pt x="61" y="468"/>
                    </a:lnTo>
                    <a:lnTo>
                      <a:pt x="56" y="512"/>
                    </a:lnTo>
                    <a:lnTo>
                      <a:pt x="37" y="533"/>
                    </a:lnTo>
                    <a:lnTo>
                      <a:pt x="11" y="480"/>
                    </a:lnTo>
                    <a:lnTo>
                      <a:pt x="37" y="459"/>
                    </a:lnTo>
                    <a:lnTo>
                      <a:pt x="11" y="459"/>
                    </a:lnTo>
                    <a:lnTo>
                      <a:pt x="0" y="436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06" name="Freeform 368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7975827" y="3844495"/>
              <a:ext cx="842056" cy="750888"/>
            </a:xfrm>
            <a:custGeom>
              <a:avLst/>
              <a:gdLst>
                <a:gd name="T0" fmla="*/ 0 w 455"/>
                <a:gd name="T1" fmla="*/ 2147483647 h 946"/>
                <a:gd name="T2" fmla="*/ 2147483647 w 455"/>
                <a:gd name="T3" fmla="*/ 2147483647 h 946"/>
                <a:gd name="T4" fmla="*/ 2147483647 w 455"/>
                <a:gd name="T5" fmla="*/ 2147483647 h 946"/>
                <a:gd name="T6" fmla="*/ 2147483647 w 455"/>
                <a:gd name="T7" fmla="*/ 2147483647 h 946"/>
                <a:gd name="T8" fmla="*/ 2147483647 w 455"/>
                <a:gd name="T9" fmla="*/ 2147483647 h 946"/>
                <a:gd name="T10" fmla="*/ 2147483647 w 455"/>
                <a:gd name="T11" fmla="*/ 2147483647 h 946"/>
                <a:gd name="T12" fmla="*/ 2147483647 w 455"/>
                <a:gd name="T13" fmla="*/ 2147483647 h 946"/>
                <a:gd name="T14" fmla="*/ 2147483647 w 455"/>
                <a:gd name="T15" fmla="*/ 2147483647 h 946"/>
                <a:gd name="T16" fmla="*/ 2147483647 w 455"/>
                <a:gd name="T17" fmla="*/ 2147483647 h 946"/>
                <a:gd name="T18" fmla="*/ 2147483647 w 455"/>
                <a:gd name="T19" fmla="*/ 2147483647 h 946"/>
                <a:gd name="T20" fmla="*/ 2147483647 w 455"/>
                <a:gd name="T21" fmla="*/ 2147483647 h 946"/>
                <a:gd name="T22" fmla="*/ 2147483647 w 455"/>
                <a:gd name="T23" fmla="*/ 2147483647 h 946"/>
                <a:gd name="T24" fmla="*/ 2147483647 w 455"/>
                <a:gd name="T25" fmla="*/ 2147483647 h 946"/>
                <a:gd name="T26" fmla="*/ 2147483647 w 455"/>
                <a:gd name="T27" fmla="*/ 0 h 946"/>
                <a:gd name="T28" fmla="*/ 2147483647 w 455"/>
                <a:gd name="T29" fmla="*/ 2147483647 h 946"/>
                <a:gd name="T30" fmla="*/ 2147483647 w 455"/>
                <a:gd name="T31" fmla="*/ 2147483647 h 946"/>
                <a:gd name="T32" fmla="*/ 2147483647 w 455"/>
                <a:gd name="T33" fmla="*/ 2147483647 h 946"/>
                <a:gd name="T34" fmla="*/ 2147483647 w 455"/>
                <a:gd name="T35" fmla="*/ 2147483647 h 946"/>
                <a:gd name="T36" fmla="*/ 2147483647 w 455"/>
                <a:gd name="T37" fmla="*/ 2147483647 h 946"/>
                <a:gd name="T38" fmla="*/ 2147483647 w 455"/>
                <a:gd name="T39" fmla="*/ 2147483647 h 946"/>
                <a:gd name="T40" fmla="*/ 2147483647 w 455"/>
                <a:gd name="T41" fmla="*/ 2147483647 h 946"/>
                <a:gd name="T42" fmla="*/ 2147483647 w 455"/>
                <a:gd name="T43" fmla="*/ 2147483647 h 946"/>
                <a:gd name="T44" fmla="*/ 2147483647 w 455"/>
                <a:gd name="T45" fmla="*/ 2147483647 h 946"/>
                <a:gd name="T46" fmla="*/ 2147483647 w 455"/>
                <a:gd name="T47" fmla="*/ 2147483647 h 946"/>
                <a:gd name="T48" fmla="*/ 2147483647 w 455"/>
                <a:gd name="T49" fmla="*/ 2147483647 h 946"/>
                <a:gd name="T50" fmla="*/ 2147483647 w 455"/>
                <a:gd name="T51" fmla="*/ 2147483647 h 946"/>
                <a:gd name="T52" fmla="*/ 2147483647 w 455"/>
                <a:gd name="T53" fmla="*/ 2147483647 h 946"/>
                <a:gd name="T54" fmla="*/ 2147483647 w 455"/>
                <a:gd name="T55" fmla="*/ 2147483647 h 946"/>
                <a:gd name="T56" fmla="*/ 2147483647 w 455"/>
                <a:gd name="T57" fmla="*/ 2147483647 h 946"/>
                <a:gd name="T58" fmla="*/ 2147483647 w 455"/>
                <a:gd name="T59" fmla="*/ 2147483647 h 946"/>
                <a:gd name="T60" fmla="*/ 2147483647 w 455"/>
                <a:gd name="T61" fmla="*/ 2147483647 h 946"/>
                <a:gd name="T62" fmla="*/ 2147483647 w 455"/>
                <a:gd name="T63" fmla="*/ 2147483647 h 946"/>
                <a:gd name="T64" fmla="*/ 2147483647 w 455"/>
                <a:gd name="T65" fmla="*/ 2147483647 h 946"/>
                <a:gd name="T66" fmla="*/ 2147483647 w 455"/>
                <a:gd name="T67" fmla="*/ 2147483647 h 946"/>
                <a:gd name="T68" fmla="*/ 2147483647 w 455"/>
                <a:gd name="T69" fmla="*/ 2147483647 h 946"/>
                <a:gd name="T70" fmla="*/ 2147483647 w 455"/>
                <a:gd name="T71" fmla="*/ 2147483647 h 946"/>
                <a:gd name="T72" fmla="*/ 2147483647 w 455"/>
                <a:gd name="T73" fmla="*/ 2147483647 h 946"/>
                <a:gd name="T74" fmla="*/ 2147483647 w 455"/>
                <a:gd name="T75" fmla="*/ 2147483647 h 946"/>
                <a:gd name="T76" fmla="*/ 2147483647 w 455"/>
                <a:gd name="T77" fmla="*/ 2147483647 h 946"/>
                <a:gd name="T78" fmla="*/ 2147483647 w 455"/>
                <a:gd name="T79" fmla="*/ 2147483647 h 946"/>
                <a:gd name="T80" fmla="*/ 2147483647 w 455"/>
                <a:gd name="T81" fmla="*/ 2147483647 h 946"/>
                <a:gd name="T82" fmla="*/ 2147483647 w 455"/>
                <a:gd name="T83" fmla="*/ 2147483647 h 946"/>
                <a:gd name="T84" fmla="*/ 2147483647 w 455"/>
                <a:gd name="T85" fmla="*/ 2147483647 h 946"/>
                <a:gd name="T86" fmla="*/ 2147483647 w 455"/>
                <a:gd name="T87" fmla="*/ 2147483647 h 946"/>
                <a:gd name="T88" fmla="*/ 2147483647 w 455"/>
                <a:gd name="T89" fmla="*/ 2147483647 h 946"/>
                <a:gd name="T90" fmla="*/ 2147483647 w 455"/>
                <a:gd name="T91" fmla="*/ 2147483647 h 946"/>
                <a:gd name="T92" fmla="*/ 2147483647 w 455"/>
                <a:gd name="T93" fmla="*/ 2147483647 h 946"/>
                <a:gd name="T94" fmla="*/ 2147483647 w 455"/>
                <a:gd name="T95" fmla="*/ 2147483647 h 946"/>
                <a:gd name="T96" fmla="*/ 2147483647 w 455"/>
                <a:gd name="T97" fmla="*/ 2147483647 h 946"/>
                <a:gd name="T98" fmla="*/ 2147483647 w 455"/>
                <a:gd name="T99" fmla="*/ 2147483647 h 946"/>
                <a:gd name="T100" fmla="*/ 2147483647 w 455"/>
                <a:gd name="T101" fmla="*/ 2147483647 h 946"/>
                <a:gd name="T102" fmla="*/ 2147483647 w 455"/>
                <a:gd name="T103" fmla="*/ 2147483647 h 946"/>
                <a:gd name="T104" fmla="*/ 2147483647 w 455"/>
                <a:gd name="T105" fmla="*/ 2147483647 h 946"/>
                <a:gd name="T106" fmla="*/ 2147483647 w 455"/>
                <a:gd name="T107" fmla="*/ 2147483647 h 946"/>
                <a:gd name="T108" fmla="*/ 2147483647 w 455"/>
                <a:gd name="T109" fmla="*/ 2147483647 h 946"/>
                <a:gd name="T110" fmla="*/ 2147483647 w 455"/>
                <a:gd name="T111" fmla="*/ 2147483647 h 946"/>
                <a:gd name="T112" fmla="*/ 2147483647 w 455"/>
                <a:gd name="T113" fmla="*/ 2147483647 h 946"/>
                <a:gd name="T114" fmla="*/ 2147483647 w 455"/>
                <a:gd name="T115" fmla="*/ 2147483647 h 946"/>
                <a:gd name="T116" fmla="*/ 2147483647 w 455"/>
                <a:gd name="T117" fmla="*/ 2147483647 h 946"/>
                <a:gd name="T118" fmla="*/ 2147483647 w 455"/>
                <a:gd name="T119" fmla="*/ 2147483647 h 946"/>
                <a:gd name="T120" fmla="*/ 2147483647 w 455"/>
                <a:gd name="T121" fmla="*/ 2147483647 h 946"/>
                <a:gd name="T122" fmla="*/ 0 w 455"/>
                <a:gd name="T123" fmla="*/ 2147483647 h 94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455" h="946">
                  <a:moveTo>
                    <a:pt x="0" y="436"/>
                  </a:moveTo>
                  <a:lnTo>
                    <a:pt x="11" y="412"/>
                  </a:lnTo>
                  <a:lnTo>
                    <a:pt x="49" y="412"/>
                  </a:lnTo>
                  <a:lnTo>
                    <a:pt x="25" y="313"/>
                  </a:lnTo>
                  <a:lnTo>
                    <a:pt x="37" y="290"/>
                  </a:lnTo>
                  <a:lnTo>
                    <a:pt x="56" y="290"/>
                  </a:lnTo>
                  <a:lnTo>
                    <a:pt x="106" y="178"/>
                  </a:lnTo>
                  <a:lnTo>
                    <a:pt x="99" y="157"/>
                  </a:lnTo>
                  <a:lnTo>
                    <a:pt x="111" y="134"/>
                  </a:lnTo>
                  <a:lnTo>
                    <a:pt x="93" y="99"/>
                  </a:lnTo>
                  <a:lnTo>
                    <a:pt x="93" y="55"/>
                  </a:lnTo>
                  <a:lnTo>
                    <a:pt x="137" y="55"/>
                  </a:lnTo>
                  <a:lnTo>
                    <a:pt x="149" y="25"/>
                  </a:lnTo>
                  <a:lnTo>
                    <a:pt x="175" y="0"/>
                  </a:lnTo>
                  <a:lnTo>
                    <a:pt x="194" y="25"/>
                  </a:lnTo>
                  <a:lnTo>
                    <a:pt x="168" y="78"/>
                  </a:lnTo>
                  <a:lnTo>
                    <a:pt x="180" y="122"/>
                  </a:lnTo>
                  <a:lnTo>
                    <a:pt x="161" y="122"/>
                  </a:lnTo>
                  <a:lnTo>
                    <a:pt x="168" y="190"/>
                  </a:lnTo>
                  <a:lnTo>
                    <a:pt x="199" y="201"/>
                  </a:lnTo>
                  <a:lnTo>
                    <a:pt x="186" y="257"/>
                  </a:lnTo>
                  <a:lnTo>
                    <a:pt x="225" y="313"/>
                  </a:lnTo>
                  <a:lnTo>
                    <a:pt x="305" y="336"/>
                  </a:lnTo>
                  <a:lnTo>
                    <a:pt x="312" y="290"/>
                  </a:lnTo>
                  <a:lnTo>
                    <a:pt x="324" y="290"/>
                  </a:lnTo>
                  <a:lnTo>
                    <a:pt x="324" y="313"/>
                  </a:lnTo>
                  <a:lnTo>
                    <a:pt x="331" y="336"/>
                  </a:lnTo>
                  <a:lnTo>
                    <a:pt x="368" y="324"/>
                  </a:lnTo>
                  <a:lnTo>
                    <a:pt x="368" y="290"/>
                  </a:lnTo>
                  <a:lnTo>
                    <a:pt x="437" y="234"/>
                  </a:lnTo>
                  <a:lnTo>
                    <a:pt x="437" y="267"/>
                  </a:lnTo>
                  <a:lnTo>
                    <a:pt x="455" y="280"/>
                  </a:lnTo>
                  <a:lnTo>
                    <a:pt x="450" y="324"/>
                  </a:lnTo>
                  <a:lnTo>
                    <a:pt x="424" y="336"/>
                  </a:lnTo>
                  <a:lnTo>
                    <a:pt x="381" y="489"/>
                  </a:lnTo>
                  <a:lnTo>
                    <a:pt x="374" y="436"/>
                  </a:lnTo>
                  <a:lnTo>
                    <a:pt x="368" y="459"/>
                  </a:lnTo>
                  <a:lnTo>
                    <a:pt x="355" y="424"/>
                  </a:lnTo>
                  <a:lnTo>
                    <a:pt x="374" y="389"/>
                  </a:lnTo>
                  <a:lnTo>
                    <a:pt x="336" y="380"/>
                  </a:lnTo>
                  <a:lnTo>
                    <a:pt x="318" y="336"/>
                  </a:lnTo>
                  <a:lnTo>
                    <a:pt x="312" y="357"/>
                  </a:lnTo>
                  <a:lnTo>
                    <a:pt x="318" y="380"/>
                  </a:lnTo>
                  <a:lnTo>
                    <a:pt x="305" y="389"/>
                  </a:lnTo>
                  <a:lnTo>
                    <a:pt x="318" y="412"/>
                  </a:lnTo>
                  <a:lnTo>
                    <a:pt x="324" y="503"/>
                  </a:lnTo>
                  <a:lnTo>
                    <a:pt x="312" y="489"/>
                  </a:lnTo>
                  <a:lnTo>
                    <a:pt x="286" y="557"/>
                  </a:lnTo>
                  <a:lnTo>
                    <a:pt x="194" y="701"/>
                  </a:lnTo>
                  <a:lnTo>
                    <a:pt x="180" y="881"/>
                  </a:lnTo>
                  <a:lnTo>
                    <a:pt x="144" y="946"/>
                  </a:lnTo>
                  <a:lnTo>
                    <a:pt x="106" y="814"/>
                  </a:lnTo>
                  <a:lnTo>
                    <a:pt x="93" y="701"/>
                  </a:lnTo>
                  <a:lnTo>
                    <a:pt x="80" y="679"/>
                  </a:lnTo>
                  <a:lnTo>
                    <a:pt x="69" y="480"/>
                  </a:lnTo>
                  <a:lnTo>
                    <a:pt x="61" y="468"/>
                  </a:lnTo>
                  <a:lnTo>
                    <a:pt x="56" y="512"/>
                  </a:lnTo>
                  <a:lnTo>
                    <a:pt x="37" y="533"/>
                  </a:lnTo>
                  <a:lnTo>
                    <a:pt x="11" y="480"/>
                  </a:lnTo>
                  <a:lnTo>
                    <a:pt x="37" y="459"/>
                  </a:lnTo>
                  <a:lnTo>
                    <a:pt x="11" y="459"/>
                  </a:lnTo>
                  <a:lnTo>
                    <a:pt x="0" y="43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07" name="Group 369"/>
            <p:cNvGrpSpPr>
              <a:grpSpLocks/>
            </p:cNvGrpSpPr>
            <p:nvPr>
              <p:custDataLst>
                <p:tags r:id="rId315"/>
              </p:custDataLst>
            </p:nvPr>
          </p:nvGrpSpPr>
          <p:grpSpPr bwMode="auto">
            <a:xfrm>
              <a:off x="7975827" y="3844495"/>
              <a:ext cx="842056" cy="750888"/>
              <a:chOff x="4003" y="2052"/>
              <a:chExt cx="455" cy="473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83" name="Freeform 370"/>
              <p:cNvSpPr>
                <a:spLocks/>
              </p:cNvSpPr>
              <p:nvPr/>
            </p:nvSpPr>
            <p:spPr bwMode="auto">
              <a:xfrm>
                <a:off x="4003" y="2052"/>
                <a:ext cx="455" cy="473"/>
              </a:xfrm>
              <a:custGeom>
                <a:avLst/>
                <a:gdLst>
                  <a:gd name="T0" fmla="*/ 0 w 455"/>
                  <a:gd name="T1" fmla="*/ 1 h 946"/>
                  <a:gd name="T2" fmla="*/ 11 w 455"/>
                  <a:gd name="T3" fmla="*/ 1 h 946"/>
                  <a:gd name="T4" fmla="*/ 49 w 455"/>
                  <a:gd name="T5" fmla="*/ 1 h 946"/>
                  <a:gd name="T6" fmla="*/ 25 w 455"/>
                  <a:gd name="T7" fmla="*/ 1 h 946"/>
                  <a:gd name="T8" fmla="*/ 37 w 455"/>
                  <a:gd name="T9" fmla="*/ 1 h 946"/>
                  <a:gd name="T10" fmla="*/ 56 w 455"/>
                  <a:gd name="T11" fmla="*/ 1 h 946"/>
                  <a:gd name="T12" fmla="*/ 106 w 455"/>
                  <a:gd name="T13" fmla="*/ 1 h 946"/>
                  <a:gd name="T14" fmla="*/ 99 w 455"/>
                  <a:gd name="T15" fmla="*/ 1 h 946"/>
                  <a:gd name="T16" fmla="*/ 111 w 455"/>
                  <a:gd name="T17" fmla="*/ 1 h 946"/>
                  <a:gd name="T18" fmla="*/ 93 w 455"/>
                  <a:gd name="T19" fmla="*/ 1 h 946"/>
                  <a:gd name="T20" fmla="*/ 93 w 455"/>
                  <a:gd name="T21" fmla="*/ 1 h 946"/>
                  <a:gd name="T22" fmla="*/ 137 w 455"/>
                  <a:gd name="T23" fmla="*/ 1 h 946"/>
                  <a:gd name="T24" fmla="*/ 149 w 455"/>
                  <a:gd name="T25" fmla="*/ 1 h 946"/>
                  <a:gd name="T26" fmla="*/ 175 w 455"/>
                  <a:gd name="T27" fmla="*/ 0 h 946"/>
                  <a:gd name="T28" fmla="*/ 194 w 455"/>
                  <a:gd name="T29" fmla="*/ 1 h 946"/>
                  <a:gd name="T30" fmla="*/ 168 w 455"/>
                  <a:gd name="T31" fmla="*/ 1 h 946"/>
                  <a:gd name="T32" fmla="*/ 180 w 455"/>
                  <a:gd name="T33" fmla="*/ 1 h 946"/>
                  <a:gd name="T34" fmla="*/ 161 w 455"/>
                  <a:gd name="T35" fmla="*/ 1 h 946"/>
                  <a:gd name="T36" fmla="*/ 168 w 455"/>
                  <a:gd name="T37" fmla="*/ 1 h 946"/>
                  <a:gd name="T38" fmla="*/ 199 w 455"/>
                  <a:gd name="T39" fmla="*/ 1 h 946"/>
                  <a:gd name="T40" fmla="*/ 186 w 455"/>
                  <a:gd name="T41" fmla="*/ 1 h 946"/>
                  <a:gd name="T42" fmla="*/ 225 w 455"/>
                  <a:gd name="T43" fmla="*/ 1 h 946"/>
                  <a:gd name="T44" fmla="*/ 305 w 455"/>
                  <a:gd name="T45" fmla="*/ 1 h 946"/>
                  <a:gd name="T46" fmla="*/ 312 w 455"/>
                  <a:gd name="T47" fmla="*/ 1 h 946"/>
                  <a:gd name="T48" fmla="*/ 324 w 455"/>
                  <a:gd name="T49" fmla="*/ 1 h 946"/>
                  <a:gd name="T50" fmla="*/ 324 w 455"/>
                  <a:gd name="T51" fmla="*/ 1 h 946"/>
                  <a:gd name="T52" fmla="*/ 331 w 455"/>
                  <a:gd name="T53" fmla="*/ 1 h 946"/>
                  <a:gd name="T54" fmla="*/ 368 w 455"/>
                  <a:gd name="T55" fmla="*/ 1 h 946"/>
                  <a:gd name="T56" fmla="*/ 368 w 455"/>
                  <a:gd name="T57" fmla="*/ 1 h 946"/>
                  <a:gd name="T58" fmla="*/ 437 w 455"/>
                  <a:gd name="T59" fmla="*/ 1 h 946"/>
                  <a:gd name="T60" fmla="*/ 437 w 455"/>
                  <a:gd name="T61" fmla="*/ 1 h 946"/>
                  <a:gd name="T62" fmla="*/ 455 w 455"/>
                  <a:gd name="T63" fmla="*/ 1 h 946"/>
                  <a:gd name="T64" fmla="*/ 450 w 455"/>
                  <a:gd name="T65" fmla="*/ 1 h 946"/>
                  <a:gd name="T66" fmla="*/ 424 w 455"/>
                  <a:gd name="T67" fmla="*/ 1 h 946"/>
                  <a:gd name="T68" fmla="*/ 381 w 455"/>
                  <a:gd name="T69" fmla="*/ 1 h 946"/>
                  <a:gd name="T70" fmla="*/ 374 w 455"/>
                  <a:gd name="T71" fmla="*/ 1 h 946"/>
                  <a:gd name="T72" fmla="*/ 368 w 455"/>
                  <a:gd name="T73" fmla="*/ 1 h 946"/>
                  <a:gd name="T74" fmla="*/ 355 w 455"/>
                  <a:gd name="T75" fmla="*/ 1 h 946"/>
                  <a:gd name="T76" fmla="*/ 374 w 455"/>
                  <a:gd name="T77" fmla="*/ 1 h 946"/>
                  <a:gd name="T78" fmla="*/ 336 w 455"/>
                  <a:gd name="T79" fmla="*/ 1 h 946"/>
                  <a:gd name="T80" fmla="*/ 318 w 455"/>
                  <a:gd name="T81" fmla="*/ 1 h 946"/>
                  <a:gd name="T82" fmla="*/ 312 w 455"/>
                  <a:gd name="T83" fmla="*/ 1 h 946"/>
                  <a:gd name="T84" fmla="*/ 318 w 455"/>
                  <a:gd name="T85" fmla="*/ 1 h 946"/>
                  <a:gd name="T86" fmla="*/ 305 w 455"/>
                  <a:gd name="T87" fmla="*/ 1 h 946"/>
                  <a:gd name="T88" fmla="*/ 318 w 455"/>
                  <a:gd name="T89" fmla="*/ 1 h 946"/>
                  <a:gd name="T90" fmla="*/ 324 w 455"/>
                  <a:gd name="T91" fmla="*/ 1 h 946"/>
                  <a:gd name="T92" fmla="*/ 312 w 455"/>
                  <a:gd name="T93" fmla="*/ 1 h 946"/>
                  <a:gd name="T94" fmla="*/ 286 w 455"/>
                  <a:gd name="T95" fmla="*/ 1 h 946"/>
                  <a:gd name="T96" fmla="*/ 194 w 455"/>
                  <a:gd name="T97" fmla="*/ 1 h 946"/>
                  <a:gd name="T98" fmla="*/ 180 w 455"/>
                  <a:gd name="T99" fmla="*/ 1 h 946"/>
                  <a:gd name="T100" fmla="*/ 144 w 455"/>
                  <a:gd name="T101" fmla="*/ 1 h 946"/>
                  <a:gd name="T102" fmla="*/ 106 w 455"/>
                  <a:gd name="T103" fmla="*/ 1 h 946"/>
                  <a:gd name="T104" fmla="*/ 93 w 455"/>
                  <a:gd name="T105" fmla="*/ 1 h 946"/>
                  <a:gd name="T106" fmla="*/ 80 w 455"/>
                  <a:gd name="T107" fmla="*/ 1 h 946"/>
                  <a:gd name="T108" fmla="*/ 69 w 455"/>
                  <a:gd name="T109" fmla="*/ 1 h 946"/>
                  <a:gd name="T110" fmla="*/ 61 w 455"/>
                  <a:gd name="T111" fmla="*/ 1 h 946"/>
                  <a:gd name="T112" fmla="*/ 56 w 455"/>
                  <a:gd name="T113" fmla="*/ 1 h 946"/>
                  <a:gd name="T114" fmla="*/ 37 w 455"/>
                  <a:gd name="T115" fmla="*/ 1 h 946"/>
                  <a:gd name="T116" fmla="*/ 11 w 455"/>
                  <a:gd name="T117" fmla="*/ 1 h 946"/>
                  <a:gd name="T118" fmla="*/ 37 w 455"/>
                  <a:gd name="T119" fmla="*/ 1 h 946"/>
                  <a:gd name="T120" fmla="*/ 11 w 455"/>
                  <a:gd name="T121" fmla="*/ 1 h 946"/>
                  <a:gd name="T122" fmla="*/ 0 w 455"/>
                  <a:gd name="T123" fmla="*/ 1 h 9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55" h="946">
                    <a:moveTo>
                      <a:pt x="0" y="436"/>
                    </a:moveTo>
                    <a:lnTo>
                      <a:pt x="11" y="412"/>
                    </a:lnTo>
                    <a:lnTo>
                      <a:pt x="49" y="412"/>
                    </a:lnTo>
                    <a:lnTo>
                      <a:pt x="25" y="313"/>
                    </a:lnTo>
                    <a:lnTo>
                      <a:pt x="37" y="290"/>
                    </a:lnTo>
                    <a:lnTo>
                      <a:pt x="56" y="290"/>
                    </a:lnTo>
                    <a:lnTo>
                      <a:pt x="106" y="178"/>
                    </a:lnTo>
                    <a:lnTo>
                      <a:pt x="99" y="157"/>
                    </a:lnTo>
                    <a:lnTo>
                      <a:pt x="111" y="134"/>
                    </a:lnTo>
                    <a:lnTo>
                      <a:pt x="93" y="99"/>
                    </a:lnTo>
                    <a:lnTo>
                      <a:pt x="93" y="55"/>
                    </a:lnTo>
                    <a:lnTo>
                      <a:pt x="137" y="55"/>
                    </a:lnTo>
                    <a:lnTo>
                      <a:pt x="149" y="25"/>
                    </a:lnTo>
                    <a:lnTo>
                      <a:pt x="175" y="0"/>
                    </a:lnTo>
                    <a:lnTo>
                      <a:pt x="194" y="25"/>
                    </a:lnTo>
                    <a:lnTo>
                      <a:pt x="168" y="78"/>
                    </a:lnTo>
                    <a:lnTo>
                      <a:pt x="180" y="122"/>
                    </a:lnTo>
                    <a:lnTo>
                      <a:pt x="161" y="122"/>
                    </a:lnTo>
                    <a:lnTo>
                      <a:pt x="168" y="190"/>
                    </a:lnTo>
                    <a:lnTo>
                      <a:pt x="199" y="201"/>
                    </a:lnTo>
                    <a:lnTo>
                      <a:pt x="186" y="257"/>
                    </a:lnTo>
                    <a:lnTo>
                      <a:pt x="225" y="313"/>
                    </a:lnTo>
                    <a:lnTo>
                      <a:pt x="305" y="336"/>
                    </a:lnTo>
                    <a:lnTo>
                      <a:pt x="312" y="290"/>
                    </a:lnTo>
                    <a:lnTo>
                      <a:pt x="324" y="290"/>
                    </a:lnTo>
                    <a:lnTo>
                      <a:pt x="324" y="313"/>
                    </a:lnTo>
                    <a:lnTo>
                      <a:pt x="331" y="336"/>
                    </a:lnTo>
                    <a:lnTo>
                      <a:pt x="368" y="324"/>
                    </a:lnTo>
                    <a:lnTo>
                      <a:pt x="368" y="290"/>
                    </a:lnTo>
                    <a:lnTo>
                      <a:pt x="437" y="234"/>
                    </a:lnTo>
                    <a:lnTo>
                      <a:pt x="437" y="267"/>
                    </a:lnTo>
                    <a:lnTo>
                      <a:pt x="455" y="280"/>
                    </a:lnTo>
                    <a:lnTo>
                      <a:pt x="450" y="324"/>
                    </a:lnTo>
                    <a:lnTo>
                      <a:pt x="424" y="336"/>
                    </a:lnTo>
                    <a:lnTo>
                      <a:pt x="381" y="489"/>
                    </a:lnTo>
                    <a:lnTo>
                      <a:pt x="374" y="436"/>
                    </a:lnTo>
                    <a:lnTo>
                      <a:pt x="368" y="459"/>
                    </a:lnTo>
                    <a:lnTo>
                      <a:pt x="355" y="424"/>
                    </a:lnTo>
                    <a:lnTo>
                      <a:pt x="374" y="389"/>
                    </a:lnTo>
                    <a:lnTo>
                      <a:pt x="336" y="380"/>
                    </a:lnTo>
                    <a:lnTo>
                      <a:pt x="318" y="336"/>
                    </a:lnTo>
                    <a:lnTo>
                      <a:pt x="312" y="357"/>
                    </a:lnTo>
                    <a:lnTo>
                      <a:pt x="318" y="380"/>
                    </a:lnTo>
                    <a:lnTo>
                      <a:pt x="305" y="389"/>
                    </a:lnTo>
                    <a:lnTo>
                      <a:pt x="318" y="412"/>
                    </a:lnTo>
                    <a:lnTo>
                      <a:pt x="324" y="503"/>
                    </a:lnTo>
                    <a:lnTo>
                      <a:pt x="312" y="489"/>
                    </a:lnTo>
                    <a:lnTo>
                      <a:pt x="286" y="557"/>
                    </a:lnTo>
                    <a:lnTo>
                      <a:pt x="194" y="701"/>
                    </a:lnTo>
                    <a:lnTo>
                      <a:pt x="180" y="881"/>
                    </a:lnTo>
                    <a:lnTo>
                      <a:pt x="144" y="946"/>
                    </a:lnTo>
                    <a:lnTo>
                      <a:pt x="106" y="814"/>
                    </a:lnTo>
                    <a:lnTo>
                      <a:pt x="93" y="701"/>
                    </a:lnTo>
                    <a:lnTo>
                      <a:pt x="80" y="679"/>
                    </a:lnTo>
                    <a:lnTo>
                      <a:pt x="69" y="480"/>
                    </a:lnTo>
                    <a:lnTo>
                      <a:pt x="61" y="468"/>
                    </a:lnTo>
                    <a:lnTo>
                      <a:pt x="56" y="512"/>
                    </a:lnTo>
                    <a:lnTo>
                      <a:pt x="37" y="533"/>
                    </a:lnTo>
                    <a:lnTo>
                      <a:pt x="11" y="480"/>
                    </a:lnTo>
                    <a:lnTo>
                      <a:pt x="37" y="459"/>
                    </a:lnTo>
                    <a:lnTo>
                      <a:pt x="11" y="459"/>
                    </a:lnTo>
                    <a:lnTo>
                      <a:pt x="0" y="436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84" name="Freeform 371"/>
              <p:cNvSpPr>
                <a:spLocks/>
              </p:cNvSpPr>
              <p:nvPr/>
            </p:nvSpPr>
            <p:spPr bwMode="auto">
              <a:xfrm>
                <a:off x="4003" y="2052"/>
                <a:ext cx="455" cy="473"/>
              </a:xfrm>
              <a:custGeom>
                <a:avLst/>
                <a:gdLst>
                  <a:gd name="T0" fmla="*/ 0 w 455"/>
                  <a:gd name="T1" fmla="*/ 1 h 946"/>
                  <a:gd name="T2" fmla="*/ 11 w 455"/>
                  <a:gd name="T3" fmla="*/ 1 h 946"/>
                  <a:gd name="T4" fmla="*/ 49 w 455"/>
                  <a:gd name="T5" fmla="*/ 1 h 946"/>
                  <a:gd name="T6" fmla="*/ 25 w 455"/>
                  <a:gd name="T7" fmla="*/ 1 h 946"/>
                  <a:gd name="T8" fmla="*/ 37 w 455"/>
                  <a:gd name="T9" fmla="*/ 1 h 946"/>
                  <a:gd name="T10" fmla="*/ 56 w 455"/>
                  <a:gd name="T11" fmla="*/ 1 h 946"/>
                  <a:gd name="T12" fmla="*/ 106 w 455"/>
                  <a:gd name="T13" fmla="*/ 1 h 946"/>
                  <a:gd name="T14" fmla="*/ 99 w 455"/>
                  <a:gd name="T15" fmla="*/ 1 h 946"/>
                  <a:gd name="T16" fmla="*/ 111 w 455"/>
                  <a:gd name="T17" fmla="*/ 1 h 946"/>
                  <a:gd name="T18" fmla="*/ 93 w 455"/>
                  <a:gd name="T19" fmla="*/ 1 h 946"/>
                  <a:gd name="T20" fmla="*/ 93 w 455"/>
                  <a:gd name="T21" fmla="*/ 1 h 946"/>
                  <a:gd name="T22" fmla="*/ 137 w 455"/>
                  <a:gd name="T23" fmla="*/ 1 h 946"/>
                  <a:gd name="T24" fmla="*/ 149 w 455"/>
                  <a:gd name="T25" fmla="*/ 1 h 946"/>
                  <a:gd name="T26" fmla="*/ 175 w 455"/>
                  <a:gd name="T27" fmla="*/ 0 h 946"/>
                  <a:gd name="T28" fmla="*/ 194 w 455"/>
                  <a:gd name="T29" fmla="*/ 1 h 946"/>
                  <a:gd name="T30" fmla="*/ 168 w 455"/>
                  <a:gd name="T31" fmla="*/ 1 h 946"/>
                  <a:gd name="T32" fmla="*/ 180 w 455"/>
                  <a:gd name="T33" fmla="*/ 1 h 946"/>
                  <a:gd name="T34" fmla="*/ 161 w 455"/>
                  <a:gd name="T35" fmla="*/ 1 h 946"/>
                  <a:gd name="T36" fmla="*/ 168 w 455"/>
                  <a:gd name="T37" fmla="*/ 1 h 946"/>
                  <a:gd name="T38" fmla="*/ 199 w 455"/>
                  <a:gd name="T39" fmla="*/ 1 h 946"/>
                  <a:gd name="T40" fmla="*/ 186 w 455"/>
                  <a:gd name="T41" fmla="*/ 1 h 946"/>
                  <a:gd name="T42" fmla="*/ 225 w 455"/>
                  <a:gd name="T43" fmla="*/ 1 h 946"/>
                  <a:gd name="T44" fmla="*/ 305 w 455"/>
                  <a:gd name="T45" fmla="*/ 1 h 946"/>
                  <a:gd name="T46" fmla="*/ 312 w 455"/>
                  <a:gd name="T47" fmla="*/ 1 h 946"/>
                  <a:gd name="T48" fmla="*/ 324 w 455"/>
                  <a:gd name="T49" fmla="*/ 1 h 946"/>
                  <a:gd name="T50" fmla="*/ 324 w 455"/>
                  <a:gd name="T51" fmla="*/ 1 h 946"/>
                  <a:gd name="T52" fmla="*/ 331 w 455"/>
                  <a:gd name="T53" fmla="*/ 1 h 946"/>
                  <a:gd name="T54" fmla="*/ 368 w 455"/>
                  <a:gd name="T55" fmla="*/ 1 h 946"/>
                  <a:gd name="T56" fmla="*/ 368 w 455"/>
                  <a:gd name="T57" fmla="*/ 1 h 946"/>
                  <a:gd name="T58" fmla="*/ 437 w 455"/>
                  <a:gd name="T59" fmla="*/ 1 h 946"/>
                  <a:gd name="T60" fmla="*/ 437 w 455"/>
                  <a:gd name="T61" fmla="*/ 1 h 946"/>
                  <a:gd name="T62" fmla="*/ 455 w 455"/>
                  <a:gd name="T63" fmla="*/ 1 h 946"/>
                  <a:gd name="T64" fmla="*/ 450 w 455"/>
                  <a:gd name="T65" fmla="*/ 1 h 946"/>
                  <a:gd name="T66" fmla="*/ 424 w 455"/>
                  <a:gd name="T67" fmla="*/ 1 h 946"/>
                  <a:gd name="T68" fmla="*/ 381 w 455"/>
                  <a:gd name="T69" fmla="*/ 1 h 946"/>
                  <a:gd name="T70" fmla="*/ 374 w 455"/>
                  <a:gd name="T71" fmla="*/ 1 h 946"/>
                  <a:gd name="T72" fmla="*/ 368 w 455"/>
                  <a:gd name="T73" fmla="*/ 1 h 946"/>
                  <a:gd name="T74" fmla="*/ 355 w 455"/>
                  <a:gd name="T75" fmla="*/ 1 h 946"/>
                  <a:gd name="T76" fmla="*/ 374 w 455"/>
                  <a:gd name="T77" fmla="*/ 1 h 946"/>
                  <a:gd name="T78" fmla="*/ 336 w 455"/>
                  <a:gd name="T79" fmla="*/ 1 h 946"/>
                  <a:gd name="T80" fmla="*/ 318 w 455"/>
                  <a:gd name="T81" fmla="*/ 1 h 946"/>
                  <a:gd name="T82" fmla="*/ 312 w 455"/>
                  <a:gd name="T83" fmla="*/ 1 h 946"/>
                  <a:gd name="T84" fmla="*/ 318 w 455"/>
                  <a:gd name="T85" fmla="*/ 1 h 946"/>
                  <a:gd name="T86" fmla="*/ 305 w 455"/>
                  <a:gd name="T87" fmla="*/ 1 h 946"/>
                  <a:gd name="T88" fmla="*/ 318 w 455"/>
                  <a:gd name="T89" fmla="*/ 1 h 946"/>
                  <a:gd name="T90" fmla="*/ 324 w 455"/>
                  <a:gd name="T91" fmla="*/ 1 h 946"/>
                  <a:gd name="T92" fmla="*/ 312 w 455"/>
                  <a:gd name="T93" fmla="*/ 1 h 946"/>
                  <a:gd name="T94" fmla="*/ 286 w 455"/>
                  <a:gd name="T95" fmla="*/ 1 h 946"/>
                  <a:gd name="T96" fmla="*/ 194 w 455"/>
                  <a:gd name="T97" fmla="*/ 1 h 946"/>
                  <a:gd name="T98" fmla="*/ 180 w 455"/>
                  <a:gd name="T99" fmla="*/ 1 h 946"/>
                  <a:gd name="T100" fmla="*/ 144 w 455"/>
                  <a:gd name="T101" fmla="*/ 1 h 946"/>
                  <a:gd name="T102" fmla="*/ 106 w 455"/>
                  <a:gd name="T103" fmla="*/ 1 h 946"/>
                  <a:gd name="T104" fmla="*/ 93 w 455"/>
                  <a:gd name="T105" fmla="*/ 1 h 946"/>
                  <a:gd name="T106" fmla="*/ 80 w 455"/>
                  <a:gd name="T107" fmla="*/ 1 h 946"/>
                  <a:gd name="T108" fmla="*/ 69 w 455"/>
                  <a:gd name="T109" fmla="*/ 1 h 946"/>
                  <a:gd name="T110" fmla="*/ 61 w 455"/>
                  <a:gd name="T111" fmla="*/ 1 h 946"/>
                  <a:gd name="T112" fmla="*/ 56 w 455"/>
                  <a:gd name="T113" fmla="*/ 1 h 946"/>
                  <a:gd name="T114" fmla="*/ 37 w 455"/>
                  <a:gd name="T115" fmla="*/ 1 h 946"/>
                  <a:gd name="T116" fmla="*/ 11 w 455"/>
                  <a:gd name="T117" fmla="*/ 1 h 946"/>
                  <a:gd name="T118" fmla="*/ 37 w 455"/>
                  <a:gd name="T119" fmla="*/ 1 h 946"/>
                  <a:gd name="T120" fmla="*/ 11 w 455"/>
                  <a:gd name="T121" fmla="*/ 1 h 946"/>
                  <a:gd name="T122" fmla="*/ 0 w 455"/>
                  <a:gd name="T123" fmla="*/ 1 h 94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455" h="946">
                    <a:moveTo>
                      <a:pt x="0" y="436"/>
                    </a:moveTo>
                    <a:lnTo>
                      <a:pt x="11" y="412"/>
                    </a:lnTo>
                    <a:lnTo>
                      <a:pt x="49" y="412"/>
                    </a:lnTo>
                    <a:lnTo>
                      <a:pt x="25" y="313"/>
                    </a:lnTo>
                    <a:lnTo>
                      <a:pt x="37" y="290"/>
                    </a:lnTo>
                    <a:lnTo>
                      <a:pt x="56" y="290"/>
                    </a:lnTo>
                    <a:lnTo>
                      <a:pt x="106" y="178"/>
                    </a:lnTo>
                    <a:lnTo>
                      <a:pt x="99" y="157"/>
                    </a:lnTo>
                    <a:lnTo>
                      <a:pt x="111" y="134"/>
                    </a:lnTo>
                    <a:lnTo>
                      <a:pt x="93" y="99"/>
                    </a:lnTo>
                    <a:lnTo>
                      <a:pt x="93" y="55"/>
                    </a:lnTo>
                    <a:lnTo>
                      <a:pt x="137" y="55"/>
                    </a:lnTo>
                    <a:lnTo>
                      <a:pt x="149" y="25"/>
                    </a:lnTo>
                    <a:lnTo>
                      <a:pt x="175" y="0"/>
                    </a:lnTo>
                    <a:lnTo>
                      <a:pt x="194" y="25"/>
                    </a:lnTo>
                    <a:lnTo>
                      <a:pt x="168" y="78"/>
                    </a:lnTo>
                    <a:lnTo>
                      <a:pt x="180" y="122"/>
                    </a:lnTo>
                    <a:lnTo>
                      <a:pt x="161" y="122"/>
                    </a:lnTo>
                    <a:lnTo>
                      <a:pt x="168" y="190"/>
                    </a:lnTo>
                    <a:lnTo>
                      <a:pt x="199" y="201"/>
                    </a:lnTo>
                    <a:lnTo>
                      <a:pt x="186" y="257"/>
                    </a:lnTo>
                    <a:lnTo>
                      <a:pt x="225" y="313"/>
                    </a:lnTo>
                    <a:lnTo>
                      <a:pt x="305" y="336"/>
                    </a:lnTo>
                    <a:lnTo>
                      <a:pt x="312" y="290"/>
                    </a:lnTo>
                    <a:lnTo>
                      <a:pt x="324" y="290"/>
                    </a:lnTo>
                    <a:lnTo>
                      <a:pt x="324" y="313"/>
                    </a:lnTo>
                    <a:lnTo>
                      <a:pt x="331" y="336"/>
                    </a:lnTo>
                    <a:lnTo>
                      <a:pt x="368" y="324"/>
                    </a:lnTo>
                    <a:lnTo>
                      <a:pt x="368" y="290"/>
                    </a:lnTo>
                    <a:lnTo>
                      <a:pt x="437" y="234"/>
                    </a:lnTo>
                    <a:lnTo>
                      <a:pt x="437" y="267"/>
                    </a:lnTo>
                    <a:lnTo>
                      <a:pt x="455" y="280"/>
                    </a:lnTo>
                    <a:lnTo>
                      <a:pt x="450" y="324"/>
                    </a:lnTo>
                    <a:lnTo>
                      <a:pt x="424" y="336"/>
                    </a:lnTo>
                    <a:lnTo>
                      <a:pt x="381" y="489"/>
                    </a:lnTo>
                    <a:lnTo>
                      <a:pt x="374" y="436"/>
                    </a:lnTo>
                    <a:lnTo>
                      <a:pt x="368" y="459"/>
                    </a:lnTo>
                    <a:lnTo>
                      <a:pt x="355" y="424"/>
                    </a:lnTo>
                    <a:lnTo>
                      <a:pt x="374" y="389"/>
                    </a:lnTo>
                    <a:lnTo>
                      <a:pt x="336" y="380"/>
                    </a:lnTo>
                    <a:lnTo>
                      <a:pt x="318" y="336"/>
                    </a:lnTo>
                    <a:lnTo>
                      <a:pt x="312" y="357"/>
                    </a:lnTo>
                    <a:lnTo>
                      <a:pt x="318" y="380"/>
                    </a:lnTo>
                    <a:lnTo>
                      <a:pt x="305" y="389"/>
                    </a:lnTo>
                    <a:lnTo>
                      <a:pt x="318" y="412"/>
                    </a:lnTo>
                    <a:lnTo>
                      <a:pt x="324" y="503"/>
                    </a:lnTo>
                    <a:lnTo>
                      <a:pt x="312" y="489"/>
                    </a:lnTo>
                    <a:lnTo>
                      <a:pt x="286" y="557"/>
                    </a:lnTo>
                    <a:lnTo>
                      <a:pt x="194" y="701"/>
                    </a:lnTo>
                    <a:lnTo>
                      <a:pt x="180" y="881"/>
                    </a:lnTo>
                    <a:lnTo>
                      <a:pt x="144" y="946"/>
                    </a:lnTo>
                    <a:lnTo>
                      <a:pt x="106" y="814"/>
                    </a:lnTo>
                    <a:lnTo>
                      <a:pt x="93" y="701"/>
                    </a:lnTo>
                    <a:lnTo>
                      <a:pt x="80" y="679"/>
                    </a:lnTo>
                    <a:lnTo>
                      <a:pt x="69" y="480"/>
                    </a:lnTo>
                    <a:lnTo>
                      <a:pt x="61" y="468"/>
                    </a:lnTo>
                    <a:lnTo>
                      <a:pt x="56" y="512"/>
                    </a:lnTo>
                    <a:lnTo>
                      <a:pt x="37" y="533"/>
                    </a:lnTo>
                    <a:lnTo>
                      <a:pt x="11" y="480"/>
                    </a:lnTo>
                    <a:lnTo>
                      <a:pt x="37" y="459"/>
                    </a:lnTo>
                    <a:lnTo>
                      <a:pt x="11" y="459"/>
                    </a:lnTo>
                    <a:lnTo>
                      <a:pt x="0" y="436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08" name="Freeform 372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8759740" y="4658919"/>
              <a:ext cx="312764" cy="280987"/>
            </a:xfrm>
            <a:custGeom>
              <a:avLst/>
              <a:gdLst>
                <a:gd name="T0" fmla="*/ 0 w 169"/>
                <a:gd name="T1" fmla="*/ 0 h 355"/>
                <a:gd name="T2" fmla="*/ 2147483647 w 169"/>
                <a:gd name="T3" fmla="*/ 2147483647 h 355"/>
                <a:gd name="T4" fmla="*/ 2147483647 w 169"/>
                <a:gd name="T5" fmla="*/ 2147483647 h 355"/>
                <a:gd name="T6" fmla="*/ 2147483647 w 169"/>
                <a:gd name="T7" fmla="*/ 2147483647 h 355"/>
                <a:gd name="T8" fmla="*/ 2147483647 w 169"/>
                <a:gd name="T9" fmla="*/ 2147483647 h 355"/>
                <a:gd name="T10" fmla="*/ 2147483647 w 169"/>
                <a:gd name="T11" fmla="*/ 2147483647 h 355"/>
                <a:gd name="T12" fmla="*/ 2147483647 w 169"/>
                <a:gd name="T13" fmla="*/ 2147483647 h 355"/>
                <a:gd name="T14" fmla="*/ 2147483647 w 169"/>
                <a:gd name="T15" fmla="*/ 2147483647 h 355"/>
                <a:gd name="T16" fmla="*/ 2147483647 w 169"/>
                <a:gd name="T17" fmla="*/ 2147483647 h 355"/>
                <a:gd name="T18" fmla="*/ 2147483647 w 169"/>
                <a:gd name="T19" fmla="*/ 2147483647 h 355"/>
                <a:gd name="T20" fmla="*/ 2147483647 w 169"/>
                <a:gd name="T21" fmla="*/ 2147483647 h 355"/>
                <a:gd name="T22" fmla="*/ 2147483647 w 169"/>
                <a:gd name="T23" fmla="*/ 2147483647 h 355"/>
                <a:gd name="T24" fmla="*/ 0 w 169"/>
                <a:gd name="T25" fmla="*/ 0 h 3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9" h="355">
                  <a:moveTo>
                    <a:pt x="0" y="0"/>
                  </a:moveTo>
                  <a:lnTo>
                    <a:pt x="38" y="10"/>
                  </a:lnTo>
                  <a:lnTo>
                    <a:pt x="81" y="110"/>
                  </a:lnTo>
                  <a:lnTo>
                    <a:pt x="125" y="144"/>
                  </a:lnTo>
                  <a:lnTo>
                    <a:pt x="119" y="167"/>
                  </a:lnTo>
                  <a:lnTo>
                    <a:pt x="132" y="167"/>
                  </a:lnTo>
                  <a:lnTo>
                    <a:pt x="132" y="202"/>
                  </a:lnTo>
                  <a:lnTo>
                    <a:pt x="169" y="267"/>
                  </a:lnTo>
                  <a:lnTo>
                    <a:pt x="164" y="355"/>
                  </a:lnTo>
                  <a:lnTo>
                    <a:pt x="144" y="355"/>
                  </a:lnTo>
                  <a:lnTo>
                    <a:pt x="114" y="311"/>
                  </a:lnTo>
                  <a:lnTo>
                    <a:pt x="56" y="1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09" name="Freeform 373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8759740" y="4658919"/>
              <a:ext cx="312764" cy="280987"/>
            </a:xfrm>
            <a:custGeom>
              <a:avLst/>
              <a:gdLst>
                <a:gd name="T0" fmla="*/ 0 w 169"/>
                <a:gd name="T1" fmla="*/ 0 h 355"/>
                <a:gd name="T2" fmla="*/ 2147483647 w 169"/>
                <a:gd name="T3" fmla="*/ 2147483647 h 355"/>
                <a:gd name="T4" fmla="*/ 2147483647 w 169"/>
                <a:gd name="T5" fmla="*/ 2147483647 h 355"/>
                <a:gd name="T6" fmla="*/ 2147483647 w 169"/>
                <a:gd name="T7" fmla="*/ 2147483647 h 355"/>
                <a:gd name="T8" fmla="*/ 2147483647 w 169"/>
                <a:gd name="T9" fmla="*/ 2147483647 h 355"/>
                <a:gd name="T10" fmla="*/ 2147483647 w 169"/>
                <a:gd name="T11" fmla="*/ 2147483647 h 355"/>
                <a:gd name="T12" fmla="*/ 2147483647 w 169"/>
                <a:gd name="T13" fmla="*/ 2147483647 h 355"/>
                <a:gd name="T14" fmla="*/ 2147483647 w 169"/>
                <a:gd name="T15" fmla="*/ 2147483647 h 355"/>
                <a:gd name="T16" fmla="*/ 2147483647 w 169"/>
                <a:gd name="T17" fmla="*/ 2147483647 h 355"/>
                <a:gd name="T18" fmla="*/ 2147483647 w 169"/>
                <a:gd name="T19" fmla="*/ 2147483647 h 355"/>
                <a:gd name="T20" fmla="*/ 2147483647 w 169"/>
                <a:gd name="T21" fmla="*/ 2147483647 h 355"/>
                <a:gd name="T22" fmla="*/ 2147483647 w 169"/>
                <a:gd name="T23" fmla="*/ 2147483647 h 355"/>
                <a:gd name="T24" fmla="*/ 0 w 169"/>
                <a:gd name="T25" fmla="*/ 0 h 3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9" h="355">
                  <a:moveTo>
                    <a:pt x="0" y="0"/>
                  </a:moveTo>
                  <a:lnTo>
                    <a:pt x="38" y="10"/>
                  </a:lnTo>
                  <a:lnTo>
                    <a:pt x="81" y="110"/>
                  </a:lnTo>
                  <a:lnTo>
                    <a:pt x="125" y="144"/>
                  </a:lnTo>
                  <a:lnTo>
                    <a:pt x="119" y="167"/>
                  </a:lnTo>
                  <a:lnTo>
                    <a:pt x="132" y="167"/>
                  </a:lnTo>
                  <a:lnTo>
                    <a:pt x="132" y="202"/>
                  </a:lnTo>
                  <a:lnTo>
                    <a:pt x="169" y="267"/>
                  </a:lnTo>
                  <a:lnTo>
                    <a:pt x="164" y="355"/>
                  </a:lnTo>
                  <a:lnTo>
                    <a:pt x="144" y="355"/>
                  </a:lnTo>
                  <a:lnTo>
                    <a:pt x="114" y="311"/>
                  </a:lnTo>
                  <a:lnTo>
                    <a:pt x="56" y="123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10" name="Freeform 374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8759740" y="4658919"/>
              <a:ext cx="312764" cy="280987"/>
            </a:xfrm>
            <a:custGeom>
              <a:avLst/>
              <a:gdLst>
                <a:gd name="T0" fmla="*/ 0 w 169"/>
                <a:gd name="T1" fmla="*/ 0 h 355"/>
                <a:gd name="T2" fmla="*/ 2147483647 w 169"/>
                <a:gd name="T3" fmla="*/ 2147483647 h 355"/>
                <a:gd name="T4" fmla="*/ 2147483647 w 169"/>
                <a:gd name="T5" fmla="*/ 2147483647 h 355"/>
                <a:gd name="T6" fmla="*/ 2147483647 w 169"/>
                <a:gd name="T7" fmla="*/ 2147483647 h 355"/>
                <a:gd name="T8" fmla="*/ 2147483647 w 169"/>
                <a:gd name="T9" fmla="*/ 2147483647 h 355"/>
                <a:gd name="T10" fmla="*/ 2147483647 w 169"/>
                <a:gd name="T11" fmla="*/ 2147483647 h 355"/>
                <a:gd name="T12" fmla="*/ 2147483647 w 169"/>
                <a:gd name="T13" fmla="*/ 2147483647 h 355"/>
                <a:gd name="T14" fmla="*/ 2147483647 w 169"/>
                <a:gd name="T15" fmla="*/ 2147483647 h 355"/>
                <a:gd name="T16" fmla="*/ 2147483647 w 169"/>
                <a:gd name="T17" fmla="*/ 2147483647 h 355"/>
                <a:gd name="T18" fmla="*/ 2147483647 w 169"/>
                <a:gd name="T19" fmla="*/ 2147483647 h 355"/>
                <a:gd name="T20" fmla="*/ 2147483647 w 169"/>
                <a:gd name="T21" fmla="*/ 2147483647 h 355"/>
                <a:gd name="T22" fmla="*/ 2147483647 w 169"/>
                <a:gd name="T23" fmla="*/ 2147483647 h 355"/>
                <a:gd name="T24" fmla="*/ 0 w 169"/>
                <a:gd name="T25" fmla="*/ 0 h 3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9" h="355">
                  <a:moveTo>
                    <a:pt x="0" y="0"/>
                  </a:moveTo>
                  <a:lnTo>
                    <a:pt x="38" y="10"/>
                  </a:lnTo>
                  <a:lnTo>
                    <a:pt x="81" y="110"/>
                  </a:lnTo>
                  <a:lnTo>
                    <a:pt x="125" y="144"/>
                  </a:lnTo>
                  <a:lnTo>
                    <a:pt x="119" y="167"/>
                  </a:lnTo>
                  <a:lnTo>
                    <a:pt x="132" y="167"/>
                  </a:lnTo>
                  <a:lnTo>
                    <a:pt x="132" y="202"/>
                  </a:lnTo>
                  <a:lnTo>
                    <a:pt x="169" y="267"/>
                  </a:lnTo>
                  <a:lnTo>
                    <a:pt x="164" y="355"/>
                  </a:lnTo>
                  <a:lnTo>
                    <a:pt x="144" y="355"/>
                  </a:lnTo>
                  <a:lnTo>
                    <a:pt x="114" y="311"/>
                  </a:lnTo>
                  <a:lnTo>
                    <a:pt x="56" y="1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11" name="Freeform 375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8759740" y="4658919"/>
              <a:ext cx="312764" cy="280987"/>
            </a:xfrm>
            <a:custGeom>
              <a:avLst/>
              <a:gdLst>
                <a:gd name="T0" fmla="*/ 0 w 169"/>
                <a:gd name="T1" fmla="*/ 0 h 355"/>
                <a:gd name="T2" fmla="*/ 2147483647 w 169"/>
                <a:gd name="T3" fmla="*/ 2147483647 h 355"/>
                <a:gd name="T4" fmla="*/ 2147483647 w 169"/>
                <a:gd name="T5" fmla="*/ 2147483647 h 355"/>
                <a:gd name="T6" fmla="*/ 2147483647 w 169"/>
                <a:gd name="T7" fmla="*/ 2147483647 h 355"/>
                <a:gd name="T8" fmla="*/ 2147483647 w 169"/>
                <a:gd name="T9" fmla="*/ 2147483647 h 355"/>
                <a:gd name="T10" fmla="*/ 2147483647 w 169"/>
                <a:gd name="T11" fmla="*/ 2147483647 h 355"/>
                <a:gd name="T12" fmla="*/ 2147483647 w 169"/>
                <a:gd name="T13" fmla="*/ 2147483647 h 355"/>
                <a:gd name="T14" fmla="*/ 2147483647 w 169"/>
                <a:gd name="T15" fmla="*/ 2147483647 h 355"/>
                <a:gd name="T16" fmla="*/ 2147483647 w 169"/>
                <a:gd name="T17" fmla="*/ 2147483647 h 355"/>
                <a:gd name="T18" fmla="*/ 2147483647 w 169"/>
                <a:gd name="T19" fmla="*/ 2147483647 h 355"/>
                <a:gd name="T20" fmla="*/ 2147483647 w 169"/>
                <a:gd name="T21" fmla="*/ 2147483647 h 355"/>
                <a:gd name="T22" fmla="*/ 2147483647 w 169"/>
                <a:gd name="T23" fmla="*/ 2147483647 h 355"/>
                <a:gd name="T24" fmla="*/ 0 w 169"/>
                <a:gd name="T25" fmla="*/ 0 h 35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69" h="355">
                  <a:moveTo>
                    <a:pt x="0" y="0"/>
                  </a:moveTo>
                  <a:lnTo>
                    <a:pt x="38" y="10"/>
                  </a:lnTo>
                  <a:lnTo>
                    <a:pt x="81" y="110"/>
                  </a:lnTo>
                  <a:lnTo>
                    <a:pt x="125" y="144"/>
                  </a:lnTo>
                  <a:lnTo>
                    <a:pt x="119" y="167"/>
                  </a:lnTo>
                  <a:lnTo>
                    <a:pt x="132" y="167"/>
                  </a:lnTo>
                  <a:lnTo>
                    <a:pt x="132" y="202"/>
                  </a:lnTo>
                  <a:lnTo>
                    <a:pt x="169" y="267"/>
                  </a:lnTo>
                  <a:lnTo>
                    <a:pt x="164" y="355"/>
                  </a:lnTo>
                  <a:lnTo>
                    <a:pt x="144" y="355"/>
                  </a:lnTo>
                  <a:lnTo>
                    <a:pt x="114" y="311"/>
                  </a:lnTo>
                  <a:lnTo>
                    <a:pt x="56" y="123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12" name="Freeform 376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9048458" y="4947844"/>
              <a:ext cx="266652" cy="71437"/>
            </a:xfrm>
            <a:custGeom>
              <a:avLst/>
              <a:gdLst>
                <a:gd name="T0" fmla="*/ 0 w 144"/>
                <a:gd name="T1" fmla="*/ 2147483647 h 90"/>
                <a:gd name="T2" fmla="*/ 2147483647 w 144"/>
                <a:gd name="T3" fmla="*/ 0 h 90"/>
                <a:gd name="T4" fmla="*/ 2147483647 w 144"/>
                <a:gd name="T5" fmla="*/ 2147483647 h 90"/>
                <a:gd name="T6" fmla="*/ 2147483647 w 144"/>
                <a:gd name="T7" fmla="*/ 2147483647 h 90"/>
                <a:gd name="T8" fmla="*/ 2147483647 w 144"/>
                <a:gd name="T9" fmla="*/ 2147483647 h 90"/>
                <a:gd name="T10" fmla="*/ 2147483647 w 144"/>
                <a:gd name="T11" fmla="*/ 2147483647 h 90"/>
                <a:gd name="T12" fmla="*/ 2147483647 w 144"/>
                <a:gd name="T13" fmla="*/ 2147483647 h 90"/>
                <a:gd name="T14" fmla="*/ 0 w 144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4" h="90">
                  <a:moveTo>
                    <a:pt x="0" y="23"/>
                  </a:moveTo>
                  <a:lnTo>
                    <a:pt x="13" y="0"/>
                  </a:lnTo>
                  <a:lnTo>
                    <a:pt x="107" y="23"/>
                  </a:lnTo>
                  <a:lnTo>
                    <a:pt x="120" y="44"/>
                  </a:lnTo>
                  <a:lnTo>
                    <a:pt x="139" y="58"/>
                  </a:lnTo>
                  <a:lnTo>
                    <a:pt x="144" y="90"/>
                  </a:lnTo>
                  <a:lnTo>
                    <a:pt x="26" y="4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13" name="Freeform 377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9048458" y="4947844"/>
              <a:ext cx="266652" cy="71437"/>
            </a:xfrm>
            <a:custGeom>
              <a:avLst/>
              <a:gdLst>
                <a:gd name="T0" fmla="*/ 0 w 144"/>
                <a:gd name="T1" fmla="*/ 2147483647 h 90"/>
                <a:gd name="T2" fmla="*/ 2147483647 w 144"/>
                <a:gd name="T3" fmla="*/ 0 h 90"/>
                <a:gd name="T4" fmla="*/ 2147483647 w 144"/>
                <a:gd name="T5" fmla="*/ 2147483647 h 90"/>
                <a:gd name="T6" fmla="*/ 2147483647 w 144"/>
                <a:gd name="T7" fmla="*/ 2147483647 h 90"/>
                <a:gd name="T8" fmla="*/ 2147483647 w 144"/>
                <a:gd name="T9" fmla="*/ 2147483647 h 90"/>
                <a:gd name="T10" fmla="*/ 2147483647 w 144"/>
                <a:gd name="T11" fmla="*/ 2147483647 h 90"/>
                <a:gd name="T12" fmla="*/ 2147483647 w 144"/>
                <a:gd name="T13" fmla="*/ 2147483647 h 90"/>
                <a:gd name="T14" fmla="*/ 0 w 144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4" h="90">
                  <a:moveTo>
                    <a:pt x="0" y="23"/>
                  </a:moveTo>
                  <a:lnTo>
                    <a:pt x="13" y="0"/>
                  </a:lnTo>
                  <a:lnTo>
                    <a:pt x="107" y="23"/>
                  </a:lnTo>
                  <a:lnTo>
                    <a:pt x="120" y="44"/>
                  </a:lnTo>
                  <a:lnTo>
                    <a:pt x="139" y="58"/>
                  </a:lnTo>
                  <a:lnTo>
                    <a:pt x="144" y="90"/>
                  </a:lnTo>
                  <a:lnTo>
                    <a:pt x="26" y="44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14" name="Freeform 378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9048458" y="4947844"/>
              <a:ext cx="266652" cy="71437"/>
            </a:xfrm>
            <a:custGeom>
              <a:avLst/>
              <a:gdLst>
                <a:gd name="T0" fmla="*/ 0 w 144"/>
                <a:gd name="T1" fmla="*/ 2147483647 h 90"/>
                <a:gd name="T2" fmla="*/ 2147483647 w 144"/>
                <a:gd name="T3" fmla="*/ 0 h 90"/>
                <a:gd name="T4" fmla="*/ 2147483647 w 144"/>
                <a:gd name="T5" fmla="*/ 2147483647 h 90"/>
                <a:gd name="T6" fmla="*/ 2147483647 w 144"/>
                <a:gd name="T7" fmla="*/ 2147483647 h 90"/>
                <a:gd name="T8" fmla="*/ 2147483647 w 144"/>
                <a:gd name="T9" fmla="*/ 2147483647 h 90"/>
                <a:gd name="T10" fmla="*/ 2147483647 w 144"/>
                <a:gd name="T11" fmla="*/ 2147483647 h 90"/>
                <a:gd name="T12" fmla="*/ 2147483647 w 144"/>
                <a:gd name="T13" fmla="*/ 2147483647 h 90"/>
                <a:gd name="T14" fmla="*/ 0 w 144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4" h="90">
                  <a:moveTo>
                    <a:pt x="0" y="23"/>
                  </a:moveTo>
                  <a:lnTo>
                    <a:pt x="13" y="0"/>
                  </a:lnTo>
                  <a:lnTo>
                    <a:pt x="107" y="23"/>
                  </a:lnTo>
                  <a:lnTo>
                    <a:pt x="120" y="44"/>
                  </a:lnTo>
                  <a:lnTo>
                    <a:pt x="139" y="58"/>
                  </a:lnTo>
                  <a:lnTo>
                    <a:pt x="144" y="90"/>
                  </a:lnTo>
                  <a:lnTo>
                    <a:pt x="26" y="4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15" name="Freeform 379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9048458" y="4947844"/>
              <a:ext cx="266652" cy="71437"/>
            </a:xfrm>
            <a:custGeom>
              <a:avLst/>
              <a:gdLst>
                <a:gd name="T0" fmla="*/ 0 w 144"/>
                <a:gd name="T1" fmla="*/ 2147483647 h 90"/>
                <a:gd name="T2" fmla="*/ 2147483647 w 144"/>
                <a:gd name="T3" fmla="*/ 0 h 90"/>
                <a:gd name="T4" fmla="*/ 2147483647 w 144"/>
                <a:gd name="T5" fmla="*/ 2147483647 h 90"/>
                <a:gd name="T6" fmla="*/ 2147483647 w 144"/>
                <a:gd name="T7" fmla="*/ 2147483647 h 90"/>
                <a:gd name="T8" fmla="*/ 2147483647 w 144"/>
                <a:gd name="T9" fmla="*/ 2147483647 h 90"/>
                <a:gd name="T10" fmla="*/ 2147483647 w 144"/>
                <a:gd name="T11" fmla="*/ 2147483647 h 90"/>
                <a:gd name="T12" fmla="*/ 2147483647 w 144"/>
                <a:gd name="T13" fmla="*/ 2147483647 h 90"/>
                <a:gd name="T14" fmla="*/ 0 w 144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4" h="90">
                  <a:moveTo>
                    <a:pt x="0" y="23"/>
                  </a:moveTo>
                  <a:lnTo>
                    <a:pt x="13" y="0"/>
                  </a:lnTo>
                  <a:lnTo>
                    <a:pt x="107" y="23"/>
                  </a:lnTo>
                  <a:lnTo>
                    <a:pt x="120" y="44"/>
                  </a:lnTo>
                  <a:lnTo>
                    <a:pt x="139" y="58"/>
                  </a:lnTo>
                  <a:lnTo>
                    <a:pt x="144" y="90"/>
                  </a:lnTo>
                  <a:lnTo>
                    <a:pt x="26" y="44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16" name="Freeform 380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9154705" y="4685906"/>
              <a:ext cx="288705" cy="219075"/>
            </a:xfrm>
            <a:custGeom>
              <a:avLst/>
              <a:gdLst>
                <a:gd name="T0" fmla="*/ 0 w 156"/>
                <a:gd name="T1" fmla="*/ 2147483647 h 276"/>
                <a:gd name="T2" fmla="*/ 2147483647 w 156"/>
                <a:gd name="T3" fmla="*/ 2147483647 h 276"/>
                <a:gd name="T4" fmla="*/ 2147483647 w 156"/>
                <a:gd name="T5" fmla="*/ 2147483647 h 276"/>
                <a:gd name="T6" fmla="*/ 2147483647 w 156"/>
                <a:gd name="T7" fmla="*/ 2147483647 h 276"/>
                <a:gd name="T8" fmla="*/ 2147483647 w 156"/>
                <a:gd name="T9" fmla="*/ 2147483647 h 276"/>
                <a:gd name="T10" fmla="*/ 2147483647 w 156"/>
                <a:gd name="T11" fmla="*/ 0 h 276"/>
                <a:gd name="T12" fmla="*/ 2147483647 w 156"/>
                <a:gd name="T13" fmla="*/ 2147483647 h 276"/>
                <a:gd name="T14" fmla="*/ 2147483647 w 156"/>
                <a:gd name="T15" fmla="*/ 2147483647 h 276"/>
                <a:gd name="T16" fmla="*/ 2147483647 w 156"/>
                <a:gd name="T17" fmla="*/ 2147483647 h 276"/>
                <a:gd name="T18" fmla="*/ 2147483647 w 156"/>
                <a:gd name="T19" fmla="*/ 2147483647 h 276"/>
                <a:gd name="T20" fmla="*/ 2147483647 w 156"/>
                <a:gd name="T21" fmla="*/ 2147483647 h 276"/>
                <a:gd name="T22" fmla="*/ 2147483647 w 156"/>
                <a:gd name="T23" fmla="*/ 2147483647 h 276"/>
                <a:gd name="T24" fmla="*/ 2147483647 w 156"/>
                <a:gd name="T25" fmla="*/ 2147483647 h 276"/>
                <a:gd name="T26" fmla="*/ 2147483647 w 156"/>
                <a:gd name="T27" fmla="*/ 2147483647 h 276"/>
                <a:gd name="T28" fmla="*/ 2147483647 w 156"/>
                <a:gd name="T29" fmla="*/ 2147483647 h 276"/>
                <a:gd name="T30" fmla="*/ 2147483647 w 156"/>
                <a:gd name="T31" fmla="*/ 2147483647 h 276"/>
                <a:gd name="T32" fmla="*/ 2147483647 w 156"/>
                <a:gd name="T33" fmla="*/ 2147483647 h 276"/>
                <a:gd name="T34" fmla="*/ 0 w 156"/>
                <a:gd name="T35" fmla="*/ 2147483647 h 27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56" h="276">
                  <a:moveTo>
                    <a:pt x="0" y="123"/>
                  </a:moveTo>
                  <a:lnTo>
                    <a:pt x="12" y="88"/>
                  </a:lnTo>
                  <a:lnTo>
                    <a:pt x="26" y="109"/>
                  </a:lnTo>
                  <a:lnTo>
                    <a:pt x="68" y="109"/>
                  </a:lnTo>
                  <a:lnTo>
                    <a:pt x="87" y="88"/>
                  </a:lnTo>
                  <a:lnTo>
                    <a:pt x="107" y="0"/>
                  </a:lnTo>
                  <a:lnTo>
                    <a:pt x="131" y="9"/>
                  </a:lnTo>
                  <a:lnTo>
                    <a:pt x="131" y="30"/>
                  </a:lnTo>
                  <a:lnTo>
                    <a:pt x="156" y="109"/>
                  </a:lnTo>
                  <a:lnTo>
                    <a:pt x="137" y="109"/>
                  </a:lnTo>
                  <a:lnTo>
                    <a:pt x="113" y="199"/>
                  </a:lnTo>
                  <a:lnTo>
                    <a:pt x="113" y="255"/>
                  </a:lnTo>
                  <a:lnTo>
                    <a:pt x="94" y="276"/>
                  </a:lnTo>
                  <a:lnTo>
                    <a:pt x="62" y="232"/>
                  </a:lnTo>
                  <a:lnTo>
                    <a:pt x="44" y="255"/>
                  </a:lnTo>
                  <a:lnTo>
                    <a:pt x="44" y="222"/>
                  </a:lnTo>
                  <a:lnTo>
                    <a:pt x="18" y="23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17" name="Freeform 381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9154705" y="4685906"/>
              <a:ext cx="288705" cy="219075"/>
            </a:xfrm>
            <a:custGeom>
              <a:avLst/>
              <a:gdLst>
                <a:gd name="T0" fmla="*/ 0 w 156"/>
                <a:gd name="T1" fmla="*/ 2147483647 h 276"/>
                <a:gd name="T2" fmla="*/ 2147483647 w 156"/>
                <a:gd name="T3" fmla="*/ 2147483647 h 276"/>
                <a:gd name="T4" fmla="*/ 2147483647 w 156"/>
                <a:gd name="T5" fmla="*/ 2147483647 h 276"/>
                <a:gd name="T6" fmla="*/ 2147483647 w 156"/>
                <a:gd name="T7" fmla="*/ 2147483647 h 276"/>
                <a:gd name="T8" fmla="*/ 2147483647 w 156"/>
                <a:gd name="T9" fmla="*/ 2147483647 h 276"/>
                <a:gd name="T10" fmla="*/ 2147483647 w 156"/>
                <a:gd name="T11" fmla="*/ 0 h 276"/>
                <a:gd name="T12" fmla="*/ 2147483647 w 156"/>
                <a:gd name="T13" fmla="*/ 2147483647 h 276"/>
                <a:gd name="T14" fmla="*/ 2147483647 w 156"/>
                <a:gd name="T15" fmla="*/ 2147483647 h 276"/>
                <a:gd name="T16" fmla="*/ 2147483647 w 156"/>
                <a:gd name="T17" fmla="*/ 2147483647 h 276"/>
                <a:gd name="T18" fmla="*/ 2147483647 w 156"/>
                <a:gd name="T19" fmla="*/ 2147483647 h 276"/>
                <a:gd name="T20" fmla="*/ 2147483647 w 156"/>
                <a:gd name="T21" fmla="*/ 2147483647 h 276"/>
                <a:gd name="T22" fmla="*/ 2147483647 w 156"/>
                <a:gd name="T23" fmla="*/ 2147483647 h 276"/>
                <a:gd name="T24" fmla="*/ 2147483647 w 156"/>
                <a:gd name="T25" fmla="*/ 2147483647 h 276"/>
                <a:gd name="T26" fmla="*/ 2147483647 w 156"/>
                <a:gd name="T27" fmla="*/ 2147483647 h 276"/>
                <a:gd name="T28" fmla="*/ 2147483647 w 156"/>
                <a:gd name="T29" fmla="*/ 2147483647 h 276"/>
                <a:gd name="T30" fmla="*/ 2147483647 w 156"/>
                <a:gd name="T31" fmla="*/ 2147483647 h 276"/>
                <a:gd name="T32" fmla="*/ 2147483647 w 156"/>
                <a:gd name="T33" fmla="*/ 2147483647 h 276"/>
                <a:gd name="T34" fmla="*/ 0 w 156"/>
                <a:gd name="T35" fmla="*/ 2147483647 h 27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56" h="276">
                  <a:moveTo>
                    <a:pt x="0" y="123"/>
                  </a:moveTo>
                  <a:lnTo>
                    <a:pt x="12" y="88"/>
                  </a:lnTo>
                  <a:lnTo>
                    <a:pt x="26" y="109"/>
                  </a:lnTo>
                  <a:lnTo>
                    <a:pt x="68" y="109"/>
                  </a:lnTo>
                  <a:lnTo>
                    <a:pt x="87" y="88"/>
                  </a:lnTo>
                  <a:lnTo>
                    <a:pt x="107" y="0"/>
                  </a:lnTo>
                  <a:lnTo>
                    <a:pt x="131" y="9"/>
                  </a:lnTo>
                  <a:lnTo>
                    <a:pt x="131" y="30"/>
                  </a:lnTo>
                  <a:lnTo>
                    <a:pt x="156" y="109"/>
                  </a:lnTo>
                  <a:lnTo>
                    <a:pt x="137" y="109"/>
                  </a:lnTo>
                  <a:lnTo>
                    <a:pt x="113" y="199"/>
                  </a:lnTo>
                  <a:lnTo>
                    <a:pt x="113" y="255"/>
                  </a:lnTo>
                  <a:lnTo>
                    <a:pt x="94" y="276"/>
                  </a:lnTo>
                  <a:lnTo>
                    <a:pt x="62" y="232"/>
                  </a:lnTo>
                  <a:lnTo>
                    <a:pt x="44" y="255"/>
                  </a:lnTo>
                  <a:lnTo>
                    <a:pt x="44" y="222"/>
                  </a:lnTo>
                  <a:lnTo>
                    <a:pt x="18" y="232"/>
                  </a:lnTo>
                  <a:lnTo>
                    <a:pt x="0" y="1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18" name="Freeform 382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9154705" y="4685906"/>
              <a:ext cx="288705" cy="219075"/>
            </a:xfrm>
            <a:custGeom>
              <a:avLst/>
              <a:gdLst>
                <a:gd name="T0" fmla="*/ 0 w 156"/>
                <a:gd name="T1" fmla="*/ 2147483647 h 276"/>
                <a:gd name="T2" fmla="*/ 2147483647 w 156"/>
                <a:gd name="T3" fmla="*/ 2147483647 h 276"/>
                <a:gd name="T4" fmla="*/ 2147483647 w 156"/>
                <a:gd name="T5" fmla="*/ 2147483647 h 276"/>
                <a:gd name="T6" fmla="*/ 2147483647 w 156"/>
                <a:gd name="T7" fmla="*/ 2147483647 h 276"/>
                <a:gd name="T8" fmla="*/ 2147483647 w 156"/>
                <a:gd name="T9" fmla="*/ 2147483647 h 276"/>
                <a:gd name="T10" fmla="*/ 2147483647 w 156"/>
                <a:gd name="T11" fmla="*/ 0 h 276"/>
                <a:gd name="T12" fmla="*/ 2147483647 w 156"/>
                <a:gd name="T13" fmla="*/ 2147483647 h 276"/>
                <a:gd name="T14" fmla="*/ 2147483647 w 156"/>
                <a:gd name="T15" fmla="*/ 2147483647 h 276"/>
                <a:gd name="T16" fmla="*/ 2147483647 w 156"/>
                <a:gd name="T17" fmla="*/ 2147483647 h 276"/>
                <a:gd name="T18" fmla="*/ 2147483647 w 156"/>
                <a:gd name="T19" fmla="*/ 2147483647 h 276"/>
                <a:gd name="T20" fmla="*/ 2147483647 w 156"/>
                <a:gd name="T21" fmla="*/ 2147483647 h 276"/>
                <a:gd name="T22" fmla="*/ 2147483647 w 156"/>
                <a:gd name="T23" fmla="*/ 2147483647 h 276"/>
                <a:gd name="T24" fmla="*/ 2147483647 w 156"/>
                <a:gd name="T25" fmla="*/ 2147483647 h 276"/>
                <a:gd name="T26" fmla="*/ 2147483647 w 156"/>
                <a:gd name="T27" fmla="*/ 2147483647 h 276"/>
                <a:gd name="T28" fmla="*/ 2147483647 w 156"/>
                <a:gd name="T29" fmla="*/ 2147483647 h 276"/>
                <a:gd name="T30" fmla="*/ 2147483647 w 156"/>
                <a:gd name="T31" fmla="*/ 2147483647 h 276"/>
                <a:gd name="T32" fmla="*/ 2147483647 w 156"/>
                <a:gd name="T33" fmla="*/ 2147483647 h 276"/>
                <a:gd name="T34" fmla="*/ 0 w 156"/>
                <a:gd name="T35" fmla="*/ 2147483647 h 27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56" h="276">
                  <a:moveTo>
                    <a:pt x="0" y="123"/>
                  </a:moveTo>
                  <a:lnTo>
                    <a:pt x="12" y="88"/>
                  </a:lnTo>
                  <a:lnTo>
                    <a:pt x="26" y="109"/>
                  </a:lnTo>
                  <a:lnTo>
                    <a:pt x="68" y="109"/>
                  </a:lnTo>
                  <a:lnTo>
                    <a:pt x="87" y="88"/>
                  </a:lnTo>
                  <a:lnTo>
                    <a:pt x="107" y="0"/>
                  </a:lnTo>
                  <a:lnTo>
                    <a:pt x="131" y="9"/>
                  </a:lnTo>
                  <a:lnTo>
                    <a:pt x="131" y="30"/>
                  </a:lnTo>
                  <a:lnTo>
                    <a:pt x="156" y="109"/>
                  </a:lnTo>
                  <a:lnTo>
                    <a:pt x="137" y="109"/>
                  </a:lnTo>
                  <a:lnTo>
                    <a:pt x="113" y="199"/>
                  </a:lnTo>
                  <a:lnTo>
                    <a:pt x="113" y="255"/>
                  </a:lnTo>
                  <a:lnTo>
                    <a:pt x="94" y="276"/>
                  </a:lnTo>
                  <a:lnTo>
                    <a:pt x="62" y="232"/>
                  </a:lnTo>
                  <a:lnTo>
                    <a:pt x="44" y="255"/>
                  </a:lnTo>
                  <a:lnTo>
                    <a:pt x="44" y="222"/>
                  </a:lnTo>
                  <a:lnTo>
                    <a:pt x="18" y="23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19" name="Freeform 383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9154705" y="4685906"/>
              <a:ext cx="288705" cy="219075"/>
            </a:xfrm>
            <a:custGeom>
              <a:avLst/>
              <a:gdLst>
                <a:gd name="T0" fmla="*/ 0 w 156"/>
                <a:gd name="T1" fmla="*/ 2147483647 h 276"/>
                <a:gd name="T2" fmla="*/ 2147483647 w 156"/>
                <a:gd name="T3" fmla="*/ 2147483647 h 276"/>
                <a:gd name="T4" fmla="*/ 2147483647 w 156"/>
                <a:gd name="T5" fmla="*/ 2147483647 h 276"/>
                <a:gd name="T6" fmla="*/ 2147483647 w 156"/>
                <a:gd name="T7" fmla="*/ 2147483647 h 276"/>
                <a:gd name="T8" fmla="*/ 2147483647 w 156"/>
                <a:gd name="T9" fmla="*/ 2147483647 h 276"/>
                <a:gd name="T10" fmla="*/ 2147483647 w 156"/>
                <a:gd name="T11" fmla="*/ 0 h 276"/>
                <a:gd name="T12" fmla="*/ 2147483647 w 156"/>
                <a:gd name="T13" fmla="*/ 2147483647 h 276"/>
                <a:gd name="T14" fmla="*/ 2147483647 w 156"/>
                <a:gd name="T15" fmla="*/ 2147483647 h 276"/>
                <a:gd name="T16" fmla="*/ 2147483647 w 156"/>
                <a:gd name="T17" fmla="*/ 2147483647 h 276"/>
                <a:gd name="T18" fmla="*/ 2147483647 w 156"/>
                <a:gd name="T19" fmla="*/ 2147483647 h 276"/>
                <a:gd name="T20" fmla="*/ 2147483647 w 156"/>
                <a:gd name="T21" fmla="*/ 2147483647 h 276"/>
                <a:gd name="T22" fmla="*/ 2147483647 w 156"/>
                <a:gd name="T23" fmla="*/ 2147483647 h 276"/>
                <a:gd name="T24" fmla="*/ 2147483647 w 156"/>
                <a:gd name="T25" fmla="*/ 2147483647 h 276"/>
                <a:gd name="T26" fmla="*/ 2147483647 w 156"/>
                <a:gd name="T27" fmla="*/ 2147483647 h 276"/>
                <a:gd name="T28" fmla="*/ 2147483647 w 156"/>
                <a:gd name="T29" fmla="*/ 2147483647 h 276"/>
                <a:gd name="T30" fmla="*/ 2147483647 w 156"/>
                <a:gd name="T31" fmla="*/ 2147483647 h 276"/>
                <a:gd name="T32" fmla="*/ 2147483647 w 156"/>
                <a:gd name="T33" fmla="*/ 2147483647 h 276"/>
                <a:gd name="T34" fmla="*/ 0 w 156"/>
                <a:gd name="T35" fmla="*/ 2147483647 h 27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56" h="276">
                  <a:moveTo>
                    <a:pt x="0" y="123"/>
                  </a:moveTo>
                  <a:lnTo>
                    <a:pt x="12" y="88"/>
                  </a:lnTo>
                  <a:lnTo>
                    <a:pt x="26" y="109"/>
                  </a:lnTo>
                  <a:lnTo>
                    <a:pt x="68" y="109"/>
                  </a:lnTo>
                  <a:lnTo>
                    <a:pt x="87" y="88"/>
                  </a:lnTo>
                  <a:lnTo>
                    <a:pt x="107" y="0"/>
                  </a:lnTo>
                  <a:lnTo>
                    <a:pt x="131" y="9"/>
                  </a:lnTo>
                  <a:lnTo>
                    <a:pt x="131" y="30"/>
                  </a:lnTo>
                  <a:lnTo>
                    <a:pt x="156" y="109"/>
                  </a:lnTo>
                  <a:lnTo>
                    <a:pt x="137" y="109"/>
                  </a:lnTo>
                  <a:lnTo>
                    <a:pt x="113" y="199"/>
                  </a:lnTo>
                  <a:lnTo>
                    <a:pt x="113" y="255"/>
                  </a:lnTo>
                  <a:lnTo>
                    <a:pt x="94" y="276"/>
                  </a:lnTo>
                  <a:lnTo>
                    <a:pt x="62" y="232"/>
                  </a:lnTo>
                  <a:lnTo>
                    <a:pt x="44" y="255"/>
                  </a:lnTo>
                  <a:lnTo>
                    <a:pt x="44" y="222"/>
                  </a:lnTo>
                  <a:lnTo>
                    <a:pt x="18" y="232"/>
                  </a:lnTo>
                  <a:lnTo>
                    <a:pt x="0" y="1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20" name="Freeform 384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9377247" y="5009756"/>
              <a:ext cx="66162" cy="28575"/>
            </a:xfrm>
            <a:custGeom>
              <a:avLst/>
              <a:gdLst>
                <a:gd name="T0" fmla="*/ 0 w 36"/>
                <a:gd name="T1" fmla="*/ 2147483647 h 34"/>
                <a:gd name="T2" fmla="*/ 2147483647 w 36"/>
                <a:gd name="T3" fmla="*/ 2147483647 h 34"/>
                <a:gd name="T4" fmla="*/ 2147483647 w 36"/>
                <a:gd name="T5" fmla="*/ 2147483647 h 34"/>
                <a:gd name="T6" fmla="*/ 2147483647 w 36"/>
                <a:gd name="T7" fmla="*/ 0 h 34"/>
                <a:gd name="T8" fmla="*/ 0 w 36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34">
                  <a:moveTo>
                    <a:pt x="0" y="13"/>
                  </a:moveTo>
                  <a:lnTo>
                    <a:pt x="6" y="34"/>
                  </a:lnTo>
                  <a:lnTo>
                    <a:pt x="36" y="13"/>
                  </a:lnTo>
                  <a:lnTo>
                    <a:pt x="12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21" name="Freeform 385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9377247" y="5009756"/>
              <a:ext cx="66162" cy="28575"/>
            </a:xfrm>
            <a:custGeom>
              <a:avLst/>
              <a:gdLst>
                <a:gd name="T0" fmla="*/ 0 w 36"/>
                <a:gd name="T1" fmla="*/ 2147483647 h 34"/>
                <a:gd name="T2" fmla="*/ 2147483647 w 36"/>
                <a:gd name="T3" fmla="*/ 2147483647 h 34"/>
                <a:gd name="T4" fmla="*/ 2147483647 w 36"/>
                <a:gd name="T5" fmla="*/ 2147483647 h 34"/>
                <a:gd name="T6" fmla="*/ 2147483647 w 36"/>
                <a:gd name="T7" fmla="*/ 0 h 34"/>
                <a:gd name="T8" fmla="*/ 0 w 36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34">
                  <a:moveTo>
                    <a:pt x="0" y="13"/>
                  </a:moveTo>
                  <a:lnTo>
                    <a:pt x="6" y="34"/>
                  </a:lnTo>
                  <a:lnTo>
                    <a:pt x="36" y="13"/>
                  </a:lnTo>
                  <a:lnTo>
                    <a:pt x="12" y="0"/>
                  </a:lnTo>
                  <a:lnTo>
                    <a:pt x="0" y="1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22" name="Freeform 386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9377247" y="5009756"/>
              <a:ext cx="66162" cy="28575"/>
            </a:xfrm>
            <a:custGeom>
              <a:avLst/>
              <a:gdLst>
                <a:gd name="T0" fmla="*/ 0 w 36"/>
                <a:gd name="T1" fmla="*/ 2147483647 h 34"/>
                <a:gd name="T2" fmla="*/ 2147483647 w 36"/>
                <a:gd name="T3" fmla="*/ 2147483647 h 34"/>
                <a:gd name="T4" fmla="*/ 2147483647 w 36"/>
                <a:gd name="T5" fmla="*/ 2147483647 h 34"/>
                <a:gd name="T6" fmla="*/ 2147483647 w 36"/>
                <a:gd name="T7" fmla="*/ 0 h 34"/>
                <a:gd name="T8" fmla="*/ 0 w 36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34">
                  <a:moveTo>
                    <a:pt x="0" y="13"/>
                  </a:moveTo>
                  <a:lnTo>
                    <a:pt x="6" y="34"/>
                  </a:lnTo>
                  <a:lnTo>
                    <a:pt x="36" y="13"/>
                  </a:lnTo>
                  <a:lnTo>
                    <a:pt x="12" y="0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23" name="Freeform 387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9377247" y="5009756"/>
              <a:ext cx="66162" cy="28575"/>
            </a:xfrm>
            <a:custGeom>
              <a:avLst/>
              <a:gdLst>
                <a:gd name="T0" fmla="*/ 0 w 36"/>
                <a:gd name="T1" fmla="*/ 2147483647 h 34"/>
                <a:gd name="T2" fmla="*/ 2147483647 w 36"/>
                <a:gd name="T3" fmla="*/ 2147483647 h 34"/>
                <a:gd name="T4" fmla="*/ 2147483647 w 36"/>
                <a:gd name="T5" fmla="*/ 2147483647 h 34"/>
                <a:gd name="T6" fmla="*/ 2147483647 w 36"/>
                <a:gd name="T7" fmla="*/ 0 h 34"/>
                <a:gd name="T8" fmla="*/ 0 w 36"/>
                <a:gd name="T9" fmla="*/ 2147483647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34">
                  <a:moveTo>
                    <a:pt x="0" y="13"/>
                  </a:moveTo>
                  <a:lnTo>
                    <a:pt x="6" y="34"/>
                  </a:lnTo>
                  <a:lnTo>
                    <a:pt x="36" y="13"/>
                  </a:lnTo>
                  <a:lnTo>
                    <a:pt x="12" y="0"/>
                  </a:lnTo>
                  <a:lnTo>
                    <a:pt x="0" y="1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24" name="Freeform 388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9443410" y="4754169"/>
              <a:ext cx="176431" cy="185737"/>
            </a:xfrm>
            <a:custGeom>
              <a:avLst/>
              <a:gdLst>
                <a:gd name="T0" fmla="*/ 0 w 95"/>
                <a:gd name="T1" fmla="*/ 2147483647 h 234"/>
                <a:gd name="T2" fmla="*/ 2147483647 w 95"/>
                <a:gd name="T3" fmla="*/ 2147483647 h 234"/>
                <a:gd name="T4" fmla="*/ 2147483647 w 95"/>
                <a:gd name="T5" fmla="*/ 2147483647 h 234"/>
                <a:gd name="T6" fmla="*/ 2147483647 w 95"/>
                <a:gd name="T7" fmla="*/ 2147483647 h 234"/>
                <a:gd name="T8" fmla="*/ 2147483647 w 95"/>
                <a:gd name="T9" fmla="*/ 2147483647 h 234"/>
                <a:gd name="T10" fmla="*/ 2147483647 w 95"/>
                <a:gd name="T11" fmla="*/ 2147483647 h 234"/>
                <a:gd name="T12" fmla="*/ 2147483647 w 95"/>
                <a:gd name="T13" fmla="*/ 2147483647 h 234"/>
                <a:gd name="T14" fmla="*/ 2147483647 w 95"/>
                <a:gd name="T15" fmla="*/ 2147483647 h 234"/>
                <a:gd name="T16" fmla="*/ 2147483647 w 95"/>
                <a:gd name="T17" fmla="*/ 2147483647 h 234"/>
                <a:gd name="T18" fmla="*/ 2147483647 w 95"/>
                <a:gd name="T19" fmla="*/ 2147483647 h 234"/>
                <a:gd name="T20" fmla="*/ 2147483647 w 95"/>
                <a:gd name="T21" fmla="*/ 2147483647 h 234"/>
                <a:gd name="T22" fmla="*/ 2147483647 w 95"/>
                <a:gd name="T23" fmla="*/ 2147483647 h 234"/>
                <a:gd name="T24" fmla="*/ 2147483647 w 95"/>
                <a:gd name="T25" fmla="*/ 2147483647 h 234"/>
                <a:gd name="T26" fmla="*/ 2147483647 w 95"/>
                <a:gd name="T27" fmla="*/ 2147483647 h 234"/>
                <a:gd name="T28" fmla="*/ 2147483647 w 95"/>
                <a:gd name="T29" fmla="*/ 0 h 234"/>
                <a:gd name="T30" fmla="*/ 2147483647 w 95"/>
                <a:gd name="T31" fmla="*/ 2147483647 h 234"/>
                <a:gd name="T32" fmla="*/ 2147483647 w 95"/>
                <a:gd name="T33" fmla="*/ 2147483647 h 234"/>
                <a:gd name="T34" fmla="*/ 2147483647 w 95"/>
                <a:gd name="T35" fmla="*/ 2147483647 h 234"/>
                <a:gd name="T36" fmla="*/ 0 w 95"/>
                <a:gd name="T37" fmla="*/ 2147483647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5" h="234">
                  <a:moveTo>
                    <a:pt x="0" y="135"/>
                  </a:moveTo>
                  <a:lnTo>
                    <a:pt x="13" y="179"/>
                  </a:lnTo>
                  <a:lnTo>
                    <a:pt x="7" y="225"/>
                  </a:lnTo>
                  <a:lnTo>
                    <a:pt x="20" y="234"/>
                  </a:lnTo>
                  <a:lnTo>
                    <a:pt x="20" y="146"/>
                  </a:lnTo>
                  <a:lnTo>
                    <a:pt x="31" y="135"/>
                  </a:lnTo>
                  <a:lnTo>
                    <a:pt x="31" y="169"/>
                  </a:lnTo>
                  <a:lnTo>
                    <a:pt x="44" y="213"/>
                  </a:lnTo>
                  <a:lnTo>
                    <a:pt x="57" y="190"/>
                  </a:lnTo>
                  <a:lnTo>
                    <a:pt x="39" y="112"/>
                  </a:lnTo>
                  <a:lnTo>
                    <a:pt x="69" y="79"/>
                  </a:lnTo>
                  <a:lnTo>
                    <a:pt x="25" y="100"/>
                  </a:lnTo>
                  <a:lnTo>
                    <a:pt x="20" y="46"/>
                  </a:lnTo>
                  <a:lnTo>
                    <a:pt x="81" y="46"/>
                  </a:lnTo>
                  <a:lnTo>
                    <a:pt x="95" y="0"/>
                  </a:lnTo>
                  <a:lnTo>
                    <a:pt x="76" y="23"/>
                  </a:lnTo>
                  <a:lnTo>
                    <a:pt x="31" y="12"/>
                  </a:lnTo>
                  <a:lnTo>
                    <a:pt x="13" y="35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25" name="Freeform 389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9443410" y="4754169"/>
              <a:ext cx="176431" cy="185737"/>
            </a:xfrm>
            <a:custGeom>
              <a:avLst/>
              <a:gdLst>
                <a:gd name="T0" fmla="*/ 0 w 95"/>
                <a:gd name="T1" fmla="*/ 2147483647 h 234"/>
                <a:gd name="T2" fmla="*/ 2147483647 w 95"/>
                <a:gd name="T3" fmla="*/ 2147483647 h 234"/>
                <a:gd name="T4" fmla="*/ 2147483647 w 95"/>
                <a:gd name="T5" fmla="*/ 2147483647 h 234"/>
                <a:gd name="T6" fmla="*/ 2147483647 w 95"/>
                <a:gd name="T7" fmla="*/ 2147483647 h 234"/>
                <a:gd name="T8" fmla="*/ 2147483647 w 95"/>
                <a:gd name="T9" fmla="*/ 2147483647 h 234"/>
                <a:gd name="T10" fmla="*/ 2147483647 w 95"/>
                <a:gd name="T11" fmla="*/ 2147483647 h 234"/>
                <a:gd name="T12" fmla="*/ 2147483647 w 95"/>
                <a:gd name="T13" fmla="*/ 2147483647 h 234"/>
                <a:gd name="T14" fmla="*/ 2147483647 w 95"/>
                <a:gd name="T15" fmla="*/ 2147483647 h 234"/>
                <a:gd name="T16" fmla="*/ 2147483647 w 95"/>
                <a:gd name="T17" fmla="*/ 2147483647 h 234"/>
                <a:gd name="T18" fmla="*/ 2147483647 w 95"/>
                <a:gd name="T19" fmla="*/ 2147483647 h 234"/>
                <a:gd name="T20" fmla="*/ 2147483647 w 95"/>
                <a:gd name="T21" fmla="*/ 2147483647 h 234"/>
                <a:gd name="T22" fmla="*/ 2147483647 w 95"/>
                <a:gd name="T23" fmla="*/ 2147483647 h 234"/>
                <a:gd name="T24" fmla="*/ 2147483647 w 95"/>
                <a:gd name="T25" fmla="*/ 2147483647 h 234"/>
                <a:gd name="T26" fmla="*/ 2147483647 w 95"/>
                <a:gd name="T27" fmla="*/ 2147483647 h 234"/>
                <a:gd name="T28" fmla="*/ 2147483647 w 95"/>
                <a:gd name="T29" fmla="*/ 0 h 234"/>
                <a:gd name="T30" fmla="*/ 2147483647 w 95"/>
                <a:gd name="T31" fmla="*/ 2147483647 h 234"/>
                <a:gd name="T32" fmla="*/ 2147483647 w 95"/>
                <a:gd name="T33" fmla="*/ 2147483647 h 234"/>
                <a:gd name="T34" fmla="*/ 2147483647 w 95"/>
                <a:gd name="T35" fmla="*/ 2147483647 h 234"/>
                <a:gd name="T36" fmla="*/ 0 w 95"/>
                <a:gd name="T37" fmla="*/ 2147483647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5" h="234">
                  <a:moveTo>
                    <a:pt x="0" y="135"/>
                  </a:moveTo>
                  <a:lnTo>
                    <a:pt x="13" y="179"/>
                  </a:lnTo>
                  <a:lnTo>
                    <a:pt x="7" y="225"/>
                  </a:lnTo>
                  <a:lnTo>
                    <a:pt x="20" y="234"/>
                  </a:lnTo>
                  <a:lnTo>
                    <a:pt x="20" y="146"/>
                  </a:lnTo>
                  <a:lnTo>
                    <a:pt x="31" y="135"/>
                  </a:lnTo>
                  <a:lnTo>
                    <a:pt x="31" y="169"/>
                  </a:lnTo>
                  <a:lnTo>
                    <a:pt x="44" y="213"/>
                  </a:lnTo>
                  <a:lnTo>
                    <a:pt x="57" y="190"/>
                  </a:lnTo>
                  <a:lnTo>
                    <a:pt x="39" y="112"/>
                  </a:lnTo>
                  <a:lnTo>
                    <a:pt x="69" y="79"/>
                  </a:lnTo>
                  <a:lnTo>
                    <a:pt x="25" y="100"/>
                  </a:lnTo>
                  <a:lnTo>
                    <a:pt x="20" y="46"/>
                  </a:lnTo>
                  <a:lnTo>
                    <a:pt x="81" y="46"/>
                  </a:lnTo>
                  <a:lnTo>
                    <a:pt x="95" y="0"/>
                  </a:lnTo>
                  <a:lnTo>
                    <a:pt x="76" y="23"/>
                  </a:lnTo>
                  <a:lnTo>
                    <a:pt x="31" y="12"/>
                  </a:lnTo>
                  <a:lnTo>
                    <a:pt x="13" y="35"/>
                  </a:lnTo>
                  <a:lnTo>
                    <a:pt x="0" y="1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26" name="Freeform 390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9443410" y="4754169"/>
              <a:ext cx="176431" cy="185737"/>
            </a:xfrm>
            <a:custGeom>
              <a:avLst/>
              <a:gdLst>
                <a:gd name="T0" fmla="*/ 0 w 95"/>
                <a:gd name="T1" fmla="*/ 2147483647 h 234"/>
                <a:gd name="T2" fmla="*/ 2147483647 w 95"/>
                <a:gd name="T3" fmla="*/ 2147483647 h 234"/>
                <a:gd name="T4" fmla="*/ 2147483647 w 95"/>
                <a:gd name="T5" fmla="*/ 2147483647 h 234"/>
                <a:gd name="T6" fmla="*/ 2147483647 w 95"/>
                <a:gd name="T7" fmla="*/ 2147483647 h 234"/>
                <a:gd name="T8" fmla="*/ 2147483647 w 95"/>
                <a:gd name="T9" fmla="*/ 2147483647 h 234"/>
                <a:gd name="T10" fmla="*/ 2147483647 w 95"/>
                <a:gd name="T11" fmla="*/ 2147483647 h 234"/>
                <a:gd name="T12" fmla="*/ 2147483647 w 95"/>
                <a:gd name="T13" fmla="*/ 2147483647 h 234"/>
                <a:gd name="T14" fmla="*/ 2147483647 w 95"/>
                <a:gd name="T15" fmla="*/ 2147483647 h 234"/>
                <a:gd name="T16" fmla="*/ 2147483647 w 95"/>
                <a:gd name="T17" fmla="*/ 2147483647 h 234"/>
                <a:gd name="T18" fmla="*/ 2147483647 w 95"/>
                <a:gd name="T19" fmla="*/ 2147483647 h 234"/>
                <a:gd name="T20" fmla="*/ 2147483647 w 95"/>
                <a:gd name="T21" fmla="*/ 2147483647 h 234"/>
                <a:gd name="T22" fmla="*/ 2147483647 w 95"/>
                <a:gd name="T23" fmla="*/ 2147483647 h 234"/>
                <a:gd name="T24" fmla="*/ 2147483647 w 95"/>
                <a:gd name="T25" fmla="*/ 2147483647 h 234"/>
                <a:gd name="T26" fmla="*/ 2147483647 w 95"/>
                <a:gd name="T27" fmla="*/ 2147483647 h 234"/>
                <a:gd name="T28" fmla="*/ 2147483647 w 95"/>
                <a:gd name="T29" fmla="*/ 0 h 234"/>
                <a:gd name="T30" fmla="*/ 2147483647 w 95"/>
                <a:gd name="T31" fmla="*/ 2147483647 h 234"/>
                <a:gd name="T32" fmla="*/ 2147483647 w 95"/>
                <a:gd name="T33" fmla="*/ 2147483647 h 234"/>
                <a:gd name="T34" fmla="*/ 2147483647 w 95"/>
                <a:gd name="T35" fmla="*/ 2147483647 h 234"/>
                <a:gd name="T36" fmla="*/ 0 w 95"/>
                <a:gd name="T37" fmla="*/ 2147483647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5" h="234">
                  <a:moveTo>
                    <a:pt x="0" y="135"/>
                  </a:moveTo>
                  <a:lnTo>
                    <a:pt x="13" y="179"/>
                  </a:lnTo>
                  <a:lnTo>
                    <a:pt x="7" y="225"/>
                  </a:lnTo>
                  <a:lnTo>
                    <a:pt x="20" y="234"/>
                  </a:lnTo>
                  <a:lnTo>
                    <a:pt x="20" y="146"/>
                  </a:lnTo>
                  <a:lnTo>
                    <a:pt x="31" y="135"/>
                  </a:lnTo>
                  <a:lnTo>
                    <a:pt x="31" y="169"/>
                  </a:lnTo>
                  <a:lnTo>
                    <a:pt x="44" y="213"/>
                  </a:lnTo>
                  <a:lnTo>
                    <a:pt x="57" y="190"/>
                  </a:lnTo>
                  <a:lnTo>
                    <a:pt x="39" y="112"/>
                  </a:lnTo>
                  <a:lnTo>
                    <a:pt x="69" y="79"/>
                  </a:lnTo>
                  <a:lnTo>
                    <a:pt x="25" y="100"/>
                  </a:lnTo>
                  <a:lnTo>
                    <a:pt x="20" y="46"/>
                  </a:lnTo>
                  <a:lnTo>
                    <a:pt x="81" y="46"/>
                  </a:lnTo>
                  <a:lnTo>
                    <a:pt x="95" y="0"/>
                  </a:lnTo>
                  <a:lnTo>
                    <a:pt x="76" y="23"/>
                  </a:lnTo>
                  <a:lnTo>
                    <a:pt x="31" y="12"/>
                  </a:lnTo>
                  <a:lnTo>
                    <a:pt x="13" y="35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27" name="Freeform 391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9443410" y="4754169"/>
              <a:ext cx="176431" cy="185737"/>
            </a:xfrm>
            <a:custGeom>
              <a:avLst/>
              <a:gdLst>
                <a:gd name="T0" fmla="*/ 0 w 95"/>
                <a:gd name="T1" fmla="*/ 2147483647 h 234"/>
                <a:gd name="T2" fmla="*/ 2147483647 w 95"/>
                <a:gd name="T3" fmla="*/ 2147483647 h 234"/>
                <a:gd name="T4" fmla="*/ 2147483647 w 95"/>
                <a:gd name="T5" fmla="*/ 2147483647 h 234"/>
                <a:gd name="T6" fmla="*/ 2147483647 w 95"/>
                <a:gd name="T7" fmla="*/ 2147483647 h 234"/>
                <a:gd name="T8" fmla="*/ 2147483647 w 95"/>
                <a:gd name="T9" fmla="*/ 2147483647 h 234"/>
                <a:gd name="T10" fmla="*/ 2147483647 w 95"/>
                <a:gd name="T11" fmla="*/ 2147483647 h 234"/>
                <a:gd name="T12" fmla="*/ 2147483647 w 95"/>
                <a:gd name="T13" fmla="*/ 2147483647 h 234"/>
                <a:gd name="T14" fmla="*/ 2147483647 w 95"/>
                <a:gd name="T15" fmla="*/ 2147483647 h 234"/>
                <a:gd name="T16" fmla="*/ 2147483647 w 95"/>
                <a:gd name="T17" fmla="*/ 2147483647 h 234"/>
                <a:gd name="T18" fmla="*/ 2147483647 w 95"/>
                <a:gd name="T19" fmla="*/ 2147483647 h 234"/>
                <a:gd name="T20" fmla="*/ 2147483647 w 95"/>
                <a:gd name="T21" fmla="*/ 2147483647 h 234"/>
                <a:gd name="T22" fmla="*/ 2147483647 w 95"/>
                <a:gd name="T23" fmla="*/ 2147483647 h 234"/>
                <a:gd name="T24" fmla="*/ 2147483647 w 95"/>
                <a:gd name="T25" fmla="*/ 2147483647 h 234"/>
                <a:gd name="T26" fmla="*/ 2147483647 w 95"/>
                <a:gd name="T27" fmla="*/ 2147483647 h 234"/>
                <a:gd name="T28" fmla="*/ 2147483647 w 95"/>
                <a:gd name="T29" fmla="*/ 0 h 234"/>
                <a:gd name="T30" fmla="*/ 2147483647 w 95"/>
                <a:gd name="T31" fmla="*/ 2147483647 h 234"/>
                <a:gd name="T32" fmla="*/ 2147483647 w 95"/>
                <a:gd name="T33" fmla="*/ 2147483647 h 234"/>
                <a:gd name="T34" fmla="*/ 2147483647 w 95"/>
                <a:gd name="T35" fmla="*/ 2147483647 h 234"/>
                <a:gd name="T36" fmla="*/ 0 w 95"/>
                <a:gd name="T37" fmla="*/ 2147483647 h 23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95" h="234">
                  <a:moveTo>
                    <a:pt x="0" y="135"/>
                  </a:moveTo>
                  <a:lnTo>
                    <a:pt x="13" y="179"/>
                  </a:lnTo>
                  <a:lnTo>
                    <a:pt x="7" y="225"/>
                  </a:lnTo>
                  <a:lnTo>
                    <a:pt x="20" y="234"/>
                  </a:lnTo>
                  <a:lnTo>
                    <a:pt x="20" y="146"/>
                  </a:lnTo>
                  <a:lnTo>
                    <a:pt x="31" y="135"/>
                  </a:lnTo>
                  <a:lnTo>
                    <a:pt x="31" y="169"/>
                  </a:lnTo>
                  <a:lnTo>
                    <a:pt x="44" y="213"/>
                  </a:lnTo>
                  <a:lnTo>
                    <a:pt x="57" y="190"/>
                  </a:lnTo>
                  <a:lnTo>
                    <a:pt x="39" y="112"/>
                  </a:lnTo>
                  <a:lnTo>
                    <a:pt x="69" y="79"/>
                  </a:lnTo>
                  <a:lnTo>
                    <a:pt x="25" y="100"/>
                  </a:lnTo>
                  <a:lnTo>
                    <a:pt x="20" y="46"/>
                  </a:lnTo>
                  <a:lnTo>
                    <a:pt x="81" y="46"/>
                  </a:lnTo>
                  <a:lnTo>
                    <a:pt x="95" y="0"/>
                  </a:lnTo>
                  <a:lnTo>
                    <a:pt x="76" y="23"/>
                  </a:lnTo>
                  <a:lnTo>
                    <a:pt x="31" y="12"/>
                  </a:lnTo>
                  <a:lnTo>
                    <a:pt x="13" y="35"/>
                  </a:lnTo>
                  <a:lnTo>
                    <a:pt x="0" y="1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28" name="Freeform 392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9583756" y="5009756"/>
              <a:ext cx="92225" cy="55563"/>
            </a:xfrm>
            <a:custGeom>
              <a:avLst/>
              <a:gdLst>
                <a:gd name="T0" fmla="*/ 0 w 50"/>
                <a:gd name="T1" fmla="*/ 2147483647 h 69"/>
                <a:gd name="T2" fmla="*/ 0 w 50"/>
                <a:gd name="T3" fmla="*/ 2147483647 h 69"/>
                <a:gd name="T4" fmla="*/ 2147483647 w 50"/>
                <a:gd name="T5" fmla="*/ 0 h 69"/>
                <a:gd name="T6" fmla="*/ 2147483647 w 50"/>
                <a:gd name="T7" fmla="*/ 2147483647 h 69"/>
                <a:gd name="T8" fmla="*/ 0 w 50"/>
                <a:gd name="T9" fmla="*/ 2147483647 h 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69">
                  <a:moveTo>
                    <a:pt x="0" y="34"/>
                  </a:moveTo>
                  <a:lnTo>
                    <a:pt x="0" y="69"/>
                  </a:lnTo>
                  <a:lnTo>
                    <a:pt x="50" y="0"/>
                  </a:lnTo>
                  <a:lnTo>
                    <a:pt x="12" y="23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29" name="Freeform 393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9583756" y="5009756"/>
              <a:ext cx="92225" cy="55563"/>
            </a:xfrm>
            <a:custGeom>
              <a:avLst/>
              <a:gdLst>
                <a:gd name="T0" fmla="*/ 0 w 50"/>
                <a:gd name="T1" fmla="*/ 2147483647 h 69"/>
                <a:gd name="T2" fmla="*/ 0 w 50"/>
                <a:gd name="T3" fmla="*/ 2147483647 h 69"/>
                <a:gd name="T4" fmla="*/ 2147483647 w 50"/>
                <a:gd name="T5" fmla="*/ 0 h 69"/>
                <a:gd name="T6" fmla="*/ 2147483647 w 50"/>
                <a:gd name="T7" fmla="*/ 2147483647 h 69"/>
                <a:gd name="T8" fmla="*/ 0 w 50"/>
                <a:gd name="T9" fmla="*/ 2147483647 h 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69">
                  <a:moveTo>
                    <a:pt x="0" y="34"/>
                  </a:moveTo>
                  <a:lnTo>
                    <a:pt x="0" y="69"/>
                  </a:lnTo>
                  <a:lnTo>
                    <a:pt x="50" y="0"/>
                  </a:lnTo>
                  <a:lnTo>
                    <a:pt x="12" y="23"/>
                  </a:lnTo>
                  <a:lnTo>
                    <a:pt x="0" y="34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30" name="Freeform 394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9583756" y="5009756"/>
              <a:ext cx="92225" cy="55563"/>
            </a:xfrm>
            <a:custGeom>
              <a:avLst/>
              <a:gdLst>
                <a:gd name="T0" fmla="*/ 0 w 50"/>
                <a:gd name="T1" fmla="*/ 2147483647 h 69"/>
                <a:gd name="T2" fmla="*/ 0 w 50"/>
                <a:gd name="T3" fmla="*/ 2147483647 h 69"/>
                <a:gd name="T4" fmla="*/ 2147483647 w 50"/>
                <a:gd name="T5" fmla="*/ 0 h 69"/>
                <a:gd name="T6" fmla="*/ 2147483647 w 50"/>
                <a:gd name="T7" fmla="*/ 2147483647 h 69"/>
                <a:gd name="T8" fmla="*/ 0 w 50"/>
                <a:gd name="T9" fmla="*/ 2147483647 h 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69">
                  <a:moveTo>
                    <a:pt x="0" y="34"/>
                  </a:moveTo>
                  <a:lnTo>
                    <a:pt x="0" y="69"/>
                  </a:lnTo>
                  <a:lnTo>
                    <a:pt x="50" y="0"/>
                  </a:lnTo>
                  <a:lnTo>
                    <a:pt x="12" y="23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31" name="Freeform 395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9583756" y="5009756"/>
              <a:ext cx="92225" cy="55563"/>
            </a:xfrm>
            <a:custGeom>
              <a:avLst/>
              <a:gdLst>
                <a:gd name="T0" fmla="*/ 0 w 50"/>
                <a:gd name="T1" fmla="*/ 2147483647 h 69"/>
                <a:gd name="T2" fmla="*/ 0 w 50"/>
                <a:gd name="T3" fmla="*/ 2147483647 h 69"/>
                <a:gd name="T4" fmla="*/ 2147483647 w 50"/>
                <a:gd name="T5" fmla="*/ 0 h 69"/>
                <a:gd name="T6" fmla="*/ 2147483647 w 50"/>
                <a:gd name="T7" fmla="*/ 2147483647 h 69"/>
                <a:gd name="T8" fmla="*/ 0 w 50"/>
                <a:gd name="T9" fmla="*/ 2147483647 h 6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0" h="69">
                  <a:moveTo>
                    <a:pt x="0" y="34"/>
                  </a:moveTo>
                  <a:lnTo>
                    <a:pt x="0" y="69"/>
                  </a:lnTo>
                  <a:lnTo>
                    <a:pt x="50" y="0"/>
                  </a:lnTo>
                  <a:lnTo>
                    <a:pt x="12" y="23"/>
                  </a:lnTo>
                  <a:lnTo>
                    <a:pt x="0" y="34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32" name="Freeform 396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9688012" y="4738294"/>
              <a:ext cx="34083" cy="77787"/>
            </a:xfrm>
            <a:custGeom>
              <a:avLst/>
              <a:gdLst>
                <a:gd name="T0" fmla="*/ 0 w 19"/>
                <a:gd name="T1" fmla="*/ 2147483647 h 100"/>
                <a:gd name="T2" fmla="*/ 2147483647 w 19"/>
                <a:gd name="T3" fmla="*/ 2147483647 h 100"/>
                <a:gd name="T4" fmla="*/ 2147483647 w 19"/>
                <a:gd name="T5" fmla="*/ 2147483647 h 100"/>
                <a:gd name="T6" fmla="*/ 2147483647 w 19"/>
                <a:gd name="T7" fmla="*/ 2147483647 h 100"/>
                <a:gd name="T8" fmla="*/ 2147483647 w 19"/>
                <a:gd name="T9" fmla="*/ 2147483647 h 100"/>
                <a:gd name="T10" fmla="*/ 2147483647 w 19"/>
                <a:gd name="T11" fmla="*/ 2147483647 h 100"/>
                <a:gd name="T12" fmla="*/ 2147483647 w 19"/>
                <a:gd name="T13" fmla="*/ 2147483647 h 100"/>
                <a:gd name="T14" fmla="*/ 2147483647 w 19"/>
                <a:gd name="T15" fmla="*/ 0 h 100"/>
                <a:gd name="T16" fmla="*/ 0 w 19"/>
                <a:gd name="T17" fmla="*/ 2147483647 h 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100">
                  <a:moveTo>
                    <a:pt x="0" y="44"/>
                  </a:moveTo>
                  <a:lnTo>
                    <a:pt x="6" y="88"/>
                  </a:lnTo>
                  <a:lnTo>
                    <a:pt x="13" y="100"/>
                  </a:lnTo>
                  <a:lnTo>
                    <a:pt x="6" y="67"/>
                  </a:lnTo>
                  <a:lnTo>
                    <a:pt x="19" y="56"/>
                  </a:lnTo>
                  <a:lnTo>
                    <a:pt x="13" y="23"/>
                  </a:lnTo>
                  <a:lnTo>
                    <a:pt x="6" y="44"/>
                  </a:lnTo>
                  <a:lnTo>
                    <a:pt x="6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33" name="Freeform 397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9688012" y="4738294"/>
              <a:ext cx="34083" cy="77787"/>
            </a:xfrm>
            <a:custGeom>
              <a:avLst/>
              <a:gdLst>
                <a:gd name="T0" fmla="*/ 0 w 19"/>
                <a:gd name="T1" fmla="*/ 2147483647 h 100"/>
                <a:gd name="T2" fmla="*/ 2147483647 w 19"/>
                <a:gd name="T3" fmla="*/ 2147483647 h 100"/>
                <a:gd name="T4" fmla="*/ 2147483647 w 19"/>
                <a:gd name="T5" fmla="*/ 2147483647 h 100"/>
                <a:gd name="T6" fmla="*/ 2147483647 w 19"/>
                <a:gd name="T7" fmla="*/ 2147483647 h 100"/>
                <a:gd name="T8" fmla="*/ 2147483647 w 19"/>
                <a:gd name="T9" fmla="*/ 2147483647 h 100"/>
                <a:gd name="T10" fmla="*/ 2147483647 w 19"/>
                <a:gd name="T11" fmla="*/ 2147483647 h 100"/>
                <a:gd name="T12" fmla="*/ 2147483647 w 19"/>
                <a:gd name="T13" fmla="*/ 2147483647 h 100"/>
                <a:gd name="T14" fmla="*/ 2147483647 w 19"/>
                <a:gd name="T15" fmla="*/ 0 h 100"/>
                <a:gd name="T16" fmla="*/ 0 w 19"/>
                <a:gd name="T17" fmla="*/ 2147483647 h 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100">
                  <a:moveTo>
                    <a:pt x="0" y="44"/>
                  </a:moveTo>
                  <a:lnTo>
                    <a:pt x="6" y="88"/>
                  </a:lnTo>
                  <a:lnTo>
                    <a:pt x="13" y="100"/>
                  </a:lnTo>
                  <a:lnTo>
                    <a:pt x="6" y="67"/>
                  </a:lnTo>
                  <a:lnTo>
                    <a:pt x="19" y="56"/>
                  </a:lnTo>
                  <a:lnTo>
                    <a:pt x="13" y="23"/>
                  </a:lnTo>
                  <a:lnTo>
                    <a:pt x="6" y="44"/>
                  </a:lnTo>
                  <a:lnTo>
                    <a:pt x="6" y="0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34" name="Freeform 398"/>
            <p:cNvSpPr>
              <a:spLocks/>
            </p:cNvSpPr>
            <p:nvPr>
              <p:custDataLst>
                <p:tags r:id="rId342"/>
              </p:custDataLst>
            </p:nvPr>
          </p:nvSpPr>
          <p:spPr bwMode="auto">
            <a:xfrm>
              <a:off x="9688012" y="4738294"/>
              <a:ext cx="34083" cy="77787"/>
            </a:xfrm>
            <a:custGeom>
              <a:avLst/>
              <a:gdLst>
                <a:gd name="T0" fmla="*/ 0 w 19"/>
                <a:gd name="T1" fmla="*/ 2147483647 h 100"/>
                <a:gd name="T2" fmla="*/ 2147483647 w 19"/>
                <a:gd name="T3" fmla="*/ 2147483647 h 100"/>
                <a:gd name="T4" fmla="*/ 2147483647 w 19"/>
                <a:gd name="T5" fmla="*/ 2147483647 h 100"/>
                <a:gd name="T6" fmla="*/ 2147483647 w 19"/>
                <a:gd name="T7" fmla="*/ 2147483647 h 100"/>
                <a:gd name="T8" fmla="*/ 2147483647 w 19"/>
                <a:gd name="T9" fmla="*/ 2147483647 h 100"/>
                <a:gd name="T10" fmla="*/ 2147483647 w 19"/>
                <a:gd name="T11" fmla="*/ 2147483647 h 100"/>
                <a:gd name="T12" fmla="*/ 2147483647 w 19"/>
                <a:gd name="T13" fmla="*/ 2147483647 h 100"/>
                <a:gd name="T14" fmla="*/ 2147483647 w 19"/>
                <a:gd name="T15" fmla="*/ 0 h 100"/>
                <a:gd name="T16" fmla="*/ 0 w 19"/>
                <a:gd name="T17" fmla="*/ 2147483647 h 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100">
                  <a:moveTo>
                    <a:pt x="0" y="44"/>
                  </a:moveTo>
                  <a:lnTo>
                    <a:pt x="6" y="88"/>
                  </a:lnTo>
                  <a:lnTo>
                    <a:pt x="13" y="100"/>
                  </a:lnTo>
                  <a:lnTo>
                    <a:pt x="6" y="67"/>
                  </a:lnTo>
                  <a:lnTo>
                    <a:pt x="19" y="56"/>
                  </a:lnTo>
                  <a:lnTo>
                    <a:pt x="13" y="23"/>
                  </a:lnTo>
                  <a:lnTo>
                    <a:pt x="6" y="44"/>
                  </a:lnTo>
                  <a:lnTo>
                    <a:pt x="6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35" name="Freeform 399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9688012" y="4738294"/>
              <a:ext cx="34083" cy="77787"/>
            </a:xfrm>
            <a:custGeom>
              <a:avLst/>
              <a:gdLst>
                <a:gd name="T0" fmla="*/ 0 w 19"/>
                <a:gd name="T1" fmla="*/ 2147483647 h 100"/>
                <a:gd name="T2" fmla="*/ 2147483647 w 19"/>
                <a:gd name="T3" fmla="*/ 2147483647 h 100"/>
                <a:gd name="T4" fmla="*/ 2147483647 w 19"/>
                <a:gd name="T5" fmla="*/ 2147483647 h 100"/>
                <a:gd name="T6" fmla="*/ 2147483647 w 19"/>
                <a:gd name="T7" fmla="*/ 2147483647 h 100"/>
                <a:gd name="T8" fmla="*/ 2147483647 w 19"/>
                <a:gd name="T9" fmla="*/ 2147483647 h 100"/>
                <a:gd name="T10" fmla="*/ 2147483647 w 19"/>
                <a:gd name="T11" fmla="*/ 2147483647 h 100"/>
                <a:gd name="T12" fmla="*/ 2147483647 w 19"/>
                <a:gd name="T13" fmla="*/ 2147483647 h 100"/>
                <a:gd name="T14" fmla="*/ 2147483647 w 19"/>
                <a:gd name="T15" fmla="*/ 0 h 100"/>
                <a:gd name="T16" fmla="*/ 0 w 19"/>
                <a:gd name="T17" fmla="*/ 2147483647 h 1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9" h="100">
                  <a:moveTo>
                    <a:pt x="0" y="44"/>
                  </a:moveTo>
                  <a:lnTo>
                    <a:pt x="6" y="88"/>
                  </a:lnTo>
                  <a:lnTo>
                    <a:pt x="13" y="100"/>
                  </a:lnTo>
                  <a:lnTo>
                    <a:pt x="6" y="67"/>
                  </a:lnTo>
                  <a:lnTo>
                    <a:pt x="19" y="56"/>
                  </a:lnTo>
                  <a:lnTo>
                    <a:pt x="13" y="23"/>
                  </a:lnTo>
                  <a:lnTo>
                    <a:pt x="6" y="44"/>
                  </a:lnTo>
                  <a:lnTo>
                    <a:pt x="6" y="0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36" name="Freeform 400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9698031" y="4868469"/>
              <a:ext cx="82201" cy="26987"/>
            </a:xfrm>
            <a:custGeom>
              <a:avLst/>
              <a:gdLst>
                <a:gd name="T0" fmla="*/ 0 w 44"/>
                <a:gd name="T1" fmla="*/ 2147483647 h 35"/>
                <a:gd name="T2" fmla="*/ 2147483647 w 44"/>
                <a:gd name="T3" fmla="*/ 0 h 35"/>
                <a:gd name="T4" fmla="*/ 2147483647 w 44"/>
                <a:gd name="T5" fmla="*/ 2147483647 h 35"/>
                <a:gd name="T6" fmla="*/ 0 w 4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4" h="35">
                  <a:moveTo>
                    <a:pt x="0" y="12"/>
                  </a:moveTo>
                  <a:lnTo>
                    <a:pt x="26" y="0"/>
                  </a:lnTo>
                  <a:lnTo>
                    <a:pt x="44" y="3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37" name="Freeform 401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9698031" y="4868469"/>
              <a:ext cx="82201" cy="26987"/>
            </a:xfrm>
            <a:custGeom>
              <a:avLst/>
              <a:gdLst>
                <a:gd name="T0" fmla="*/ 0 w 44"/>
                <a:gd name="T1" fmla="*/ 2147483647 h 35"/>
                <a:gd name="T2" fmla="*/ 2147483647 w 44"/>
                <a:gd name="T3" fmla="*/ 0 h 35"/>
                <a:gd name="T4" fmla="*/ 2147483647 w 44"/>
                <a:gd name="T5" fmla="*/ 2147483647 h 35"/>
                <a:gd name="T6" fmla="*/ 0 w 4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4" h="35">
                  <a:moveTo>
                    <a:pt x="0" y="12"/>
                  </a:moveTo>
                  <a:lnTo>
                    <a:pt x="26" y="0"/>
                  </a:lnTo>
                  <a:lnTo>
                    <a:pt x="44" y="35"/>
                  </a:lnTo>
                  <a:lnTo>
                    <a:pt x="0" y="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38" name="Freeform 402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9698031" y="4868469"/>
              <a:ext cx="82201" cy="26987"/>
            </a:xfrm>
            <a:custGeom>
              <a:avLst/>
              <a:gdLst>
                <a:gd name="T0" fmla="*/ 0 w 44"/>
                <a:gd name="T1" fmla="*/ 2147483647 h 35"/>
                <a:gd name="T2" fmla="*/ 2147483647 w 44"/>
                <a:gd name="T3" fmla="*/ 0 h 35"/>
                <a:gd name="T4" fmla="*/ 2147483647 w 44"/>
                <a:gd name="T5" fmla="*/ 2147483647 h 35"/>
                <a:gd name="T6" fmla="*/ 0 w 4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4" h="35">
                  <a:moveTo>
                    <a:pt x="0" y="12"/>
                  </a:moveTo>
                  <a:lnTo>
                    <a:pt x="26" y="0"/>
                  </a:lnTo>
                  <a:lnTo>
                    <a:pt x="44" y="3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39" name="Freeform 403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9698031" y="4868469"/>
              <a:ext cx="82201" cy="26987"/>
            </a:xfrm>
            <a:custGeom>
              <a:avLst/>
              <a:gdLst>
                <a:gd name="T0" fmla="*/ 0 w 44"/>
                <a:gd name="T1" fmla="*/ 2147483647 h 35"/>
                <a:gd name="T2" fmla="*/ 2147483647 w 44"/>
                <a:gd name="T3" fmla="*/ 0 h 35"/>
                <a:gd name="T4" fmla="*/ 2147483647 w 44"/>
                <a:gd name="T5" fmla="*/ 2147483647 h 35"/>
                <a:gd name="T6" fmla="*/ 0 w 4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44" h="35">
                  <a:moveTo>
                    <a:pt x="0" y="12"/>
                  </a:moveTo>
                  <a:lnTo>
                    <a:pt x="26" y="0"/>
                  </a:lnTo>
                  <a:lnTo>
                    <a:pt x="44" y="35"/>
                  </a:lnTo>
                  <a:lnTo>
                    <a:pt x="0" y="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40" name="Freeform 404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9780255" y="4808108"/>
              <a:ext cx="300734" cy="222250"/>
            </a:xfrm>
            <a:custGeom>
              <a:avLst/>
              <a:gdLst>
                <a:gd name="T0" fmla="*/ 0 w 162"/>
                <a:gd name="T1" fmla="*/ 2147483647 h 281"/>
                <a:gd name="T2" fmla="*/ 2147483647 w 162"/>
                <a:gd name="T3" fmla="*/ 2147483647 h 281"/>
                <a:gd name="T4" fmla="*/ 2147483647 w 162"/>
                <a:gd name="T5" fmla="*/ 2147483647 h 281"/>
                <a:gd name="T6" fmla="*/ 2147483647 w 162"/>
                <a:gd name="T7" fmla="*/ 2147483647 h 281"/>
                <a:gd name="T8" fmla="*/ 2147483647 w 162"/>
                <a:gd name="T9" fmla="*/ 2147483647 h 281"/>
                <a:gd name="T10" fmla="*/ 2147483647 w 162"/>
                <a:gd name="T11" fmla="*/ 2147483647 h 281"/>
                <a:gd name="T12" fmla="*/ 2147483647 w 162"/>
                <a:gd name="T13" fmla="*/ 2147483647 h 281"/>
                <a:gd name="T14" fmla="*/ 2147483647 w 162"/>
                <a:gd name="T15" fmla="*/ 2147483647 h 281"/>
                <a:gd name="T16" fmla="*/ 2147483647 w 162"/>
                <a:gd name="T17" fmla="*/ 2147483647 h 281"/>
                <a:gd name="T18" fmla="*/ 2147483647 w 162"/>
                <a:gd name="T19" fmla="*/ 2147483647 h 281"/>
                <a:gd name="T20" fmla="*/ 2147483647 w 162"/>
                <a:gd name="T21" fmla="*/ 2147483647 h 281"/>
                <a:gd name="T22" fmla="*/ 2147483647 w 162"/>
                <a:gd name="T23" fmla="*/ 2147483647 h 281"/>
                <a:gd name="T24" fmla="*/ 2147483647 w 162"/>
                <a:gd name="T25" fmla="*/ 2147483647 h 281"/>
                <a:gd name="T26" fmla="*/ 2147483647 w 162"/>
                <a:gd name="T27" fmla="*/ 2147483647 h 281"/>
                <a:gd name="T28" fmla="*/ 2147483647 w 162"/>
                <a:gd name="T29" fmla="*/ 2147483647 h 281"/>
                <a:gd name="T30" fmla="*/ 2147483647 w 162"/>
                <a:gd name="T31" fmla="*/ 2147483647 h 281"/>
                <a:gd name="T32" fmla="*/ 2147483647 w 162"/>
                <a:gd name="T33" fmla="*/ 2147483647 h 281"/>
                <a:gd name="T34" fmla="*/ 2147483647 w 162"/>
                <a:gd name="T35" fmla="*/ 2147483647 h 281"/>
                <a:gd name="T36" fmla="*/ 2147483647 w 162"/>
                <a:gd name="T37" fmla="*/ 0 h 281"/>
                <a:gd name="T38" fmla="*/ 0 w 162"/>
                <a:gd name="T39" fmla="*/ 2147483647 h 28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2" h="281">
                  <a:moveTo>
                    <a:pt x="0" y="33"/>
                  </a:moveTo>
                  <a:lnTo>
                    <a:pt x="24" y="56"/>
                  </a:lnTo>
                  <a:lnTo>
                    <a:pt x="50" y="56"/>
                  </a:lnTo>
                  <a:lnTo>
                    <a:pt x="19" y="79"/>
                  </a:lnTo>
                  <a:lnTo>
                    <a:pt x="37" y="123"/>
                  </a:lnTo>
                  <a:lnTo>
                    <a:pt x="50" y="79"/>
                  </a:lnTo>
                  <a:lnTo>
                    <a:pt x="56" y="123"/>
                  </a:lnTo>
                  <a:lnTo>
                    <a:pt x="119" y="158"/>
                  </a:lnTo>
                  <a:lnTo>
                    <a:pt x="131" y="235"/>
                  </a:lnTo>
                  <a:lnTo>
                    <a:pt x="119" y="223"/>
                  </a:lnTo>
                  <a:lnTo>
                    <a:pt x="112" y="258"/>
                  </a:lnTo>
                  <a:lnTo>
                    <a:pt x="143" y="246"/>
                  </a:lnTo>
                  <a:lnTo>
                    <a:pt x="162" y="281"/>
                  </a:lnTo>
                  <a:lnTo>
                    <a:pt x="162" y="68"/>
                  </a:lnTo>
                  <a:lnTo>
                    <a:pt x="112" y="33"/>
                  </a:lnTo>
                  <a:lnTo>
                    <a:pt x="74" y="89"/>
                  </a:lnTo>
                  <a:lnTo>
                    <a:pt x="56" y="68"/>
                  </a:lnTo>
                  <a:lnTo>
                    <a:pt x="50" y="12"/>
                  </a:lnTo>
                  <a:lnTo>
                    <a:pt x="24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41" name="Freeform 405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9780255" y="4808108"/>
              <a:ext cx="300734" cy="222250"/>
            </a:xfrm>
            <a:custGeom>
              <a:avLst/>
              <a:gdLst>
                <a:gd name="T0" fmla="*/ 0 w 162"/>
                <a:gd name="T1" fmla="*/ 2147483647 h 281"/>
                <a:gd name="T2" fmla="*/ 2147483647 w 162"/>
                <a:gd name="T3" fmla="*/ 2147483647 h 281"/>
                <a:gd name="T4" fmla="*/ 2147483647 w 162"/>
                <a:gd name="T5" fmla="*/ 2147483647 h 281"/>
                <a:gd name="T6" fmla="*/ 2147483647 w 162"/>
                <a:gd name="T7" fmla="*/ 2147483647 h 281"/>
                <a:gd name="T8" fmla="*/ 2147483647 w 162"/>
                <a:gd name="T9" fmla="*/ 2147483647 h 281"/>
                <a:gd name="T10" fmla="*/ 2147483647 w 162"/>
                <a:gd name="T11" fmla="*/ 2147483647 h 281"/>
                <a:gd name="T12" fmla="*/ 2147483647 w 162"/>
                <a:gd name="T13" fmla="*/ 2147483647 h 281"/>
                <a:gd name="T14" fmla="*/ 2147483647 w 162"/>
                <a:gd name="T15" fmla="*/ 2147483647 h 281"/>
                <a:gd name="T16" fmla="*/ 2147483647 w 162"/>
                <a:gd name="T17" fmla="*/ 2147483647 h 281"/>
                <a:gd name="T18" fmla="*/ 2147483647 w 162"/>
                <a:gd name="T19" fmla="*/ 2147483647 h 281"/>
                <a:gd name="T20" fmla="*/ 2147483647 w 162"/>
                <a:gd name="T21" fmla="*/ 2147483647 h 281"/>
                <a:gd name="T22" fmla="*/ 2147483647 w 162"/>
                <a:gd name="T23" fmla="*/ 2147483647 h 281"/>
                <a:gd name="T24" fmla="*/ 2147483647 w 162"/>
                <a:gd name="T25" fmla="*/ 2147483647 h 281"/>
                <a:gd name="T26" fmla="*/ 2147483647 w 162"/>
                <a:gd name="T27" fmla="*/ 2147483647 h 281"/>
                <a:gd name="T28" fmla="*/ 2147483647 w 162"/>
                <a:gd name="T29" fmla="*/ 2147483647 h 281"/>
                <a:gd name="T30" fmla="*/ 2147483647 w 162"/>
                <a:gd name="T31" fmla="*/ 2147483647 h 281"/>
                <a:gd name="T32" fmla="*/ 2147483647 w 162"/>
                <a:gd name="T33" fmla="*/ 2147483647 h 281"/>
                <a:gd name="T34" fmla="*/ 2147483647 w 162"/>
                <a:gd name="T35" fmla="*/ 2147483647 h 281"/>
                <a:gd name="T36" fmla="*/ 2147483647 w 162"/>
                <a:gd name="T37" fmla="*/ 0 h 281"/>
                <a:gd name="T38" fmla="*/ 0 w 162"/>
                <a:gd name="T39" fmla="*/ 2147483647 h 28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2" h="281">
                  <a:moveTo>
                    <a:pt x="0" y="33"/>
                  </a:moveTo>
                  <a:lnTo>
                    <a:pt x="24" y="56"/>
                  </a:lnTo>
                  <a:lnTo>
                    <a:pt x="50" y="56"/>
                  </a:lnTo>
                  <a:lnTo>
                    <a:pt x="19" y="79"/>
                  </a:lnTo>
                  <a:lnTo>
                    <a:pt x="37" y="123"/>
                  </a:lnTo>
                  <a:lnTo>
                    <a:pt x="50" y="79"/>
                  </a:lnTo>
                  <a:lnTo>
                    <a:pt x="56" y="123"/>
                  </a:lnTo>
                  <a:lnTo>
                    <a:pt x="119" y="158"/>
                  </a:lnTo>
                  <a:lnTo>
                    <a:pt x="131" y="235"/>
                  </a:lnTo>
                  <a:lnTo>
                    <a:pt x="119" y="223"/>
                  </a:lnTo>
                  <a:lnTo>
                    <a:pt x="112" y="258"/>
                  </a:lnTo>
                  <a:lnTo>
                    <a:pt x="143" y="246"/>
                  </a:lnTo>
                  <a:lnTo>
                    <a:pt x="162" y="281"/>
                  </a:lnTo>
                  <a:lnTo>
                    <a:pt x="162" y="68"/>
                  </a:lnTo>
                  <a:lnTo>
                    <a:pt x="112" y="33"/>
                  </a:lnTo>
                  <a:lnTo>
                    <a:pt x="74" y="89"/>
                  </a:lnTo>
                  <a:lnTo>
                    <a:pt x="56" y="68"/>
                  </a:lnTo>
                  <a:lnTo>
                    <a:pt x="50" y="12"/>
                  </a:lnTo>
                  <a:lnTo>
                    <a:pt x="24" y="0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42" name="Freeform 406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780255" y="4808108"/>
              <a:ext cx="300734" cy="222250"/>
            </a:xfrm>
            <a:custGeom>
              <a:avLst/>
              <a:gdLst>
                <a:gd name="T0" fmla="*/ 0 w 162"/>
                <a:gd name="T1" fmla="*/ 2147483647 h 281"/>
                <a:gd name="T2" fmla="*/ 2147483647 w 162"/>
                <a:gd name="T3" fmla="*/ 2147483647 h 281"/>
                <a:gd name="T4" fmla="*/ 2147483647 w 162"/>
                <a:gd name="T5" fmla="*/ 2147483647 h 281"/>
                <a:gd name="T6" fmla="*/ 2147483647 w 162"/>
                <a:gd name="T7" fmla="*/ 2147483647 h 281"/>
                <a:gd name="T8" fmla="*/ 2147483647 w 162"/>
                <a:gd name="T9" fmla="*/ 2147483647 h 281"/>
                <a:gd name="T10" fmla="*/ 2147483647 w 162"/>
                <a:gd name="T11" fmla="*/ 2147483647 h 281"/>
                <a:gd name="T12" fmla="*/ 2147483647 w 162"/>
                <a:gd name="T13" fmla="*/ 2147483647 h 281"/>
                <a:gd name="T14" fmla="*/ 2147483647 w 162"/>
                <a:gd name="T15" fmla="*/ 2147483647 h 281"/>
                <a:gd name="T16" fmla="*/ 2147483647 w 162"/>
                <a:gd name="T17" fmla="*/ 2147483647 h 281"/>
                <a:gd name="T18" fmla="*/ 2147483647 w 162"/>
                <a:gd name="T19" fmla="*/ 2147483647 h 281"/>
                <a:gd name="T20" fmla="*/ 2147483647 w 162"/>
                <a:gd name="T21" fmla="*/ 2147483647 h 281"/>
                <a:gd name="T22" fmla="*/ 2147483647 w 162"/>
                <a:gd name="T23" fmla="*/ 2147483647 h 281"/>
                <a:gd name="T24" fmla="*/ 2147483647 w 162"/>
                <a:gd name="T25" fmla="*/ 2147483647 h 281"/>
                <a:gd name="T26" fmla="*/ 2147483647 w 162"/>
                <a:gd name="T27" fmla="*/ 2147483647 h 281"/>
                <a:gd name="T28" fmla="*/ 2147483647 w 162"/>
                <a:gd name="T29" fmla="*/ 2147483647 h 281"/>
                <a:gd name="T30" fmla="*/ 2147483647 w 162"/>
                <a:gd name="T31" fmla="*/ 2147483647 h 281"/>
                <a:gd name="T32" fmla="*/ 2147483647 w 162"/>
                <a:gd name="T33" fmla="*/ 2147483647 h 281"/>
                <a:gd name="T34" fmla="*/ 2147483647 w 162"/>
                <a:gd name="T35" fmla="*/ 2147483647 h 281"/>
                <a:gd name="T36" fmla="*/ 2147483647 w 162"/>
                <a:gd name="T37" fmla="*/ 0 h 281"/>
                <a:gd name="T38" fmla="*/ 0 w 162"/>
                <a:gd name="T39" fmla="*/ 2147483647 h 28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2" h="281">
                  <a:moveTo>
                    <a:pt x="0" y="33"/>
                  </a:moveTo>
                  <a:lnTo>
                    <a:pt x="24" y="56"/>
                  </a:lnTo>
                  <a:lnTo>
                    <a:pt x="50" y="56"/>
                  </a:lnTo>
                  <a:lnTo>
                    <a:pt x="19" y="79"/>
                  </a:lnTo>
                  <a:lnTo>
                    <a:pt x="37" y="123"/>
                  </a:lnTo>
                  <a:lnTo>
                    <a:pt x="50" y="79"/>
                  </a:lnTo>
                  <a:lnTo>
                    <a:pt x="56" y="123"/>
                  </a:lnTo>
                  <a:lnTo>
                    <a:pt x="119" y="158"/>
                  </a:lnTo>
                  <a:lnTo>
                    <a:pt x="131" y="235"/>
                  </a:lnTo>
                  <a:lnTo>
                    <a:pt x="119" y="223"/>
                  </a:lnTo>
                  <a:lnTo>
                    <a:pt x="112" y="258"/>
                  </a:lnTo>
                  <a:lnTo>
                    <a:pt x="143" y="246"/>
                  </a:lnTo>
                  <a:lnTo>
                    <a:pt x="162" y="281"/>
                  </a:lnTo>
                  <a:lnTo>
                    <a:pt x="162" y="68"/>
                  </a:lnTo>
                  <a:lnTo>
                    <a:pt x="112" y="33"/>
                  </a:lnTo>
                  <a:lnTo>
                    <a:pt x="74" y="89"/>
                  </a:lnTo>
                  <a:lnTo>
                    <a:pt x="56" y="68"/>
                  </a:lnTo>
                  <a:lnTo>
                    <a:pt x="50" y="12"/>
                  </a:lnTo>
                  <a:lnTo>
                    <a:pt x="24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43" name="Freeform 407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9780255" y="4808108"/>
              <a:ext cx="300734" cy="222250"/>
            </a:xfrm>
            <a:custGeom>
              <a:avLst/>
              <a:gdLst>
                <a:gd name="T0" fmla="*/ 0 w 162"/>
                <a:gd name="T1" fmla="*/ 2147483647 h 281"/>
                <a:gd name="T2" fmla="*/ 2147483647 w 162"/>
                <a:gd name="T3" fmla="*/ 2147483647 h 281"/>
                <a:gd name="T4" fmla="*/ 2147483647 w 162"/>
                <a:gd name="T5" fmla="*/ 2147483647 h 281"/>
                <a:gd name="T6" fmla="*/ 2147483647 w 162"/>
                <a:gd name="T7" fmla="*/ 2147483647 h 281"/>
                <a:gd name="T8" fmla="*/ 2147483647 w 162"/>
                <a:gd name="T9" fmla="*/ 2147483647 h 281"/>
                <a:gd name="T10" fmla="*/ 2147483647 w 162"/>
                <a:gd name="T11" fmla="*/ 2147483647 h 281"/>
                <a:gd name="T12" fmla="*/ 2147483647 w 162"/>
                <a:gd name="T13" fmla="*/ 2147483647 h 281"/>
                <a:gd name="T14" fmla="*/ 2147483647 w 162"/>
                <a:gd name="T15" fmla="*/ 2147483647 h 281"/>
                <a:gd name="T16" fmla="*/ 2147483647 w 162"/>
                <a:gd name="T17" fmla="*/ 2147483647 h 281"/>
                <a:gd name="T18" fmla="*/ 2147483647 w 162"/>
                <a:gd name="T19" fmla="*/ 2147483647 h 281"/>
                <a:gd name="T20" fmla="*/ 2147483647 w 162"/>
                <a:gd name="T21" fmla="*/ 2147483647 h 281"/>
                <a:gd name="T22" fmla="*/ 2147483647 w 162"/>
                <a:gd name="T23" fmla="*/ 2147483647 h 281"/>
                <a:gd name="T24" fmla="*/ 2147483647 w 162"/>
                <a:gd name="T25" fmla="*/ 2147483647 h 281"/>
                <a:gd name="T26" fmla="*/ 2147483647 w 162"/>
                <a:gd name="T27" fmla="*/ 2147483647 h 281"/>
                <a:gd name="T28" fmla="*/ 2147483647 w 162"/>
                <a:gd name="T29" fmla="*/ 2147483647 h 281"/>
                <a:gd name="T30" fmla="*/ 2147483647 w 162"/>
                <a:gd name="T31" fmla="*/ 2147483647 h 281"/>
                <a:gd name="T32" fmla="*/ 2147483647 w 162"/>
                <a:gd name="T33" fmla="*/ 2147483647 h 281"/>
                <a:gd name="T34" fmla="*/ 2147483647 w 162"/>
                <a:gd name="T35" fmla="*/ 2147483647 h 281"/>
                <a:gd name="T36" fmla="*/ 2147483647 w 162"/>
                <a:gd name="T37" fmla="*/ 0 h 281"/>
                <a:gd name="T38" fmla="*/ 0 w 162"/>
                <a:gd name="T39" fmla="*/ 2147483647 h 28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2" h="281">
                  <a:moveTo>
                    <a:pt x="0" y="33"/>
                  </a:moveTo>
                  <a:lnTo>
                    <a:pt x="24" y="56"/>
                  </a:lnTo>
                  <a:lnTo>
                    <a:pt x="50" y="56"/>
                  </a:lnTo>
                  <a:lnTo>
                    <a:pt x="19" y="79"/>
                  </a:lnTo>
                  <a:lnTo>
                    <a:pt x="37" y="123"/>
                  </a:lnTo>
                  <a:lnTo>
                    <a:pt x="50" y="79"/>
                  </a:lnTo>
                  <a:lnTo>
                    <a:pt x="56" y="123"/>
                  </a:lnTo>
                  <a:lnTo>
                    <a:pt x="119" y="158"/>
                  </a:lnTo>
                  <a:lnTo>
                    <a:pt x="131" y="235"/>
                  </a:lnTo>
                  <a:lnTo>
                    <a:pt x="119" y="223"/>
                  </a:lnTo>
                  <a:lnTo>
                    <a:pt x="112" y="258"/>
                  </a:lnTo>
                  <a:lnTo>
                    <a:pt x="143" y="246"/>
                  </a:lnTo>
                  <a:lnTo>
                    <a:pt x="162" y="281"/>
                  </a:lnTo>
                  <a:lnTo>
                    <a:pt x="162" y="68"/>
                  </a:lnTo>
                  <a:lnTo>
                    <a:pt x="112" y="33"/>
                  </a:lnTo>
                  <a:lnTo>
                    <a:pt x="74" y="89"/>
                  </a:lnTo>
                  <a:lnTo>
                    <a:pt x="56" y="68"/>
                  </a:lnTo>
                  <a:lnTo>
                    <a:pt x="50" y="12"/>
                  </a:lnTo>
                  <a:lnTo>
                    <a:pt x="24" y="0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44" name="Freeform 408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9792273" y="4974831"/>
              <a:ext cx="32078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0 h 34"/>
                <a:gd name="T4" fmla="*/ 2147483647 w 18"/>
                <a:gd name="T5" fmla="*/ 2147483647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34"/>
                  </a:moveTo>
                  <a:lnTo>
                    <a:pt x="12" y="0"/>
                  </a:lnTo>
                  <a:lnTo>
                    <a:pt x="18" y="23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45" name="Freeform 409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9792273" y="4974831"/>
              <a:ext cx="32078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0 h 34"/>
                <a:gd name="T4" fmla="*/ 2147483647 w 18"/>
                <a:gd name="T5" fmla="*/ 2147483647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34"/>
                  </a:moveTo>
                  <a:lnTo>
                    <a:pt x="12" y="0"/>
                  </a:lnTo>
                  <a:lnTo>
                    <a:pt x="18" y="23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46" name="Freeform 410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9792273" y="4974831"/>
              <a:ext cx="32078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0 h 34"/>
                <a:gd name="T4" fmla="*/ 2147483647 w 18"/>
                <a:gd name="T5" fmla="*/ 2147483647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34"/>
                  </a:moveTo>
                  <a:lnTo>
                    <a:pt x="12" y="0"/>
                  </a:lnTo>
                  <a:lnTo>
                    <a:pt x="18" y="23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47" name="Freeform 411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9792273" y="4974831"/>
              <a:ext cx="32078" cy="28575"/>
            </a:xfrm>
            <a:custGeom>
              <a:avLst/>
              <a:gdLst>
                <a:gd name="T0" fmla="*/ 0 w 18"/>
                <a:gd name="T1" fmla="*/ 2147483647 h 34"/>
                <a:gd name="T2" fmla="*/ 2147483647 w 18"/>
                <a:gd name="T3" fmla="*/ 0 h 34"/>
                <a:gd name="T4" fmla="*/ 2147483647 w 18"/>
                <a:gd name="T5" fmla="*/ 2147483647 h 34"/>
                <a:gd name="T6" fmla="*/ 0 w 18"/>
                <a:gd name="T7" fmla="*/ 2147483647 h 3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4">
                  <a:moveTo>
                    <a:pt x="0" y="34"/>
                  </a:moveTo>
                  <a:lnTo>
                    <a:pt x="12" y="0"/>
                  </a:lnTo>
                  <a:lnTo>
                    <a:pt x="18" y="23"/>
                  </a:lnTo>
                  <a:lnTo>
                    <a:pt x="0" y="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48" name="Freeform 412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7292168" y="3730195"/>
              <a:ext cx="543327" cy="414338"/>
            </a:xfrm>
            <a:custGeom>
              <a:avLst/>
              <a:gdLst>
                <a:gd name="T0" fmla="*/ 0 w 294"/>
                <a:gd name="T1" fmla="*/ 2147483647 h 522"/>
                <a:gd name="T2" fmla="*/ 2147483647 w 294"/>
                <a:gd name="T3" fmla="*/ 0 h 522"/>
                <a:gd name="T4" fmla="*/ 2147483647 w 294"/>
                <a:gd name="T5" fmla="*/ 2147483647 h 522"/>
                <a:gd name="T6" fmla="*/ 2147483647 w 294"/>
                <a:gd name="T7" fmla="*/ 2147483647 h 522"/>
                <a:gd name="T8" fmla="*/ 2147483647 w 294"/>
                <a:gd name="T9" fmla="*/ 2147483647 h 522"/>
                <a:gd name="T10" fmla="*/ 2147483647 w 294"/>
                <a:gd name="T11" fmla="*/ 2147483647 h 522"/>
                <a:gd name="T12" fmla="*/ 2147483647 w 294"/>
                <a:gd name="T13" fmla="*/ 2147483647 h 522"/>
                <a:gd name="T14" fmla="*/ 2147483647 w 294"/>
                <a:gd name="T15" fmla="*/ 2147483647 h 522"/>
                <a:gd name="T16" fmla="*/ 2147483647 w 294"/>
                <a:gd name="T17" fmla="*/ 2147483647 h 522"/>
                <a:gd name="T18" fmla="*/ 2147483647 w 294"/>
                <a:gd name="T19" fmla="*/ 2147483647 h 522"/>
                <a:gd name="T20" fmla="*/ 2147483647 w 294"/>
                <a:gd name="T21" fmla="*/ 2147483647 h 522"/>
                <a:gd name="T22" fmla="*/ 2147483647 w 294"/>
                <a:gd name="T23" fmla="*/ 2147483647 h 522"/>
                <a:gd name="T24" fmla="*/ 2147483647 w 294"/>
                <a:gd name="T25" fmla="*/ 2147483647 h 522"/>
                <a:gd name="T26" fmla="*/ 2147483647 w 294"/>
                <a:gd name="T27" fmla="*/ 2147483647 h 522"/>
                <a:gd name="T28" fmla="*/ 2147483647 w 294"/>
                <a:gd name="T29" fmla="*/ 2147483647 h 522"/>
                <a:gd name="T30" fmla="*/ 2147483647 w 294"/>
                <a:gd name="T31" fmla="*/ 2147483647 h 522"/>
                <a:gd name="T32" fmla="*/ 2147483647 w 294"/>
                <a:gd name="T33" fmla="*/ 2147483647 h 522"/>
                <a:gd name="T34" fmla="*/ 2147483647 w 294"/>
                <a:gd name="T35" fmla="*/ 2147483647 h 522"/>
                <a:gd name="T36" fmla="*/ 2147483647 w 294"/>
                <a:gd name="T37" fmla="*/ 2147483647 h 522"/>
                <a:gd name="T38" fmla="*/ 2147483647 w 294"/>
                <a:gd name="T39" fmla="*/ 2147483647 h 522"/>
                <a:gd name="T40" fmla="*/ 2147483647 w 294"/>
                <a:gd name="T41" fmla="*/ 2147483647 h 522"/>
                <a:gd name="T42" fmla="*/ 2147483647 w 294"/>
                <a:gd name="T43" fmla="*/ 2147483647 h 522"/>
                <a:gd name="T44" fmla="*/ 2147483647 w 294"/>
                <a:gd name="T45" fmla="*/ 2147483647 h 522"/>
                <a:gd name="T46" fmla="*/ 2147483647 w 294"/>
                <a:gd name="T47" fmla="*/ 2147483647 h 522"/>
                <a:gd name="T48" fmla="*/ 2147483647 w 294"/>
                <a:gd name="T49" fmla="*/ 2147483647 h 522"/>
                <a:gd name="T50" fmla="*/ 2147483647 w 294"/>
                <a:gd name="T51" fmla="*/ 2147483647 h 522"/>
                <a:gd name="T52" fmla="*/ 2147483647 w 294"/>
                <a:gd name="T53" fmla="*/ 2147483647 h 522"/>
                <a:gd name="T54" fmla="*/ 2147483647 w 294"/>
                <a:gd name="T55" fmla="*/ 2147483647 h 522"/>
                <a:gd name="T56" fmla="*/ 2147483647 w 294"/>
                <a:gd name="T57" fmla="*/ 2147483647 h 522"/>
                <a:gd name="T58" fmla="*/ 2147483647 w 294"/>
                <a:gd name="T59" fmla="*/ 2147483647 h 522"/>
                <a:gd name="T60" fmla="*/ 2147483647 w 294"/>
                <a:gd name="T61" fmla="*/ 2147483647 h 522"/>
                <a:gd name="T62" fmla="*/ 0 w 294"/>
                <a:gd name="T63" fmla="*/ 2147483647 h 5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4" h="522">
                  <a:moveTo>
                    <a:pt x="0" y="23"/>
                  </a:moveTo>
                  <a:lnTo>
                    <a:pt x="7" y="0"/>
                  </a:lnTo>
                  <a:lnTo>
                    <a:pt x="31" y="46"/>
                  </a:lnTo>
                  <a:lnTo>
                    <a:pt x="57" y="11"/>
                  </a:lnTo>
                  <a:lnTo>
                    <a:pt x="57" y="46"/>
                  </a:lnTo>
                  <a:lnTo>
                    <a:pt x="76" y="55"/>
                  </a:lnTo>
                  <a:lnTo>
                    <a:pt x="76" y="90"/>
                  </a:lnTo>
                  <a:lnTo>
                    <a:pt x="119" y="122"/>
                  </a:lnTo>
                  <a:lnTo>
                    <a:pt x="156" y="111"/>
                  </a:lnTo>
                  <a:lnTo>
                    <a:pt x="150" y="90"/>
                  </a:lnTo>
                  <a:lnTo>
                    <a:pt x="201" y="55"/>
                  </a:lnTo>
                  <a:lnTo>
                    <a:pt x="262" y="122"/>
                  </a:lnTo>
                  <a:lnTo>
                    <a:pt x="262" y="155"/>
                  </a:lnTo>
                  <a:lnTo>
                    <a:pt x="251" y="213"/>
                  </a:lnTo>
                  <a:lnTo>
                    <a:pt x="256" y="288"/>
                  </a:lnTo>
                  <a:lnTo>
                    <a:pt x="270" y="322"/>
                  </a:lnTo>
                  <a:lnTo>
                    <a:pt x="256" y="366"/>
                  </a:lnTo>
                  <a:lnTo>
                    <a:pt x="294" y="455"/>
                  </a:lnTo>
                  <a:lnTo>
                    <a:pt x="270" y="522"/>
                  </a:lnTo>
                  <a:lnTo>
                    <a:pt x="201" y="499"/>
                  </a:lnTo>
                  <a:lnTo>
                    <a:pt x="187" y="455"/>
                  </a:lnTo>
                  <a:lnTo>
                    <a:pt x="145" y="468"/>
                  </a:lnTo>
                  <a:lnTo>
                    <a:pt x="113" y="434"/>
                  </a:lnTo>
                  <a:lnTo>
                    <a:pt x="87" y="355"/>
                  </a:lnTo>
                  <a:lnTo>
                    <a:pt x="69" y="345"/>
                  </a:lnTo>
                  <a:lnTo>
                    <a:pt x="69" y="355"/>
                  </a:lnTo>
                  <a:lnTo>
                    <a:pt x="45" y="266"/>
                  </a:lnTo>
                  <a:lnTo>
                    <a:pt x="19" y="222"/>
                  </a:lnTo>
                  <a:lnTo>
                    <a:pt x="31" y="155"/>
                  </a:lnTo>
                  <a:lnTo>
                    <a:pt x="19" y="144"/>
                  </a:lnTo>
                  <a:lnTo>
                    <a:pt x="7" y="99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49" name="Freeform 413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7292168" y="3730195"/>
              <a:ext cx="543327" cy="414338"/>
            </a:xfrm>
            <a:custGeom>
              <a:avLst/>
              <a:gdLst>
                <a:gd name="T0" fmla="*/ 0 w 294"/>
                <a:gd name="T1" fmla="*/ 2147483647 h 522"/>
                <a:gd name="T2" fmla="*/ 2147483647 w 294"/>
                <a:gd name="T3" fmla="*/ 0 h 522"/>
                <a:gd name="T4" fmla="*/ 2147483647 w 294"/>
                <a:gd name="T5" fmla="*/ 2147483647 h 522"/>
                <a:gd name="T6" fmla="*/ 2147483647 w 294"/>
                <a:gd name="T7" fmla="*/ 2147483647 h 522"/>
                <a:gd name="T8" fmla="*/ 2147483647 w 294"/>
                <a:gd name="T9" fmla="*/ 2147483647 h 522"/>
                <a:gd name="T10" fmla="*/ 2147483647 w 294"/>
                <a:gd name="T11" fmla="*/ 2147483647 h 522"/>
                <a:gd name="T12" fmla="*/ 2147483647 w 294"/>
                <a:gd name="T13" fmla="*/ 2147483647 h 522"/>
                <a:gd name="T14" fmla="*/ 2147483647 w 294"/>
                <a:gd name="T15" fmla="*/ 2147483647 h 522"/>
                <a:gd name="T16" fmla="*/ 2147483647 w 294"/>
                <a:gd name="T17" fmla="*/ 2147483647 h 522"/>
                <a:gd name="T18" fmla="*/ 2147483647 w 294"/>
                <a:gd name="T19" fmla="*/ 2147483647 h 522"/>
                <a:gd name="T20" fmla="*/ 2147483647 w 294"/>
                <a:gd name="T21" fmla="*/ 2147483647 h 522"/>
                <a:gd name="T22" fmla="*/ 2147483647 w 294"/>
                <a:gd name="T23" fmla="*/ 2147483647 h 522"/>
                <a:gd name="T24" fmla="*/ 2147483647 w 294"/>
                <a:gd name="T25" fmla="*/ 2147483647 h 522"/>
                <a:gd name="T26" fmla="*/ 2147483647 w 294"/>
                <a:gd name="T27" fmla="*/ 2147483647 h 522"/>
                <a:gd name="T28" fmla="*/ 2147483647 w 294"/>
                <a:gd name="T29" fmla="*/ 2147483647 h 522"/>
                <a:gd name="T30" fmla="*/ 2147483647 w 294"/>
                <a:gd name="T31" fmla="*/ 2147483647 h 522"/>
                <a:gd name="T32" fmla="*/ 2147483647 w 294"/>
                <a:gd name="T33" fmla="*/ 2147483647 h 522"/>
                <a:gd name="T34" fmla="*/ 2147483647 w 294"/>
                <a:gd name="T35" fmla="*/ 2147483647 h 522"/>
                <a:gd name="T36" fmla="*/ 2147483647 w 294"/>
                <a:gd name="T37" fmla="*/ 2147483647 h 522"/>
                <a:gd name="T38" fmla="*/ 2147483647 w 294"/>
                <a:gd name="T39" fmla="*/ 2147483647 h 522"/>
                <a:gd name="T40" fmla="*/ 2147483647 w 294"/>
                <a:gd name="T41" fmla="*/ 2147483647 h 522"/>
                <a:gd name="T42" fmla="*/ 2147483647 w 294"/>
                <a:gd name="T43" fmla="*/ 2147483647 h 522"/>
                <a:gd name="T44" fmla="*/ 2147483647 w 294"/>
                <a:gd name="T45" fmla="*/ 2147483647 h 522"/>
                <a:gd name="T46" fmla="*/ 2147483647 w 294"/>
                <a:gd name="T47" fmla="*/ 2147483647 h 522"/>
                <a:gd name="T48" fmla="*/ 2147483647 w 294"/>
                <a:gd name="T49" fmla="*/ 2147483647 h 522"/>
                <a:gd name="T50" fmla="*/ 2147483647 w 294"/>
                <a:gd name="T51" fmla="*/ 2147483647 h 522"/>
                <a:gd name="T52" fmla="*/ 2147483647 w 294"/>
                <a:gd name="T53" fmla="*/ 2147483647 h 522"/>
                <a:gd name="T54" fmla="*/ 2147483647 w 294"/>
                <a:gd name="T55" fmla="*/ 2147483647 h 522"/>
                <a:gd name="T56" fmla="*/ 2147483647 w 294"/>
                <a:gd name="T57" fmla="*/ 2147483647 h 522"/>
                <a:gd name="T58" fmla="*/ 2147483647 w 294"/>
                <a:gd name="T59" fmla="*/ 2147483647 h 522"/>
                <a:gd name="T60" fmla="*/ 2147483647 w 294"/>
                <a:gd name="T61" fmla="*/ 2147483647 h 522"/>
                <a:gd name="T62" fmla="*/ 0 w 294"/>
                <a:gd name="T63" fmla="*/ 2147483647 h 5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4" h="522">
                  <a:moveTo>
                    <a:pt x="0" y="23"/>
                  </a:moveTo>
                  <a:lnTo>
                    <a:pt x="7" y="0"/>
                  </a:lnTo>
                  <a:lnTo>
                    <a:pt x="31" y="46"/>
                  </a:lnTo>
                  <a:lnTo>
                    <a:pt x="57" y="11"/>
                  </a:lnTo>
                  <a:lnTo>
                    <a:pt x="57" y="46"/>
                  </a:lnTo>
                  <a:lnTo>
                    <a:pt x="76" y="55"/>
                  </a:lnTo>
                  <a:lnTo>
                    <a:pt x="76" y="90"/>
                  </a:lnTo>
                  <a:lnTo>
                    <a:pt x="119" y="122"/>
                  </a:lnTo>
                  <a:lnTo>
                    <a:pt x="156" y="111"/>
                  </a:lnTo>
                  <a:lnTo>
                    <a:pt x="150" y="90"/>
                  </a:lnTo>
                  <a:lnTo>
                    <a:pt x="201" y="55"/>
                  </a:lnTo>
                  <a:lnTo>
                    <a:pt x="262" y="122"/>
                  </a:lnTo>
                  <a:lnTo>
                    <a:pt x="262" y="155"/>
                  </a:lnTo>
                  <a:lnTo>
                    <a:pt x="251" y="213"/>
                  </a:lnTo>
                  <a:lnTo>
                    <a:pt x="256" y="288"/>
                  </a:lnTo>
                  <a:lnTo>
                    <a:pt x="270" y="322"/>
                  </a:lnTo>
                  <a:lnTo>
                    <a:pt x="256" y="366"/>
                  </a:lnTo>
                  <a:lnTo>
                    <a:pt x="294" y="455"/>
                  </a:lnTo>
                  <a:lnTo>
                    <a:pt x="270" y="522"/>
                  </a:lnTo>
                  <a:lnTo>
                    <a:pt x="201" y="499"/>
                  </a:lnTo>
                  <a:lnTo>
                    <a:pt x="187" y="455"/>
                  </a:lnTo>
                  <a:lnTo>
                    <a:pt x="145" y="468"/>
                  </a:lnTo>
                  <a:lnTo>
                    <a:pt x="113" y="434"/>
                  </a:lnTo>
                  <a:lnTo>
                    <a:pt x="87" y="355"/>
                  </a:lnTo>
                  <a:lnTo>
                    <a:pt x="69" y="345"/>
                  </a:lnTo>
                  <a:lnTo>
                    <a:pt x="69" y="355"/>
                  </a:lnTo>
                  <a:lnTo>
                    <a:pt x="45" y="266"/>
                  </a:lnTo>
                  <a:lnTo>
                    <a:pt x="19" y="222"/>
                  </a:lnTo>
                  <a:lnTo>
                    <a:pt x="31" y="155"/>
                  </a:lnTo>
                  <a:lnTo>
                    <a:pt x="19" y="144"/>
                  </a:lnTo>
                  <a:lnTo>
                    <a:pt x="7" y="99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50" name="Freeform 414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7292168" y="3730195"/>
              <a:ext cx="543327" cy="414338"/>
            </a:xfrm>
            <a:custGeom>
              <a:avLst/>
              <a:gdLst>
                <a:gd name="T0" fmla="*/ 0 w 294"/>
                <a:gd name="T1" fmla="*/ 2147483647 h 522"/>
                <a:gd name="T2" fmla="*/ 2147483647 w 294"/>
                <a:gd name="T3" fmla="*/ 0 h 522"/>
                <a:gd name="T4" fmla="*/ 2147483647 w 294"/>
                <a:gd name="T5" fmla="*/ 2147483647 h 522"/>
                <a:gd name="T6" fmla="*/ 2147483647 w 294"/>
                <a:gd name="T7" fmla="*/ 2147483647 h 522"/>
                <a:gd name="T8" fmla="*/ 2147483647 w 294"/>
                <a:gd name="T9" fmla="*/ 2147483647 h 522"/>
                <a:gd name="T10" fmla="*/ 2147483647 w 294"/>
                <a:gd name="T11" fmla="*/ 2147483647 h 522"/>
                <a:gd name="T12" fmla="*/ 2147483647 w 294"/>
                <a:gd name="T13" fmla="*/ 2147483647 h 522"/>
                <a:gd name="T14" fmla="*/ 2147483647 w 294"/>
                <a:gd name="T15" fmla="*/ 2147483647 h 522"/>
                <a:gd name="T16" fmla="*/ 2147483647 w 294"/>
                <a:gd name="T17" fmla="*/ 2147483647 h 522"/>
                <a:gd name="T18" fmla="*/ 2147483647 w 294"/>
                <a:gd name="T19" fmla="*/ 2147483647 h 522"/>
                <a:gd name="T20" fmla="*/ 2147483647 w 294"/>
                <a:gd name="T21" fmla="*/ 2147483647 h 522"/>
                <a:gd name="T22" fmla="*/ 2147483647 w 294"/>
                <a:gd name="T23" fmla="*/ 2147483647 h 522"/>
                <a:gd name="T24" fmla="*/ 2147483647 w 294"/>
                <a:gd name="T25" fmla="*/ 2147483647 h 522"/>
                <a:gd name="T26" fmla="*/ 2147483647 w 294"/>
                <a:gd name="T27" fmla="*/ 2147483647 h 522"/>
                <a:gd name="T28" fmla="*/ 2147483647 w 294"/>
                <a:gd name="T29" fmla="*/ 2147483647 h 522"/>
                <a:gd name="T30" fmla="*/ 2147483647 w 294"/>
                <a:gd name="T31" fmla="*/ 2147483647 h 522"/>
                <a:gd name="T32" fmla="*/ 2147483647 w 294"/>
                <a:gd name="T33" fmla="*/ 2147483647 h 522"/>
                <a:gd name="T34" fmla="*/ 2147483647 w 294"/>
                <a:gd name="T35" fmla="*/ 2147483647 h 522"/>
                <a:gd name="T36" fmla="*/ 2147483647 w 294"/>
                <a:gd name="T37" fmla="*/ 2147483647 h 522"/>
                <a:gd name="T38" fmla="*/ 2147483647 w 294"/>
                <a:gd name="T39" fmla="*/ 2147483647 h 522"/>
                <a:gd name="T40" fmla="*/ 2147483647 w 294"/>
                <a:gd name="T41" fmla="*/ 2147483647 h 522"/>
                <a:gd name="T42" fmla="*/ 2147483647 w 294"/>
                <a:gd name="T43" fmla="*/ 2147483647 h 522"/>
                <a:gd name="T44" fmla="*/ 2147483647 w 294"/>
                <a:gd name="T45" fmla="*/ 2147483647 h 522"/>
                <a:gd name="T46" fmla="*/ 2147483647 w 294"/>
                <a:gd name="T47" fmla="*/ 2147483647 h 522"/>
                <a:gd name="T48" fmla="*/ 2147483647 w 294"/>
                <a:gd name="T49" fmla="*/ 2147483647 h 522"/>
                <a:gd name="T50" fmla="*/ 2147483647 w 294"/>
                <a:gd name="T51" fmla="*/ 2147483647 h 522"/>
                <a:gd name="T52" fmla="*/ 2147483647 w 294"/>
                <a:gd name="T53" fmla="*/ 2147483647 h 522"/>
                <a:gd name="T54" fmla="*/ 2147483647 w 294"/>
                <a:gd name="T55" fmla="*/ 2147483647 h 522"/>
                <a:gd name="T56" fmla="*/ 2147483647 w 294"/>
                <a:gd name="T57" fmla="*/ 2147483647 h 522"/>
                <a:gd name="T58" fmla="*/ 2147483647 w 294"/>
                <a:gd name="T59" fmla="*/ 2147483647 h 522"/>
                <a:gd name="T60" fmla="*/ 2147483647 w 294"/>
                <a:gd name="T61" fmla="*/ 2147483647 h 522"/>
                <a:gd name="T62" fmla="*/ 0 w 294"/>
                <a:gd name="T63" fmla="*/ 2147483647 h 5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4" h="522">
                  <a:moveTo>
                    <a:pt x="0" y="23"/>
                  </a:moveTo>
                  <a:lnTo>
                    <a:pt x="7" y="0"/>
                  </a:lnTo>
                  <a:lnTo>
                    <a:pt x="31" y="46"/>
                  </a:lnTo>
                  <a:lnTo>
                    <a:pt x="57" y="11"/>
                  </a:lnTo>
                  <a:lnTo>
                    <a:pt x="57" y="46"/>
                  </a:lnTo>
                  <a:lnTo>
                    <a:pt x="76" y="55"/>
                  </a:lnTo>
                  <a:lnTo>
                    <a:pt x="76" y="90"/>
                  </a:lnTo>
                  <a:lnTo>
                    <a:pt x="119" y="122"/>
                  </a:lnTo>
                  <a:lnTo>
                    <a:pt x="156" y="111"/>
                  </a:lnTo>
                  <a:lnTo>
                    <a:pt x="150" y="90"/>
                  </a:lnTo>
                  <a:lnTo>
                    <a:pt x="201" y="55"/>
                  </a:lnTo>
                  <a:lnTo>
                    <a:pt x="262" y="122"/>
                  </a:lnTo>
                  <a:lnTo>
                    <a:pt x="262" y="155"/>
                  </a:lnTo>
                  <a:lnTo>
                    <a:pt x="251" y="213"/>
                  </a:lnTo>
                  <a:lnTo>
                    <a:pt x="256" y="288"/>
                  </a:lnTo>
                  <a:lnTo>
                    <a:pt x="270" y="322"/>
                  </a:lnTo>
                  <a:lnTo>
                    <a:pt x="256" y="366"/>
                  </a:lnTo>
                  <a:lnTo>
                    <a:pt x="294" y="455"/>
                  </a:lnTo>
                  <a:lnTo>
                    <a:pt x="270" y="522"/>
                  </a:lnTo>
                  <a:lnTo>
                    <a:pt x="201" y="499"/>
                  </a:lnTo>
                  <a:lnTo>
                    <a:pt x="187" y="455"/>
                  </a:lnTo>
                  <a:lnTo>
                    <a:pt x="145" y="468"/>
                  </a:lnTo>
                  <a:lnTo>
                    <a:pt x="113" y="434"/>
                  </a:lnTo>
                  <a:lnTo>
                    <a:pt x="87" y="355"/>
                  </a:lnTo>
                  <a:lnTo>
                    <a:pt x="69" y="345"/>
                  </a:lnTo>
                  <a:lnTo>
                    <a:pt x="69" y="355"/>
                  </a:lnTo>
                  <a:lnTo>
                    <a:pt x="45" y="266"/>
                  </a:lnTo>
                  <a:lnTo>
                    <a:pt x="19" y="222"/>
                  </a:lnTo>
                  <a:lnTo>
                    <a:pt x="31" y="155"/>
                  </a:lnTo>
                  <a:lnTo>
                    <a:pt x="19" y="144"/>
                  </a:lnTo>
                  <a:lnTo>
                    <a:pt x="7" y="99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51" name="Freeform 415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7292168" y="3730195"/>
              <a:ext cx="543327" cy="414338"/>
            </a:xfrm>
            <a:custGeom>
              <a:avLst/>
              <a:gdLst>
                <a:gd name="T0" fmla="*/ 0 w 294"/>
                <a:gd name="T1" fmla="*/ 2147483647 h 522"/>
                <a:gd name="T2" fmla="*/ 2147483647 w 294"/>
                <a:gd name="T3" fmla="*/ 0 h 522"/>
                <a:gd name="T4" fmla="*/ 2147483647 w 294"/>
                <a:gd name="T5" fmla="*/ 2147483647 h 522"/>
                <a:gd name="T6" fmla="*/ 2147483647 w 294"/>
                <a:gd name="T7" fmla="*/ 2147483647 h 522"/>
                <a:gd name="T8" fmla="*/ 2147483647 w 294"/>
                <a:gd name="T9" fmla="*/ 2147483647 h 522"/>
                <a:gd name="T10" fmla="*/ 2147483647 w 294"/>
                <a:gd name="T11" fmla="*/ 2147483647 h 522"/>
                <a:gd name="T12" fmla="*/ 2147483647 w 294"/>
                <a:gd name="T13" fmla="*/ 2147483647 h 522"/>
                <a:gd name="T14" fmla="*/ 2147483647 w 294"/>
                <a:gd name="T15" fmla="*/ 2147483647 h 522"/>
                <a:gd name="T16" fmla="*/ 2147483647 w 294"/>
                <a:gd name="T17" fmla="*/ 2147483647 h 522"/>
                <a:gd name="T18" fmla="*/ 2147483647 w 294"/>
                <a:gd name="T19" fmla="*/ 2147483647 h 522"/>
                <a:gd name="T20" fmla="*/ 2147483647 w 294"/>
                <a:gd name="T21" fmla="*/ 2147483647 h 522"/>
                <a:gd name="T22" fmla="*/ 2147483647 w 294"/>
                <a:gd name="T23" fmla="*/ 2147483647 h 522"/>
                <a:gd name="T24" fmla="*/ 2147483647 w 294"/>
                <a:gd name="T25" fmla="*/ 2147483647 h 522"/>
                <a:gd name="T26" fmla="*/ 2147483647 w 294"/>
                <a:gd name="T27" fmla="*/ 2147483647 h 522"/>
                <a:gd name="T28" fmla="*/ 2147483647 w 294"/>
                <a:gd name="T29" fmla="*/ 2147483647 h 522"/>
                <a:gd name="T30" fmla="*/ 2147483647 w 294"/>
                <a:gd name="T31" fmla="*/ 2147483647 h 522"/>
                <a:gd name="T32" fmla="*/ 2147483647 w 294"/>
                <a:gd name="T33" fmla="*/ 2147483647 h 522"/>
                <a:gd name="T34" fmla="*/ 2147483647 w 294"/>
                <a:gd name="T35" fmla="*/ 2147483647 h 522"/>
                <a:gd name="T36" fmla="*/ 2147483647 w 294"/>
                <a:gd name="T37" fmla="*/ 2147483647 h 522"/>
                <a:gd name="T38" fmla="*/ 2147483647 w 294"/>
                <a:gd name="T39" fmla="*/ 2147483647 h 522"/>
                <a:gd name="T40" fmla="*/ 2147483647 w 294"/>
                <a:gd name="T41" fmla="*/ 2147483647 h 522"/>
                <a:gd name="T42" fmla="*/ 2147483647 w 294"/>
                <a:gd name="T43" fmla="*/ 2147483647 h 522"/>
                <a:gd name="T44" fmla="*/ 2147483647 w 294"/>
                <a:gd name="T45" fmla="*/ 2147483647 h 522"/>
                <a:gd name="T46" fmla="*/ 2147483647 w 294"/>
                <a:gd name="T47" fmla="*/ 2147483647 h 522"/>
                <a:gd name="T48" fmla="*/ 2147483647 w 294"/>
                <a:gd name="T49" fmla="*/ 2147483647 h 522"/>
                <a:gd name="T50" fmla="*/ 2147483647 w 294"/>
                <a:gd name="T51" fmla="*/ 2147483647 h 522"/>
                <a:gd name="T52" fmla="*/ 2147483647 w 294"/>
                <a:gd name="T53" fmla="*/ 2147483647 h 522"/>
                <a:gd name="T54" fmla="*/ 2147483647 w 294"/>
                <a:gd name="T55" fmla="*/ 2147483647 h 522"/>
                <a:gd name="T56" fmla="*/ 2147483647 w 294"/>
                <a:gd name="T57" fmla="*/ 2147483647 h 522"/>
                <a:gd name="T58" fmla="*/ 2147483647 w 294"/>
                <a:gd name="T59" fmla="*/ 2147483647 h 522"/>
                <a:gd name="T60" fmla="*/ 2147483647 w 294"/>
                <a:gd name="T61" fmla="*/ 2147483647 h 522"/>
                <a:gd name="T62" fmla="*/ 0 w 294"/>
                <a:gd name="T63" fmla="*/ 2147483647 h 52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94" h="522">
                  <a:moveTo>
                    <a:pt x="0" y="23"/>
                  </a:moveTo>
                  <a:lnTo>
                    <a:pt x="7" y="0"/>
                  </a:lnTo>
                  <a:lnTo>
                    <a:pt x="31" y="46"/>
                  </a:lnTo>
                  <a:lnTo>
                    <a:pt x="57" y="11"/>
                  </a:lnTo>
                  <a:lnTo>
                    <a:pt x="57" y="46"/>
                  </a:lnTo>
                  <a:lnTo>
                    <a:pt x="76" y="55"/>
                  </a:lnTo>
                  <a:lnTo>
                    <a:pt x="76" y="90"/>
                  </a:lnTo>
                  <a:lnTo>
                    <a:pt x="119" y="122"/>
                  </a:lnTo>
                  <a:lnTo>
                    <a:pt x="156" y="111"/>
                  </a:lnTo>
                  <a:lnTo>
                    <a:pt x="150" y="90"/>
                  </a:lnTo>
                  <a:lnTo>
                    <a:pt x="201" y="55"/>
                  </a:lnTo>
                  <a:lnTo>
                    <a:pt x="262" y="122"/>
                  </a:lnTo>
                  <a:lnTo>
                    <a:pt x="262" y="155"/>
                  </a:lnTo>
                  <a:lnTo>
                    <a:pt x="251" y="213"/>
                  </a:lnTo>
                  <a:lnTo>
                    <a:pt x="256" y="288"/>
                  </a:lnTo>
                  <a:lnTo>
                    <a:pt x="270" y="322"/>
                  </a:lnTo>
                  <a:lnTo>
                    <a:pt x="256" y="366"/>
                  </a:lnTo>
                  <a:lnTo>
                    <a:pt x="294" y="455"/>
                  </a:lnTo>
                  <a:lnTo>
                    <a:pt x="270" y="522"/>
                  </a:lnTo>
                  <a:lnTo>
                    <a:pt x="201" y="499"/>
                  </a:lnTo>
                  <a:lnTo>
                    <a:pt x="187" y="455"/>
                  </a:lnTo>
                  <a:lnTo>
                    <a:pt x="145" y="468"/>
                  </a:lnTo>
                  <a:lnTo>
                    <a:pt x="113" y="434"/>
                  </a:lnTo>
                  <a:lnTo>
                    <a:pt x="87" y="355"/>
                  </a:lnTo>
                  <a:lnTo>
                    <a:pt x="69" y="345"/>
                  </a:lnTo>
                  <a:lnTo>
                    <a:pt x="69" y="355"/>
                  </a:lnTo>
                  <a:lnTo>
                    <a:pt x="45" y="266"/>
                  </a:lnTo>
                  <a:lnTo>
                    <a:pt x="19" y="222"/>
                  </a:lnTo>
                  <a:lnTo>
                    <a:pt x="31" y="155"/>
                  </a:lnTo>
                  <a:lnTo>
                    <a:pt x="19" y="144"/>
                  </a:lnTo>
                  <a:lnTo>
                    <a:pt x="7" y="99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52" name="Freeform 416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7127754" y="3811158"/>
              <a:ext cx="290711" cy="228600"/>
            </a:xfrm>
            <a:custGeom>
              <a:avLst/>
              <a:gdLst>
                <a:gd name="T0" fmla="*/ 0 w 157"/>
                <a:gd name="T1" fmla="*/ 2147483647 h 288"/>
                <a:gd name="T2" fmla="*/ 2147483647 w 157"/>
                <a:gd name="T3" fmla="*/ 2147483647 h 288"/>
                <a:gd name="T4" fmla="*/ 2147483647 w 157"/>
                <a:gd name="T5" fmla="*/ 2147483647 h 288"/>
                <a:gd name="T6" fmla="*/ 2147483647 w 157"/>
                <a:gd name="T7" fmla="*/ 2147483647 h 288"/>
                <a:gd name="T8" fmla="*/ 2147483647 w 157"/>
                <a:gd name="T9" fmla="*/ 2147483647 h 288"/>
                <a:gd name="T10" fmla="*/ 2147483647 w 157"/>
                <a:gd name="T11" fmla="*/ 2147483647 h 288"/>
                <a:gd name="T12" fmla="*/ 2147483647 w 157"/>
                <a:gd name="T13" fmla="*/ 2147483647 h 288"/>
                <a:gd name="T14" fmla="*/ 2147483647 w 157"/>
                <a:gd name="T15" fmla="*/ 2147483647 h 288"/>
                <a:gd name="T16" fmla="*/ 2147483647 w 157"/>
                <a:gd name="T17" fmla="*/ 2147483647 h 288"/>
                <a:gd name="T18" fmla="*/ 2147483647 w 157"/>
                <a:gd name="T19" fmla="*/ 2147483647 h 288"/>
                <a:gd name="T20" fmla="*/ 2147483647 w 157"/>
                <a:gd name="T21" fmla="*/ 2147483647 h 288"/>
                <a:gd name="T22" fmla="*/ 2147483647 w 157"/>
                <a:gd name="T23" fmla="*/ 2147483647 h 288"/>
                <a:gd name="T24" fmla="*/ 2147483647 w 157"/>
                <a:gd name="T25" fmla="*/ 0 h 288"/>
                <a:gd name="T26" fmla="*/ 2147483647 w 157"/>
                <a:gd name="T27" fmla="*/ 0 h 288"/>
                <a:gd name="T28" fmla="*/ 2147483647 w 157"/>
                <a:gd name="T29" fmla="*/ 2147483647 h 288"/>
                <a:gd name="T30" fmla="*/ 2147483647 w 157"/>
                <a:gd name="T31" fmla="*/ 2147483647 h 288"/>
                <a:gd name="T32" fmla="*/ 0 w 157"/>
                <a:gd name="T33" fmla="*/ 2147483647 h 2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7" h="288">
                  <a:moveTo>
                    <a:pt x="0" y="142"/>
                  </a:moveTo>
                  <a:lnTo>
                    <a:pt x="7" y="187"/>
                  </a:lnTo>
                  <a:lnTo>
                    <a:pt x="75" y="244"/>
                  </a:lnTo>
                  <a:lnTo>
                    <a:pt x="75" y="265"/>
                  </a:lnTo>
                  <a:lnTo>
                    <a:pt x="94" y="288"/>
                  </a:lnTo>
                  <a:lnTo>
                    <a:pt x="125" y="288"/>
                  </a:lnTo>
                  <a:lnTo>
                    <a:pt x="150" y="254"/>
                  </a:lnTo>
                  <a:lnTo>
                    <a:pt x="157" y="254"/>
                  </a:lnTo>
                  <a:lnTo>
                    <a:pt x="132" y="177"/>
                  </a:lnTo>
                  <a:lnTo>
                    <a:pt x="107" y="121"/>
                  </a:lnTo>
                  <a:lnTo>
                    <a:pt x="119" y="54"/>
                  </a:lnTo>
                  <a:lnTo>
                    <a:pt x="107" y="44"/>
                  </a:lnTo>
                  <a:lnTo>
                    <a:pt x="94" y="0"/>
                  </a:lnTo>
                  <a:lnTo>
                    <a:pt x="63" y="0"/>
                  </a:lnTo>
                  <a:lnTo>
                    <a:pt x="44" y="33"/>
                  </a:lnTo>
                  <a:lnTo>
                    <a:pt x="38" y="98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53" name="Freeform 417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7127754" y="3811158"/>
              <a:ext cx="290711" cy="228600"/>
            </a:xfrm>
            <a:custGeom>
              <a:avLst/>
              <a:gdLst>
                <a:gd name="T0" fmla="*/ 0 w 157"/>
                <a:gd name="T1" fmla="*/ 2147483647 h 288"/>
                <a:gd name="T2" fmla="*/ 2147483647 w 157"/>
                <a:gd name="T3" fmla="*/ 2147483647 h 288"/>
                <a:gd name="T4" fmla="*/ 2147483647 w 157"/>
                <a:gd name="T5" fmla="*/ 2147483647 h 288"/>
                <a:gd name="T6" fmla="*/ 2147483647 w 157"/>
                <a:gd name="T7" fmla="*/ 2147483647 h 288"/>
                <a:gd name="T8" fmla="*/ 2147483647 w 157"/>
                <a:gd name="T9" fmla="*/ 2147483647 h 288"/>
                <a:gd name="T10" fmla="*/ 2147483647 w 157"/>
                <a:gd name="T11" fmla="*/ 2147483647 h 288"/>
                <a:gd name="T12" fmla="*/ 2147483647 w 157"/>
                <a:gd name="T13" fmla="*/ 2147483647 h 288"/>
                <a:gd name="T14" fmla="*/ 2147483647 w 157"/>
                <a:gd name="T15" fmla="*/ 2147483647 h 288"/>
                <a:gd name="T16" fmla="*/ 2147483647 w 157"/>
                <a:gd name="T17" fmla="*/ 2147483647 h 288"/>
                <a:gd name="T18" fmla="*/ 2147483647 w 157"/>
                <a:gd name="T19" fmla="*/ 2147483647 h 288"/>
                <a:gd name="T20" fmla="*/ 2147483647 w 157"/>
                <a:gd name="T21" fmla="*/ 2147483647 h 288"/>
                <a:gd name="T22" fmla="*/ 2147483647 w 157"/>
                <a:gd name="T23" fmla="*/ 2147483647 h 288"/>
                <a:gd name="T24" fmla="*/ 2147483647 w 157"/>
                <a:gd name="T25" fmla="*/ 0 h 288"/>
                <a:gd name="T26" fmla="*/ 2147483647 w 157"/>
                <a:gd name="T27" fmla="*/ 0 h 288"/>
                <a:gd name="T28" fmla="*/ 2147483647 w 157"/>
                <a:gd name="T29" fmla="*/ 2147483647 h 288"/>
                <a:gd name="T30" fmla="*/ 2147483647 w 157"/>
                <a:gd name="T31" fmla="*/ 2147483647 h 288"/>
                <a:gd name="T32" fmla="*/ 0 w 157"/>
                <a:gd name="T33" fmla="*/ 2147483647 h 2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7" h="288">
                  <a:moveTo>
                    <a:pt x="0" y="142"/>
                  </a:moveTo>
                  <a:lnTo>
                    <a:pt x="7" y="187"/>
                  </a:lnTo>
                  <a:lnTo>
                    <a:pt x="75" y="244"/>
                  </a:lnTo>
                  <a:lnTo>
                    <a:pt x="75" y="265"/>
                  </a:lnTo>
                  <a:lnTo>
                    <a:pt x="94" y="288"/>
                  </a:lnTo>
                  <a:lnTo>
                    <a:pt x="125" y="288"/>
                  </a:lnTo>
                  <a:lnTo>
                    <a:pt x="150" y="254"/>
                  </a:lnTo>
                  <a:lnTo>
                    <a:pt x="157" y="254"/>
                  </a:lnTo>
                  <a:lnTo>
                    <a:pt x="132" y="177"/>
                  </a:lnTo>
                  <a:lnTo>
                    <a:pt x="107" y="121"/>
                  </a:lnTo>
                  <a:lnTo>
                    <a:pt x="119" y="54"/>
                  </a:lnTo>
                  <a:lnTo>
                    <a:pt x="107" y="44"/>
                  </a:lnTo>
                  <a:lnTo>
                    <a:pt x="94" y="0"/>
                  </a:lnTo>
                  <a:lnTo>
                    <a:pt x="63" y="0"/>
                  </a:lnTo>
                  <a:lnTo>
                    <a:pt x="44" y="33"/>
                  </a:lnTo>
                  <a:lnTo>
                    <a:pt x="38" y="98"/>
                  </a:lnTo>
                  <a:lnTo>
                    <a:pt x="0" y="14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54" name="Freeform 418"/>
            <p:cNvSpPr>
              <a:spLocks/>
            </p:cNvSpPr>
            <p:nvPr>
              <p:custDataLst>
                <p:tags r:id="rId362"/>
              </p:custDataLst>
            </p:nvPr>
          </p:nvSpPr>
          <p:spPr bwMode="auto">
            <a:xfrm>
              <a:off x="7127754" y="3811158"/>
              <a:ext cx="290711" cy="228600"/>
            </a:xfrm>
            <a:custGeom>
              <a:avLst/>
              <a:gdLst>
                <a:gd name="T0" fmla="*/ 0 w 157"/>
                <a:gd name="T1" fmla="*/ 2147483647 h 288"/>
                <a:gd name="T2" fmla="*/ 2147483647 w 157"/>
                <a:gd name="T3" fmla="*/ 2147483647 h 288"/>
                <a:gd name="T4" fmla="*/ 2147483647 w 157"/>
                <a:gd name="T5" fmla="*/ 2147483647 h 288"/>
                <a:gd name="T6" fmla="*/ 2147483647 w 157"/>
                <a:gd name="T7" fmla="*/ 2147483647 h 288"/>
                <a:gd name="T8" fmla="*/ 2147483647 w 157"/>
                <a:gd name="T9" fmla="*/ 2147483647 h 288"/>
                <a:gd name="T10" fmla="*/ 2147483647 w 157"/>
                <a:gd name="T11" fmla="*/ 2147483647 h 288"/>
                <a:gd name="T12" fmla="*/ 2147483647 w 157"/>
                <a:gd name="T13" fmla="*/ 2147483647 h 288"/>
                <a:gd name="T14" fmla="*/ 2147483647 w 157"/>
                <a:gd name="T15" fmla="*/ 2147483647 h 288"/>
                <a:gd name="T16" fmla="*/ 2147483647 w 157"/>
                <a:gd name="T17" fmla="*/ 2147483647 h 288"/>
                <a:gd name="T18" fmla="*/ 2147483647 w 157"/>
                <a:gd name="T19" fmla="*/ 2147483647 h 288"/>
                <a:gd name="T20" fmla="*/ 2147483647 w 157"/>
                <a:gd name="T21" fmla="*/ 2147483647 h 288"/>
                <a:gd name="T22" fmla="*/ 2147483647 w 157"/>
                <a:gd name="T23" fmla="*/ 2147483647 h 288"/>
                <a:gd name="T24" fmla="*/ 2147483647 w 157"/>
                <a:gd name="T25" fmla="*/ 0 h 288"/>
                <a:gd name="T26" fmla="*/ 2147483647 w 157"/>
                <a:gd name="T27" fmla="*/ 0 h 288"/>
                <a:gd name="T28" fmla="*/ 2147483647 w 157"/>
                <a:gd name="T29" fmla="*/ 2147483647 h 288"/>
                <a:gd name="T30" fmla="*/ 2147483647 w 157"/>
                <a:gd name="T31" fmla="*/ 2147483647 h 288"/>
                <a:gd name="T32" fmla="*/ 0 w 157"/>
                <a:gd name="T33" fmla="*/ 2147483647 h 2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7" h="288">
                  <a:moveTo>
                    <a:pt x="0" y="142"/>
                  </a:moveTo>
                  <a:lnTo>
                    <a:pt x="7" y="187"/>
                  </a:lnTo>
                  <a:lnTo>
                    <a:pt x="75" y="244"/>
                  </a:lnTo>
                  <a:lnTo>
                    <a:pt x="75" y="265"/>
                  </a:lnTo>
                  <a:lnTo>
                    <a:pt x="94" y="288"/>
                  </a:lnTo>
                  <a:lnTo>
                    <a:pt x="125" y="288"/>
                  </a:lnTo>
                  <a:lnTo>
                    <a:pt x="150" y="254"/>
                  </a:lnTo>
                  <a:lnTo>
                    <a:pt x="157" y="254"/>
                  </a:lnTo>
                  <a:lnTo>
                    <a:pt x="132" y="177"/>
                  </a:lnTo>
                  <a:lnTo>
                    <a:pt x="107" y="121"/>
                  </a:lnTo>
                  <a:lnTo>
                    <a:pt x="119" y="54"/>
                  </a:lnTo>
                  <a:lnTo>
                    <a:pt x="107" y="44"/>
                  </a:lnTo>
                  <a:lnTo>
                    <a:pt x="94" y="0"/>
                  </a:lnTo>
                  <a:lnTo>
                    <a:pt x="63" y="0"/>
                  </a:lnTo>
                  <a:lnTo>
                    <a:pt x="44" y="33"/>
                  </a:lnTo>
                  <a:lnTo>
                    <a:pt x="38" y="98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55" name="Freeform 419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7127754" y="3811158"/>
              <a:ext cx="290711" cy="228600"/>
            </a:xfrm>
            <a:custGeom>
              <a:avLst/>
              <a:gdLst>
                <a:gd name="T0" fmla="*/ 0 w 157"/>
                <a:gd name="T1" fmla="*/ 2147483647 h 288"/>
                <a:gd name="T2" fmla="*/ 2147483647 w 157"/>
                <a:gd name="T3" fmla="*/ 2147483647 h 288"/>
                <a:gd name="T4" fmla="*/ 2147483647 w 157"/>
                <a:gd name="T5" fmla="*/ 2147483647 h 288"/>
                <a:gd name="T6" fmla="*/ 2147483647 w 157"/>
                <a:gd name="T7" fmla="*/ 2147483647 h 288"/>
                <a:gd name="T8" fmla="*/ 2147483647 w 157"/>
                <a:gd name="T9" fmla="*/ 2147483647 h 288"/>
                <a:gd name="T10" fmla="*/ 2147483647 w 157"/>
                <a:gd name="T11" fmla="*/ 2147483647 h 288"/>
                <a:gd name="T12" fmla="*/ 2147483647 w 157"/>
                <a:gd name="T13" fmla="*/ 2147483647 h 288"/>
                <a:gd name="T14" fmla="*/ 2147483647 w 157"/>
                <a:gd name="T15" fmla="*/ 2147483647 h 288"/>
                <a:gd name="T16" fmla="*/ 2147483647 w 157"/>
                <a:gd name="T17" fmla="*/ 2147483647 h 288"/>
                <a:gd name="T18" fmla="*/ 2147483647 w 157"/>
                <a:gd name="T19" fmla="*/ 2147483647 h 288"/>
                <a:gd name="T20" fmla="*/ 2147483647 w 157"/>
                <a:gd name="T21" fmla="*/ 2147483647 h 288"/>
                <a:gd name="T22" fmla="*/ 2147483647 w 157"/>
                <a:gd name="T23" fmla="*/ 2147483647 h 288"/>
                <a:gd name="T24" fmla="*/ 2147483647 w 157"/>
                <a:gd name="T25" fmla="*/ 0 h 288"/>
                <a:gd name="T26" fmla="*/ 2147483647 w 157"/>
                <a:gd name="T27" fmla="*/ 0 h 288"/>
                <a:gd name="T28" fmla="*/ 2147483647 w 157"/>
                <a:gd name="T29" fmla="*/ 2147483647 h 288"/>
                <a:gd name="T30" fmla="*/ 2147483647 w 157"/>
                <a:gd name="T31" fmla="*/ 2147483647 h 288"/>
                <a:gd name="T32" fmla="*/ 0 w 157"/>
                <a:gd name="T33" fmla="*/ 2147483647 h 28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57" h="288">
                  <a:moveTo>
                    <a:pt x="0" y="142"/>
                  </a:moveTo>
                  <a:lnTo>
                    <a:pt x="7" y="187"/>
                  </a:lnTo>
                  <a:lnTo>
                    <a:pt x="75" y="244"/>
                  </a:lnTo>
                  <a:lnTo>
                    <a:pt x="75" y="265"/>
                  </a:lnTo>
                  <a:lnTo>
                    <a:pt x="94" y="288"/>
                  </a:lnTo>
                  <a:lnTo>
                    <a:pt x="125" y="288"/>
                  </a:lnTo>
                  <a:lnTo>
                    <a:pt x="150" y="254"/>
                  </a:lnTo>
                  <a:lnTo>
                    <a:pt x="157" y="254"/>
                  </a:lnTo>
                  <a:lnTo>
                    <a:pt x="132" y="177"/>
                  </a:lnTo>
                  <a:lnTo>
                    <a:pt x="107" y="121"/>
                  </a:lnTo>
                  <a:lnTo>
                    <a:pt x="119" y="54"/>
                  </a:lnTo>
                  <a:lnTo>
                    <a:pt x="107" y="44"/>
                  </a:lnTo>
                  <a:lnTo>
                    <a:pt x="94" y="0"/>
                  </a:lnTo>
                  <a:lnTo>
                    <a:pt x="63" y="0"/>
                  </a:lnTo>
                  <a:lnTo>
                    <a:pt x="44" y="33"/>
                  </a:lnTo>
                  <a:lnTo>
                    <a:pt x="38" y="98"/>
                  </a:lnTo>
                  <a:lnTo>
                    <a:pt x="0" y="14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56" name="Freeform 420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6213532" y="3509551"/>
              <a:ext cx="324793" cy="280987"/>
            </a:xfrm>
            <a:custGeom>
              <a:avLst/>
              <a:gdLst>
                <a:gd name="T0" fmla="*/ 0 w 175"/>
                <a:gd name="T1" fmla="*/ 2147483647 h 355"/>
                <a:gd name="T2" fmla="*/ 0 w 175"/>
                <a:gd name="T3" fmla="*/ 2147483647 h 355"/>
                <a:gd name="T4" fmla="*/ 2147483647 w 175"/>
                <a:gd name="T5" fmla="*/ 2147483647 h 355"/>
                <a:gd name="T6" fmla="*/ 2147483647 w 175"/>
                <a:gd name="T7" fmla="*/ 2147483647 h 355"/>
                <a:gd name="T8" fmla="*/ 2147483647 w 175"/>
                <a:gd name="T9" fmla="*/ 2147483647 h 355"/>
                <a:gd name="T10" fmla="*/ 2147483647 w 175"/>
                <a:gd name="T11" fmla="*/ 0 h 355"/>
                <a:gd name="T12" fmla="*/ 2147483647 w 175"/>
                <a:gd name="T13" fmla="*/ 2147483647 h 355"/>
                <a:gd name="T14" fmla="*/ 2147483647 w 175"/>
                <a:gd name="T15" fmla="*/ 2147483647 h 355"/>
                <a:gd name="T16" fmla="*/ 2147483647 w 175"/>
                <a:gd name="T17" fmla="*/ 2147483647 h 355"/>
                <a:gd name="T18" fmla="*/ 2147483647 w 175"/>
                <a:gd name="T19" fmla="*/ 2147483647 h 355"/>
                <a:gd name="T20" fmla="*/ 2147483647 w 175"/>
                <a:gd name="T21" fmla="*/ 2147483647 h 355"/>
                <a:gd name="T22" fmla="*/ 2147483647 w 175"/>
                <a:gd name="T23" fmla="*/ 2147483647 h 355"/>
                <a:gd name="T24" fmla="*/ 2147483647 w 175"/>
                <a:gd name="T25" fmla="*/ 2147483647 h 355"/>
                <a:gd name="T26" fmla="*/ 2147483647 w 175"/>
                <a:gd name="T27" fmla="*/ 2147483647 h 355"/>
                <a:gd name="T28" fmla="*/ 2147483647 w 175"/>
                <a:gd name="T29" fmla="*/ 2147483647 h 355"/>
                <a:gd name="T30" fmla="*/ 2147483647 w 175"/>
                <a:gd name="T31" fmla="*/ 2147483647 h 355"/>
                <a:gd name="T32" fmla="*/ 2147483647 w 175"/>
                <a:gd name="T33" fmla="*/ 2147483647 h 355"/>
                <a:gd name="T34" fmla="*/ 2147483647 w 175"/>
                <a:gd name="T35" fmla="*/ 2147483647 h 355"/>
                <a:gd name="T36" fmla="*/ 2147483647 w 175"/>
                <a:gd name="T37" fmla="*/ 2147483647 h 355"/>
                <a:gd name="T38" fmla="*/ 2147483647 w 175"/>
                <a:gd name="T39" fmla="*/ 2147483647 h 355"/>
                <a:gd name="T40" fmla="*/ 2147483647 w 175"/>
                <a:gd name="T41" fmla="*/ 2147483647 h 355"/>
                <a:gd name="T42" fmla="*/ 2147483647 w 175"/>
                <a:gd name="T43" fmla="*/ 2147483647 h 355"/>
                <a:gd name="T44" fmla="*/ 0 w 175"/>
                <a:gd name="T45" fmla="*/ 2147483647 h 35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75" h="355">
                  <a:moveTo>
                    <a:pt x="0" y="88"/>
                  </a:moveTo>
                  <a:lnTo>
                    <a:pt x="0" y="54"/>
                  </a:lnTo>
                  <a:lnTo>
                    <a:pt x="25" y="33"/>
                  </a:lnTo>
                  <a:lnTo>
                    <a:pt x="30" y="44"/>
                  </a:lnTo>
                  <a:lnTo>
                    <a:pt x="56" y="10"/>
                  </a:lnTo>
                  <a:lnTo>
                    <a:pt x="81" y="0"/>
                  </a:lnTo>
                  <a:lnTo>
                    <a:pt x="107" y="33"/>
                  </a:lnTo>
                  <a:lnTo>
                    <a:pt x="107" y="67"/>
                  </a:lnTo>
                  <a:lnTo>
                    <a:pt x="81" y="67"/>
                  </a:lnTo>
                  <a:lnTo>
                    <a:pt x="88" y="123"/>
                  </a:lnTo>
                  <a:lnTo>
                    <a:pt x="119" y="200"/>
                  </a:lnTo>
                  <a:lnTo>
                    <a:pt x="144" y="200"/>
                  </a:lnTo>
                  <a:lnTo>
                    <a:pt x="144" y="223"/>
                  </a:lnTo>
                  <a:lnTo>
                    <a:pt x="175" y="267"/>
                  </a:lnTo>
                  <a:lnTo>
                    <a:pt x="149" y="267"/>
                  </a:lnTo>
                  <a:lnTo>
                    <a:pt x="157" y="311"/>
                  </a:lnTo>
                  <a:lnTo>
                    <a:pt x="144" y="355"/>
                  </a:lnTo>
                  <a:lnTo>
                    <a:pt x="138" y="279"/>
                  </a:lnTo>
                  <a:lnTo>
                    <a:pt x="69" y="190"/>
                  </a:lnTo>
                  <a:lnTo>
                    <a:pt x="50" y="123"/>
                  </a:lnTo>
                  <a:lnTo>
                    <a:pt x="30" y="111"/>
                  </a:lnTo>
                  <a:lnTo>
                    <a:pt x="6" y="13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57" name="Group 421"/>
            <p:cNvGrpSpPr>
              <a:grpSpLocks/>
            </p:cNvGrpSpPr>
            <p:nvPr>
              <p:custDataLst>
                <p:tags r:id="rId365"/>
              </p:custDataLst>
            </p:nvPr>
          </p:nvGrpSpPr>
          <p:grpSpPr bwMode="auto">
            <a:xfrm>
              <a:off x="6213532" y="3509551"/>
              <a:ext cx="324793" cy="280987"/>
              <a:chOff x="3051" y="1841"/>
              <a:chExt cx="175" cy="177"/>
            </a:xfrm>
            <a:solidFill>
              <a:srgbClr val="CCFFCC"/>
            </a:solidFill>
          </p:grpSpPr>
          <p:sp>
            <p:nvSpPr>
              <p:cNvPr id="3281" name="Freeform 422"/>
              <p:cNvSpPr>
                <a:spLocks/>
              </p:cNvSpPr>
              <p:nvPr/>
            </p:nvSpPr>
            <p:spPr bwMode="auto">
              <a:xfrm>
                <a:off x="3051" y="1841"/>
                <a:ext cx="175" cy="177"/>
              </a:xfrm>
              <a:custGeom>
                <a:avLst/>
                <a:gdLst>
                  <a:gd name="T0" fmla="*/ 0 w 175"/>
                  <a:gd name="T1" fmla="*/ 0 h 355"/>
                  <a:gd name="T2" fmla="*/ 0 w 175"/>
                  <a:gd name="T3" fmla="*/ 0 h 355"/>
                  <a:gd name="T4" fmla="*/ 25 w 175"/>
                  <a:gd name="T5" fmla="*/ 0 h 355"/>
                  <a:gd name="T6" fmla="*/ 30 w 175"/>
                  <a:gd name="T7" fmla="*/ 0 h 355"/>
                  <a:gd name="T8" fmla="*/ 56 w 175"/>
                  <a:gd name="T9" fmla="*/ 0 h 355"/>
                  <a:gd name="T10" fmla="*/ 81 w 175"/>
                  <a:gd name="T11" fmla="*/ 0 h 355"/>
                  <a:gd name="T12" fmla="*/ 107 w 175"/>
                  <a:gd name="T13" fmla="*/ 0 h 355"/>
                  <a:gd name="T14" fmla="*/ 107 w 175"/>
                  <a:gd name="T15" fmla="*/ 0 h 355"/>
                  <a:gd name="T16" fmla="*/ 81 w 175"/>
                  <a:gd name="T17" fmla="*/ 0 h 355"/>
                  <a:gd name="T18" fmla="*/ 88 w 175"/>
                  <a:gd name="T19" fmla="*/ 0 h 355"/>
                  <a:gd name="T20" fmla="*/ 119 w 175"/>
                  <a:gd name="T21" fmla="*/ 0 h 355"/>
                  <a:gd name="T22" fmla="*/ 144 w 175"/>
                  <a:gd name="T23" fmla="*/ 0 h 355"/>
                  <a:gd name="T24" fmla="*/ 144 w 175"/>
                  <a:gd name="T25" fmla="*/ 0 h 355"/>
                  <a:gd name="T26" fmla="*/ 175 w 175"/>
                  <a:gd name="T27" fmla="*/ 0 h 355"/>
                  <a:gd name="T28" fmla="*/ 149 w 175"/>
                  <a:gd name="T29" fmla="*/ 0 h 355"/>
                  <a:gd name="T30" fmla="*/ 157 w 175"/>
                  <a:gd name="T31" fmla="*/ 0 h 355"/>
                  <a:gd name="T32" fmla="*/ 144 w 175"/>
                  <a:gd name="T33" fmla="*/ 0 h 355"/>
                  <a:gd name="T34" fmla="*/ 138 w 175"/>
                  <a:gd name="T35" fmla="*/ 0 h 355"/>
                  <a:gd name="T36" fmla="*/ 69 w 175"/>
                  <a:gd name="T37" fmla="*/ 0 h 355"/>
                  <a:gd name="T38" fmla="*/ 50 w 175"/>
                  <a:gd name="T39" fmla="*/ 0 h 355"/>
                  <a:gd name="T40" fmla="*/ 30 w 175"/>
                  <a:gd name="T41" fmla="*/ 0 h 355"/>
                  <a:gd name="T42" fmla="*/ 6 w 175"/>
                  <a:gd name="T43" fmla="*/ 0 h 355"/>
                  <a:gd name="T44" fmla="*/ 0 w 175"/>
                  <a:gd name="T45" fmla="*/ 0 h 35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75" h="355">
                    <a:moveTo>
                      <a:pt x="0" y="88"/>
                    </a:moveTo>
                    <a:lnTo>
                      <a:pt x="0" y="54"/>
                    </a:lnTo>
                    <a:lnTo>
                      <a:pt x="25" y="33"/>
                    </a:lnTo>
                    <a:lnTo>
                      <a:pt x="30" y="44"/>
                    </a:lnTo>
                    <a:lnTo>
                      <a:pt x="56" y="10"/>
                    </a:lnTo>
                    <a:lnTo>
                      <a:pt x="81" y="0"/>
                    </a:lnTo>
                    <a:lnTo>
                      <a:pt x="107" y="33"/>
                    </a:lnTo>
                    <a:lnTo>
                      <a:pt x="107" y="67"/>
                    </a:lnTo>
                    <a:lnTo>
                      <a:pt x="81" y="67"/>
                    </a:lnTo>
                    <a:lnTo>
                      <a:pt x="88" y="123"/>
                    </a:lnTo>
                    <a:lnTo>
                      <a:pt x="119" y="200"/>
                    </a:lnTo>
                    <a:lnTo>
                      <a:pt x="144" y="200"/>
                    </a:lnTo>
                    <a:lnTo>
                      <a:pt x="144" y="223"/>
                    </a:lnTo>
                    <a:lnTo>
                      <a:pt x="175" y="267"/>
                    </a:lnTo>
                    <a:lnTo>
                      <a:pt x="149" y="267"/>
                    </a:lnTo>
                    <a:lnTo>
                      <a:pt x="157" y="311"/>
                    </a:lnTo>
                    <a:lnTo>
                      <a:pt x="144" y="355"/>
                    </a:lnTo>
                    <a:lnTo>
                      <a:pt x="138" y="279"/>
                    </a:lnTo>
                    <a:lnTo>
                      <a:pt x="69" y="190"/>
                    </a:lnTo>
                    <a:lnTo>
                      <a:pt x="50" y="123"/>
                    </a:lnTo>
                    <a:lnTo>
                      <a:pt x="30" y="111"/>
                    </a:lnTo>
                    <a:lnTo>
                      <a:pt x="6" y="133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82" name="Freeform 423"/>
              <p:cNvSpPr>
                <a:spLocks/>
              </p:cNvSpPr>
              <p:nvPr/>
            </p:nvSpPr>
            <p:spPr bwMode="auto">
              <a:xfrm>
                <a:off x="3051" y="1841"/>
                <a:ext cx="175" cy="177"/>
              </a:xfrm>
              <a:custGeom>
                <a:avLst/>
                <a:gdLst>
                  <a:gd name="T0" fmla="*/ 0 w 175"/>
                  <a:gd name="T1" fmla="*/ 0 h 355"/>
                  <a:gd name="T2" fmla="*/ 0 w 175"/>
                  <a:gd name="T3" fmla="*/ 0 h 355"/>
                  <a:gd name="T4" fmla="*/ 25 w 175"/>
                  <a:gd name="T5" fmla="*/ 0 h 355"/>
                  <a:gd name="T6" fmla="*/ 30 w 175"/>
                  <a:gd name="T7" fmla="*/ 0 h 355"/>
                  <a:gd name="T8" fmla="*/ 56 w 175"/>
                  <a:gd name="T9" fmla="*/ 0 h 355"/>
                  <a:gd name="T10" fmla="*/ 81 w 175"/>
                  <a:gd name="T11" fmla="*/ 0 h 355"/>
                  <a:gd name="T12" fmla="*/ 107 w 175"/>
                  <a:gd name="T13" fmla="*/ 0 h 355"/>
                  <a:gd name="T14" fmla="*/ 107 w 175"/>
                  <a:gd name="T15" fmla="*/ 0 h 355"/>
                  <a:gd name="T16" fmla="*/ 81 w 175"/>
                  <a:gd name="T17" fmla="*/ 0 h 355"/>
                  <a:gd name="T18" fmla="*/ 88 w 175"/>
                  <a:gd name="T19" fmla="*/ 0 h 355"/>
                  <a:gd name="T20" fmla="*/ 119 w 175"/>
                  <a:gd name="T21" fmla="*/ 0 h 355"/>
                  <a:gd name="T22" fmla="*/ 144 w 175"/>
                  <a:gd name="T23" fmla="*/ 0 h 355"/>
                  <a:gd name="T24" fmla="*/ 144 w 175"/>
                  <a:gd name="T25" fmla="*/ 0 h 355"/>
                  <a:gd name="T26" fmla="*/ 175 w 175"/>
                  <a:gd name="T27" fmla="*/ 0 h 355"/>
                  <a:gd name="T28" fmla="*/ 149 w 175"/>
                  <a:gd name="T29" fmla="*/ 0 h 355"/>
                  <a:gd name="T30" fmla="*/ 157 w 175"/>
                  <a:gd name="T31" fmla="*/ 0 h 355"/>
                  <a:gd name="T32" fmla="*/ 144 w 175"/>
                  <a:gd name="T33" fmla="*/ 0 h 355"/>
                  <a:gd name="T34" fmla="*/ 138 w 175"/>
                  <a:gd name="T35" fmla="*/ 0 h 355"/>
                  <a:gd name="T36" fmla="*/ 69 w 175"/>
                  <a:gd name="T37" fmla="*/ 0 h 355"/>
                  <a:gd name="T38" fmla="*/ 50 w 175"/>
                  <a:gd name="T39" fmla="*/ 0 h 355"/>
                  <a:gd name="T40" fmla="*/ 30 w 175"/>
                  <a:gd name="T41" fmla="*/ 0 h 355"/>
                  <a:gd name="T42" fmla="*/ 6 w 175"/>
                  <a:gd name="T43" fmla="*/ 0 h 355"/>
                  <a:gd name="T44" fmla="*/ 0 w 175"/>
                  <a:gd name="T45" fmla="*/ 0 h 35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75" h="355">
                    <a:moveTo>
                      <a:pt x="0" y="88"/>
                    </a:moveTo>
                    <a:lnTo>
                      <a:pt x="0" y="54"/>
                    </a:lnTo>
                    <a:lnTo>
                      <a:pt x="25" y="33"/>
                    </a:lnTo>
                    <a:lnTo>
                      <a:pt x="30" y="44"/>
                    </a:lnTo>
                    <a:lnTo>
                      <a:pt x="56" y="10"/>
                    </a:lnTo>
                    <a:lnTo>
                      <a:pt x="81" y="0"/>
                    </a:lnTo>
                    <a:lnTo>
                      <a:pt x="107" y="33"/>
                    </a:lnTo>
                    <a:lnTo>
                      <a:pt x="107" y="67"/>
                    </a:lnTo>
                    <a:lnTo>
                      <a:pt x="81" y="67"/>
                    </a:lnTo>
                    <a:lnTo>
                      <a:pt x="88" y="123"/>
                    </a:lnTo>
                    <a:lnTo>
                      <a:pt x="119" y="200"/>
                    </a:lnTo>
                    <a:lnTo>
                      <a:pt x="144" y="200"/>
                    </a:lnTo>
                    <a:lnTo>
                      <a:pt x="144" y="223"/>
                    </a:lnTo>
                    <a:lnTo>
                      <a:pt x="175" y="267"/>
                    </a:lnTo>
                    <a:lnTo>
                      <a:pt x="149" y="267"/>
                    </a:lnTo>
                    <a:lnTo>
                      <a:pt x="157" y="311"/>
                    </a:lnTo>
                    <a:lnTo>
                      <a:pt x="144" y="355"/>
                    </a:lnTo>
                    <a:lnTo>
                      <a:pt x="138" y="279"/>
                    </a:lnTo>
                    <a:lnTo>
                      <a:pt x="69" y="190"/>
                    </a:lnTo>
                    <a:lnTo>
                      <a:pt x="50" y="123"/>
                    </a:lnTo>
                    <a:lnTo>
                      <a:pt x="30" y="111"/>
                    </a:lnTo>
                    <a:lnTo>
                      <a:pt x="6" y="133"/>
                    </a:lnTo>
                    <a:lnTo>
                      <a:pt x="0" y="88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58" name="Freeform 424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6213532" y="3509551"/>
              <a:ext cx="324793" cy="280987"/>
            </a:xfrm>
            <a:custGeom>
              <a:avLst/>
              <a:gdLst>
                <a:gd name="T0" fmla="*/ 0 w 175"/>
                <a:gd name="T1" fmla="*/ 2147483647 h 355"/>
                <a:gd name="T2" fmla="*/ 0 w 175"/>
                <a:gd name="T3" fmla="*/ 2147483647 h 355"/>
                <a:gd name="T4" fmla="*/ 2147483647 w 175"/>
                <a:gd name="T5" fmla="*/ 2147483647 h 355"/>
                <a:gd name="T6" fmla="*/ 2147483647 w 175"/>
                <a:gd name="T7" fmla="*/ 2147483647 h 355"/>
                <a:gd name="T8" fmla="*/ 2147483647 w 175"/>
                <a:gd name="T9" fmla="*/ 2147483647 h 355"/>
                <a:gd name="T10" fmla="*/ 2147483647 w 175"/>
                <a:gd name="T11" fmla="*/ 0 h 355"/>
                <a:gd name="T12" fmla="*/ 2147483647 w 175"/>
                <a:gd name="T13" fmla="*/ 2147483647 h 355"/>
                <a:gd name="T14" fmla="*/ 2147483647 w 175"/>
                <a:gd name="T15" fmla="*/ 2147483647 h 355"/>
                <a:gd name="T16" fmla="*/ 2147483647 w 175"/>
                <a:gd name="T17" fmla="*/ 2147483647 h 355"/>
                <a:gd name="T18" fmla="*/ 2147483647 w 175"/>
                <a:gd name="T19" fmla="*/ 2147483647 h 355"/>
                <a:gd name="T20" fmla="*/ 2147483647 w 175"/>
                <a:gd name="T21" fmla="*/ 2147483647 h 355"/>
                <a:gd name="T22" fmla="*/ 2147483647 w 175"/>
                <a:gd name="T23" fmla="*/ 2147483647 h 355"/>
                <a:gd name="T24" fmla="*/ 2147483647 w 175"/>
                <a:gd name="T25" fmla="*/ 2147483647 h 355"/>
                <a:gd name="T26" fmla="*/ 2147483647 w 175"/>
                <a:gd name="T27" fmla="*/ 2147483647 h 355"/>
                <a:gd name="T28" fmla="*/ 2147483647 w 175"/>
                <a:gd name="T29" fmla="*/ 2147483647 h 355"/>
                <a:gd name="T30" fmla="*/ 2147483647 w 175"/>
                <a:gd name="T31" fmla="*/ 2147483647 h 355"/>
                <a:gd name="T32" fmla="*/ 2147483647 w 175"/>
                <a:gd name="T33" fmla="*/ 2147483647 h 355"/>
                <a:gd name="T34" fmla="*/ 2147483647 w 175"/>
                <a:gd name="T35" fmla="*/ 2147483647 h 355"/>
                <a:gd name="T36" fmla="*/ 2147483647 w 175"/>
                <a:gd name="T37" fmla="*/ 2147483647 h 355"/>
                <a:gd name="T38" fmla="*/ 2147483647 w 175"/>
                <a:gd name="T39" fmla="*/ 2147483647 h 355"/>
                <a:gd name="T40" fmla="*/ 2147483647 w 175"/>
                <a:gd name="T41" fmla="*/ 2147483647 h 355"/>
                <a:gd name="T42" fmla="*/ 2147483647 w 175"/>
                <a:gd name="T43" fmla="*/ 2147483647 h 355"/>
                <a:gd name="T44" fmla="*/ 0 w 175"/>
                <a:gd name="T45" fmla="*/ 2147483647 h 35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75" h="355">
                  <a:moveTo>
                    <a:pt x="0" y="88"/>
                  </a:moveTo>
                  <a:lnTo>
                    <a:pt x="0" y="54"/>
                  </a:lnTo>
                  <a:lnTo>
                    <a:pt x="25" y="33"/>
                  </a:lnTo>
                  <a:lnTo>
                    <a:pt x="30" y="44"/>
                  </a:lnTo>
                  <a:lnTo>
                    <a:pt x="56" y="10"/>
                  </a:lnTo>
                  <a:lnTo>
                    <a:pt x="81" y="0"/>
                  </a:lnTo>
                  <a:lnTo>
                    <a:pt x="107" y="33"/>
                  </a:lnTo>
                  <a:lnTo>
                    <a:pt x="107" y="67"/>
                  </a:lnTo>
                  <a:lnTo>
                    <a:pt x="81" y="67"/>
                  </a:lnTo>
                  <a:lnTo>
                    <a:pt x="88" y="123"/>
                  </a:lnTo>
                  <a:lnTo>
                    <a:pt x="119" y="200"/>
                  </a:lnTo>
                  <a:lnTo>
                    <a:pt x="144" y="200"/>
                  </a:lnTo>
                  <a:lnTo>
                    <a:pt x="144" y="223"/>
                  </a:lnTo>
                  <a:lnTo>
                    <a:pt x="175" y="267"/>
                  </a:lnTo>
                  <a:lnTo>
                    <a:pt x="149" y="267"/>
                  </a:lnTo>
                  <a:lnTo>
                    <a:pt x="157" y="311"/>
                  </a:lnTo>
                  <a:lnTo>
                    <a:pt x="144" y="355"/>
                  </a:lnTo>
                  <a:lnTo>
                    <a:pt x="138" y="279"/>
                  </a:lnTo>
                  <a:lnTo>
                    <a:pt x="69" y="190"/>
                  </a:lnTo>
                  <a:lnTo>
                    <a:pt x="50" y="123"/>
                  </a:lnTo>
                  <a:lnTo>
                    <a:pt x="30" y="111"/>
                  </a:lnTo>
                  <a:lnTo>
                    <a:pt x="6" y="13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59" name="Freeform 428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6249620" y="3684176"/>
              <a:ext cx="46113" cy="71437"/>
            </a:xfrm>
            <a:custGeom>
              <a:avLst/>
              <a:gdLst>
                <a:gd name="T0" fmla="*/ 0 w 25"/>
                <a:gd name="T1" fmla="*/ 2147483647 h 90"/>
                <a:gd name="T2" fmla="*/ 2147483647 w 25"/>
                <a:gd name="T3" fmla="*/ 2147483647 h 90"/>
                <a:gd name="T4" fmla="*/ 2147483647 w 25"/>
                <a:gd name="T5" fmla="*/ 2147483647 h 90"/>
                <a:gd name="T6" fmla="*/ 2147483647 w 25"/>
                <a:gd name="T7" fmla="*/ 2147483647 h 90"/>
                <a:gd name="T8" fmla="*/ 2147483647 w 25"/>
                <a:gd name="T9" fmla="*/ 0 h 90"/>
                <a:gd name="T10" fmla="*/ 0 w 25"/>
                <a:gd name="T11" fmla="*/ 2147483647 h 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90">
                  <a:moveTo>
                    <a:pt x="0" y="23"/>
                  </a:moveTo>
                  <a:lnTo>
                    <a:pt x="6" y="90"/>
                  </a:lnTo>
                  <a:lnTo>
                    <a:pt x="11" y="90"/>
                  </a:lnTo>
                  <a:lnTo>
                    <a:pt x="25" y="46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60" name="Freeform 429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6249620" y="3684176"/>
              <a:ext cx="46113" cy="71437"/>
            </a:xfrm>
            <a:custGeom>
              <a:avLst/>
              <a:gdLst>
                <a:gd name="T0" fmla="*/ 0 w 25"/>
                <a:gd name="T1" fmla="*/ 2147483647 h 90"/>
                <a:gd name="T2" fmla="*/ 2147483647 w 25"/>
                <a:gd name="T3" fmla="*/ 2147483647 h 90"/>
                <a:gd name="T4" fmla="*/ 2147483647 w 25"/>
                <a:gd name="T5" fmla="*/ 2147483647 h 90"/>
                <a:gd name="T6" fmla="*/ 2147483647 w 25"/>
                <a:gd name="T7" fmla="*/ 2147483647 h 90"/>
                <a:gd name="T8" fmla="*/ 2147483647 w 25"/>
                <a:gd name="T9" fmla="*/ 0 h 90"/>
                <a:gd name="T10" fmla="*/ 0 w 25"/>
                <a:gd name="T11" fmla="*/ 2147483647 h 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90">
                  <a:moveTo>
                    <a:pt x="0" y="23"/>
                  </a:moveTo>
                  <a:lnTo>
                    <a:pt x="6" y="90"/>
                  </a:lnTo>
                  <a:lnTo>
                    <a:pt x="11" y="90"/>
                  </a:lnTo>
                  <a:lnTo>
                    <a:pt x="25" y="46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61" name="Freeform 430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249620" y="3684176"/>
              <a:ext cx="46113" cy="71437"/>
            </a:xfrm>
            <a:custGeom>
              <a:avLst/>
              <a:gdLst>
                <a:gd name="T0" fmla="*/ 0 w 25"/>
                <a:gd name="T1" fmla="*/ 2147483647 h 90"/>
                <a:gd name="T2" fmla="*/ 2147483647 w 25"/>
                <a:gd name="T3" fmla="*/ 2147483647 h 90"/>
                <a:gd name="T4" fmla="*/ 2147483647 w 25"/>
                <a:gd name="T5" fmla="*/ 2147483647 h 90"/>
                <a:gd name="T6" fmla="*/ 2147483647 w 25"/>
                <a:gd name="T7" fmla="*/ 2147483647 h 90"/>
                <a:gd name="T8" fmla="*/ 2147483647 w 25"/>
                <a:gd name="T9" fmla="*/ 0 h 90"/>
                <a:gd name="T10" fmla="*/ 0 w 25"/>
                <a:gd name="T11" fmla="*/ 2147483647 h 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90">
                  <a:moveTo>
                    <a:pt x="0" y="23"/>
                  </a:moveTo>
                  <a:lnTo>
                    <a:pt x="6" y="90"/>
                  </a:lnTo>
                  <a:lnTo>
                    <a:pt x="11" y="90"/>
                  </a:lnTo>
                  <a:lnTo>
                    <a:pt x="25" y="46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62" name="Freeform 431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6249620" y="3684176"/>
              <a:ext cx="46113" cy="71437"/>
            </a:xfrm>
            <a:custGeom>
              <a:avLst/>
              <a:gdLst>
                <a:gd name="T0" fmla="*/ 0 w 25"/>
                <a:gd name="T1" fmla="*/ 2147483647 h 90"/>
                <a:gd name="T2" fmla="*/ 2147483647 w 25"/>
                <a:gd name="T3" fmla="*/ 2147483647 h 90"/>
                <a:gd name="T4" fmla="*/ 2147483647 w 25"/>
                <a:gd name="T5" fmla="*/ 2147483647 h 90"/>
                <a:gd name="T6" fmla="*/ 2147483647 w 25"/>
                <a:gd name="T7" fmla="*/ 2147483647 h 90"/>
                <a:gd name="T8" fmla="*/ 2147483647 w 25"/>
                <a:gd name="T9" fmla="*/ 0 h 90"/>
                <a:gd name="T10" fmla="*/ 0 w 25"/>
                <a:gd name="T11" fmla="*/ 2147483647 h 9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90">
                  <a:moveTo>
                    <a:pt x="0" y="23"/>
                  </a:moveTo>
                  <a:lnTo>
                    <a:pt x="6" y="90"/>
                  </a:lnTo>
                  <a:lnTo>
                    <a:pt x="11" y="90"/>
                  </a:lnTo>
                  <a:lnTo>
                    <a:pt x="25" y="46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63" name="Freeform 432"/>
            <p:cNvSpPr>
              <a:spLocks/>
            </p:cNvSpPr>
            <p:nvPr>
              <p:custDataLst>
                <p:tags r:id="rId371"/>
              </p:custDataLst>
            </p:nvPr>
          </p:nvSpPr>
          <p:spPr bwMode="auto">
            <a:xfrm>
              <a:off x="6377933" y="3782583"/>
              <a:ext cx="92225" cy="44450"/>
            </a:xfrm>
            <a:custGeom>
              <a:avLst/>
              <a:gdLst>
                <a:gd name="T0" fmla="*/ 0 w 50"/>
                <a:gd name="T1" fmla="*/ 2147483647 h 55"/>
                <a:gd name="T2" fmla="*/ 2147483647 w 50"/>
                <a:gd name="T3" fmla="*/ 2147483647 h 55"/>
                <a:gd name="T4" fmla="*/ 2147483647 w 50"/>
                <a:gd name="T5" fmla="*/ 0 h 55"/>
                <a:gd name="T6" fmla="*/ 0 w 50"/>
                <a:gd name="T7" fmla="*/ 2147483647 h 5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55">
                  <a:moveTo>
                    <a:pt x="0" y="9"/>
                  </a:moveTo>
                  <a:lnTo>
                    <a:pt x="37" y="55"/>
                  </a:lnTo>
                  <a:lnTo>
                    <a:pt x="5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64" name="Group 433"/>
            <p:cNvGrpSpPr>
              <a:grpSpLocks/>
            </p:cNvGrpSpPr>
            <p:nvPr>
              <p:custDataLst>
                <p:tags r:id="rId372"/>
              </p:custDataLst>
            </p:nvPr>
          </p:nvGrpSpPr>
          <p:grpSpPr bwMode="auto">
            <a:xfrm>
              <a:off x="6377933" y="3782583"/>
              <a:ext cx="92225" cy="44450"/>
              <a:chOff x="3139" y="2013"/>
              <a:chExt cx="50" cy="28"/>
            </a:xfrm>
            <a:solidFill>
              <a:srgbClr val="CCFFCC"/>
            </a:solidFill>
          </p:grpSpPr>
          <p:sp>
            <p:nvSpPr>
              <p:cNvPr id="3279" name="Freeform 434"/>
              <p:cNvSpPr>
                <a:spLocks/>
              </p:cNvSpPr>
              <p:nvPr/>
            </p:nvSpPr>
            <p:spPr bwMode="auto">
              <a:xfrm>
                <a:off x="3139" y="2013"/>
                <a:ext cx="50" cy="28"/>
              </a:xfrm>
              <a:custGeom>
                <a:avLst/>
                <a:gdLst>
                  <a:gd name="T0" fmla="*/ 0 w 50"/>
                  <a:gd name="T1" fmla="*/ 1 h 55"/>
                  <a:gd name="T2" fmla="*/ 37 w 50"/>
                  <a:gd name="T3" fmla="*/ 1 h 55"/>
                  <a:gd name="T4" fmla="*/ 50 w 50"/>
                  <a:gd name="T5" fmla="*/ 0 h 55"/>
                  <a:gd name="T6" fmla="*/ 0 w 50"/>
                  <a:gd name="T7" fmla="*/ 1 h 5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0" h="55">
                    <a:moveTo>
                      <a:pt x="0" y="9"/>
                    </a:moveTo>
                    <a:lnTo>
                      <a:pt x="37" y="55"/>
                    </a:lnTo>
                    <a:lnTo>
                      <a:pt x="5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80" name="Freeform 435"/>
              <p:cNvSpPr>
                <a:spLocks/>
              </p:cNvSpPr>
              <p:nvPr/>
            </p:nvSpPr>
            <p:spPr bwMode="auto">
              <a:xfrm>
                <a:off x="3139" y="2013"/>
                <a:ext cx="50" cy="28"/>
              </a:xfrm>
              <a:custGeom>
                <a:avLst/>
                <a:gdLst>
                  <a:gd name="T0" fmla="*/ 0 w 50"/>
                  <a:gd name="T1" fmla="*/ 1 h 55"/>
                  <a:gd name="T2" fmla="*/ 37 w 50"/>
                  <a:gd name="T3" fmla="*/ 1 h 55"/>
                  <a:gd name="T4" fmla="*/ 50 w 50"/>
                  <a:gd name="T5" fmla="*/ 0 h 55"/>
                  <a:gd name="T6" fmla="*/ 0 w 50"/>
                  <a:gd name="T7" fmla="*/ 1 h 5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0" h="55">
                    <a:moveTo>
                      <a:pt x="0" y="9"/>
                    </a:moveTo>
                    <a:lnTo>
                      <a:pt x="37" y="55"/>
                    </a:lnTo>
                    <a:lnTo>
                      <a:pt x="50" y="0"/>
                    </a:lnTo>
                    <a:lnTo>
                      <a:pt x="0" y="9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65" name="Freeform 436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6377933" y="3782583"/>
              <a:ext cx="92225" cy="44450"/>
            </a:xfrm>
            <a:custGeom>
              <a:avLst/>
              <a:gdLst>
                <a:gd name="T0" fmla="*/ 0 w 50"/>
                <a:gd name="T1" fmla="*/ 2147483647 h 55"/>
                <a:gd name="T2" fmla="*/ 2147483647 w 50"/>
                <a:gd name="T3" fmla="*/ 2147483647 h 55"/>
                <a:gd name="T4" fmla="*/ 2147483647 w 50"/>
                <a:gd name="T5" fmla="*/ 0 h 55"/>
                <a:gd name="T6" fmla="*/ 0 w 50"/>
                <a:gd name="T7" fmla="*/ 2147483647 h 5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55">
                  <a:moveTo>
                    <a:pt x="0" y="9"/>
                  </a:moveTo>
                  <a:lnTo>
                    <a:pt x="37" y="55"/>
                  </a:lnTo>
                  <a:lnTo>
                    <a:pt x="50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66" name="Group 437"/>
            <p:cNvGrpSpPr>
              <a:grpSpLocks/>
            </p:cNvGrpSpPr>
            <p:nvPr>
              <p:custDataLst>
                <p:tags r:id="rId374"/>
              </p:custDataLst>
            </p:nvPr>
          </p:nvGrpSpPr>
          <p:grpSpPr bwMode="auto">
            <a:xfrm>
              <a:off x="6377933" y="3782583"/>
              <a:ext cx="92225" cy="44450"/>
              <a:chOff x="3139" y="2013"/>
              <a:chExt cx="50" cy="28"/>
            </a:xfrm>
            <a:solidFill>
              <a:srgbClr val="CCFFCC"/>
            </a:solidFill>
          </p:grpSpPr>
          <p:sp>
            <p:nvSpPr>
              <p:cNvPr id="3277" name="Freeform 438"/>
              <p:cNvSpPr>
                <a:spLocks/>
              </p:cNvSpPr>
              <p:nvPr/>
            </p:nvSpPr>
            <p:spPr bwMode="auto">
              <a:xfrm>
                <a:off x="3139" y="2013"/>
                <a:ext cx="50" cy="28"/>
              </a:xfrm>
              <a:custGeom>
                <a:avLst/>
                <a:gdLst>
                  <a:gd name="T0" fmla="*/ 0 w 50"/>
                  <a:gd name="T1" fmla="*/ 1 h 55"/>
                  <a:gd name="T2" fmla="*/ 37 w 50"/>
                  <a:gd name="T3" fmla="*/ 1 h 55"/>
                  <a:gd name="T4" fmla="*/ 50 w 50"/>
                  <a:gd name="T5" fmla="*/ 0 h 55"/>
                  <a:gd name="T6" fmla="*/ 0 w 50"/>
                  <a:gd name="T7" fmla="*/ 1 h 5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0" h="55">
                    <a:moveTo>
                      <a:pt x="0" y="9"/>
                    </a:moveTo>
                    <a:lnTo>
                      <a:pt x="37" y="55"/>
                    </a:lnTo>
                    <a:lnTo>
                      <a:pt x="50" y="0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78" name="Freeform 439"/>
              <p:cNvSpPr>
                <a:spLocks/>
              </p:cNvSpPr>
              <p:nvPr/>
            </p:nvSpPr>
            <p:spPr bwMode="auto">
              <a:xfrm>
                <a:off x="3139" y="2013"/>
                <a:ext cx="50" cy="28"/>
              </a:xfrm>
              <a:custGeom>
                <a:avLst/>
                <a:gdLst>
                  <a:gd name="T0" fmla="*/ 0 w 50"/>
                  <a:gd name="T1" fmla="*/ 1 h 55"/>
                  <a:gd name="T2" fmla="*/ 37 w 50"/>
                  <a:gd name="T3" fmla="*/ 1 h 55"/>
                  <a:gd name="T4" fmla="*/ 50 w 50"/>
                  <a:gd name="T5" fmla="*/ 0 h 55"/>
                  <a:gd name="T6" fmla="*/ 0 w 50"/>
                  <a:gd name="T7" fmla="*/ 1 h 5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50" h="55">
                    <a:moveTo>
                      <a:pt x="0" y="9"/>
                    </a:moveTo>
                    <a:lnTo>
                      <a:pt x="37" y="55"/>
                    </a:lnTo>
                    <a:lnTo>
                      <a:pt x="50" y="0"/>
                    </a:lnTo>
                    <a:lnTo>
                      <a:pt x="0" y="9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67" name="Freeform 440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9746171" y="3906408"/>
              <a:ext cx="70172" cy="69850"/>
            </a:xfrm>
            <a:custGeom>
              <a:avLst/>
              <a:gdLst>
                <a:gd name="T0" fmla="*/ 0 w 37"/>
                <a:gd name="T1" fmla="*/ 2147483647 h 89"/>
                <a:gd name="T2" fmla="*/ 2147483647 w 37"/>
                <a:gd name="T3" fmla="*/ 2147483647 h 89"/>
                <a:gd name="T4" fmla="*/ 2147483647 w 37"/>
                <a:gd name="T5" fmla="*/ 2147483647 h 89"/>
                <a:gd name="T6" fmla="*/ 2147483647 w 37"/>
                <a:gd name="T7" fmla="*/ 2147483647 h 89"/>
                <a:gd name="T8" fmla="*/ 2147483647 w 37"/>
                <a:gd name="T9" fmla="*/ 2147483647 h 89"/>
                <a:gd name="T10" fmla="*/ 2147483647 w 37"/>
                <a:gd name="T11" fmla="*/ 2147483647 h 89"/>
                <a:gd name="T12" fmla="*/ 2147483647 w 37"/>
                <a:gd name="T13" fmla="*/ 2147483647 h 89"/>
                <a:gd name="T14" fmla="*/ 2147483647 w 37"/>
                <a:gd name="T15" fmla="*/ 2147483647 h 89"/>
                <a:gd name="T16" fmla="*/ 2147483647 w 37"/>
                <a:gd name="T17" fmla="*/ 0 h 89"/>
                <a:gd name="T18" fmla="*/ 0 w 37"/>
                <a:gd name="T19" fmla="*/ 2147483647 h 8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7" h="89">
                  <a:moveTo>
                    <a:pt x="0" y="21"/>
                  </a:moveTo>
                  <a:lnTo>
                    <a:pt x="6" y="44"/>
                  </a:lnTo>
                  <a:lnTo>
                    <a:pt x="12" y="21"/>
                  </a:lnTo>
                  <a:lnTo>
                    <a:pt x="18" y="44"/>
                  </a:lnTo>
                  <a:lnTo>
                    <a:pt x="12" y="89"/>
                  </a:lnTo>
                  <a:lnTo>
                    <a:pt x="31" y="89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8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68" name="Group 441"/>
            <p:cNvGrpSpPr>
              <a:grpSpLocks/>
            </p:cNvGrpSpPr>
            <p:nvPr>
              <p:custDataLst>
                <p:tags r:id="rId376"/>
              </p:custDataLst>
            </p:nvPr>
          </p:nvGrpSpPr>
          <p:grpSpPr bwMode="auto">
            <a:xfrm>
              <a:off x="9746171" y="3906408"/>
              <a:ext cx="70172" cy="69850"/>
              <a:chOff x="4960" y="2091"/>
              <a:chExt cx="37" cy="44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75" name="Freeform 442"/>
              <p:cNvSpPr>
                <a:spLocks/>
              </p:cNvSpPr>
              <p:nvPr/>
            </p:nvSpPr>
            <p:spPr bwMode="auto">
              <a:xfrm>
                <a:off x="4960" y="2091"/>
                <a:ext cx="37" cy="44"/>
              </a:xfrm>
              <a:custGeom>
                <a:avLst/>
                <a:gdLst>
                  <a:gd name="T0" fmla="*/ 0 w 37"/>
                  <a:gd name="T1" fmla="*/ 0 h 89"/>
                  <a:gd name="T2" fmla="*/ 6 w 37"/>
                  <a:gd name="T3" fmla="*/ 0 h 89"/>
                  <a:gd name="T4" fmla="*/ 12 w 37"/>
                  <a:gd name="T5" fmla="*/ 0 h 89"/>
                  <a:gd name="T6" fmla="*/ 18 w 37"/>
                  <a:gd name="T7" fmla="*/ 0 h 89"/>
                  <a:gd name="T8" fmla="*/ 12 w 37"/>
                  <a:gd name="T9" fmla="*/ 0 h 89"/>
                  <a:gd name="T10" fmla="*/ 31 w 37"/>
                  <a:gd name="T11" fmla="*/ 0 h 89"/>
                  <a:gd name="T12" fmla="*/ 37 w 37"/>
                  <a:gd name="T13" fmla="*/ 0 h 89"/>
                  <a:gd name="T14" fmla="*/ 31 w 37"/>
                  <a:gd name="T15" fmla="*/ 0 h 89"/>
                  <a:gd name="T16" fmla="*/ 18 w 37"/>
                  <a:gd name="T17" fmla="*/ 0 h 89"/>
                  <a:gd name="T18" fmla="*/ 0 w 37"/>
                  <a:gd name="T19" fmla="*/ 0 h 8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89">
                    <a:moveTo>
                      <a:pt x="0" y="21"/>
                    </a:moveTo>
                    <a:lnTo>
                      <a:pt x="6" y="44"/>
                    </a:lnTo>
                    <a:lnTo>
                      <a:pt x="12" y="21"/>
                    </a:lnTo>
                    <a:lnTo>
                      <a:pt x="18" y="44"/>
                    </a:lnTo>
                    <a:lnTo>
                      <a:pt x="12" y="89"/>
                    </a:lnTo>
                    <a:lnTo>
                      <a:pt x="31" y="89"/>
                    </a:lnTo>
                    <a:lnTo>
                      <a:pt x="37" y="35"/>
                    </a:lnTo>
                    <a:lnTo>
                      <a:pt x="31" y="12"/>
                    </a:lnTo>
                    <a:lnTo>
                      <a:pt x="18" y="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76" name="Freeform 443"/>
              <p:cNvSpPr>
                <a:spLocks/>
              </p:cNvSpPr>
              <p:nvPr/>
            </p:nvSpPr>
            <p:spPr bwMode="auto">
              <a:xfrm>
                <a:off x="4960" y="2091"/>
                <a:ext cx="37" cy="44"/>
              </a:xfrm>
              <a:custGeom>
                <a:avLst/>
                <a:gdLst>
                  <a:gd name="T0" fmla="*/ 0 w 37"/>
                  <a:gd name="T1" fmla="*/ 0 h 89"/>
                  <a:gd name="T2" fmla="*/ 6 w 37"/>
                  <a:gd name="T3" fmla="*/ 0 h 89"/>
                  <a:gd name="T4" fmla="*/ 12 w 37"/>
                  <a:gd name="T5" fmla="*/ 0 h 89"/>
                  <a:gd name="T6" fmla="*/ 18 w 37"/>
                  <a:gd name="T7" fmla="*/ 0 h 89"/>
                  <a:gd name="T8" fmla="*/ 12 w 37"/>
                  <a:gd name="T9" fmla="*/ 0 h 89"/>
                  <a:gd name="T10" fmla="*/ 31 w 37"/>
                  <a:gd name="T11" fmla="*/ 0 h 89"/>
                  <a:gd name="T12" fmla="*/ 37 w 37"/>
                  <a:gd name="T13" fmla="*/ 0 h 89"/>
                  <a:gd name="T14" fmla="*/ 31 w 37"/>
                  <a:gd name="T15" fmla="*/ 0 h 89"/>
                  <a:gd name="T16" fmla="*/ 18 w 37"/>
                  <a:gd name="T17" fmla="*/ 0 h 89"/>
                  <a:gd name="T18" fmla="*/ 0 w 37"/>
                  <a:gd name="T19" fmla="*/ 0 h 8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89">
                    <a:moveTo>
                      <a:pt x="0" y="21"/>
                    </a:moveTo>
                    <a:lnTo>
                      <a:pt x="6" y="44"/>
                    </a:lnTo>
                    <a:lnTo>
                      <a:pt x="12" y="21"/>
                    </a:lnTo>
                    <a:lnTo>
                      <a:pt x="18" y="44"/>
                    </a:lnTo>
                    <a:lnTo>
                      <a:pt x="12" y="89"/>
                    </a:lnTo>
                    <a:lnTo>
                      <a:pt x="31" y="89"/>
                    </a:lnTo>
                    <a:lnTo>
                      <a:pt x="37" y="35"/>
                    </a:lnTo>
                    <a:lnTo>
                      <a:pt x="31" y="12"/>
                    </a:lnTo>
                    <a:lnTo>
                      <a:pt x="18" y="0"/>
                    </a:lnTo>
                    <a:lnTo>
                      <a:pt x="0" y="2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69" name="Freeform 444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9746171" y="3906408"/>
              <a:ext cx="70172" cy="69850"/>
            </a:xfrm>
            <a:custGeom>
              <a:avLst/>
              <a:gdLst>
                <a:gd name="T0" fmla="*/ 0 w 37"/>
                <a:gd name="T1" fmla="*/ 2147483647 h 89"/>
                <a:gd name="T2" fmla="*/ 2147483647 w 37"/>
                <a:gd name="T3" fmla="*/ 2147483647 h 89"/>
                <a:gd name="T4" fmla="*/ 2147483647 w 37"/>
                <a:gd name="T5" fmla="*/ 2147483647 h 89"/>
                <a:gd name="T6" fmla="*/ 2147483647 w 37"/>
                <a:gd name="T7" fmla="*/ 2147483647 h 89"/>
                <a:gd name="T8" fmla="*/ 2147483647 w 37"/>
                <a:gd name="T9" fmla="*/ 2147483647 h 89"/>
                <a:gd name="T10" fmla="*/ 2147483647 w 37"/>
                <a:gd name="T11" fmla="*/ 2147483647 h 89"/>
                <a:gd name="T12" fmla="*/ 2147483647 w 37"/>
                <a:gd name="T13" fmla="*/ 2147483647 h 89"/>
                <a:gd name="T14" fmla="*/ 2147483647 w 37"/>
                <a:gd name="T15" fmla="*/ 2147483647 h 89"/>
                <a:gd name="T16" fmla="*/ 2147483647 w 37"/>
                <a:gd name="T17" fmla="*/ 0 h 89"/>
                <a:gd name="T18" fmla="*/ 0 w 37"/>
                <a:gd name="T19" fmla="*/ 2147483647 h 8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37" h="89">
                  <a:moveTo>
                    <a:pt x="0" y="21"/>
                  </a:moveTo>
                  <a:lnTo>
                    <a:pt x="6" y="44"/>
                  </a:lnTo>
                  <a:lnTo>
                    <a:pt x="12" y="21"/>
                  </a:lnTo>
                  <a:lnTo>
                    <a:pt x="18" y="44"/>
                  </a:lnTo>
                  <a:lnTo>
                    <a:pt x="12" y="89"/>
                  </a:lnTo>
                  <a:lnTo>
                    <a:pt x="31" y="89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8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70" name="Group 445"/>
            <p:cNvGrpSpPr>
              <a:grpSpLocks/>
            </p:cNvGrpSpPr>
            <p:nvPr>
              <p:custDataLst>
                <p:tags r:id="rId378"/>
              </p:custDataLst>
            </p:nvPr>
          </p:nvGrpSpPr>
          <p:grpSpPr bwMode="auto">
            <a:xfrm>
              <a:off x="9746171" y="3906408"/>
              <a:ext cx="70172" cy="69850"/>
              <a:chOff x="4960" y="2091"/>
              <a:chExt cx="37" cy="44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73" name="Freeform 446"/>
              <p:cNvSpPr>
                <a:spLocks/>
              </p:cNvSpPr>
              <p:nvPr/>
            </p:nvSpPr>
            <p:spPr bwMode="auto">
              <a:xfrm>
                <a:off x="4960" y="2091"/>
                <a:ext cx="37" cy="44"/>
              </a:xfrm>
              <a:custGeom>
                <a:avLst/>
                <a:gdLst>
                  <a:gd name="T0" fmla="*/ 0 w 37"/>
                  <a:gd name="T1" fmla="*/ 0 h 89"/>
                  <a:gd name="T2" fmla="*/ 6 w 37"/>
                  <a:gd name="T3" fmla="*/ 0 h 89"/>
                  <a:gd name="T4" fmla="*/ 12 w 37"/>
                  <a:gd name="T5" fmla="*/ 0 h 89"/>
                  <a:gd name="T6" fmla="*/ 18 w 37"/>
                  <a:gd name="T7" fmla="*/ 0 h 89"/>
                  <a:gd name="T8" fmla="*/ 12 w 37"/>
                  <a:gd name="T9" fmla="*/ 0 h 89"/>
                  <a:gd name="T10" fmla="*/ 31 w 37"/>
                  <a:gd name="T11" fmla="*/ 0 h 89"/>
                  <a:gd name="T12" fmla="*/ 37 w 37"/>
                  <a:gd name="T13" fmla="*/ 0 h 89"/>
                  <a:gd name="T14" fmla="*/ 31 w 37"/>
                  <a:gd name="T15" fmla="*/ 0 h 89"/>
                  <a:gd name="T16" fmla="*/ 18 w 37"/>
                  <a:gd name="T17" fmla="*/ 0 h 89"/>
                  <a:gd name="T18" fmla="*/ 0 w 37"/>
                  <a:gd name="T19" fmla="*/ 0 h 8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89">
                    <a:moveTo>
                      <a:pt x="0" y="21"/>
                    </a:moveTo>
                    <a:lnTo>
                      <a:pt x="6" y="44"/>
                    </a:lnTo>
                    <a:lnTo>
                      <a:pt x="12" y="21"/>
                    </a:lnTo>
                    <a:lnTo>
                      <a:pt x="18" y="44"/>
                    </a:lnTo>
                    <a:lnTo>
                      <a:pt x="12" y="89"/>
                    </a:lnTo>
                    <a:lnTo>
                      <a:pt x="31" y="89"/>
                    </a:lnTo>
                    <a:lnTo>
                      <a:pt x="37" y="35"/>
                    </a:lnTo>
                    <a:lnTo>
                      <a:pt x="31" y="12"/>
                    </a:lnTo>
                    <a:lnTo>
                      <a:pt x="18" y="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74" name="Freeform 447"/>
              <p:cNvSpPr>
                <a:spLocks/>
              </p:cNvSpPr>
              <p:nvPr/>
            </p:nvSpPr>
            <p:spPr bwMode="auto">
              <a:xfrm>
                <a:off x="4960" y="2091"/>
                <a:ext cx="37" cy="44"/>
              </a:xfrm>
              <a:custGeom>
                <a:avLst/>
                <a:gdLst>
                  <a:gd name="T0" fmla="*/ 0 w 37"/>
                  <a:gd name="T1" fmla="*/ 0 h 89"/>
                  <a:gd name="T2" fmla="*/ 6 w 37"/>
                  <a:gd name="T3" fmla="*/ 0 h 89"/>
                  <a:gd name="T4" fmla="*/ 12 w 37"/>
                  <a:gd name="T5" fmla="*/ 0 h 89"/>
                  <a:gd name="T6" fmla="*/ 18 w 37"/>
                  <a:gd name="T7" fmla="*/ 0 h 89"/>
                  <a:gd name="T8" fmla="*/ 12 w 37"/>
                  <a:gd name="T9" fmla="*/ 0 h 89"/>
                  <a:gd name="T10" fmla="*/ 31 w 37"/>
                  <a:gd name="T11" fmla="*/ 0 h 89"/>
                  <a:gd name="T12" fmla="*/ 37 w 37"/>
                  <a:gd name="T13" fmla="*/ 0 h 89"/>
                  <a:gd name="T14" fmla="*/ 31 w 37"/>
                  <a:gd name="T15" fmla="*/ 0 h 89"/>
                  <a:gd name="T16" fmla="*/ 18 w 37"/>
                  <a:gd name="T17" fmla="*/ 0 h 89"/>
                  <a:gd name="T18" fmla="*/ 0 w 37"/>
                  <a:gd name="T19" fmla="*/ 0 h 8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7" h="89">
                    <a:moveTo>
                      <a:pt x="0" y="21"/>
                    </a:moveTo>
                    <a:lnTo>
                      <a:pt x="6" y="44"/>
                    </a:lnTo>
                    <a:lnTo>
                      <a:pt x="12" y="21"/>
                    </a:lnTo>
                    <a:lnTo>
                      <a:pt x="18" y="44"/>
                    </a:lnTo>
                    <a:lnTo>
                      <a:pt x="12" y="89"/>
                    </a:lnTo>
                    <a:lnTo>
                      <a:pt x="31" y="89"/>
                    </a:lnTo>
                    <a:lnTo>
                      <a:pt x="37" y="35"/>
                    </a:lnTo>
                    <a:lnTo>
                      <a:pt x="31" y="12"/>
                    </a:lnTo>
                    <a:lnTo>
                      <a:pt x="18" y="0"/>
                    </a:lnTo>
                    <a:lnTo>
                      <a:pt x="0" y="21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71" name="Freeform 4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9780244" y="3684166"/>
              <a:ext cx="324793" cy="230187"/>
            </a:xfrm>
            <a:custGeom>
              <a:avLst/>
              <a:gdLst>
                <a:gd name="T0" fmla="*/ 0 w 175"/>
                <a:gd name="T1" fmla="*/ 2147483647 h 290"/>
                <a:gd name="T2" fmla="*/ 2147483647 w 175"/>
                <a:gd name="T3" fmla="*/ 2147483647 h 290"/>
                <a:gd name="T4" fmla="*/ 2147483647 w 175"/>
                <a:gd name="T5" fmla="*/ 2147483647 h 290"/>
                <a:gd name="T6" fmla="*/ 2147483647 w 175"/>
                <a:gd name="T7" fmla="*/ 2147483647 h 290"/>
                <a:gd name="T8" fmla="*/ 2147483647 w 175"/>
                <a:gd name="T9" fmla="*/ 2147483647 h 290"/>
                <a:gd name="T10" fmla="*/ 2147483647 w 175"/>
                <a:gd name="T11" fmla="*/ 2147483647 h 290"/>
                <a:gd name="T12" fmla="*/ 2147483647 w 175"/>
                <a:gd name="T13" fmla="*/ 2147483647 h 290"/>
                <a:gd name="T14" fmla="*/ 2147483647 w 175"/>
                <a:gd name="T15" fmla="*/ 2147483647 h 290"/>
                <a:gd name="T16" fmla="*/ 2147483647 w 175"/>
                <a:gd name="T17" fmla="*/ 2147483647 h 290"/>
                <a:gd name="T18" fmla="*/ 2147483647 w 175"/>
                <a:gd name="T19" fmla="*/ 2147483647 h 290"/>
                <a:gd name="T20" fmla="*/ 2147483647 w 175"/>
                <a:gd name="T21" fmla="*/ 0 h 290"/>
                <a:gd name="T22" fmla="*/ 2147483647 w 175"/>
                <a:gd name="T23" fmla="*/ 0 h 290"/>
                <a:gd name="T24" fmla="*/ 2147483647 w 175"/>
                <a:gd name="T25" fmla="*/ 2147483647 h 290"/>
                <a:gd name="T26" fmla="*/ 2147483647 w 175"/>
                <a:gd name="T27" fmla="*/ 2147483647 h 290"/>
                <a:gd name="T28" fmla="*/ 2147483647 w 175"/>
                <a:gd name="T29" fmla="*/ 2147483647 h 290"/>
                <a:gd name="T30" fmla="*/ 2147483647 w 175"/>
                <a:gd name="T31" fmla="*/ 2147483647 h 290"/>
                <a:gd name="T32" fmla="*/ 2147483647 w 175"/>
                <a:gd name="T33" fmla="*/ 2147483647 h 290"/>
                <a:gd name="T34" fmla="*/ 2147483647 w 175"/>
                <a:gd name="T35" fmla="*/ 2147483647 h 290"/>
                <a:gd name="T36" fmla="*/ 2147483647 w 175"/>
                <a:gd name="T37" fmla="*/ 2147483647 h 290"/>
                <a:gd name="T38" fmla="*/ 2147483647 w 175"/>
                <a:gd name="T39" fmla="*/ 2147483647 h 290"/>
                <a:gd name="T40" fmla="*/ 2147483647 w 175"/>
                <a:gd name="T41" fmla="*/ 2147483647 h 290"/>
                <a:gd name="T42" fmla="*/ 2147483647 w 175"/>
                <a:gd name="T43" fmla="*/ 2147483647 h 290"/>
                <a:gd name="T44" fmla="*/ 2147483647 w 175"/>
                <a:gd name="T45" fmla="*/ 2147483647 h 290"/>
                <a:gd name="T46" fmla="*/ 0 w 175"/>
                <a:gd name="T47" fmla="*/ 2147483647 h 29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5" h="290">
                  <a:moveTo>
                    <a:pt x="0" y="280"/>
                  </a:moveTo>
                  <a:lnTo>
                    <a:pt x="32" y="225"/>
                  </a:lnTo>
                  <a:lnTo>
                    <a:pt x="82" y="225"/>
                  </a:lnTo>
                  <a:lnTo>
                    <a:pt x="93" y="157"/>
                  </a:lnTo>
                  <a:lnTo>
                    <a:pt x="106" y="146"/>
                  </a:lnTo>
                  <a:lnTo>
                    <a:pt x="106" y="180"/>
                  </a:lnTo>
                  <a:lnTo>
                    <a:pt x="124" y="146"/>
                  </a:lnTo>
                  <a:lnTo>
                    <a:pt x="143" y="102"/>
                  </a:lnTo>
                  <a:lnTo>
                    <a:pt x="150" y="13"/>
                  </a:lnTo>
                  <a:lnTo>
                    <a:pt x="162" y="23"/>
                  </a:lnTo>
                  <a:lnTo>
                    <a:pt x="157" y="0"/>
                  </a:lnTo>
                  <a:lnTo>
                    <a:pt x="169" y="0"/>
                  </a:lnTo>
                  <a:lnTo>
                    <a:pt x="175" y="79"/>
                  </a:lnTo>
                  <a:lnTo>
                    <a:pt x="162" y="123"/>
                  </a:lnTo>
                  <a:lnTo>
                    <a:pt x="162" y="167"/>
                  </a:lnTo>
                  <a:lnTo>
                    <a:pt x="150" y="236"/>
                  </a:lnTo>
                  <a:lnTo>
                    <a:pt x="143" y="246"/>
                  </a:lnTo>
                  <a:lnTo>
                    <a:pt x="143" y="225"/>
                  </a:lnTo>
                  <a:lnTo>
                    <a:pt x="119" y="257"/>
                  </a:lnTo>
                  <a:lnTo>
                    <a:pt x="93" y="236"/>
                  </a:lnTo>
                  <a:lnTo>
                    <a:pt x="100" y="269"/>
                  </a:lnTo>
                  <a:lnTo>
                    <a:pt x="82" y="290"/>
                  </a:lnTo>
                  <a:lnTo>
                    <a:pt x="74" y="257"/>
                  </a:lnTo>
                  <a:lnTo>
                    <a:pt x="0" y="28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72" name="Group 449"/>
            <p:cNvGrpSpPr>
              <a:grpSpLocks/>
            </p:cNvGrpSpPr>
            <p:nvPr>
              <p:custDataLst>
                <p:tags r:id="rId380"/>
              </p:custDataLst>
            </p:nvPr>
          </p:nvGrpSpPr>
          <p:grpSpPr bwMode="auto">
            <a:xfrm>
              <a:off x="9780244" y="3684166"/>
              <a:ext cx="324793" cy="230187"/>
              <a:chOff x="4978" y="1951"/>
              <a:chExt cx="175" cy="14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71" name="Freeform 450"/>
              <p:cNvSpPr>
                <a:spLocks/>
              </p:cNvSpPr>
              <p:nvPr/>
            </p:nvSpPr>
            <p:spPr bwMode="auto">
              <a:xfrm>
                <a:off x="4978" y="1951"/>
                <a:ext cx="175" cy="145"/>
              </a:xfrm>
              <a:custGeom>
                <a:avLst/>
                <a:gdLst>
                  <a:gd name="T0" fmla="*/ 0 w 175"/>
                  <a:gd name="T1" fmla="*/ 1 h 290"/>
                  <a:gd name="T2" fmla="*/ 32 w 175"/>
                  <a:gd name="T3" fmla="*/ 1 h 290"/>
                  <a:gd name="T4" fmla="*/ 82 w 175"/>
                  <a:gd name="T5" fmla="*/ 1 h 290"/>
                  <a:gd name="T6" fmla="*/ 93 w 175"/>
                  <a:gd name="T7" fmla="*/ 1 h 290"/>
                  <a:gd name="T8" fmla="*/ 106 w 175"/>
                  <a:gd name="T9" fmla="*/ 1 h 290"/>
                  <a:gd name="T10" fmla="*/ 106 w 175"/>
                  <a:gd name="T11" fmla="*/ 1 h 290"/>
                  <a:gd name="T12" fmla="*/ 124 w 175"/>
                  <a:gd name="T13" fmla="*/ 1 h 290"/>
                  <a:gd name="T14" fmla="*/ 143 w 175"/>
                  <a:gd name="T15" fmla="*/ 1 h 290"/>
                  <a:gd name="T16" fmla="*/ 150 w 175"/>
                  <a:gd name="T17" fmla="*/ 1 h 290"/>
                  <a:gd name="T18" fmla="*/ 162 w 175"/>
                  <a:gd name="T19" fmla="*/ 1 h 290"/>
                  <a:gd name="T20" fmla="*/ 157 w 175"/>
                  <a:gd name="T21" fmla="*/ 0 h 290"/>
                  <a:gd name="T22" fmla="*/ 169 w 175"/>
                  <a:gd name="T23" fmla="*/ 0 h 290"/>
                  <a:gd name="T24" fmla="*/ 175 w 175"/>
                  <a:gd name="T25" fmla="*/ 1 h 290"/>
                  <a:gd name="T26" fmla="*/ 162 w 175"/>
                  <a:gd name="T27" fmla="*/ 1 h 290"/>
                  <a:gd name="T28" fmla="*/ 162 w 175"/>
                  <a:gd name="T29" fmla="*/ 1 h 290"/>
                  <a:gd name="T30" fmla="*/ 150 w 175"/>
                  <a:gd name="T31" fmla="*/ 1 h 290"/>
                  <a:gd name="T32" fmla="*/ 143 w 175"/>
                  <a:gd name="T33" fmla="*/ 1 h 290"/>
                  <a:gd name="T34" fmla="*/ 143 w 175"/>
                  <a:gd name="T35" fmla="*/ 1 h 290"/>
                  <a:gd name="T36" fmla="*/ 119 w 175"/>
                  <a:gd name="T37" fmla="*/ 1 h 290"/>
                  <a:gd name="T38" fmla="*/ 93 w 175"/>
                  <a:gd name="T39" fmla="*/ 1 h 290"/>
                  <a:gd name="T40" fmla="*/ 100 w 175"/>
                  <a:gd name="T41" fmla="*/ 1 h 290"/>
                  <a:gd name="T42" fmla="*/ 82 w 175"/>
                  <a:gd name="T43" fmla="*/ 1 h 290"/>
                  <a:gd name="T44" fmla="*/ 74 w 175"/>
                  <a:gd name="T45" fmla="*/ 1 h 290"/>
                  <a:gd name="T46" fmla="*/ 0 w 175"/>
                  <a:gd name="T47" fmla="*/ 1 h 29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5" h="290">
                    <a:moveTo>
                      <a:pt x="0" y="280"/>
                    </a:moveTo>
                    <a:lnTo>
                      <a:pt x="32" y="225"/>
                    </a:lnTo>
                    <a:lnTo>
                      <a:pt x="82" y="225"/>
                    </a:lnTo>
                    <a:lnTo>
                      <a:pt x="93" y="157"/>
                    </a:lnTo>
                    <a:lnTo>
                      <a:pt x="106" y="146"/>
                    </a:lnTo>
                    <a:lnTo>
                      <a:pt x="106" y="180"/>
                    </a:lnTo>
                    <a:lnTo>
                      <a:pt x="124" y="146"/>
                    </a:lnTo>
                    <a:lnTo>
                      <a:pt x="143" y="102"/>
                    </a:lnTo>
                    <a:lnTo>
                      <a:pt x="150" y="13"/>
                    </a:lnTo>
                    <a:lnTo>
                      <a:pt x="162" y="23"/>
                    </a:lnTo>
                    <a:lnTo>
                      <a:pt x="157" y="0"/>
                    </a:lnTo>
                    <a:lnTo>
                      <a:pt x="169" y="0"/>
                    </a:lnTo>
                    <a:lnTo>
                      <a:pt x="175" y="79"/>
                    </a:lnTo>
                    <a:lnTo>
                      <a:pt x="162" y="123"/>
                    </a:lnTo>
                    <a:lnTo>
                      <a:pt x="162" y="167"/>
                    </a:lnTo>
                    <a:lnTo>
                      <a:pt x="150" y="236"/>
                    </a:lnTo>
                    <a:lnTo>
                      <a:pt x="143" y="246"/>
                    </a:lnTo>
                    <a:lnTo>
                      <a:pt x="143" y="225"/>
                    </a:lnTo>
                    <a:lnTo>
                      <a:pt x="119" y="257"/>
                    </a:lnTo>
                    <a:lnTo>
                      <a:pt x="93" y="236"/>
                    </a:lnTo>
                    <a:lnTo>
                      <a:pt x="100" y="269"/>
                    </a:lnTo>
                    <a:lnTo>
                      <a:pt x="82" y="290"/>
                    </a:lnTo>
                    <a:lnTo>
                      <a:pt x="74" y="257"/>
                    </a:lnTo>
                    <a:lnTo>
                      <a:pt x="0" y="28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72" name="Freeform 451"/>
              <p:cNvSpPr>
                <a:spLocks/>
              </p:cNvSpPr>
              <p:nvPr/>
            </p:nvSpPr>
            <p:spPr bwMode="auto">
              <a:xfrm>
                <a:off x="4978" y="1951"/>
                <a:ext cx="175" cy="145"/>
              </a:xfrm>
              <a:custGeom>
                <a:avLst/>
                <a:gdLst>
                  <a:gd name="T0" fmla="*/ 0 w 175"/>
                  <a:gd name="T1" fmla="*/ 1 h 290"/>
                  <a:gd name="T2" fmla="*/ 32 w 175"/>
                  <a:gd name="T3" fmla="*/ 1 h 290"/>
                  <a:gd name="T4" fmla="*/ 82 w 175"/>
                  <a:gd name="T5" fmla="*/ 1 h 290"/>
                  <a:gd name="T6" fmla="*/ 93 w 175"/>
                  <a:gd name="T7" fmla="*/ 1 h 290"/>
                  <a:gd name="T8" fmla="*/ 106 w 175"/>
                  <a:gd name="T9" fmla="*/ 1 h 290"/>
                  <a:gd name="T10" fmla="*/ 106 w 175"/>
                  <a:gd name="T11" fmla="*/ 1 h 290"/>
                  <a:gd name="T12" fmla="*/ 124 w 175"/>
                  <a:gd name="T13" fmla="*/ 1 h 290"/>
                  <a:gd name="T14" fmla="*/ 143 w 175"/>
                  <a:gd name="T15" fmla="*/ 1 h 290"/>
                  <a:gd name="T16" fmla="*/ 150 w 175"/>
                  <a:gd name="T17" fmla="*/ 1 h 290"/>
                  <a:gd name="T18" fmla="*/ 162 w 175"/>
                  <a:gd name="T19" fmla="*/ 1 h 290"/>
                  <a:gd name="T20" fmla="*/ 157 w 175"/>
                  <a:gd name="T21" fmla="*/ 0 h 290"/>
                  <a:gd name="T22" fmla="*/ 169 w 175"/>
                  <a:gd name="T23" fmla="*/ 0 h 290"/>
                  <a:gd name="T24" fmla="*/ 175 w 175"/>
                  <a:gd name="T25" fmla="*/ 1 h 290"/>
                  <a:gd name="T26" fmla="*/ 162 w 175"/>
                  <a:gd name="T27" fmla="*/ 1 h 290"/>
                  <a:gd name="T28" fmla="*/ 162 w 175"/>
                  <a:gd name="T29" fmla="*/ 1 h 290"/>
                  <a:gd name="T30" fmla="*/ 150 w 175"/>
                  <a:gd name="T31" fmla="*/ 1 h 290"/>
                  <a:gd name="T32" fmla="*/ 143 w 175"/>
                  <a:gd name="T33" fmla="*/ 1 h 290"/>
                  <a:gd name="T34" fmla="*/ 143 w 175"/>
                  <a:gd name="T35" fmla="*/ 1 h 290"/>
                  <a:gd name="T36" fmla="*/ 119 w 175"/>
                  <a:gd name="T37" fmla="*/ 1 h 290"/>
                  <a:gd name="T38" fmla="*/ 93 w 175"/>
                  <a:gd name="T39" fmla="*/ 1 h 290"/>
                  <a:gd name="T40" fmla="*/ 100 w 175"/>
                  <a:gd name="T41" fmla="*/ 1 h 290"/>
                  <a:gd name="T42" fmla="*/ 82 w 175"/>
                  <a:gd name="T43" fmla="*/ 1 h 290"/>
                  <a:gd name="T44" fmla="*/ 74 w 175"/>
                  <a:gd name="T45" fmla="*/ 1 h 290"/>
                  <a:gd name="T46" fmla="*/ 0 w 175"/>
                  <a:gd name="T47" fmla="*/ 1 h 29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5" h="290">
                    <a:moveTo>
                      <a:pt x="0" y="280"/>
                    </a:moveTo>
                    <a:lnTo>
                      <a:pt x="32" y="225"/>
                    </a:lnTo>
                    <a:lnTo>
                      <a:pt x="82" y="225"/>
                    </a:lnTo>
                    <a:lnTo>
                      <a:pt x="93" y="157"/>
                    </a:lnTo>
                    <a:lnTo>
                      <a:pt x="106" y="146"/>
                    </a:lnTo>
                    <a:lnTo>
                      <a:pt x="106" y="180"/>
                    </a:lnTo>
                    <a:lnTo>
                      <a:pt x="124" y="146"/>
                    </a:lnTo>
                    <a:lnTo>
                      <a:pt x="143" y="102"/>
                    </a:lnTo>
                    <a:lnTo>
                      <a:pt x="150" y="13"/>
                    </a:lnTo>
                    <a:lnTo>
                      <a:pt x="162" y="23"/>
                    </a:lnTo>
                    <a:lnTo>
                      <a:pt x="157" y="0"/>
                    </a:lnTo>
                    <a:lnTo>
                      <a:pt x="169" y="0"/>
                    </a:lnTo>
                    <a:lnTo>
                      <a:pt x="175" y="79"/>
                    </a:lnTo>
                    <a:lnTo>
                      <a:pt x="162" y="123"/>
                    </a:lnTo>
                    <a:lnTo>
                      <a:pt x="162" y="167"/>
                    </a:lnTo>
                    <a:lnTo>
                      <a:pt x="150" y="236"/>
                    </a:lnTo>
                    <a:lnTo>
                      <a:pt x="143" y="246"/>
                    </a:lnTo>
                    <a:lnTo>
                      <a:pt x="143" y="225"/>
                    </a:lnTo>
                    <a:lnTo>
                      <a:pt x="119" y="257"/>
                    </a:lnTo>
                    <a:lnTo>
                      <a:pt x="93" y="236"/>
                    </a:lnTo>
                    <a:lnTo>
                      <a:pt x="100" y="269"/>
                    </a:lnTo>
                    <a:lnTo>
                      <a:pt x="82" y="290"/>
                    </a:lnTo>
                    <a:lnTo>
                      <a:pt x="74" y="257"/>
                    </a:lnTo>
                    <a:lnTo>
                      <a:pt x="0" y="28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73" name="Freeform 452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9780244" y="3684166"/>
              <a:ext cx="324793" cy="230187"/>
            </a:xfrm>
            <a:custGeom>
              <a:avLst/>
              <a:gdLst>
                <a:gd name="T0" fmla="*/ 0 w 175"/>
                <a:gd name="T1" fmla="*/ 2147483647 h 290"/>
                <a:gd name="T2" fmla="*/ 2147483647 w 175"/>
                <a:gd name="T3" fmla="*/ 2147483647 h 290"/>
                <a:gd name="T4" fmla="*/ 2147483647 w 175"/>
                <a:gd name="T5" fmla="*/ 2147483647 h 290"/>
                <a:gd name="T6" fmla="*/ 2147483647 w 175"/>
                <a:gd name="T7" fmla="*/ 2147483647 h 290"/>
                <a:gd name="T8" fmla="*/ 2147483647 w 175"/>
                <a:gd name="T9" fmla="*/ 2147483647 h 290"/>
                <a:gd name="T10" fmla="*/ 2147483647 w 175"/>
                <a:gd name="T11" fmla="*/ 2147483647 h 290"/>
                <a:gd name="T12" fmla="*/ 2147483647 w 175"/>
                <a:gd name="T13" fmla="*/ 2147483647 h 290"/>
                <a:gd name="T14" fmla="*/ 2147483647 w 175"/>
                <a:gd name="T15" fmla="*/ 2147483647 h 290"/>
                <a:gd name="T16" fmla="*/ 2147483647 w 175"/>
                <a:gd name="T17" fmla="*/ 2147483647 h 290"/>
                <a:gd name="T18" fmla="*/ 2147483647 w 175"/>
                <a:gd name="T19" fmla="*/ 2147483647 h 290"/>
                <a:gd name="T20" fmla="*/ 2147483647 w 175"/>
                <a:gd name="T21" fmla="*/ 0 h 290"/>
                <a:gd name="T22" fmla="*/ 2147483647 w 175"/>
                <a:gd name="T23" fmla="*/ 0 h 290"/>
                <a:gd name="T24" fmla="*/ 2147483647 w 175"/>
                <a:gd name="T25" fmla="*/ 2147483647 h 290"/>
                <a:gd name="T26" fmla="*/ 2147483647 w 175"/>
                <a:gd name="T27" fmla="*/ 2147483647 h 290"/>
                <a:gd name="T28" fmla="*/ 2147483647 w 175"/>
                <a:gd name="T29" fmla="*/ 2147483647 h 290"/>
                <a:gd name="T30" fmla="*/ 2147483647 w 175"/>
                <a:gd name="T31" fmla="*/ 2147483647 h 290"/>
                <a:gd name="T32" fmla="*/ 2147483647 w 175"/>
                <a:gd name="T33" fmla="*/ 2147483647 h 290"/>
                <a:gd name="T34" fmla="*/ 2147483647 w 175"/>
                <a:gd name="T35" fmla="*/ 2147483647 h 290"/>
                <a:gd name="T36" fmla="*/ 2147483647 w 175"/>
                <a:gd name="T37" fmla="*/ 2147483647 h 290"/>
                <a:gd name="T38" fmla="*/ 2147483647 w 175"/>
                <a:gd name="T39" fmla="*/ 2147483647 h 290"/>
                <a:gd name="T40" fmla="*/ 2147483647 w 175"/>
                <a:gd name="T41" fmla="*/ 2147483647 h 290"/>
                <a:gd name="T42" fmla="*/ 2147483647 w 175"/>
                <a:gd name="T43" fmla="*/ 2147483647 h 290"/>
                <a:gd name="T44" fmla="*/ 2147483647 w 175"/>
                <a:gd name="T45" fmla="*/ 2147483647 h 290"/>
                <a:gd name="T46" fmla="*/ 0 w 175"/>
                <a:gd name="T47" fmla="*/ 2147483647 h 29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75" h="290">
                  <a:moveTo>
                    <a:pt x="0" y="280"/>
                  </a:moveTo>
                  <a:lnTo>
                    <a:pt x="32" y="225"/>
                  </a:lnTo>
                  <a:lnTo>
                    <a:pt x="82" y="225"/>
                  </a:lnTo>
                  <a:lnTo>
                    <a:pt x="93" y="157"/>
                  </a:lnTo>
                  <a:lnTo>
                    <a:pt x="106" y="146"/>
                  </a:lnTo>
                  <a:lnTo>
                    <a:pt x="106" y="180"/>
                  </a:lnTo>
                  <a:lnTo>
                    <a:pt x="124" y="146"/>
                  </a:lnTo>
                  <a:lnTo>
                    <a:pt x="143" y="102"/>
                  </a:lnTo>
                  <a:lnTo>
                    <a:pt x="150" y="13"/>
                  </a:lnTo>
                  <a:lnTo>
                    <a:pt x="162" y="23"/>
                  </a:lnTo>
                  <a:lnTo>
                    <a:pt x="157" y="0"/>
                  </a:lnTo>
                  <a:lnTo>
                    <a:pt x="169" y="0"/>
                  </a:lnTo>
                  <a:lnTo>
                    <a:pt x="175" y="79"/>
                  </a:lnTo>
                  <a:lnTo>
                    <a:pt x="162" y="123"/>
                  </a:lnTo>
                  <a:lnTo>
                    <a:pt x="162" y="167"/>
                  </a:lnTo>
                  <a:lnTo>
                    <a:pt x="150" y="236"/>
                  </a:lnTo>
                  <a:lnTo>
                    <a:pt x="143" y="246"/>
                  </a:lnTo>
                  <a:lnTo>
                    <a:pt x="143" y="225"/>
                  </a:lnTo>
                  <a:lnTo>
                    <a:pt x="119" y="257"/>
                  </a:lnTo>
                  <a:lnTo>
                    <a:pt x="93" y="236"/>
                  </a:lnTo>
                  <a:lnTo>
                    <a:pt x="100" y="269"/>
                  </a:lnTo>
                  <a:lnTo>
                    <a:pt x="82" y="290"/>
                  </a:lnTo>
                  <a:lnTo>
                    <a:pt x="74" y="257"/>
                  </a:lnTo>
                  <a:lnTo>
                    <a:pt x="0" y="28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74" name="Group 453"/>
            <p:cNvGrpSpPr>
              <a:grpSpLocks/>
            </p:cNvGrpSpPr>
            <p:nvPr>
              <p:custDataLst>
                <p:tags r:id="rId382"/>
              </p:custDataLst>
            </p:nvPr>
          </p:nvGrpSpPr>
          <p:grpSpPr bwMode="auto">
            <a:xfrm>
              <a:off x="9780244" y="3684166"/>
              <a:ext cx="324793" cy="230187"/>
              <a:chOff x="4978" y="1951"/>
              <a:chExt cx="175" cy="14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69" name="Freeform 454"/>
              <p:cNvSpPr>
                <a:spLocks/>
              </p:cNvSpPr>
              <p:nvPr/>
            </p:nvSpPr>
            <p:spPr bwMode="auto">
              <a:xfrm>
                <a:off x="4978" y="1951"/>
                <a:ext cx="175" cy="145"/>
              </a:xfrm>
              <a:custGeom>
                <a:avLst/>
                <a:gdLst>
                  <a:gd name="T0" fmla="*/ 0 w 175"/>
                  <a:gd name="T1" fmla="*/ 1 h 290"/>
                  <a:gd name="T2" fmla="*/ 32 w 175"/>
                  <a:gd name="T3" fmla="*/ 1 h 290"/>
                  <a:gd name="T4" fmla="*/ 82 w 175"/>
                  <a:gd name="T5" fmla="*/ 1 h 290"/>
                  <a:gd name="T6" fmla="*/ 93 w 175"/>
                  <a:gd name="T7" fmla="*/ 1 h 290"/>
                  <a:gd name="T8" fmla="*/ 106 w 175"/>
                  <a:gd name="T9" fmla="*/ 1 h 290"/>
                  <a:gd name="T10" fmla="*/ 106 w 175"/>
                  <a:gd name="T11" fmla="*/ 1 h 290"/>
                  <a:gd name="T12" fmla="*/ 124 w 175"/>
                  <a:gd name="T13" fmla="*/ 1 h 290"/>
                  <a:gd name="T14" fmla="*/ 143 w 175"/>
                  <a:gd name="T15" fmla="*/ 1 h 290"/>
                  <a:gd name="T16" fmla="*/ 150 w 175"/>
                  <a:gd name="T17" fmla="*/ 1 h 290"/>
                  <a:gd name="T18" fmla="*/ 162 w 175"/>
                  <a:gd name="T19" fmla="*/ 1 h 290"/>
                  <a:gd name="T20" fmla="*/ 157 w 175"/>
                  <a:gd name="T21" fmla="*/ 0 h 290"/>
                  <a:gd name="T22" fmla="*/ 169 w 175"/>
                  <a:gd name="T23" fmla="*/ 0 h 290"/>
                  <a:gd name="T24" fmla="*/ 175 w 175"/>
                  <a:gd name="T25" fmla="*/ 1 h 290"/>
                  <a:gd name="T26" fmla="*/ 162 w 175"/>
                  <a:gd name="T27" fmla="*/ 1 h 290"/>
                  <a:gd name="T28" fmla="*/ 162 w 175"/>
                  <a:gd name="T29" fmla="*/ 1 h 290"/>
                  <a:gd name="T30" fmla="*/ 150 w 175"/>
                  <a:gd name="T31" fmla="*/ 1 h 290"/>
                  <a:gd name="T32" fmla="*/ 143 w 175"/>
                  <a:gd name="T33" fmla="*/ 1 h 290"/>
                  <a:gd name="T34" fmla="*/ 143 w 175"/>
                  <a:gd name="T35" fmla="*/ 1 h 290"/>
                  <a:gd name="T36" fmla="*/ 119 w 175"/>
                  <a:gd name="T37" fmla="*/ 1 h 290"/>
                  <a:gd name="T38" fmla="*/ 93 w 175"/>
                  <a:gd name="T39" fmla="*/ 1 h 290"/>
                  <a:gd name="T40" fmla="*/ 100 w 175"/>
                  <a:gd name="T41" fmla="*/ 1 h 290"/>
                  <a:gd name="T42" fmla="*/ 82 w 175"/>
                  <a:gd name="T43" fmla="*/ 1 h 290"/>
                  <a:gd name="T44" fmla="*/ 74 w 175"/>
                  <a:gd name="T45" fmla="*/ 1 h 290"/>
                  <a:gd name="T46" fmla="*/ 0 w 175"/>
                  <a:gd name="T47" fmla="*/ 1 h 29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5" h="290">
                    <a:moveTo>
                      <a:pt x="0" y="280"/>
                    </a:moveTo>
                    <a:lnTo>
                      <a:pt x="32" y="225"/>
                    </a:lnTo>
                    <a:lnTo>
                      <a:pt x="82" y="225"/>
                    </a:lnTo>
                    <a:lnTo>
                      <a:pt x="93" y="157"/>
                    </a:lnTo>
                    <a:lnTo>
                      <a:pt x="106" y="146"/>
                    </a:lnTo>
                    <a:lnTo>
                      <a:pt x="106" y="180"/>
                    </a:lnTo>
                    <a:lnTo>
                      <a:pt x="124" y="146"/>
                    </a:lnTo>
                    <a:lnTo>
                      <a:pt x="143" y="102"/>
                    </a:lnTo>
                    <a:lnTo>
                      <a:pt x="150" y="13"/>
                    </a:lnTo>
                    <a:lnTo>
                      <a:pt x="162" y="23"/>
                    </a:lnTo>
                    <a:lnTo>
                      <a:pt x="157" y="0"/>
                    </a:lnTo>
                    <a:lnTo>
                      <a:pt x="169" y="0"/>
                    </a:lnTo>
                    <a:lnTo>
                      <a:pt x="175" y="79"/>
                    </a:lnTo>
                    <a:lnTo>
                      <a:pt x="162" y="123"/>
                    </a:lnTo>
                    <a:lnTo>
                      <a:pt x="162" y="167"/>
                    </a:lnTo>
                    <a:lnTo>
                      <a:pt x="150" y="236"/>
                    </a:lnTo>
                    <a:lnTo>
                      <a:pt x="143" y="246"/>
                    </a:lnTo>
                    <a:lnTo>
                      <a:pt x="143" y="225"/>
                    </a:lnTo>
                    <a:lnTo>
                      <a:pt x="119" y="257"/>
                    </a:lnTo>
                    <a:lnTo>
                      <a:pt x="93" y="236"/>
                    </a:lnTo>
                    <a:lnTo>
                      <a:pt x="100" y="269"/>
                    </a:lnTo>
                    <a:lnTo>
                      <a:pt x="82" y="290"/>
                    </a:lnTo>
                    <a:lnTo>
                      <a:pt x="74" y="257"/>
                    </a:lnTo>
                    <a:lnTo>
                      <a:pt x="0" y="280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70" name="Freeform 455"/>
              <p:cNvSpPr>
                <a:spLocks/>
              </p:cNvSpPr>
              <p:nvPr/>
            </p:nvSpPr>
            <p:spPr bwMode="auto">
              <a:xfrm>
                <a:off x="4978" y="1951"/>
                <a:ext cx="175" cy="145"/>
              </a:xfrm>
              <a:custGeom>
                <a:avLst/>
                <a:gdLst>
                  <a:gd name="T0" fmla="*/ 0 w 175"/>
                  <a:gd name="T1" fmla="*/ 1 h 290"/>
                  <a:gd name="T2" fmla="*/ 32 w 175"/>
                  <a:gd name="T3" fmla="*/ 1 h 290"/>
                  <a:gd name="T4" fmla="*/ 82 w 175"/>
                  <a:gd name="T5" fmla="*/ 1 h 290"/>
                  <a:gd name="T6" fmla="*/ 93 w 175"/>
                  <a:gd name="T7" fmla="*/ 1 h 290"/>
                  <a:gd name="T8" fmla="*/ 106 w 175"/>
                  <a:gd name="T9" fmla="*/ 1 h 290"/>
                  <a:gd name="T10" fmla="*/ 106 w 175"/>
                  <a:gd name="T11" fmla="*/ 1 h 290"/>
                  <a:gd name="T12" fmla="*/ 124 w 175"/>
                  <a:gd name="T13" fmla="*/ 1 h 290"/>
                  <a:gd name="T14" fmla="*/ 143 w 175"/>
                  <a:gd name="T15" fmla="*/ 1 h 290"/>
                  <a:gd name="T16" fmla="*/ 150 w 175"/>
                  <a:gd name="T17" fmla="*/ 1 h 290"/>
                  <a:gd name="T18" fmla="*/ 162 w 175"/>
                  <a:gd name="T19" fmla="*/ 1 h 290"/>
                  <a:gd name="T20" fmla="*/ 157 w 175"/>
                  <a:gd name="T21" fmla="*/ 0 h 290"/>
                  <a:gd name="T22" fmla="*/ 169 w 175"/>
                  <a:gd name="T23" fmla="*/ 0 h 290"/>
                  <a:gd name="T24" fmla="*/ 175 w 175"/>
                  <a:gd name="T25" fmla="*/ 1 h 290"/>
                  <a:gd name="T26" fmla="*/ 162 w 175"/>
                  <a:gd name="T27" fmla="*/ 1 h 290"/>
                  <a:gd name="T28" fmla="*/ 162 w 175"/>
                  <a:gd name="T29" fmla="*/ 1 h 290"/>
                  <a:gd name="T30" fmla="*/ 150 w 175"/>
                  <a:gd name="T31" fmla="*/ 1 h 290"/>
                  <a:gd name="T32" fmla="*/ 143 w 175"/>
                  <a:gd name="T33" fmla="*/ 1 h 290"/>
                  <a:gd name="T34" fmla="*/ 143 w 175"/>
                  <a:gd name="T35" fmla="*/ 1 h 290"/>
                  <a:gd name="T36" fmla="*/ 119 w 175"/>
                  <a:gd name="T37" fmla="*/ 1 h 290"/>
                  <a:gd name="T38" fmla="*/ 93 w 175"/>
                  <a:gd name="T39" fmla="*/ 1 h 290"/>
                  <a:gd name="T40" fmla="*/ 100 w 175"/>
                  <a:gd name="T41" fmla="*/ 1 h 290"/>
                  <a:gd name="T42" fmla="*/ 82 w 175"/>
                  <a:gd name="T43" fmla="*/ 1 h 290"/>
                  <a:gd name="T44" fmla="*/ 74 w 175"/>
                  <a:gd name="T45" fmla="*/ 1 h 290"/>
                  <a:gd name="T46" fmla="*/ 0 w 175"/>
                  <a:gd name="T47" fmla="*/ 1 h 290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75" h="290">
                    <a:moveTo>
                      <a:pt x="0" y="280"/>
                    </a:moveTo>
                    <a:lnTo>
                      <a:pt x="32" y="225"/>
                    </a:lnTo>
                    <a:lnTo>
                      <a:pt x="82" y="225"/>
                    </a:lnTo>
                    <a:lnTo>
                      <a:pt x="93" y="157"/>
                    </a:lnTo>
                    <a:lnTo>
                      <a:pt x="106" y="146"/>
                    </a:lnTo>
                    <a:lnTo>
                      <a:pt x="106" y="180"/>
                    </a:lnTo>
                    <a:lnTo>
                      <a:pt x="124" y="146"/>
                    </a:lnTo>
                    <a:lnTo>
                      <a:pt x="143" y="102"/>
                    </a:lnTo>
                    <a:lnTo>
                      <a:pt x="150" y="13"/>
                    </a:lnTo>
                    <a:lnTo>
                      <a:pt x="162" y="23"/>
                    </a:lnTo>
                    <a:lnTo>
                      <a:pt x="157" y="0"/>
                    </a:lnTo>
                    <a:lnTo>
                      <a:pt x="169" y="0"/>
                    </a:lnTo>
                    <a:lnTo>
                      <a:pt x="175" y="79"/>
                    </a:lnTo>
                    <a:lnTo>
                      <a:pt x="162" y="123"/>
                    </a:lnTo>
                    <a:lnTo>
                      <a:pt x="162" y="167"/>
                    </a:lnTo>
                    <a:lnTo>
                      <a:pt x="150" y="236"/>
                    </a:lnTo>
                    <a:lnTo>
                      <a:pt x="143" y="246"/>
                    </a:lnTo>
                    <a:lnTo>
                      <a:pt x="143" y="225"/>
                    </a:lnTo>
                    <a:lnTo>
                      <a:pt x="119" y="257"/>
                    </a:lnTo>
                    <a:lnTo>
                      <a:pt x="93" y="236"/>
                    </a:lnTo>
                    <a:lnTo>
                      <a:pt x="100" y="269"/>
                    </a:lnTo>
                    <a:lnTo>
                      <a:pt x="82" y="290"/>
                    </a:lnTo>
                    <a:lnTo>
                      <a:pt x="74" y="257"/>
                    </a:lnTo>
                    <a:lnTo>
                      <a:pt x="0" y="280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75" name="Freeform 456"/>
            <p:cNvSpPr>
              <a:spLocks/>
            </p:cNvSpPr>
            <p:nvPr>
              <p:custDataLst>
                <p:tags r:id="rId383"/>
              </p:custDataLst>
            </p:nvPr>
          </p:nvSpPr>
          <p:spPr bwMode="auto">
            <a:xfrm>
              <a:off x="9826358" y="3898483"/>
              <a:ext cx="58143" cy="42863"/>
            </a:xfrm>
            <a:custGeom>
              <a:avLst/>
              <a:gdLst>
                <a:gd name="T0" fmla="*/ 0 w 31"/>
                <a:gd name="T1" fmla="*/ 2147483647 h 53"/>
                <a:gd name="T2" fmla="*/ 2147483647 w 31"/>
                <a:gd name="T3" fmla="*/ 2147483647 h 53"/>
                <a:gd name="T4" fmla="*/ 2147483647 w 31"/>
                <a:gd name="T5" fmla="*/ 2147483647 h 53"/>
                <a:gd name="T6" fmla="*/ 2147483647 w 31"/>
                <a:gd name="T7" fmla="*/ 0 h 53"/>
                <a:gd name="T8" fmla="*/ 0 w 31"/>
                <a:gd name="T9" fmla="*/ 2147483647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53">
                  <a:moveTo>
                    <a:pt x="0" y="21"/>
                  </a:moveTo>
                  <a:lnTo>
                    <a:pt x="13" y="53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76" name="Group 457"/>
            <p:cNvGrpSpPr>
              <a:grpSpLocks/>
            </p:cNvGrpSpPr>
            <p:nvPr>
              <p:custDataLst>
                <p:tags r:id="rId384"/>
              </p:custDataLst>
            </p:nvPr>
          </p:nvGrpSpPr>
          <p:grpSpPr bwMode="auto">
            <a:xfrm>
              <a:off x="9826358" y="3898483"/>
              <a:ext cx="58143" cy="42863"/>
              <a:chOff x="5003" y="2086"/>
              <a:chExt cx="31" cy="2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67" name="Freeform 458"/>
              <p:cNvSpPr>
                <a:spLocks/>
              </p:cNvSpPr>
              <p:nvPr/>
            </p:nvSpPr>
            <p:spPr bwMode="auto">
              <a:xfrm>
                <a:off x="5003" y="2086"/>
                <a:ext cx="31" cy="27"/>
              </a:xfrm>
              <a:custGeom>
                <a:avLst/>
                <a:gdLst>
                  <a:gd name="T0" fmla="*/ 0 w 31"/>
                  <a:gd name="T1" fmla="*/ 1 h 53"/>
                  <a:gd name="T2" fmla="*/ 13 w 31"/>
                  <a:gd name="T3" fmla="*/ 1 h 53"/>
                  <a:gd name="T4" fmla="*/ 31 w 31"/>
                  <a:gd name="T5" fmla="*/ 1 h 53"/>
                  <a:gd name="T6" fmla="*/ 31 w 31"/>
                  <a:gd name="T7" fmla="*/ 0 h 53"/>
                  <a:gd name="T8" fmla="*/ 0 w 31"/>
                  <a:gd name="T9" fmla="*/ 1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" h="53">
                    <a:moveTo>
                      <a:pt x="0" y="21"/>
                    </a:moveTo>
                    <a:lnTo>
                      <a:pt x="13" y="53"/>
                    </a:lnTo>
                    <a:lnTo>
                      <a:pt x="31" y="30"/>
                    </a:lnTo>
                    <a:lnTo>
                      <a:pt x="31" y="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68" name="Freeform 459"/>
              <p:cNvSpPr>
                <a:spLocks/>
              </p:cNvSpPr>
              <p:nvPr/>
            </p:nvSpPr>
            <p:spPr bwMode="auto">
              <a:xfrm>
                <a:off x="5003" y="2086"/>
                <a:ext cx="31" cy="27"/>
              </a:xfrm>
              <a:custGeom>
                <a:avLst/>
                <a:gdLst>
                  <a:gd name="T0" fmla="*/ 0 w 31"/>
                  <a:gd name="T1" fmla="*/ 1 h 53"/>
                  <a:gd name="T2" fmla="*/ 13 w 31"/>
                  <a:gd name="T3" fmla="*/ 1 h 53"/>
                  <a:gd name="T4" fmla="*/ 31 w 31"/>
                  <a:gd name="T5" fmla="*/ 1 h 53"/>
                  <a:gd name="T6" fmla="*/ 31 w 31"/>
                  <a:gd name="T7" fmla="*/ 0 h 53"/>
                  <a:gd name="T8" fmla="*/ 0 w 31"/>
                  <a:gd name="T9" fmla="*/ 1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" h="53">
                    <a:moveTo>
                      <a:pt x="0" y="21"/>
                    </a:moveTo>
                    <a:lnTo>
                      <a:pt x="13" y="53"/>
                    </a:lnTo>
                    <a:lnTo>
                      <a:pt x="31" y="30"/>
                    </a:lnTo>
                    <a:lnTo>
                      <a:pt x="31" y="0"/>
                    </a:lnTo>
                    <a:lnTo>
                      <a:pt x="0" y="2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77" name="Freeform 460"/>
            <p:cNvSpPr>
              <a:spLocks/>
            </p:cNvSpPr>
            <p:nvPr>
              <p:custDataLst>
                <p:tags r:id="rId385"/>
              </p:custDataLst>
            </p:nvPr>
          </p:nvSpPr>
          <p:spPr bwMode="auto">
            <a:xfrm>
              <a:off x="9826358" y="3898483"/>
              <a:ext cx="58143" cy="42863"/>
            </a:xfrm>
            <a:custGeom>
              <a:avLst/>
              <a:gdLst>
                <a:gd name="T0" fmla="*/ 0 w 31"/>
                <a:gd name="T1" fmla="*/ 2147483647 h 53"/>
                <a:gd name="T2" fmla="*/ 2147483647 w 31"/>
                <a:gd name="T3" fmla="*/ 2147483647 h 53"/>
                <a:gd name="T4" fmla="*/ 2147483647 w 31"/>
                <a:gd name="T5" fmla="*/ 2147483647 h 53"/>
                <a:gd name="T6" fmla="*/ 2147483647 w 31"/>
                <a:gd name="T7" fmla="*/ 0 h 53"/>
                <a:gd name="T8" fmla="*/ 0 w 31"/>
                <a:gd name="T9" fmla="*/ 2147483647 h 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53">
                  <a:moveTo>
                    <a:pt x="0" y="21"/>
                  </a:moveTo>
                  <a:lnTo>
                    <a:pt x="13" y="53"/>
                  </a:lnTo>
                  <a:lnTo>
                    <a:pt x="31" y="30"/>
                  </a:lnTo>
                  <a:lnTo>
                    <a:pt x="31" y="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78" name="Group 461"/>
            <p:cNvGrpSpPr>
              <a:grpSpLocks/>
            </p:cNvGrpSpPr>
            <p:nvPr>
              <p:custDataLst>
                <p:tags r:id="rId386"/>
              </p:custDataLst>
            </p:nvPr>
          </p:nvGrpSpPr>
          <p:grpSpPr bwMode="auto">
            <a:xfrm>
              <a:off x="9826358" y="3898483"/>
              <a:ext cx="58143" cy="42863"/>
              <a:chOff x="5003" y="2086"/>
              <a:chExt cx="31" cy="2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65" name="Freeform 462"/>
              <p:cNvSpPr>
                <a:spLocks/>
              </p:cNvSpPr>
              <p:nvPr/>
            </p:nvSpPr>
            <p:spPr bwMode="auto">
              <a:xfrm>
                <a:off x="5003" y="2086"/>
                <a:ext cx="31" cy="27"/>
              </a:xfrm>
              <a:custGeom>
                <a:avLst/>
                <a:gdLst>
                  <a:gd name="T0" fmla="*/ 0 w 31"/>
                  <a:gd name="T1" fmla="*/ 1 h 53"/>
                  <a:gd name="T2" fmla="*/ 13 w 31"/>
                  <a:gd name="T3" fmla="*/ 1 h 53"/>
                  <a:gd name="T4" fmla="*/ 31 w 31"/>
                  <a:gd name="T5" fmla="*/ 1 h 53"/>
                  <a:gd name="T6" fmla="*/ 31 w 31"/>
                  <a:gd name="T7" fmla="*/ 0 h 53"/>
                  <a:gd name="T8" fmla="*/ 0 w 31"/>
                  <a:gd name="T9" fmla="*/ 1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" h="53">
                    <a:moveTo>
                      <a:pt x="0" y="21"/>
                    </a:moveTo>
                    <a:lnTo>
                      <a:pt x="13" y="53"/>
                    </a:lnTo>
                    <a:lnTo>
                      <a:pt x="31" y="30"/>
                    </a:lnTo>
                    <a:lnTo>
                      <a:pt x="31" y="0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66" name="Freeform 463"/>
              <p:cNvSpPr>
                <a:spLocks/>
              </p:cNvSpPr>
              <p:nvPr/>
            </p:nvSpPr>
            <p:spPr bwMode="auto">
              <a:xfrm>
                <a:off x="5003" y="2086"/>
                <a:ext cx="31" cy="27"/>
              </a:xfrm>
              <a:custGeom>
                <a:avLst/>
                <a:gdLst>
                  <a:gd name="T0" fmla="*/ 0 w 31"/>
                  <a:gd name="T1" fmla="*/ 1 h 53"/>
                  <a:gd name="T2" fmla="*/ 13 w 31"/>
                  <a:gd name="T3" fmla="*/ 1 h 53"/>
                  <a:gd name="T4" fmla="*/ 31 w 31"/>
                  <a:gd name="T5" fmla="*/ 1 h 53"/>
                  <a:gd name="T6" fmla="*/ 31 w 31"/>
                  <a:gd name="T7" fmla="*/ 0 h 53"/>
                  <a:gd name="T8" fmla="*/ 0 w 31"/>
                  <a:gd name="T9" fmla="*/ 1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" h="53">
                    <a:moveTo>
                      <a:pt x="0" y="21"/>
                    </a:moveTo>
                    <a:lnTo>
                      <a:pt x="13" y="53"/>
                    </a:lnTo>
                    <a:lnTo>
                      <a:pt x="31" y="30"/>
                    </a:lnTo>
                    <a:lnTo>
                      <a:pt x="31" y="0"/>
                    </a:lnTo>
                    <a:lnTo>
                      <a:pt x="0" y="21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79" name="Freeform 464"/>
            <p:cNvSpPr>
              <a:spLocks/>
            </p:cNvSpPr>
            <p:nvPr>
              <p:custDataLst>
                <p:tags r:id="rId387"/>
              </p:custDataLst>
            </p:nvPr>
          </p:nvSpPr>
          <p:spPr bwMode="auto">
            <a:xfrm>
              <a:off x="10044901" y="3561920"/>
              <a:ext cx="164401" cy="122238"/>
            </a:xfrm>
            <a:custGeom>
              <a:avLst/>
              <a:gdLst>
                <a:gd name="T0" fmla="*/ 0 w 89"/>
                <a:gd name="T1" fmla="*/ 2147483647 h 154"/>
                <a:gd name="T2" fmla="*/ 2147483647 w 89"/>
                <a:gd name="T3" fmla="*/ 2147483647 h 154"/>
                <a:gd name="T4" fmla="*/ 2147483647 w 89"/>
                <a:gd name="T5" fmla="*/ 2147483647 h 154"/>
                <a:gd name="T6" fmla="*/ 2147483647 w 89"/>
                <a:gd name="T7" fmla="*/ 2147483647 h 154"/>
                <a:gd name="T8" fmla="*/ 2147483647 w 89"/>
                <a:gd name="T9" fmla="*/ 2147483647 h 154"/>
                <a:gd name="T10" fmla="*/ 2147483647 w 89"/>
                <a:gd name="T11" fmla="*/ 2147483647 h 154"/>
                <a:gd name="T12" fmla="*/ 2147483647 w 89"/>
                <a:gd name="T13" fmla="*/ 2147483647 h 154"/>
                <a:gd name="T14" fmla="*/ 2147483647 w 89"/>
                <a:gd name="T15" fmla="*/ 2147483647 h 154"/>
                <a:gd name="T16" fmla="*/ 2147483647 w 89"/>
                <a:gd name="T17" fmla="*/ 2147483647 h 154"/>
                <a:gd name="T18" fmla="*/ 2147483647 w 89"/>
                <a:gd name="T19" fmla="*/ 2147483647 h 154"/>
                <a:gd name="T20" fmla="*/ 2147483647 w 89"/>
                <a:gd name="T21" fmla="*/ 0 h 154"/>
                <a:gd name="T22" fmla="*/ 2147483647 w 89"/>
                <a:gd name="T23" fmla="*/ 2147483647 h 154"/>
                <a:gd name="T24" fmla="*/ 2147483647 w 89"/>
                <a:gd name="T25" fmla="*/ 2147483647 h 154"/>
                <a:gd name="T26" fmla="*/ 0 w 89"/>
                <a:gd name="T27" fmla="*/ 2147483647 h 1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9" h="154">
                  <a:moveTo>
                    <a:pt x="0" y="110"/>
                  </a:moveTo>
                  <a:lnTo>
                    <a:pt x="7" y="154"/>
                  </a:lnTo>
                  <a:lnTo>
                    <a:pt x="19" y="144"/>
                  </a:lnTo>
                  <a:lnTo>
                    <a:pt x="7" y="110"/>
                  </a:lnTo>
                  <a:lnTo>
                    <a:pt x="51" y="133"/>
                  </a:lnTo>
                  <a:lnTo>
                    <a:pt x="64" y="100"/>
                  </a:lnTo>
                  <a:lnTo>
                    <a:pt x="89" y="89"/>
                  </a:lnTo>
                  <a:lnTo>
                    <a:pt x="83" y="66"/>
                  </a:lnTo>
                  <a:lnTo>
                    <a:pt x="83" y="44"/>
                  </a:lnTo>
                  <a:lnTo>
                    <a:pt x="64" y="44"/>
                  </a:lnTo>
                  <a:lnTo>
                    <a:pt x="32" y="0"/>
                  </a:lnTo>
                  <a:lnTo>
                    <a:pt x="19" y="89"/>
                  </a:lnTo>
                  <a:lnTo>
                    <a:pt x="7" y="89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80" name="Group 465"/>
            <p:cNvGrpSpPr>
              <a:grpSpLocks/>
            </p:cNvGrpSpPr>
            <p:nvPr>
              <p:custDataLst>
                <p:tags r:id="rId388"/>
              </p:custDataLst>
            </p:nvPr>
          </p:nvGrpSpPr>
          <p:grpSpPr bwMode="auto">
            <a:xfrm>
              <a:off x="10044901" y="3561920"/>
              <a:ext cx="164401" cy="122238"/>
              <a:chOff x="5121" y="1874"/>
              <a:chExt cx="89" cy="7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63" name="Freeform 466"/>
              <p:cNvSpPr>
                <a:spLocks/>
              </p:cNvSpPr>
              <p:nvPr/>
            </p:nvSpPr>
            <p:spPr bwMode="auto">
              <a:xfrm>
                <a:off x="5121" y="1874"/>
                <a:ext cx="89" cy="77"/>
              </a:xfrm>
              <a:custGeom>
                <a:avLst/>
                <a:gdLst>
                  <a:gd name="T0" fmla="*/ 0 w 89"/>
                  <a:gd name="T1" fmla="*/ 1 h 154"/>
                  <a:gd name="T2" fmla="*/ 7 w 89"/>
                  <a:gd name="T3" fmla="*/ 1 h 154"/>
                  <a:gd name="T4" fmla="*/ 19 w 89"/>
                  <a:gd name="T5" fmla="*/ 1 h 154"/>
                  <a:gd name="T6" fmla="*/ 7 w 89"/>
                  <a:gd name="T7" fmla="*/ 1 h 154"/>
                  <a:gd name="T8" fmla="*/ 51 w 89"/>
                  <a:gd name="T9" fmla="*/ 1 h 154"/>
                  <a:gd name="T10" fmla="*/ 64 w 89"/>
                  <a:gd name="T11" fmla="*/ 1 h 154"/>
                  <a:gd name="T12" fmla="*/ 89 w 89"/>
                  <a:gd name="T13" fmla="*/ 1 h 154"/>
                  <a:gd name="T14" fmla="*/ 83 w 89"/>
                  <a:gd name="T15" fmla="*/ 1 h 154"/>
                  <a:gd name="T16" fmla="*/ 83 w 89"/>
                  <a:gd name="T17" fmla="*/ 1 h 154"/>
                  <a:gd name="T18" fmla="*/ 64 w 89"/>
                  <a:gd name="T19" fmla="*/ 1 h 154"/>
                  <a:gd name="T20" fmla="*/ 32 w 89"/>
                  <a:gd name="T21" fmla="*/ 0 h 154"/>
                  <a:gd name="T22" fmla="*/ 19 w 89"/>
                  <a:gd name="T23" fmla="*/ 1 h 154"/>
                  <a:gd name="T24" fmla="*/ 7 w 89"/>
                  <a:gd name="T25" fmla="*/ 1 h 154"/>
                  <a:gd name="T26" fmla="*/ 0 w 89"/>
                  <a:gd name="T27" fmla="*/ 1 h 1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89" h="154">
                    <a:moveTo>
                      <a:pt x="0" y="110"/>
                    </a:moveTo>
                    <a:lnTo>
                      <a:pt x="7" y="154"/>
                    </a:lnTo>
                    <a:lnTo>
                      <a:pt x="19" y="144"/>
                    </a:lnTo>
                    <a:lnTo>
                      <a:pt x="7" y="110"/>
                    </a:lnTo>
                    <a:lnTo>
                      <a:pt x="51" y="133"/>
                    </a:lnTo>
                    <a:lnTo>
                      <a:pt x="64" y="100"/>
                    </a:lnTo>
                    <a:lnTo>
                      <a:pt x="89" y="89"/>
                    </a:lnTo>
                    <a:lnTo>
                      <a:pt x="83" y="66"/>
                    </a:lnTo>
                    <a:lnTo>
                      <a:pt x="83" y="44"/>
                    </a:lnTo>
                    <a:lnTo>
                      <a:pt x="64" y="44"/>
                    </a:lnTo>
                    <a:lnTo>
                      <a:pt x="32" y="0"/>
                    </a:lnTo>
                    <a:lnTo>
                      <a:pt x="19" y="89"/>
                    </a:lnTo>
                    <a:lnTo>
                      <a:pt x="7" y="89"/>
                    </a:lnTo>
                    <a:lnTo>
                      <a:pt x="0" y="11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64" name="Freeform 467"/>
              <p:cNvSpPr>
                <a:spLocks/>
              </p:cNvSpPr>
              <p:nvPr/>
            </p:nvSpPr>
            <p:spPr bwMode="auto">
              <a:xfrm>
                <a:off x="5121" y="1874"/>
                <a:ext cx="89" cy="77"/>
              </a:xfrm>
              <a:custGeom>
                <a:avLst/>
                <a:gdLst>
                  <a:gd name="T0" fmla="*/ 0 w 89"/>
                  <a:gd name="T1" fmla="*/ 1 h 154"/>
                  <a:gd name="T2" fmla="*/ 7 w 89"/>
                  <a:gd name="T3" fmla="*/ 1 h 154"/>
                  <a:gd name="T4" fmla="*/ 19 w 89"/>
                  <a:gd name="T5" fmla="*/ 1 h 154"/>
                  <a:gd name="T6" fmla="*/ 7 w 89"/>
                  <a:gd name="T7" fmla="*/ 1 h 154"/>
                  <a:gd name="T8" fmla="*/ 51 w 89"/>
                  <a:gd name="T9" fmla="*/ 1 h 154"/>
                  <a:gd name="T10" fmla="*/ 64 w 89"/>
                  <a:gd name="T11" fmla="*/ 1 h 154"/>
                  <a:gd name="T12" fmla="*/ 89 w 89"/>
                  <a:gd name="T13" fmla="*/ 1 h 154"/>
                  <a:gd name="T14" fmla="*/ 83 w 89"/>
                  <a:gd name="T15" fmla="*/ 1 h 154"/>
                  <a:gd name="T16" fmla="*/ 83 w 89"/>
                  <a:gd name="T17" fmla="*/ 1 h 154"/>
                  <a:gd name="T18" fmla="*/ 64 w 89"/>
                  <a:gd name="T19" fmla="*/ 1 h 154"/>
                  <a:gd name="T20" fmla="*/ 32 w 89"/>
                  <a:gd name="T21" fmla="*/ 0 h 154"/>
                  <a:gd name="T22" fmla="*/ 19 w 89"/>
                  <a:gd name="T23" fmla="*/ 1 h 154"/>
                  <a:gd name="T24" fmla="*/ 7 w 89"/>
                  <a:gd name="T25" fmla="*/ 1 h 154"/>
                  <a:gd name="T26" fmla="*/ 0 w 89"/>
                  <a:gd name="T27" fmla="*/ 1 h 1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89" h="154">
                    <a:moveTo>
                      <a:pt x="0" y="110"/>
                    </a:moveTo>
                    <a:lnTo>
                      <a:pt x="7" y="154"/>
                    </a:lnTo>
                    <a:lnTo>
                      <a:pt x="19" y="144"/>
                    </a:lnTo>
                    <a:lnTo>
                      <a:pt x="7" y="110"/>
                    </a:lnTo>
                    <a:lnTo>
                      <a:pt x="51" y="133"/>
                    </a:lnTo>
                    <a:lnTo>
                      <a:pt x="64" y="100"/>
                    </a:lnTo>
                    <a:lnTo>
                      <a:pt x="89" y="89"/>
                    </a:lnTo>
                    <a:lnTo>
                      <a:pt x="83" y="66"/>
                    </a:lnTo>
                    <a:lnTo>
                      <a:pt x="83" y="44"/>
                    </a:lnTo>
                    <a:lnTo>
                      <a:pt x="64" y="44"/>
                    </a:lnTo>
                    <a:lnTo>
                      <a:pt x="32" y="0"/>
                    </a:lnTo>
                    <a:lnTo>
                      <a:pt x="19" y="89"/>
                    </a:lnTo>
                    <a:lnTo>
                      <a:pt x="7" y="89"/>
                    </a:lnTo>
                    <a:lnTo>
                      <a:pt x="0" y="11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81" name="Freeform 468"/>
            <p:cNvSpPr>
              <a:spLocks/>
            </p:cNvSpPr>
            <p:nvPr>
              <p:custDataLst>
                <p:tags r:id="rId389"/>
              </p:custDataLst>
            </p:nvPr>
          </p:nvSpPr>
          <p:spPr bwMode="auto">
            <a:xfrm>
              <a:off x="10044901" y="3561920"/>
              <a:ext cx="164401" cy="122238"/>
            </a:xfrm>
            <a:custGeom>
              <a:avLst/>
              <a:gdLst>
                <a:gd name="T0" fmla="*/ 0 w 89"/>
                <a:gd name="T1" fmla="*/ 2147483647 h 154"/>
                <a:gd name="T2" fmla="*/ 2147483647 w 89"/>
                <a:gd name="T3" fmla="*/ 2147483647 h 154"/>
                <a:gd name="T4" fmla="*/ 2147483647 w 89"/>
                <a:gd name="T5" fmla="*/ 2147483647 h 154"/>
                <a:gd name="T6" fmla="*/ 2147483647 w 89"/>
                <a:gd name="T7" fmla="*/ 2147483647 h 154"/>
                <a:gd name="T8" fmla="*/ 2147483647 w 89"/>
                <a:gd name="T9" fmla="*/ 2147483647 h 154"/>
                <a:gd name="T10" fmla="*/ 2147483647 w 89"/>
                <a:gd name="T11" fmla="*/ 2147483647 h 154"/>
                <a:gd name="T12" fmla="*/ 2147483647 w 89"/>
                <a:gd name="T13" fmla="*/ 2147483647 h 154"/>
                <a:gd name="T14" fmla="*/ 2147483647 w 89"/>
                <a:gd name="T15" fmla="*/ 2147483647 h 154"/>
                <a:gd name="T16" fmla="*/ 2147483647 w 89"/>
                <a:gd name="T17" fmla="*/ 2147483647 h 154"/>
                <a:gd name="T18" fmla="*/ 2147483647 w 89"/>
                <a:gd name="T19" fmla="*/ 2147483647 h 154"/>
                <a:gd name="T20" fmla="*/ 2147483647 w 89"/>
                <a:gd name="T21" fmla="*/ 0 h 154"/>
                <a:gd name="T22" fmla="*/ 2147483647 w 89"/>
                <a:gd name="T23" fmla="*/ 2147483647 h 154"/>
                <a:gd name="T24" fmla="*/ 2147483647 w 89"/>
                <a:gd name="T25" fmla="*/ 2147483647 h 154"/>
                <a:gd name="T26" fmla="*/ 0 w 89"/>
                <a:gd name="T27" fmla="*/ 2147483647 h 15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9" h="154">
                  <a:moveTo>
                    <a:pt x="0" y="110"/>
                  </a:moveTo>
                  <a:lnTo>
                    <a:pt x="7" y="154"/>
                  </a:lnTo>
                  <a:lnTo>
                    <a:pt x="19" y="144"/>
                  </a:lnTo>
                  <a:lnTo>
                    <a:pt x="7" y="110"/>
                  </a:lnTo>
                  <a:lnTo>
                    <a:pt x="51" y="133"/>
                  </a:lnTo>
                  <a:lnTo>
                    <a:pt x="64" y="100"/>
                  </a:lnTo>
                  <a:lnTo>
                    <a:pt x="89" y="89"/>
                  </a:lnTo>
                  <a:lnTo>
                    <a:pt x="83" y="66"/>
                  </a:lnTo>
                  <a:lnTo>
                    <a:pt x="83" y="44"/>
                  </a:lnTo>
                  <a:lnTo>
                    <a:pt x="64" y="44"/>
                  </a:lnTo>
                  <a:lnTo>
                    <a:pt x="32" y="0"/>
                  </a:lnTo>
                  <a:lnTo>
                    <a:pt x="19" y="89"/>
                  </a:lnTo>
                  <a:lnTo>
                    <a:pt x="7" y="89"/>
                  </a:lnTo>
                  <a:lnTo>
                    <a:pt x="0" y="11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582" name="Group 469"/>
            <p:cNvGrpSpPr>
              <a:grpSpLocks/>
            </p:cNvGrpSpPr>
            <p:nvPr>
              <p:custDataLst>
                <p:tags r:id="rId390"/>
              </p:custDataLst>
            </p:nvPr>
          </p:nvGrpSpPr>
          <p:grpSpPr bwMode="auto">
            <a:xfrm>
              <a:off x="10044901" y="3561920"/>
              <a:ext cx="164401" cy="122238"/>
              <a:chOff x="5121" y="1874"/>
              <a:chExt cx="89" cy="7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61" name="Freeform 470"/>
              <p:cNvSpPr>
                <a:spLocks/>
              </p:cNvSpPr>
              <p:nvPr/>
            </p:nvSpPr>
            <p:spPr bwMode="auto">
              <a:xfrm>
                <a:off x="5121" y="1874"/>
                <a:ext cx="89" cy="77"/>
              </a:xfrm>
              <a:custGeom>
                <a:avLst/>
                <a:gdLst>
                  <a:gd name="T0" fmla="*/ 0 w 89"/>
                  <a:gd name="T1" fmla="*/ 1 h 154"/>
                  <a:gd name="T2" fmla="*/ 7 w 89"/>
                  <a:gd name="T3" fmla="*/ 1 h 154"/>
                  <a:gd name="T4" fmla="*/ 19 w 89"/>
                  <a:gd name="T5" fmla="*/ 1 h 154"/>
                  <a:gd name="T6" fmla="*/ 7 w 89"/>
                  <a:gd name="T7" fmla="*/ 1 h 154"/>
                  <a:gd name="T8" fmla="*/ 51 w 89"/>
                  <a:gd name="T9" fmla="*/ 1 h 154"/>
                  <a:gd name="T10" fmla="*/ 64 w 89"/>
                  <a:gd name="T11" fmla="*/ 1 h 154"/>
                  <a:gd name="T12" fmla="*/ 89 w 89"/>
                  <a:gd name="T13" fmla="*/ 1 h 154"/>
                  <a:gd name="T14" fmla="*/ 83 w 89"/>
                  <a:gd name="T15" fmla="*/ 1 h 154"/>
                  <a:gd name="T16" fmla="*/ 83 w 89"/>
                  <a:gd name="T17" fmla="*/ 1 h 154"/>
                  <a:gd name="T18" fmla="*/ 64 w 89"/>
                  <a:gd name="T19" fmla="*/ 1 h 154"/>
                  <a:gd name="T20" fmla="*/ 32 w 89"/>
                  <a:gd name="T21" fmla="*/ 0 h 154"/>
                  <a:gd name="T22" fmla="*/ 19 w 89"/>
                  <a:gd name="T23" fmla="*/ 1 h 154"/>
                  <a:gd name="T24" fmla="*/ 7 w 89"/>
                  <a:gd name="T25" fmla="*/ 1 h 154"/>
                  <a:gd name="T26" fmla="*/ 0 w 89"/>
                  <a:gd name="T27" fmla="*/ 1 h 1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89" h="154">
                    <a:moveTo>
                      <a:pt x="0" y="110"/>
                    </a:moveTo>
                    <a:lnTo>
                      <a:pt x="7" y="154"/>
                    </a:lnTo>
                    <a:lnTo>
                      <a:pt x="19" y="144"/>
                    </a:lnTo>
                    <a:lnTo>
                      <a:pt x="7" y="110"/>
                    </a:lnTo>
                    <a:lnTo>
                      <a:pt x="51" y="133"/>
                    </a:lnTo>
                    <a:lnTo>
                      <a:pt x="64" y="100"/>
                    </a:lnTo>
                    <a:lnTo>
                      <a:pt x="89" y="89"/>
                    </a:lnTo>
                    <a:lnTo>
                      <a:pt x="83" y="66"/>
                    </a:lnTo>
                    <a:lnTo>
                      <a:pt x="83" y="44"/>
                    </a:lnTo>
                    <a:lnTo>
                      <a:pt x="64" y="44"/>
                    </a:lnTo>
                    <a:lnTo>
                      <a:pt x="32" y="0"/>
                    </a:lnTo>
                    <a:lnTo>
                      <a:pt x="19" y="89"/>
                    </a:lnTo>
                    <a:lnTo>
                      <a:pt x="7" y="89"/>
                    </a:lnTo>
                    <a:lnTo>
                      <a:pt x="0" y="110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62" name="Freeform 471"/>
              <p:cNvSpPr>
                <a:spLocks/>
              </p:cNvSpPr>
              <p:nvPr/>
            </p:nvSpPr>
            <p:spPr bwMode="auto">
              <a:xfrm>
                <a:off x="5121" y="1874"/>
                <a:ext cx="89" cy="77"/>
              </a:xfrm>
              <a:custGeom>
                <a:avLst/>
                <a:gdLst>
                  <a:gd name="T0" fmla="*/ 0 w 89"/>
                  <a:gd name="T1" fmla="*/ 1 h 154"/>
                  <a:gd name="T2" fmla="*/ 7 w 89"/>
                  <a:gd name="T3" fmla="*/ 1 h 154"/>
                  <a:gd name="T4" fmla="*/ 19 w 89"/>
                  <a:gd name="T5" fmla="*/ 1 h 154"/>
                  <a:gd name="T6" fmla="*/ 7 w 89"/>
                  <a:gd name="T7" fmla="*/ 1 h 154"/>
                  <a:gd name="T8" fmla="*/ 51 w 89"/>
                  <a:gd name="T9" fmla="*/ 1 h 154"/>
                  <a:gd name="T10" fmla="*/ 64 w 89"/>
                  <a:gd name="T11" fmla="*/ 1 h 154"/>
                  <a:gd name="T12" fmla="*/ 89 w 89"/>
                  <a:gd name="T13" fmla="*/ 1 h 154"/>
                  <a:gd name="T14" fmla="*/ 83 w 89"/>
                  <a:gd name="T15" fmla="*/ 1 h 154"/>
                  <a:gd name="T16" fmla="*/ 83 w 89"/>
                  <a:gd name="T17" fmla="*/ 1 h 154"/>
                  <a:gd name="T18" fmla="*/ 64 w 89"/>
                  <a:gd name="T19" fmla="*/ 1 h 154"/>
                  <a:gd name="T20" fmla="*/ 32 w 89"/>
                  <a:gd name="T21" fmla="*/ 0 h 154"/>
                  <a:gd name="T22" fmla="*/ 19 w 89"/>
                  <a:gd name="T23" fmla="*/ 1 h 154"/>
                  <a:gd name="T24" fmla="*/ 7 w 89"/>
                  <a:gd name="T25" fmla="*/ 1 h 154"/>
                  <a:gd name="T26" fmla="*/ 0 w 89"/>
                  <a:gd name="T27" fmla="*/ 1 h 1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89" h="154">
                    <a:moveTo>
                      <a:pt x="0" y="110"/>
                    </a:moveTo>
                    <a:lnTo>
                      <a:pt x="7" y="154"/>
                    </a:lnTo>
                    <a:lnTo>
                      <a:pt x="19" y="144"/>
                    </a:lnTo>
                    <a:lnTo>
                      <a:pt x="7" y="110"/>
                    </a:lnTo>
                    <a:lnTo>
                      <a:pt x="51" y="133"/>
                    </a:lnTo>
                    <a:lnTo>
                      <a:pt x="64" y="100"/>
                    </a:lnTo>
                    <a:lnTo>
                      <a:pt x="89" y="89"/>
                    </a:lnTo>
                    <a:lnTo>
                      <a:pt x="83" y="66"/>
                    </a:lnTo>
                    <a:lnTo>
                      <a:pt x="83" y="44"/>
                    </a:lnTo>
                    <a:lnTo>
                      <a:pt x="64" y="44"/>
                    </a:lnTo>
                    <a:lnTo>
                      <a:pt x="32" y="0"/>
                    </a:lnTo>
                    <a:lnTo>
                      <a:pt x="19" y="89"/>
                    </a:lnTo>
                    <a:lnTo>
                      <a:pt x="7" y="89"/>
                    </a:lnTo>
                    <a:lnTo>
                      <a:pt x="0" y="110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583" name="Freeform 472"/>
            <p:cNvSpPr>
              <a:spLocks/>
            </p:cNvSpPr>
            <p:nvPr>
              <p:custDataLst>
                <p:tags r:id="rId391"/>
              </p:custDataLst>
            </p:nvPr>
          </p:nvSpPr>
          <p:spPr bwMode="auto">
            <a:xfrm>
              <a:off x="9593783" y="3641295"/>
              <a:ext cx="186456" cy="158750"/>
            </a:xfrm>
            <a:custGeom>
              <a:avLst/>
              <a:gdLst>
                <a:gd name="T0" fmla="*/ 0 w 101"/>
                <a:gd name="T1" fmla="*/ 2147483647 h 200"/>
                <a:gd name="T2" fmla="*/ 2147483647 w 101"/>
                <a:gd name="T3" fmla="*/ 2147483647 h 200"/>
                <a:gd name="T4" fmla="*/ 2147483647 w 101"/>
                <a:gd name="T5" fmla="*/ 2147483647 h 200"/>
                <a:gd name="T6" fmla="*/ 2147483647 w 101"/>
                <a:gd name="T7" fmla="*/ 2147483647 h 200"/>
                <a:gd name="T8" fmla="*/ 2147483647 w 101"/>
                <a:gd name="T9" fmla="*/ 2147483647 h 200"/>
                <a:gd name="T10" fmla="*/ 2147483647 w 101"/>
                <a:gd name="T11" fmla="*/ 2147483647 h 200"/>
                <a:gd name="T12" fmla="*/ 2147483647 w 101"/>
                <a:gd name="T13" fmla="*/ 2147483647 h 200"/>
                <a:gd name="T14" fmla="*/ 2147483647 w 101"/>
                <a:gd name="T15" fmla="*/ 2147483647 h 200"/>
                <a:gd name="T16" fmla="*/ 2147483647 w 101"/>
                <a:gd name="T17" fmla="*/ 2147483647 h 200"/>
                <a:gd name="T18" fmla="*/ 2147483647 w 101"/>
                <a:gd name="T19" fmla="*/ 0 h 200"/>
                <a:gd name="T20" fmla="*/ 2147483647 w 101"/>
                <a:gd name="T21" fmla="*/ 2147483647 h 200"/>
                <a:gd name="T22" fmla="*/ 2147483647 w 101"/>
                <a:gd name="T23" fmla="*/ 2147483647 h 200"/>
                <a:gd name="T24" fmla="*/ 2147483647 w 101"/>
                <a:gd name="T25" fmla="*/ 2147483647 h 200"/>
                <a:gd name="T26" fmla="*/ 0 w 101"/>
                <a:gd name="T27" fmla="*/ 2147483647 h 2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1" h="200">
                  <a:moveTo>
                    <a:pt x="0" y="112"/>
                  </a:moveTo>
                  <a:lnTo>
                    <a:pt x="19" y="133"/>
                  </a:lnTo>
                  <a:lnTo>
                    <a:pt x="7" y="188"/>
                  </a:lnTo>
                  <a:lnTo>
                    <a:pt x="38" y="200"/>
                  </a:lnTo>
                  <a:lnTo>
                    <a:pt x="64" y="167"/>
                  </a:lnTo>
                  <a:lnTo>
                    <a:pt x="50" y="123"/>
                  </a:lnTo>
                  <a:lnTo>
                    <a:pt x="83" y="79"/>
                  </a:lnTo>
                  <a:lnTo>
                    <a:pt x="101" y="23"/>
                  </a:lnTo>
                  <a:lnTo>
                    <a:pt x="101" y="12"/>
                  </a:lnTo>
                  <a:lnTo>
                    <a:pt x="95" y="0"/>
                  </a:lnTo>
                  <a:lnTo>
                    <a:pt x="64" y="35"/>
                  </a:lnTo>
                  <a:lnTo>
                    <a:pt x="64" y="56"/>
                  </a:lnTo>
                  <a:lnTo>
                    <a:pt x="45" y="56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84" name="Freeform 473"/>
            <p:cNvSpPr>
              <a:spLocks/>
            </p:cNvSpPr>
            <p:nvPr>
              <p:custDataLst>
                <p:tags r:id="rId392"/>
              </p:custDataLst>
            </p:nvPr>
          </p:nvSpPr>
          <p:spPr bwMode="auto">
            <a:xfrm>
              <a:off x="9593783" y="3641295"/>
              <a:ext cx="186456" cy="158750"/>
            </a:xfrm>
            <a:custGeom>
              <a:avLst/>
              <a:gdLst>
                <a:gd name="T0" fmla="*/ 0 w 101"/>
                <a:gd name="T1" fmla="*/ 2147483647 h 200"/>
                <a:gd name="T2" fmla="*/ 2147483647 w 101"/>
                <a:gd name="T3" fmla="*/ 2147483647 h 200"/>
                <a:gd name="T4" fmla="*/ 2147483647 w 101"/>
                <a:gd name="T5" fmla="*/ 2147483647 h 200"/>
                <a:gd name="T6" fmla="*/ 2147483647 w 101"/>
                <a:gd name="T7" fmla="*/ 2147483647 h 200"/>
                <a:gd name="T8" fmla="*/ 2147483647 w 101"/>
                <a:gd name="T9" fmla="*/ 2147483647 h 200"/>
                <a:gd name="T10" fmla="*/ 2147483647 w 101"/>
                <a:gd name="T11" fmla="*/ 2147483647 h 200"/>
                <a:gd name="T12" fmla="*/ 2147483647 w 101"/>
                <a:gd name="T13" fmla="*/ 2147483647 h 200"/>
                <a:gd name="T14" fmla="*/ 2147483647 w 101"/>
                <a:gd name="T15" fmla="*/ 2147483647 h 200"/>
                <a:gd name="T16" fmla="*/ 2147483647 w 101"/>
                <a:gd name="T17" fmla="*/ 2147483647 h 200"/>
                <a:gd name="T18" fmla="*/ 2147483647 w 101"/>
                <a:gd name="T19" fmla="*/ 0 h 200"/>
                <a:gd name="T20" fmla="*/ 2147483647 w 101"/>
                <a:gd name="T21" fmla="*/ 2147483647 h 200"/>
                <a:gd name="T22" fmla="*/ 2147483647 w 101"/>
                <a:gd name="T23" fmla="*/ 2147483647 h 200"/>
                <a:gd name="T24" fmla="*/ 2147483647 w 101"/>
                <a:gd name="T25" fmla="*/ 2147483647 h 200"/>
                <a:gd name="T26" fmla="*/ 0 w 101"/>
                <a:gd name="T27" fmla="*/ 2147483647 h 2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1" h="200">
                  <a:moveTo>
                    <a:pt x="0" y="112"/>
                  </a:moveTo>
                  <a:lnTo>
                    <a:pt x="19" y="133"/>
                  </a:lnTo>
                  <a:lnTo>
                    <a:pt x="7" y="188"/>
                  </a:lnTo>
                  <a:lnTo>
                    <a:pt x="38" y="200"/>
                  </a:lnTo>
                  <a:lnTo>
                    <a:pt x="64" y="167"/>
                  </a:lnTo>
                  <a:lnTo>
                    <a:pt x="50" y="123"/>
                  </a:lnTo>
                  <a:lnTo>
                    <a:pt x="83" y="79"/>
                  </a:lnTo>
                  <a:lnTo>
                    <a:pt x="101" y="23"/>
                  </a:lnTo>
                  <a:lnTo>
                    <a:pt x="101" y="12"/>
                  </a:lnTo>
                  <a:lnTo>
                    <a:pt x="95" y="0"/>
                  </a:lnTo>
                  <a:lnTo>
                    <a:pt x="64" y="35"/>
                  </a:lnTo>
                  <a:lnTo>
                    <a:pt x="64" y="56"/>
                  </a:lnTo>
                  <a:lnTo>
                    <a:pt x="45" y="56"/>
                  </a:lnTo>
                  <a:lnTo>
                    <a:pt x="0" y="1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85" name="Freeform 474"/>
            <p:cNvSpPr>
              <a:spLocks/>
            </p:cNvSpPr>
            <p:nvPr>
              <p:custDataLst>
                <p:tags r:id="rId393"/>
              </p:custDataLst>
            </p:nvPr>
          </p:nvSpPr>
          <p:spPr bwMode="auto">
            <a:xfrm>
              <a:off x="9593783" y="3641295"/>
              <a:ext cx="186456" cy="158750"/>
            </a:xfrm>
            <a:custGeom>
              <a:avLst/>
              <a:gdLst>
                <a:gd name="T0" fmla="*/ 0 w 101"/>
                <a:gd name="T1" fmla="*/ 2147483647 h 200"/>
                <a:gd name="T2" fmla="*/ 2147483647 w 101"/>
                <a:gd name="T3" fmla="*/ 2147483647 h 200"/>
                <a:gd name="T4" fmla="*/ 2147483647 w 101"/>
                <a:gd name="T5" fmla="*/ 2147483647 h 200"/>
                <a:gd name="T6" fmla="*/ 2147483647 w 101"/>
                <a:gd name="T7" fmla="*/ 2147483647 h 200"/>
                <a:gd name="T8" fmla="*/ 2147483647 w 101"/>
                <a:gd name="T9" fmla="*/ 2147483647 h 200"/>
                <a:gd name="T10" fmla="*/ 2147483647 w 101"/>
                <a:gd name="T11" fmla="*/ 2147483647 h 200"/>
                <a:gd name="T12" fmla="*/ 2147483647 w 101"/>
                <a:gd name="T13" fmla="*/ 2147483647 h 200"/>
                <a:gd name="T14" fmla="*/ 2147483647 w 101"/>
                <a:gd name="T15" fmla="*/ 2147483647 h 200"/>
                <a:gd name="T16" fmla="*/ 2147483647 w 101"/>
                <a:gd name="T17" fmla="*/ 2147483647 h 200"/>
                <a:gd name="T18" fmla="*/ 2147483647 w 101"/>
                <a:gd name="T19" fmla="*/ 0 h 200"/>
                <a:gd name="T20" fmla="*/ 2147483647 w 101"/>
                <a:gd name="T21" fmla="*/ 2147483647 h 200"/>
                <a:gd name="T22" fmla="*/ 2147483647 w 101"/>
                <a:gd name="T23" fmla="*/ 2147483647 h 200"/>
                <a:gd name="T24" fmla="*/ 2147483647 w 101"/>
                <a:gd name="T25" fmla="*/ 2147483647 h 200"/>
                <a:gd name="T26" fmla="*/ 0 w 101"/>
                <a:gd name="T27" fmla="*/ 2147483647 h 2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1" h="200">
                  <a:moveTo>
                    <a:pt x="0" y="112"/>
                  </a:moveTo>
                  <a:lnTo>
                    <a:pt x="19" y="133"/>
                  </a:lnTo>
                  <a:lnTo>
                    <a:pt x="7" y="188"/>
                  </a:lnTo>
                  <a:lnTo>
                    <a:pt x="38" y="200"/>
                  </a:lnTo>
                  <a:lnTo>
                    <a:pt x="64" y="167"/>
                  </a:lnTo>
                  <a:lnTo>
                    <a:pt x="50" y="123"/>
                  </a:lnTo>
                  <a:lnTo>
                    <a:pt x="83" y="79"/>
                  </a:lnTo>
                  <a:lnTo>
                    <a:pt x="101" y="23"/>
                  </a:lnTo>
                  <a:lnTo>
                    <a:pt x="101" y="12"/>
                  </a:lnTo>
                  <a:lnTo>
                    <a:pt x="95" y="0"/>
                  </a:lnTo>
                  <a:lnTo>
                    <a:pt x="64" y="35"/>
                  </a:lnTo>
                  <a:lnTo>
                    <a:pt x="64" y="56"/>
                  </a:lnTo>
                  <a:lnTo>
                    <a:pt x="45" y="56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86" name="Freeform 475"/>
            <p:cNvSpPr>
              <a:spLocks/>
            </p:cNvSpPr>
            <p:nvPr>
              <p:custDataLst>
                <p:tags r:id="rId394"/>
              </p:custDataLst>
            </p:nvPr>
          </p:nvSpPr>
          <p:spPr bwMode="auto">
            <a:xfrm>
              <a:off x="9593783" y="3641295"/>
              <a:ext cx="186456" cy="158750"/>
            </a:xfrm>
            <a:custGeom>
              <a:avLst/>
              <a:gdLst>
                <a:gd name="T0" fmla="*/ 0 w 101"/>
                <a:gd name="T1" fmla="*/ 2147483647 h 200"/>
                <a:gd name="T2" fmla="*/ 2147483647 w 101"/>
                <a:gd name="T3" fmla="*/ 2147483647 h 200"/>
                <a:gd name="T4" fmla="*/ 2147483647 w 101"/>
                <a:gd name="T5" fmla="*/ 2147483647 h 200"/>
                <a:gd name="T6" fmla="*/ 2147483647 w 101"/>
                <a:gd name="T7" fmla="*/ 2147483647 h 200"/>
                <a:gd name="T8" fmla="*/ 2147483647 w 101"/>
                <a:gd name="T9" fmla="*/ 2147483647 h 200"/>
                <a:gd name="T10" fmla="*/ 2147483647 w 101"/>
                <a:gd name="T11" fmla="*/ 2147483647 h 200"/>
                <a:gd name="T12" fmla="*/ 2147483647 w 101"/>
                <a:gd name="T13" fmla="*/ 2147483647 h 200"/>
                <a:gd name="T14" fmla="*/ 2147483647 w 101"/>
                <a:gd name="T15" fmla="*/ 2147483647 h 200"/>
                <a:gd name="T16" fmla="*/ 2147483647 w 101"/>
                <a:gd name="T17" fmla="*/ 2147483647 h 200"/>
                <a:gd name="T18" fmla="*/ 2147483647 w 101"/>
                <a:gd name="T19" fmla="*/ 0 h 200"/>
                <a:gd name="T20" fmla="*/ 2147483647 w 101"/>
                <a:gd name="T21" fmla="*/ 2147483647 h 200"/>
                <a:gd name="T22" fmla="*/ 2147483647 w 101"/>
                <a:gd name="T23" fmla="*/ 2147483647 h 200"/>
                <a:gd name="T24" fmla="*/ 2147483647 w 101"/>
                <a:gd name="T25" fmla="*/ 2147483647 h 200"/>
                <a:gd name="T26" fmla="*/ 0 w 101"/>
                <a:gd name="T27" fmla="*/ 2147483647 h 200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1" h="200">
                  <a:moveTo>
                    <a:pt x="0" y="112"/>
                  </a:moveTo>
                  <a:lnTo>
                    <a:pt x="19" y="133"/>
                  </a:lnTo>
                  <a:lnTo>
                    <a:pt x="7" y="188"/>
                  </a:lnTo>
                  <a:lnTo>
                    <a:pt x="38" y="200"/>
                  </a:lnTo>
                  <a:lnTo>
                    <a:pt x="64" y="167"/>
                  </a:lnTo>
                  <a:lnTo>
                    <a:pt x="50" y="123"/>
                  </a:lnTo>
                  <a:lnTo>
                    <a:pt x="83" y="79"/>
                  </a:lnTo>
                  <a:lnTo>
                    <a:pt x="101" y="23"/>
                  </a:lnTo>
                  <a:lnTo>
                    <a:pt x="101" y="12"/>
                  </a:lnTo>
                  <a:lnTo>
                    <a:pt x="95" y="0"/>
                  </a:lnTo>
                  <a:lnTo>
                    <a:pt x="64" y="35"/>
                  </a:lnTo>
                  <a:lnTo>
                    <a:pt x="64" y="56"/>
                  </a:lnTo>
                  <a:lnTo>
                    <a:pt x="45" y="56"/>
                  </a:lnTo>
                  <a:lnTo>
                    <a:pt x="0" y="1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87" name="Freeform 476"/>
            <p:cNvSpPr>
              <a:spLocks/>
            </p:cNvSpPr>
            <p:nvPr>
              <p:custDataLst>
                <p:tags r:id="rId395"/>
              </p:custDataLst>
            </p:nvPr>
          </p:nvSpPr>
          <p:spPr bwMode="auto">
            <a:xfrm>
              <a:off x="9651919" y="3774645"/>
              <a:ext cx="94229" cy="114300"/>
            </a:xfrm>
            <a:custGeom>
              <a:avLst/>
              <a:gdLst>
                <a:gd name="T0" fmla="*/ 0 w 50"/>
                <a:gd name="T1" fmla="*/ 2147483647 h 144"/>
                <a:gd name="T2" fmla="*/ 2147483647 w 50"/>
                <a:gd name="T3" fmla="*/ 2147483647 h 144"/>
                <a:gd name="T4" fmla="*/ 2147483647 w 50"/>
                <a:gd name="T5" fmla="*/ 0 h 144"/>
                <a:gd name="T6" fmla="*/ 2147483647 w 50"/>
                <a:gd name="T7" fmla="*/ 2147483647 h 144"/>
                <a:gd name="T8" fmla="*/ 2147483647 w 50"/>
                <a:gd name="T9" fmla="*/ 2147483647 h 144"/>
                <a:gd name="T10" fmla="*/ 0 w 50"/>
                <a:gd name="T11" fmla="*/ 2147483647 h 1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44">
                  <a:moveTo>
                    <a:pt x="0" y="144"/>
                  </a:moveTo>
                  <a:lnTo>
                    <a:pt x="6" y="33"/>
                  </a:lnTo>
                  <a:lnTo>
                    <a:pt x="31" y="0"/>
                  </a:lnTo>
                  <a:lnTo>
                    <a:pt x="50" y="89"/>
                  </a:lnTo>
                  <a:lnTo>
                    <a:pt x="31" y="133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88" name="Freeform 477"/>
            <p:cNvSpPr>
              <a:spLocks/>
            </p:cNvSpPr>
            <p:nvPr>
              <p:custDataLst>
                <p:tags r:id="rId396"/>
              </p:custDataLst>
            </p:nvPr>
          </p:nvSpPr>
          <p:spPr bwMode="auto">
            <a:xfrm>
              <a:off x="9651919" y="3774645"/>
              <a:ext cx="94229" cy="114300"/>
            </a:xfrm>
            <a:custGeom>
              <a:avLst/>
              <a:gdLst>
                <a:gd name="T0" fmla="*/ 0 w 50"/>
                <a:gd name="T1" fmla="*/ 2147483647 h 144"/>
                <a:gd name="T2" fmla="*/ 2147483647 w 50"/>
                <a:gd name="T3" fmla="*/ 2147483647 h 144"/>
                <a:gd name="T4" fmla="*/ 2147483647 w 50"/>
                <a:gd name="T5" fmla="*/ 0 h 144"/>
                <a:gd name="T6" fmla="*/ 2147483647 w 50"/>
                <a:gd name="T7" fmla="*/ 2147483647 h 144"/>
                <a:gd name="T8" fmla="*/ 2147483647 w 50"/>
                <a:gd name="T9" fmla="*/ 2147483647 h 144"/>
                <a:gd name="T10" fmla="*/ 0 w 50"/>
                <a:gd name="T11" fmla="*/ 2147483647 h 1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44">
                  <a:moveTo>
                    <a:pt x="0" y="144"/>
                  </a:moveTo>
                  <a:lnTo>
                    <a:pt x="6" y="33"/>
                  </a:lnTo>
                  <a:lnTo>
                    <a:pt x="31" y="0"/>
                  </a:lnTo>
                  <a:lnTo>
                    <a:pt x="50" y="89"/>
                  </a:lnTo>
                  <a:lnTo>
                    <a:pt x="31" y="133"/>
                  </a:lnTo>
                  <a:lnTo>
                    <a:pt x="0" y="1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89" name="Freeform 478"/>
            <p:cNvSpPr>
              <a:spLocks/>
            </p:cNvSpPr>
            <p:nvPr>
              <p:custDataLst>
                <p:tags r:id="rId397"/>
              </p:custDataLst>
            </p:nvPr>
          </p:nvSpPr>
          <p:spPr bwMode="auto">
            <a:xfrm>
              <a:off x="9651919" y="3774645"/>
              <a:ext cx="94229" cy="114300"/>
            </a:xfrm>
            <a:custGeom>
              <a:avLst/>
              <a:gdLst>
                <a:gd name="T0" fmla="*/ 0 w 50"/>
                <a:gd name="T1" fmla="*/ 2147483647 h 144"/>
                <a:gd name="T2" fmla="*/ 2147483647 w 50"/>
                <a:gd name="T3" fmla="*/ 2147483647 h 144"/>
                <a:gd name="T4" fmla="*/ 2147483647 w 50"/>
                <a:gd name="T5" fmla="*/ 0 h 144"/>
                <a:gd name="T6" fmla="*/ 2147483647 w 50"/>
                <a:gd name="T7" fmla="*/ 2147483647 h 144"/>
                <a:gd name="T8" fmla="*/ 2147483647 w 50"/>
                <a:gd name="T9" fmla="*/ 2147483647 h 144"/>
                <a:gd name="T10" fmla="*/ 0 w 50"/>
                <a:gd name="T11" fmla="*/ 2147483647 h 1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44">
                  <a:moveTo>
                    <a:pt x="0" y="144"/>
                  </a:moveTo>
                  <a:lnTo>
                    <a:pt x="6" y="33"/>
                  </a:lnTo>
                  <a:lnTo>
                    <a:pt x="31" y="0"/>
                  </a:lnTo>
                  <a:lnTo>
                    <a:pt x="50" y="89"/>
                  </a:lnTo>
                  <a:lnTo>
                    <a:pt x="31" y="133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90" name="Freeform 479"/>
            <p:cNvSpPr>
              <a:spLocks/>
            </p:cNvSpPr>
            <p:nvPr>
              <p:custDataLst>
                <p:tags r:id="rId398"/>
              </p:custDataLst>
            </p:nvPr>
          </p:nvSpPr>
          <p:spPr bwMode="auto">
            <a:xfrm>
              <a:off x="9651919" y="3774645"/>
              <a:ext cx="94229" cy="114300"/>
            </a:xfrm>
            <a:custGeom>
              <a:avLst/>
              <a:gdLst>
                <a:gd name="T0" fmla="*/ 0 w 50"/>
                <a:gd name="T1" fmla="*/ 2147483647 h 144"/>
                <a:gd name="T2" fmla="*/ 2147483647 w 50"/>
                <a:gd name="T3" fmla="*/ 2147483647 h 144"/>
                <a:gd name="T4" fmla="*/ 2147483647 w 50"/>
                <a:gd name="T5" fmla="*/ 0 h 144"/>
                <a:gd name="T6" fmla="*/ 2147483647 w 50"/>
                <a:gd name="T7" fmla="*/ 2147483647 h 144"/>
                <a:gd name="T8" fmla="*/ 2147483647 w 50"/>
                <a:gd name="T9" fmla="*/ 2147483647 h 144"/>
                <a:gd name="T10" fmla="*/ 0 w 50"/>
                <a:gd name="T11" fmla="*/ 2147483647 h 1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0" h="144">
                  <a:moveTo>
                    <a:pt x="0" y="144"/>
                  </a:moveTo>
                  <a:lnTo>
                    <a:pt x="6" y="33"/>
                  </a:lnTo>
                  <a:lnTo>
                    <a:pt x="31" y="0"/>
                  </a:lnTo>
                  <a:lnTo>
                    <a:pt x="50" y="89"/>
                  </a:lnTo>
                  <a:lnTo>
                    <a:pt x="31" y="133"/>
                  </a:lnTo>
                  <a:lnTo>
                    <a:pt x="0" y="1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91" name="Freeform 480"/>
            <p:cNvSpPr>
              <a:spLocks/>
            </p:cNvSpPr>
            <p:nvPr>
              <p:custDataLst>
                <p:tags r:id="rId399"/>
              </p:custDataLst>
            </p:nvPr>
          </p:nvSpPr>
          <p:spPr bwMode="auto">
            <a:xfrm>
              <a:off x="8900082" y="4215985"/>
              <a:ext cx="208509" cy="212725"/>
            </a:xfrm>
            <a:custGeom>
              <a:avLst/>
              <a:gdLst>
                <a:gd name="T0" fmla="*/ 0 w 113"/>
                <a:gd name="T1" fmla="*/ 2147483647 h 267"/>
                <a:gd name="T2" fmla="*/ 2147483647 w 113"/>
                <a:gd name="T3" fmla="*/ 2147483647 h 267"/>
                <a:gd name="T4" fmla="*/ 2147483647 w 113"/>
                <a:gd name="T5" fmla="*/ 2147483647 h 267"/>
                <a:gd name="T6" fmla="*/ 2147483647 w 113"/>
                <a:gd name="T7" fmla="*/ 2147483647 h 267"/>
                <a:gd name="T8" fmla="*/ 2147483647 w 113"/>
                <a:gd name="T9" fmla="*/ 2147483647 h 267"/>
                <a:gd name="T10" fmla="*/ 2147483647 w 113"/>
                <a:gd name="T11" fmla="*/ 2147483647 h 267"/>
                <a:gd name="T12" fmla="*/ 2147483647 w 113"/>
                <a:gd name="T13" fmla="*/ 2147483647 h 267"/>
                <a:gd name="T14" fmla="*/ 2147483647 w 113"/>
                <a:gd name="T15" fmla="*/ 2147483647 h 267"/>
                <a:gd name="T16" fmla="*/ 2147483647 w 113"/>
                <a:gd name="T17" fmla="*/ 2147483647 h 267"/>
                <a:gd name="T18" fmla="*/ 2147483647 w 113"/>
                <a:gd name="T19" fmla="*/ 2147483647 h 267"/>
                <a:gd name="T20" fmla="*/ 2147483647 w 113"/>
                <a:gd name="T21" fmla="*/ 2147483647 h 267"/>
                <a:gd name="T22" fmla="*/ 2147483647 w 113"/>
                <a:gd name="T23" fmla="*/ 2147483647 h 267"/>
                <a:gd name="T24" fmla="*/ 2147483647 w 113"/>
                <a:gd name="T25" fmla="*/ 0 h 267"/>
                <a:gd name="T26" fmla="*/ 2147483647 w 113"/>
                <a:gd name="T27" fmla="*/ 2147483647 h 267"/>
                <a:gd name="T28" fmla="*/ 2147483647 w 113"/>
                <a:gd name="T29" fmla="*/ 2147483647 h 267"/>
                <a:gd name="T30" fmla="*/ 2147483647 w 113"/>
                <a:gd name="T31" fmla="*/ 2147483647 h 267"/>
                <a:gd name="T32" fmla="*/ 0 w 113"/>
                <a:gd name="T33" fmla="*/ 2147483647 h 2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3" h="267">
                  <a:moveTo>
                    <a:pt x="0" y="65"/>
                  </a:moveTo>
                  <a:lnTo>
                    <a:pt x="20" y="100"/>
                  </a:lnTo>
                  <a:lnTo>
                    <a:pt x="13" y="167"/>
                  </a:lnTo>
                  <a:lnTo>
                    <a:pt x="50" y="144"/>
                  </a:lnTo>
                  <a:lnTo>
                    <a:pt x="69" y="167"/>
                  </a:lnTo>
                  <a:lnTo>
                    <a:pt x="81" y="233"/>
                  </a:lnTo>
                  <a:lnTo>
                    <a:pt x="75" y="267"/>
                  </a:lnTo>
                  <a:lnTo>
                    <a:pt x="113" y="267"/>
                  </a:lnTo>
                  <a:lnTo>
                    <a:pt x="94" y="179"/>
                  </a:lnTo>
                  <a:lnTo>
                    <a:pt x="57" y="112"/>
                  </a:lnTo>
                  <a:lnTo>
                    <a:pt x="69" y="79"/>
                  </a:lnTo>
                  <a:lnTo>
                    <a:pt x="44" y="56"/>
                  </a:lnTo>
                  <a:lnTo>
                    <a:pt x="31" y="0"/>
                  </a:lnTo>
                  <a:lnTo>
                    <a:pt x="20" y="12"/>
                  </a:lnTo>
                  <a:lnTo>
                    <a:pt x="25" y="44"/>
                  </a:lnTo>
                  <a:lnTo>
                    <a:pt x="20" y="3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92" name="Freeform 481"/>
            <p:cNvSpPr>
              <a:spLocks/>
            </p:cNvSpPr>
            <p:nvPr>
              <p:custDataLst>
                <p:tags r:id="rId400"/>
              </p:custDataLst>
            </p:nvPr>
          </p:nvSpPr>
          <p:spPr bwMode="auto">
            <a:xfrm>
              <a:off x="8900082" y="4215985"/>
              <a:ext cx="208509" cy="212725"/>
            </a:xfrm>
            <a:custGeom>
              <a:avLst/>
              <a:gdLst>
                <a:gd name="T0" fmla="*/ 0 w 113"/>
                <a:gd name="T1" fmla="*/ 2147483647 h 267"/>
                <a:gd name="T2" fmla="*/ 2147483647 w 113"/>
                <a:gd name="T3" fmla="*/ 2147483647 h 267"/>
                <a:gd name="T4" fmla="*/ 2147483647 w 113"/>
                <a:gd name="T5" fmla="*/ 2147483647 h 267"/>
                <a:gd name="T6" fmla="*/ 2147483647 w 113"/>
                <a:gd name="T7" fmla="*/ 2147483647 h 267"/>
                <a:gd name="T8" fmla="*/ 2147483647 w 113"/>
                <a:gd name="T9" fmla="*/ 2147483647 h 267"/>
                <a:gd name="T10" fmla="*/ 2147483647 w 113"/>
                <a:gd name="T11" fmla="*/ 2147483647 h 267"/>
                <a:gd name="T12" fmla="*/ 2147483647 w 113"/>
                <a:gd name="T13" fmla="*/ 2147483647 h 267"/>
                <a:gd name="T14" fmla="*/ 2147483647 w 113"/>
                <a:gd name="T15" fmla="*/ 2147483647 h 267"/>
                <a:gd name="T16" fmla="*/ 2147483647 w 113"/>
                <a:gd name="T17" fmla="*/ 2147483647 h 267"/>
                <a:gd name="T18" fmla="*/ 2147483647 w 113"/>
                <a:gd name="T19" fmla="*/ 2147483647 h 267"/>
                <a:gd name="T20" fmla="*/ 2147483647 w 113"/>
                <a:gd name="T21" fmla="*/ 2147483647 h 267"/>
                <a:gd name="T22" fmla="*/ 2147483647 w 113"/>
                <a:gd name="T23" fmla="*/ 2147483647 h 267"/>
                <a:gd name="T24" fmla="*/ 2147483647 w 113"/>
                <a:gd name="T25" fmla="*/ 0 h 267"/>
                <a:gd name="T26" fmla="*/ 2147483647 w 113"/>
                <a:gd name="T27" fmla="*/ 2147483647 h 267"/>
                <a:gd name="T28" fmla="*/ 2147483647 w 113"/>
                <a:gd name="T29" fmla="*/ 2147483647 h 267"/>
                <a:gd name="T30" fmla="*/ 2147483647 w 113"/>
                <a:gd name="T31" fmla="*/ 2147483647 h 267"/>
                <a:gd name="T32" fmla="*/ 0 w 113"/>
                <a:gd name="T33" fmla="*/ 2147483647 h 2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3" h="267">
                  <a:moveTo>
                    <a:pt x="0" y="65"/>
                  </a:moveTo>
                  <a:lnTo>
                    <a:pt x="20" y="100"/>
                  </a:lnTo>
                  <a:lnTo>
                    <a:pt x="13" y="167"/>
                  </a:lnTo>
                  <a:lnTo>
                    <a:pt x="50" y="144"/>
                  </a:lnTo>
                  <a:lnTo>
                    <a:pt x="69" y="167"/>
                  </a:lnTo>
                  <a:lnTo>
                    <a:pt x="81" y="233"/>
                  </a:lnTo>
                  <a:lnTo>
                    <a:pt x="75" y="267"/>
                  </a:lnTo>
                  <a:lnTo>
                    <a:pt x="113" y="267"/>
                  </a:lnTo>
                  <a:lnTo>
                    <a:pt x="94" y="179"/>
                  </a:lnTo>
                  <a:lnTo>
                    <a:pt x="57" y="112"/>
                  </a:lnTo>
                  <a:lnTo>
                    <a:pt x="69" y="79"/>
                  </a:lnTo>
                  <a:lnTo>
                    <a:pt x="44" y="56"/>
                  </a:lnTo>
                  <a:lnTo>
                    <a:pt x="31" y="0"/>
                  </a:lnTo>
                  <a:lnTo>
                    <a:pt x="20" y="12"/>
                  </a:lnTo>
                  <a:lnTo>
                    <a:pt x="25" y="44"/>
                  </a:lnTo>
                  <a:lnTo>
                    <a:pt x="20" y="35"/>
                  </a:lnTo>
                  <a:lnTo>
                    <a:pt x="0" y="6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93" name="Freeform 482"/>
            <p:cNvSpPr>
              <a:spLocks/>
            </p:cNvSpPr>
            <p:nvPr>
              <p:custDataLst>
                <p:tags r:id="rId401"/>
              </p:custDataLst>
            </p:nvPr>
          </p:nvSpPr>
          <p:spPr bwMode="auto">
            <a:xfrm>
              <a:off x="8900082" y="4215985"/>
              <a:ext cx="208509" cy="212725"/>
            </a:xfrm>
            <a:custGeom>
              <a:avLst/>
              <a:gdLst>
                <a:gd name="T0" fmla="*/ 0 w 113"/>
                <a:gd name="T1" fmla="*/ 2147483647 h 267"/>
                <a:gd name="T2" fmla="*/ 2147483647 w 113"/>
                <a:gd name="T3" fmla="*/ 2147483647 h 267"/>
                <a:gd name="T4" fmla="*/ 2147483647 w 113"/>
                <a:gd name="T5" fmla="*/ 2147483647 h 267"/>
                <a:gd name="T6" fmla="*/ 2147483647 w 113"/>
                <a:gd name="T7" fmla="*/ 2147483647 h 267"/>
                <a:gd name="T8" fmla="*/ 2147483647 w 113"/>
                <a:gd name="T9" fmla="*/ 2147483647 h 267"/>
                <a:gd name="T10" fmla="*/ 2147483647 w 113"/>
                <a:gd name="T11" fmla="*/ 2147483647 h 267"/>
                <a:gd name="T12" fmla="*/ 2147483647 w 113"/>
                <a:gd name="T13" fmla="*/ 2147483647 h 267"/>
                <a:gd name="T14" fmla="*/ 2147483647 w 113"/>
                <a:gd name="T15" fmla="*/ 2147483647 h 267"/>
                <a:gd name="T16" fmla="*/ 2147483647 w 113"/>
                <a:gd name="T17" fmla="*/ 2147483647 h 267"/>
                <a:gd name="T18" fmla="*/ 2147483647 w 113"/>
                <a:gd name="T19" fmla="*/ 2147483647 h 267"/>
                <a:gd name="T20" fmla="*/ 2147483647 w 113"/>
                <a:gd name="T21" fmla="*/ 2147483647 h 267"/>
                <a:gd name="T22" fmla="*/ 2147483647 w 113"/>
                <a:gd name="T23" fmla="*/ 2147483647 h 267"/>
                <a:gd name="T24" fmla="*/ 2147483647 w 113"/>
                <a:gd name="T25" fmla="*/ 0 h 267"/>
                <a:gd name="T26" fmla="*/ 2147483647 w 113"/>
                <a:gd name="T27" fmla="*/ 2147483647 h 267"/>
                <a:gd name="T28" fmla="*/ 2147483647 w 113"/>
                <a:gd name="T29" fmla="*/ 2147483647 h 267"/>
                <a:gd name="T30" fmla="*/ 2147483647 w 113"/>
                <a:gd name="T31" fmla="*/ 2147483647 h 267"/>
                <a:gd name="T32" fmla="*/ 0 w 113"/>
                <a:gd name="T33" fmla="*/ 2147483647 h 2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3" h="267">
                  <a:moveTo>
                    <a:pt x="0" y="65"/>
                  </a:moveTo>
                  <a:lnTo>
                    <a:pt x="20" y="100"/>
                  </a:lnTo>
                  <a:lnTo>
                    <a:pt x="13" y="167"/>
                  </a:lnTo>
                  <a:lnTo>
                    <a:pt x="50" y="144"/>
                  </a:lnTo>
                  <a:lnTo>
                    <a:pt x="69" y="167"/>
                  </a:lnTo>
                  <a:lnTo>
                    <a:pt x="81" y="233"/>
                  </a:lnTo>
                  <a:lnTo>
                    <a:pt x="75" y="267"/>
                  </a:lnTo>
                  <a:lnTo>
                    <a:pt x="113" y="267"/>
                  </a:lnTo>
                  <a:lnTo>
                    <a:pt x="94" y="179"/>
                  </a:lnTo>
                  <a:lnTo>
                    <a:pt x="57" y="112"/>
                  </a:lnTo>
                  <a:lnTo>
                    <a:pt x="69" y="79"/>
                  </a:lnTo>
                  <a:lnTo>
                    <a:pt x="44" y="56"/>
                  </a:lnTo>
                  <a:lnTo>
                    <a:pt x="31" y="0"/>
                  </a:lnTo>
                  <a:lnTo>
                    <a:pt x="20" y="12"/>
                  </a:lnTo>
                  <a:lnTo>
                    <a:pt x="25" y="44"/>
                  </a:lnTo>
                  <a:lnTo>
                    <a:pt x="20" y="3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94" name="Freeform 483"/>
            <p:cNvSpPr>
              <a:spLocks/>
            </p:cNvSpPr>
            <p:nvPr>
              <p:custDataLst>
                <p:tags r:id="rId402"/>
              </p:custDataLst>
            </p:nvPr>
          </p:nvSpPr>
          <p:spPr bwMode="auto">
            <a:xfrm>
              <a:off x="8900082" y="4215985"/>
              <a:ext cx="208509" cy="212725"/>
            </a:xfrm>
            <a:custGeom>
              <a:avLst/>
              <a:gdLst>
                <a:gd name="T0" fmla="*/ 0 w 113"/>
                <a:gd name="T1" fmla="*/ 2147483647 h 267"/>
                <a:gd name="T2" fmla="*/ 2147483647 w 113"/>
                <a:gd name="T3" fmla="*/ 2147483647 h 267"/>
                <a:gd name="T4" fmla="*/ 2147483647 w 113"/>
                <a:gd name="T5" fmla="*/ 2147483647 h 267"/>
                <a:gd name="T6" fmla="*/ 2147483647 w 113"/>
                <a:gd name="T7" fmla="*/ 2147483647 h 267"/>
                <a:gd name="T8" fmla="*/ 2147483647 w 113"/>
                <a:gd name="T9" fmla="*/ 2147483647 h 267"/>
                <a:gd name="T10" fmla="*/ 2147483647 w 113"/>
                <a:gd name="T11" fmla="*/ 2147483647 h 267"/>
                <a:gd name="T12" fmla="*/ 2147483647 w 113"/>
                <a:gd name="T13" fmla="*/ 2147483647 h 267"/>
                <a:gd name="T14" fmla="*/ 2147483647 w 113"/>
                <a:gd name="T15" fmla="*/ 2147483647 h 267"/>
                <a:gd name="T16" fmla="*/ 2147483647 w 113"/>
                <a:gd name="T17" fmla="*/ 2147483647 h 267"/>
                <a:gd name="T18" fmla="*/ 2147483647 w 113"/>
                <a:gd name="T19" fmla="*/ 2147483647 h 267"/>
                <a:gd name="T20" fmla="*/ 2147483647 w 113"/>
                <a:gd name="T21" fmla="*/ 2147483647 h 267"/>
                <a:gd name="T22" fmla="*/ 2147483647 w 113"/>
                <a:gd name="T23" fmla="*/ 2147483647 h 267"/>
                <a:gd name="T24" fmla="*/ 2147483647 w 113"/>
                <a:gd name="T25" fmla="*/ 0 h 267"/>
                <a:gd name="T26" fmla="*/ 2147483647 w 113"/>
                <a:gd name="T27" fmla="*/ 2147483647 h 267"/>
                <a:gd name="T28" fmla="*/ 2147483647 w 113"/>
                <a:gd name="T29" fmla="*/ 2147483647 h 267"/>
                <a:gd name="T30" fmla="*/ 2147483647 w 113"/>
                <a:gd name="T31" fmla="*/ 2147483647 h 267"/>
                <a:gd name="T32" fmla="*/ 0 w 113"/>
                <a:gd name="T33" fmla="*/ 2147483647 h 2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3" h="267">
                  <a:moveTo>
                    <a:pt x="0" y="65"/>
                  </a:moveTo>
                  <a:lnTo>
                    <a:pt x="20" y="100"/>
                  </a:lnTo>
                  <a:lnTo>
                    <a:pt x="13" y="167"/>
                  </a:lnTo>
                  <a:lnTo>
                    <a:pt x="50" y="144"/>
                  </a:lnTo>
                  <a:lnTo>
                    <a:pt x="69" y="167"/>
                  </a:lnTo>
                  <a:lnTo>
                    <a:pt x="81" y="233"/>
                  </a:lnTo>
                  <a:lnTo>
                    <a:pt x="75" y="267"/>
                  </a:lnTo>
                  <a:lnTo>
                    <a:pt x="113" y="267"/>
                  </a:lnTo>
                  <a:lnTo>
                    <a:pt x="94" y="179"/>
                  </a:lnTo>
                  <a:lnTo>
                    <a:pt x="57" y="112"/>
                  </a:lnTo>
                  <a:lnTo>
                    <a:pt x="69" y="79"/>
                  </a:lnTo>
                  <a:lnTo>
                    <a:pt x="44" y="56"/>
                  </a:lnTo>
                  <a:lnTo>
                    <a:pt x="31" y="0"/>
                  </a:lnTo>
                  <a:lnTo>
                    <a:pt x="20" y="12"/>
                  </a:lnTo>
                  <a:lnTo>
                    <a:pt x="25" y="44"/>
                  </a:lnTo>
                  <a:lnTo>
                    <a:pt x="20" y="35"/>
                  </a:lnTo>
                  <a:lnTo>
                    <a:pt x="0" y="6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95" name="Freeform 484"/>
            <p:cNvSpPr>
              <a:spLocks/>
            </p:cNvSpPr>
            <p:nvPr>
              <p:custDataLst>
                <p:tags r:id="rId403"/>
              </p:custDataLst>
            </p:nvPr>
          </p:nvSpPr>
          <p:spPr bwMode="auto">
            <a:xfrm>
              <a:off x="6179451" y="3411140"/>
              <a:ext cx="34083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13" y="0"/>
                  </a:lnTo>
                  <a:lnTo>
                    <a:pt x="19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96" name="Freeform 485"/>
            <p:cNvSpPr>
              <a:spLocks/>
            </p:cNvSpPr>
            <p:nvPr>
              <p:custDataLst>
                <p:tags r:id="rId404"/>
              </p:custDataLst>
            </p:nvPr>
          </p:nvSpPr>
          <p:spPr bwMode="auto">
            <a:xfrm>
              <a:off x="6179451" y="3411140"/>
              <a:ext cx="34083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13" y="0"/>
                  </a:lnTo>
                  <a:lnTo>
                    <a:pt x="19" y="35"/>
                  </a:lnTo>
                  <a:lnTo>
                    <a:pt x="0" y="23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97" name="Freeform 486"/>
            <p:cNvSpPr>
              <a:spLocks/>
            </p:cNvSpPr>
            <p:nvPr>
              <p:custDataLst>
                <p:tags r:id="rId405"/>
              </p:custDataLst>
            </p:nvPr>
          </p:nvSpPr>
          <p:spPr bwMode="auto">
            <a:xfrm>
              <a:off x="6179451" y="3411140"/>
              <a:ext cx="34083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13" y="0"/>
                  </a:lnTo>
                  <a:lnTo>
                    <a:pt x="19" y="35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98" name="Freeform 487"/>
            <p:cNvSpPr>
              <a:spLocks/>
            </p:cNvSpPr>
            <p:nvPr>
              <p:custDataLst>
                <p:tags r:id="rId406"/>
              </p:custDataLst>
            </p:nvPr>
          </p:nvSpPr>
          <p:spPr bwMode="auto">
            <a:xfrm>
              <a:off x="6179451" y="3411140"/>
              <a:ext cx="34083" cy="26987"/>
            </a:xfrm>
            <a:custGeom>
              <a:avLst/>
              <a:gdLst>
                <a:gd name="T0" fmla="*/ 0 w 19"/>
                <a:gd name="T1" fmla="*/ 2147483647 h 35"/>
                <a:gd name="T2" fmla="*/ 2147483647 w 19"/>
                <a:gd name="T3" fmla="*/ 0 h 35"/>
                <a:gd name="T4" fmla="*/ 2147483647 w 19"/>
                <a:gd name="T5" fmla="*/ 2147483647 h 35"/>
                <a:gd name="T6" fmla="*/ 0 w 19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5">
                  <a:moveTo>
                    <a:pt x="0" y="23"/>
                  </a:moveTo>
                  <a:lnTo>
                    <a:pt x="13" y="0"/>
                  </a:lnTo>
                  <a:lnTo>
                    <a:pt x="19" y="35"/>
                  </a:lnTo>
                  <a:lnTo>
                    <a:pt x="0" y="23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599" name="Freeform 488"/>
            <p:cNvSpPr>
              <a:spLocks/>
            </p:cNvSpPr>
            <p:nvPr>
              <p:custDataLst>
                <p:tags r:id="rId407"/>
              </p:custDataLst>
            </p:nvPr>
          </p:nvSpPr>
          <p:spPr bwMode="auto">
            <a:xfrm>
              <a:off x="8900097" y="4630344"/>
              <a:ext cx="116284" cy="123825"/>
            </a:xfrm>
            <a:custGeom>
              <a:avLst/>
              <a:gdLst>
                <a:gd name="T0" fmla="*/ 0 w 63"/>
                <a:gd name="T1" fmla="*/ 0 h 155"/>
                <a:gd name="T2" fmla="*/ 2147483647 w 63"/>
                <a:gd name="T3" fmla="*/ 0 h 155"/>
                <a:gd name="T4" fmla="*/ 2147483647 w 63"/>
                <a:gd name="T5" fmla="*/ 2147483647 h 155"/>
                <a:gd name="T6" fmla="*/ 2147483647 w 63"/>
                <a:gd name="T7" fmla="*/ 2147483647 h 155"/>
                <a:gd name="T8" fmla="*/ 2147483647 w 63"/>
                <a:gd name="T9" fmla="*/ 2147483647 h 155"/>
                <a:gd name="T10" fmla="*/ 2147483647 w 63"/>
                <a:gd name="T11" fmla="*/ 2147483647 h 155"/>
                <a:gd name="T12" fmla="*/ 2147483647 w 63"/>
                <a:gd name="T13" fmla="*/ 2147483647 h 155"/>
                <a:gd name="T14" fmla="*/ 2147483647 w 63"/>
                <a:gd name="T15" fmla="*/ 2147483647 h 155"/>
                <a:gd name="T16" fmla="*/ 0 w 63"/>
                <a:gd name="T17" fmla="*/ 0 h 1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55">
                  <a:moveTo>
                    <a:pt x="0" y="0"/>
                  </a:moveTo>
                  <a:lnTo>
                    <a:pt x="13" y="0"/>
                  </a:lnTo>
                  <a:lnTo>
                    <a:pt x="20" y="34"/>
                  </a:lnTo>
                  <a:lnTo>
                    <a:pt x="31" y="11"/>
                  </a:lnTo>
                  <a:lnTo>
                    <a:pt x="50" y="44"/>
                  </a:lnTo>
                  <a:lnTo>
                    <a:pt x="63" y="155"/>
                  </a:lnTo>
                  <a:lnTo>
                    <a:pt x="57" y="155"/>
                  </a:lnTo>
                  <a:lnTo>
                    <a:pt x="20" y="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00" name="Freeform 489"/>
            <p:cNvSpPr>
              <a:spLocks/>
            </p:cNvSpPr>
            <p:nvPr>
              <p:custDataLst>
                <p:tags r:id="rId408"/>
              </p:custDataLst>
            </p:nvPr>
          </p:nvSpPr>
          <p:spPr bwMode="auto">
            <a:xfrm>
              <a:off x="8900097" y="4630344"/>
              <a:ext cx="116284" cy="123825"/>
            </a:xfrm>
            <a:custGeom>
              <a:avLst/>
              <a:gdLst>
                <a:gd name="T0" fmla="*/ 0 w 63"/>
                <a:gd name="T1" fmla="*/ 0 h 155"/>
                <a:gd name="T2" fmla="*/ 2147483647 w 63"/>
                <a:gd name="T3" fmla="*/ 0 h 155"/>
                <a:gd name="T4" fmla="*/ 2147483647 w 63"/>
                <a:gd name="T5" fmla="*/ 2147483647 h 155"/>
                <a:gd name="T6" fmla="*/ 2147483647 w 63"/>
                <a:gd name="T7" fmla="*/ 2147483647 h 155"/>
                <a:gd name="T8" fmla="*/ 2147483647 w 63"/>
                <a:gd name="T9" fmla="*/ 2147483647 h 155"/>
                <a:gd name="T10" fmla="*/ 2147483647 w 63"/>
                <a:gd name="T11" fmla="*/ 2147483647 h 155"/>
                <a:gd name="T12" fmla="*/ 2147483647 w 63"/>
                <a:gd name="T13" fmla="*/ 2147483647 h 155"/>
                <a:gd name="T14" fmla="*/ 2147483647 w 63"/>
                <a:gd name="T15" fmla="*/ 2147483647 h 155"/>
                <a:gd name="T16" fmla="*/ 0 w 63"/>
                <a:gd name="T17" fmla="*/ 0 h 1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55">
                  <a:moveTo>
                    <a:pt x="0" y="0"/>
                  </a:moveTo>
                  <a:lnTo>
                    <a:pt x="13" y="0"/>
                  </a:lnTo>
                  <a:lnTo>
                    <a:pt x="20" y="34"/>
                  </a:lnTo>
                  <a:lnTo>
                    <a:pt x="31" y="11"/>
                  </a:lnTo>
                  <a:lnTo>
                    <a:pt x="50" y="44"/>
                  </a:lnTo>
                  <a:lnTo>
                    <a:pt x="63" y="155"/>
                  </a:lnTo>
                  <a:lnTo>
                    <a:pt x="57" y="155"/>
                  </a:lnTo>
                  <a:lnTo>
                    <a:pt x="20" y="111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01" name="Freeform 490"/>
            <p:cNvSpPr>
              <a:spLocks/>
            </p:cNvSpPr>
            <p:nvPr>
              <p:custDataLst>
                <p:tags r:id="rId409"/>
              </p:custDataLst>
            </p:nvPr>
          </p:nvSpPr>
          <p:spPr bwMode="auto">
            <a:xfrm>
              <a:off x="8900097" y="4630344"/>
              <a:ext cx="116284" cy="123825"/>
            </a:xfrm>
            <a:custGeom>
              <a:avLst/>
              <a:gdLst>
                <a:gd name="T0" fmla="*/ 0 w 63"/>
                <a:gd name="T1" fmla="*/ 0 h 155"/>
                <a:gd name="T2" fmla="*/ 2147483647 w 63"/>
                <a:gd name="T3" fmla="*/ 0 h 155"/>
                <a:gd name="T4" fmla="*/ 2147483647 w 63"/>
                <a:gd name="T5" fmla="*/ 2147483647 h 155"/>
                <a:gd name="T6" fmla="*/ 2147483647 w 63"/>
                <a:gd name="T7" fmla="*/ 2147483647 h 155"/>
                <a:gd name="T8" fmla="*/ 2147483647 w 63"/>
                <a:gd name="T9" fmla="*/ 2147483647 h 155"/>
                <a:gd name="T10" fmla="*/ 2147483647 w 63"/>
                <a:gd name="T11" fmla="*/ 2147483647 h 155"/>
                <a:gd name="T12" fmla="*/ 2147483647 w 63"/>
                <a:gd name="T13" fmla="*/ 2147483647 h 155"/>
                <a:gd name="T14" fmla="*/ 2147483647 w 63"/>
                <a:gd name="T15" fmla="*/ 2147483647 h 155"/>
                <a:gd name="T16" fmla="*/ 0 w 63"/>
                <a:gd name="T17" fmla="*/ 0 h 1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55">
                  <a:moveTo>
                    <a:pt x="0" y="0"/>
                  </a:moveTo>
                  <a:lnTo>
                    <a:pt x="13" y="0"/>
                  </a:lnTo>
                  <a:lnTo>
                    <a:pt x="20" y="34"/>
                  </a:lnTo>
                  <a:lnTo>
                    <a:pt x="31" y="11"/>
                  </a:lnTo>
                  <a:lnTo>
                    <a:pt x="50" y="44"/>
                  </a:lnTo>
                  <a:lnTo>
                    <a:pt x="63" y="155"/>
                  </a:lnTo>
                  <a:lnTo>
                    <a:pt x="57" y="155"/>
                  </a:lnTo>
                  <a:lnTo>
                    <a:pt x="20" y="1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02" name="Freeform 491"/>
            <p:cNvSpPr>
              <a:spLocks/>
            </p:cNvSpPr>
            <p:nvPr>
              <p:custDataLst>
                <p:tags r:id="rId410"/>
              </p:custDataLst>
            </p:nvPr>
          </p:nvSpPr>
          <p:spPr bwMode="auto">
            <a:xfrm>
              <a:off x="8900097" y="4630344"/>
              <a:ext cx="116284" cy="123825"/>
            </a:xfrm>
            <a:custGeom>
              <a:avLst/>
              <a:gdLst>
                <a:gd name="T0" fmla="*/ 0 w 63"/>
                <a:gd name="T1" fmla="*/ 0 h 155"/>
                <a:gd name="T2" fmla="*/ 2147483647 w 63"/>
                <a:gd name="T3" fmla="*/ 0 h 155"/>
                <a:gd name="T4" fmla="*/ 2147483647 w 63"/>
                <a:gd name="T5" fmla="*/ 2147483647 h 155"/>
                <a:gd name="T6" fmla="*/ 2147483647 w 63"/>
                <a:gd name="T7" fmla="*/ 2147483647 h 155"/>
                <a:gd name="T8" fmla="*/ 2147483647 w 63"/>
                <a:gd name="T9" fmla="*/ 2147483647 h 155"/>
                <a:gd name="T10" fmla="*/ 2147483647 w 63"/>
                <a:gd name="T11" fmla="*/ 2147483647 h 155"/>
                <a:gd name="T12" fmla="*/ 2147483647 w 63"/>
                <a:gd name="T13" fmla="*/ 2147483647 h 155"/>
                <a:gd name="T14" fmla="*/ 2147483647 w 63"/>
                <a:gd name="T15" fmla="*/ 2147483647 h 155"/>
                <a:gd name="T16" fmla="*/ 0 w 63"/>
                <a:gd name="T17" fmla="*/ 0 h 1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55">
                  <a:moveTo>
                    <a:pt x="0" y="0"/>
                  </a:moveTo>
                  <a:lnTo>
                    <a:pt x="13" y="0"/>
                  </a:lnTo>
                  <a:lnTo>
                    <a:pt x="20" y="34"/>
                  </a:lnTo>
                  <a:lnTo>
                    <a:pt x="31" y="11"/>
                  </a:lnTo>
                  <a:lnTo>
                    <a:pt x="50" y="44"/>
                  </a:lnTo>
                  <a:lnTo>
                    <a:pt x="63" y="155"/>
                  </a:lnTo>
                  <a:lnTo>
                    <a:pt x="57" y="155"/>
                  </a:lnTo>
                  <a:lnTo>
                    <a:pt x="20" y="111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03" name="Freeform 492"/>
            <p:cNvSpPr>
              <a:spLocks/>
            </p:cNvSpPr>
            <p:nvPr>
              <p:custDataLst>
                <p:tags r:id="rId411"/>
              </p:custDataLst>
            </p:nvPr>
          </p:nvSpPr>
          <p:spPr bwMode="auto">
            <a:xfrm>
              <a:off x="9176762" y="4622406"/>
              <a:ext cx="266652" cy="150813"/>
            </a:xfrm>
            <a:custGeom>
              <a:avLst/>
              <a:gdLst>
                <a:gd name="T0" fmla="*/ 0 w 144"/>
                <a:gd name="T1" fmla="*/ 2147483647 h 188"/>
                <a:gd name="T2" fmla="*/ 2147483647 w 144"/>
                <a:gd name="T3" fmla="*/ 2147483647 h 188"/>
                <a:gd name="T4" fmla="*/ 2147483647 w 144"/>
                <a:gd name="T5" fmla="*/ 2147483647 h 188"/>
                <a:gd name="T6" fmla="*/ 2147483647 w 144"/>
                <a:gd name="T7" fmla="*/ 2147483647 h 188"/>
                <a:gd name="T8" fmla="*/ 2147483647 w 144"/>
                <a:gd name="T9" fmla="*/ 2147483647 h 188"/>
                <a:gd name="T10" fmla="*/ 2147483647 w 144"/>
                <a:gd name="T11" fmla="*/ 2147483647 h 188"/>
                <a:gd name="T12" fmla="*/ 2147483647 w 144"/>
                <a:gd name="T13" fmla="*/ 2147483647 h 188"/>
                <a:gd name="T14" fmla="*/ 2147483647 w 144"/>
                <a:gd name="T15" fmla="*/ 2147483647 h 188"/>
                <a:gd name="T16" fmla="*/ 2147483647 w 144"/>
                <a:gd name="T17" fmla="*/ 0 h 188"/>
                <a:gd name="T18" fmla="*/ 2147483647 w 144"/>
                <a:gd name="T19" fmla="*/ 2147483647 h 188"/>
                <a:gd name="T20" fmla="*/ 2147483647 w 144"/>
                <a:gd name="T21" fmla="*/ 2147483647 h 188"/>
                <a:gd name="T22" fmla="*/ 2147483647 w 144"/>
                <a:gd name="T23" fmla="*/ 2147483647 h 188"/>
                <a:gd name="T24" fmla="*/ 2147483647 w 144"/>
                <a:gd name="T25" fmla="*/ 2147483647 h 188"/>
                <a:gd name="T26" fmla="*/ 2147483647 w 144"/>
                <a:gd name="T27" fmla="*/ 2147483647 h 188"/>
                <a:gd name="T28" fmla="*/ 2147483647 w 144"/>
                <a:gd name="T29" fmla="*/ 2147483647 h 188"/>
                <a:gd name="T30" fmla="*/ 0 w 144"/>
                <a:gd name="T31" fmla="*/ 2147483647 h 18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44" h="188">
                  <a:moveTo>
                    <a:pt x="0" y="167"/>
                  </a:moveTo>
                  <a:lnTo>
                    <a:pt x="14" y="188"/>
                  </a:lnTo>
                  <a:lnTo>
                    <a:pt x="56" y="177"/>
                  </a:lnTo>
                  <a:lnTo>
                    <a:pt x="75" y="167"/>
                  </a:lnTo>
                  <a:lnTo>
                    <a:pt x="95" y="88"/>
                  </a:lnTo>
                  <a:lnTo>
                    <a:pt x="119" y="88"/>
                  </a:lnTo>
                  <a:lnTo>
                    <a:pt x="144" y="56"/>
                  </a:lnTo>
                  <a:lnTo>
                    <a:pt x="119" y="33"/>
                  </a:lnTo>
                  <a:lnTo>
                    <a:pt x="114" y="0"/>
                  </a:lnTo>
                  <a:lnTo>
                    <a:pt x="82" y="56"/>
                  </a:lnTo>
                  <a:lnTo>
                    <a:pt x="75" y="88"/>
                  </a:lnTo>
                  <a:lnTo>
                    <a:pt x="64" y="79"/>
                  </a:lnTo>
                  <a:lnTo>
                    <a:pt x="51" y="123"/>
                  </a:lnTo>
                  <a:lnTo>
                    <a:pt x="26" y="123"/>
                  </a:lnTo>
                  <a:lnTo>
                    <a:pt x="19" y="167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04" name="Freeform 493"/>
            <p:cNvSpPr>
              <a:spLocks/>
            </p:cNvSpPr>
            <p:nvPr>
              <p:custDataLst>
                <p:tags r:id="rId412"/>
              </p:custDataLst>
            </p:nvPr>
          </p:nvSpPr>
          <p:spPr bwMode="auto">
            <a:xfrm>
              <a:off x="9176762" y="4622406"/>
              <a:ext cx="266652" cy="150813"/>
            </a:xfrm>
            <a:custGeom>
              <a:avLst/>
              <a:gdLst>
                <a:gd name="T0" fmla="*/ 0 w 144"/>
                <a:gd name="T1" fmla="*/ 2147483647 h 188"/>
                <a:gd name="T2" fmla="*/ 2147483647 w 144"/>
                <a:gd name="T3" fmla="*/ 2147483647 h 188"/>
                <a:gd name="T4" fmla="*/ 2147483647 w 144"/>
                <a:gd name="T5" fmla="*/ 2147483647 h 188"/>
                <a:gd name="T6" fmla="*/ 2147483647 w 144"/>
                <a:gd name="T7" fmla="*/ 2147483647 h 188"/>
                <a:gd name="T8" fmla="*/ 2147483647 w 144"/>
                <a:gd name="T9" fmla="*/ 2147483647 h 188"/>
                <a:gd name="T10" fmla="*/ 2147483647 w 144"/>
                <a:gd name="T11" fmla="*/ 2147483647 h 188"/>
                <a:gd name="T12" fmla="*/ 2147483647 w 144"/>
                <a:gd name="T13" fmla="*/ 2147483647 h 188"/>
                <a:gd name="T14" fmla="*/ 2147483647 w 144"/>
                <a:gd name="T15" fmla="*/ 2147483647 h 188"/>
                <a:gd name="T16" fmla="*/ 2147483647 w 144"/>
                <a:gd name="T17" fmla="*/ 0 h 188"/>
                <a:gd name="T18" fmla="*/ 2147483647 w 144"/>
                <a:gd name="T19" fmla="*/ 2147483647 h 188"/>
                <a:gd name="T20" fmla="*/ 2147483647 w 144"/>
                <a:gd name="T21" fmla="*/ 2147483647 h 188"/>
                <a:gd name="T22" fmla="*/ 2147483647 w 144"/>
                <a:gd name="T23" fmla="*/ 2147483647 h 188"/>
                <a:gd name="T24" fmla="*/ 2147483647 w 144"/>
                <a:gd name="T25" fmla="*/ 2147483647 h 188"/>
                <a:gd name="T26" fmla="*/ 2147483647 w 144"/>
                <a:gd name="T27" fmla="*/ 2147483647 h 188"/>
                <a:gd name="T28" fmla="*/ 2147483647 w 144"/>
                <a:gd name="T29" fmla="*/ 2147483647 h 188"/>
                <a:gd name="T30" fmla="*/ 0 w 144"/>
                <a:gd name="T31" fmla="*/ 2147483647 h 18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44" h="188">
                  <a:moveTo>
                    <a:pt x="0" y="167"/>
                  </a:moveTo>
                  <a:lnTo>
                    <a:pt x="14" y="188"/>
                  </a:lnTo>
                  <a:lnTo>
                    <a:pt x="56" y="177"/>
                  </a:lnTo>
                  <a:lnTo>
                    <a:pt x="75" y="167"/>
                  </a:lnTo>
                  <a:lnTo>
                    <a:pt x="95" y="88"/>
                  </a:lnTo>
                  <a:lnTo>
                    <a:pt x="119" y="88"/>
                  </a:lnTo>
                  <a:lnTo>
                    <a:pt x="144" y="56"/>
                  </a:lnTo>
                  <a:lnTo>
                    <a:pt x="119" y="33"/>
                  </a:lnTo>
                  <a:lnTo>
                    <a:pt x="114" y="0"/>
                  </a:lnTo>
                  <a:lnTo>
                    <a:pt x="82" y="56"/>
                  </a:lnTo>
                  <a:lnTo>
                    <a:pt x="75" y="88"/>
                  </a:lnTo>
                  <a:lnTo>
                    <a:pt x="64" y="79"/>
                  </a:lnTo>
                  <a:lnTo>
                    <a:pt x="51" y="123"/>
                  </a:lnTo>
                  <a:lnTo>
                    <a:pt x="26" y="123"/>
                  </a:lnTo>
                  <a:lnTo>
                    <a:pt x="19" y="167"/>
                  </a:lnTo>
                  <a:lnTo>
                    <a:pt x="0" y="16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05" name="Freeform 494"/>
            <p:cNvSpPr>
              <a:spLocks/>
            </p:cNvSpPr>
            <p:nvPr>
              <p:custDataLst>
                <p:tags r:id="rId413"/>
              </p:custDataLst>
            </p:nvPr>
          </p:nvSpPr>
          <p:spPr bwMode="auto">
            <a:xfrm>
              <a:off x="9176762" y="4622406"/>
              <a:ext cx="266652" cy="150813"/>
            </a:xfrm>
            <a:custGeom>
              <a:avLst/>
              <a:gdLst>
                <a:gd name="T0" fmla="*/ 0 w 144"/>
                <a:gd name="T1" fmla="*/ 2147483647 h 188"/>
                <a:gd name="T2" fmla="*/ 2147483647 w 144"/>
                <a:gd name="T3" fmla="*/ 2147483647 h 188"/>
                <a:gd name="T4" fmla="*/ 2147483647 w 144"/>
                <a:gd name="T5" fmla="*/ 2147483647 h 188"/>
                <a:gd name="T6" fmla="*/ 2147483647 w 144"/>
                <a:gd name="T7" fmla="*/ 2147483647 h 188"/>
                <a:gd name="T8" fmla="*/ 2147483647 w 144"/>
                <a:gd name="T9" fmla="*/ 2147483647 h 188"/>
                <a:gd name="T10" fmla="*/ 2147483647 w 144"/>
                <a:gd name="T11" fmla="*/ 2147483647 h 188"/>
                <a:gd name="T12" fmla="*/ 2147483647 w 144"/>
                <a:gd name="T13" fmla="*/ 2147483647 h 188"/>
                <a:gd name="T14" fmla="*/ 2147483647 w 144"/>
                <a:gd name="T15" fmla="*/ 2147483647 h 188"/>
                <a:gd name="T16" fmla="*/ 2147483647 w 144"/>
                <a:gd name="T17" fmla="*/ 0 h 188"/>
                <a:gd name="T18" fmla="*/ 2147483647 w 144"/>
                <a:gd name="T19" fmla="*/ 2147483647 h 188"/>
                <a:gd name="T20" fmla="*/ 2147483647 w 144"/>
                <a:gd name="T21" fmla="*/ 2147483647 h 188"/>
                <a:gd name="T22" fmla="*/ 2147483647 w 144"/>
                <a:gd name="T23" fmla="*/ 2147483647 h 188"/>
                <a:gd name="T24" fmla="*/ 2147483647 w 144"/>
                <a:gd name="T25" fmla="*/ 2147483647 h 188"/>
                <a:gd name="T26" fmla="*/ 2147483647 w 144"/>
                <a:gd name="T27" fmla="*/ 2147483647 h 188"/>
                <a:gd name="T28" fmla="*/ 2147483647 w 144"/>
                <a:gd name="T29" fmla="*/ 2147483647 h 188"/>
                <a:gd name="T30" fmla="*/ 0 w 144"/>
                <a:gd name="T31" fmla="*/ 2147483647 h 18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44" h="188">
                  <a:moveTo>
                    <a:pt x="0" y="167"/>
                  </a:moveTo>
                  <a:lnTo>
                    <a:pt x="14" y="188"/>
                  </a:lnTo>
                  <a:lnTo>
                    <a:pt x="56" y="177"/>
                  </a:lnTo>
                  <a:lnTo>
                    <a:pt x="75" y="167"/>
                  </a:lnTo>
                  <a:lnTo>
                    <a:pt x="95" y="88"/>
                  </a:lnTo>
                  <a:lnTo>
                    <a:pt x="119" y="88"/>
                  </a:lnTo>
                  <a:lnTo>
                    <a:pt x="144" y="56"/>
                  </a:lnTo>
                  <a:lnTo>
                    <a:pt x="119" y="33"/>
                  </a:lnTo>
                  <a:lnTo>
                    <a:pt x="114" y="0"/>
                  </a:lnTo>
                  <a:lnTo>
                    <a:pt x="82" y="56"/>
                  </a:lnTo>
                  <a:lnTo>
                    <a:pt x="75" y="88"/>
                  </a:lnTo>
                  <a:lnTo>
                    <a:pt x="64" y="79"/>
                  </a:lnTo>
                  <a:lnTo>
                    <a:pt x="51" y="123"/>
                  </a:lnTo>
                  <a:lnTo>
                    <a:pt x="26" y="123"/>
                  </a:lnTo>
                  <a:lnTo>
                    <a:pt x="19" y="167"/>
                  </a:lnTo>
                  <a:lnTo>
                    <a:pt x="0" y="16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06" name="Freeform 495"/>
            <p:cNvSpPr>
              <a:spLocks/>
            </p:cNvSpPr>
            <p:nvPr>
              <p:custDataLst>
                <p:tags r:id="rId414"/>
              </p:custDataLst>
            </p:nvPr>
          </p:nvSpPr>
          <p:spPr bwMode="auto">
            <a:xfrm>
              <a:off x="9176762" y="4622406"/>
              <a:ext cx="266652" cy="150813"/>
            </a:xfrm>
            <a:custGeom>
              <a:avLst/>
              <a:gdLst>
                <a:gd name="T0" fmla="*/ 0 w 144"/>
                <a:gd name="T1" fmla="*/ 2147483647 h 188"/>
                <a:gd name="T2" fmla="*/ 2147483647 w 144"/>
                <a:gd name="T3" fmla="*/ 2147483647 h 188"/>
                <a:gd name="T4" fmla="*/ 2147483647 w 144"/>
                <a:gd name="T5" fmla="*/ 2147483647 h 188"/>
                <a:gd name="T6" fmla="*/ 2147483647 w 144"/>
                <a:gd name="T7" fmla="*/ 2147483647 h 188"/>
                <a:gd name="T8" fmla="*/ 2147483647 w 144"/>
                <a:gd name="T9" fmla="*/ 2147483647 h 188"/>
                <a:gd name="T10" fmla="*/ 2147483647 w 144"/>
                <a:gd name="T11" fmla="*/ 2147483647 h 188"/>
                <a:gd name="T12" fmla="*/ 2147483647 w 144"/>
                <a:gd name="T13" fmla="*/ 2147483647 h 188"/>
                <a:gd name="T14" fmla="*/ 2147483647 w 144"/>
                <a:gd name="T15" fmla="*/ 2147483647 h 188"/>
                <a:gd name="T16" fmla="*/ 2147483647 w 144"/>
                <a:gd name="T17" fmla="*/ 0 h 188"/>
                <a:gd name="T18" fmla="*/ 2147483647 w 144"/>
                <a:gd name="T19" fmla="*/ 2147483647 h 188"/>
                <a:gd name="T20" fmla="*/ 2147483647 w 144"/>
                <a:gd name="T21" fmla="*/ 2147483647 h 188"/>
                <a:gd name="T22" fmla="*/ 2147483647 w 144"/>
                <a:gd name="T23" fmla="*/ 2147483647 h 188"/>
                <a:gd name="T24" fmla="*/ 2147483647 w 144"/>
                <a:gd name="T25" fmla="*/ 2147483647 h 188"/>
                <a:gd name="T26" fmla="*/ 2147483647 w 144"/>
                <a:gd name="T27" fmla="*/ 2147483647 h 188"/>
                <a:gd name="T28" fmla="*/ 2147483647 w 144"/>
                <a:gd name="T29" fmla="*/ 2147483647 h 188"/>
                <a:gd name="T30" fmla="*/ 0 w 144"/>
                <a:gd name="T31" fmla="*/ 2147483647 h 18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44" h="188">
                  <a:moveTo>
                    <a:pt x="0" y="167"/>
                  </a:moveTo>
                  <a:lnTo>
                    <a:pt x="14" y="188"/>
                  </a:lnTo>
                  <a:lnTo>
                    <a:pt x="56" y="177"/>
                  </a:lnTo>
                  <a:lnTo>
                    <a:pt x="75" y="167"/>
                  </a:lnTo>
                  <a:lnTo>
                    <a:pt x="95" y="88"/>
                  </a:lnTo>
                  <a:lnTo>
                    <a:pt x="119" y="88"/>
                  </a:lnTo>
                  <a:lnTo>
                    <a:pt x="144" y="56"/>
                  </a:lnTo>
                  <a:lnTo>
                    <a:pt x="119" y="33"/>
                  </a:lnTo>
                  <a:lnTo>
                    <a:pt x="114" y="0"/>
                  </a:lnTo>
                  <a:lnTo>
                    <a:pt x="82" y="56"/>
                  </a:lnTo>
                  <a:lnTo>
                    <a:pt x="75" y="88"/>
                  </a:lnTo>
                  <a:lnTo>
                    <a:pt x="64" y="79"/>
                  </a:lnTo>
                  <a:lnTo>
                    <a:pt x="51" y="123"/>
                  </a:lnTo>
                  <a:lnTo>
                    <a:pt x="26" y="123"/>
                  </a:lnTo>
                  <a:lnTo>
                    <a:pt x="19" y="167"/>
                  </a:lnTo>
                  <a:lnTo>
                    <a:pt x="0" y="16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07" name="Freeform 496"/>
            <p:cNvSpPr>
              <a:spLocks/>
            </p:cNvSpPr>
            <p:nvPr>
              <p:custDataLst>
                <p:tags r:id="rId415"/>
              </p:custDataLst>
            </p:nvPr>
          </p:nvSpPr>
          <p:spPr bwMode="auto">
            <a:xfrm>
              <a:off x="2404242" y="3941333"/>
              <a:ext cx="880150" cy="487362"/>
            </a:xfrm>
            <a:custGeom>
              <a:avLst/>
              <a:gdLst>
                <a:gd name="T0" fmla="*/ 0 w 476"/>
                <a:gd name="T1" fmla="*/ 2147483647 h 613"/>
                <a:gd name="T2" fmla="*/ 2147483647 w 476"/>
                <a:gd name="T3" fmla="*/ 2147483647 h 613"/>
                <a:gd name="T4" fmla="*/ 2147483647 w 476"/>
                <a:gd name="T5" fmla="*/ 2147483647 h 613"/>
                <a:gd name="T6" fmla="*/ 2147483647 w 476"/>
                <a:gd name="T7" fmla="*/ 2147483647 h 613"/>
                <a:gd name="T8" fmla="*/ 2147483647 w 476"/>
                <a:gd name="T9" fmla="*/ 2147483647 h 613"/>
                <a:gd name="T10" fmla="*/ 2147483647 w 476"/>
                <a:gd name="T11" fmla="*/ 2147483647 h 613"/>
                <a:gd name="T12" fmla="*/ 2147483647 w 476"/>
                <a:gd name="T13" fmla="*/ 2147483647 h 613"/>
                <a:gd name="T14" fmla="*/ 2147483647 w 476"/>
                <a:gd name="T15" fmla="*/ 2147483647 h 613"/>
                <a:gd name="T16" fmla="*/ 2147483647 w 476"/>
                <a:gd name="T17" fmla="*/ 2147483647 h 613"/>
                <a:gd name="T18" fmla="*/ 2147483647 w 476"/>
                <a:gd name="T19" fmla="*/ 2147483647 h 613"/>
                <a:gd name="T20" fmla="*/ 2147483647 w 476"/>
                <a:gd name="T21" fmla="*/ 2147483647 h 613"/>
                <a:gd name="T22" fmla="*/ 2147483647 w 476"/>
                <a:gd name="T23" fmla="*/ 2147483647 h 613"/>
                <a:gd name="T24" fmla="*/ 2147483647 w 476"/>
                <a:gd name="T25" fmla="*/ 2147483647 h 613"/>
                <a:gd name="T26" fmla="*/ 2147483647 w 476"/>
                <a:gd name="T27" fmla="*/ 2147483647 h 613"/>
                <a:gd name="T28" fmla="*/ 2147483647 w 476"/>
                <a:gd name="T29" fmla="*/ 2147483647 h 613"/>
                <a:gd name="T30" fmla="*/ 2147483647 w 476"/>
                <a:gd name="T31" fmla="*/ 2147483647 h 613"/>
                <a:gd name="T32" fmla="*/ 2147483647 w 476"/>
                <a:gd name="T33" fmla="*/ 2147483647 h 613"/>
                <a:gd name="T34" fmla="*/ 2147483647 w 476"/>
                <a:gd name="T35" fmla="*/ 2147483647 h 613"/>
                <a:gd name="T36" fmla="*/ 2147483647 w 476"/>
                <a:gd name="T37" fmla="*/ 2147483647 h 613"/>
                <a:gd name="T38" fmla="*/ 2147483647 w 476"/>
                <a:gd name="T39" fmla="*/ 2147483647 h 613"/>
                <a:gd name="T40" fmla="*/ 2147483647 w 476"/>
                <a:gd name="T41" fmla="*/ 2147483647 h 613"/>
                <a:gd name="T42" fmla="*/ 2147483647 w 476"/>
                <a:gd name="T43" fmla="*/ 2147483647 h 613"/>
                <a:gd name="T44" fmla="*/ 2147483647 w 476"/>
                <a:gd name="T45" fmla="*/ 2147483647 h 613"/>
                <a:gd name="T46" fmla="*/ 2147483647 w 476"/>
                <a:gd name="T47" fmla="*/ 2147483647 h 613"/>
                <a:gd name="T48" fmla="*/ 2147483647 w 476"/>
                <a:gd name="T49" fmla="*/ 2147483647 h 613"/>
                <a:gd name="T50" fmla="*/ 2147483647 w 476"/>
                <a:gd name="T51" fmla="*/ 2147483647 h 613"/>
                <a:gd name="T52" fmla="*/ 2147483647 w 476"/>
                <a:gd name="T53" fmla="*/ 2147483647 h 613"/>
                <a:gd name="T54" fmla="*/ 2147483647 w 476"/>
                <a:gd name="T55" fmla="*/ 2147483647 h 613"/>
                <a:gd name="T56" fmla="*/ 2147483647 w 476"/>
                <a:gd name="T57" fmla="*/ 2147483647 h 613"/>
                <a:gd name="T58" fmla="*/ 2147483647 w 476"/>
                <a:gd name="T59" fmla="*/ 2147483647 h 613"/>
                <a:gd name="T60" fmla="*/ 2147483647 w 476"/>
                <a:gd name="T61" fmla="*/ 2147483647 h 613"/>
                <a:gd name="T62" fmla="*/ 2147483647 w 476"/>
                <a:gd name="T63" fmla="*/ 2147483647 h 613"/>
                <a:gd name="T64" fmla="*/ 2147483647 w 476"/>
                <a:gd name="T65" fmla="*/ 2147483647 h 613"/>
                <a:gd name="T66" fmla="*/ 2147483647 w 476"/>
                <a:gd name="T67" fmla="*/ 2147483647 h 613"/>
                <a:gd name="T68" fmla="*/ 2147483647 w 476"/>
                <a:gd name="T69" fmla="*/ 2147483647 h 613"/>
                <a:gd name="T70" fmla="*/ 2147483647 w 476"/>
                <a:gd name="T71" fmla="*/ 2147483647 h 613"/>
                <a:gd name="T72" fmla="*/ 2147483647 w 476"/>
                <a:gd name="T73" fmla="*/ 2147483647 h 613"/>
                <a:gd name="T74" fmla="*/ 2147483647 w 476"/>
                <a:gd name="T75" fmla="*/ 2147483647 h 613"/>
                <a:gd name="T76" fmla="*/ 2147483647 w 476"/>
                <a:gd name="T77" fmla="*/ 2147483647 h 613"/>
                <a:gd name="T78" fmla="*/ 2147483647 w 476"/>
                <a:gd name="T79" fmla="*/ 2147483647 h 613"/>
                <a:gd name="T80" fmla="*/ 2147483647 w 476"/>
                <a:gd name="T81" fmla="*/ 2147483647 h 613"/>
                <a:gd name="T82" fmla="*/ 2147483647 w 476"/>
                <a:gd name="T83" fmla="*/ 2147483647 h 613"/>
                <a:gd name="T84" fmla="*/ 2147483647 w 476"/>
                <a:gd name="T85" fmla="*/ 2147483647 h 613"/>
                <a:gd name="T86" fmla="*/ 2147483647 w 476"/>
                <a:gd name="T87" fmla="*/ 2147483647 h 613"/>
                <a:gd name="T88" fmla="*/ 2147483647 w 476"/>
                <a:gd name="T89" fmla="*/ 0 h 613"/>
                <a:gd name="T90" fmla="*/ 0 w 476"/>
                <a:gd name="T91" fmla="*/ 2147483647 h 6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76" h="613">
                  <a:moveTo>
                    <a:pt x="0" y="12"/>
                  </a:moveTo>
                  <a:lnTo>
                    <a:pt x="26" y="100"/>
                  </a:lnTo>
                  <a:lnTo>
                    <a:pt x="50" y="145"/>
                  </a:lnTo>
                  <a:lnTo>
                    <a:pt x="50" y="168"/>
                  </a:lnTo>
                  <a:lnTo>
                    <a:pt x="37" y="179"/>
                  </a:lnTo>
                  <a:lnTo>
                    <a:pt x="69" y="202"/>
                  </a:lnTo>
                  <a:lnTo>
                    <a:pt x="82" y="246"/>
                  </a:lnTo>
                  <a:lnTo>
                    <a:pt x="82" y="279"/>
                  </a:lnTo>
                  <a:lnTo>
                    <a:pt x="113" y="335"/>
                  </a:lnTo>
                  <a:lnTo>
                    <a:pt x="125" y="312"/>
                  </a:lnTo>
                  <a:lnTo>
                    <a:pt x="45" y="89"/>
                  </a:lnTo>
                  <a:lnTo>
                    <a:pt x="37" y="22"/>
                  </a:lnTo>
                  <a:lnTo>
                    <a:pt x="56" y="45"/>
                  </a:lnTo>
                  <a:lnTo>
                    <a:pt x="87" y="145"/>
                  </a:lnTo>
                  <a:lnTo>
                    <a:pt x="125" y="223"/>
                  </a:lnTo>
                  <a:lnTo>
                    <a:pt x="125" y="246"/>
                  </a:lnTo>
                  <a:lnTo>
                    <a:pt x="182" y="356"/>
                  </a:lnTo>
                  <a:lnTo>
                    <a:pt x="188" y="390"/>
                  </a:lnTo>
                  <a:lnTo>
                    <a:pt x="182" y="425"/>
                  </a:lnTo>
                  <a:lnTo>
                    <a:pt x="194" y="458"/>
                  </a:lnTo>
                  <a:lnTo>
                    <a:pt x="307" y="569"/>
                  </a:lnTo>
                  <a:lnTo>
                    <a:pt x="357" y="557"/>
                  </a:lnTo>
                  <a:lnTo>
                    <a:pt x="388" y="613"/>
                  </a:lnTo>
                  <a:lnTo>
                    <a:pt x="401" y="557"/>
                  </a:lnTo>
                  <a:lnTo>
                    <a:pt x="419" y="557"/>
                  </a:lnTo>
                  <a:lnTo>
                    <a:pt x="401" y="513"/>
                  </a:lnTo>
                  <a:lnTo>
                    <a:pt x="438" y="502"/>
                  </a:lnTo>
                  <a:lnTo>
                    <a:pt x="451" y="479"/>
                  </a:lnTo>
                  <a:lnTo>
                    <a:pt x="457" y="469"/>
                  </a:lnTo>
                  <a:lnTo>
                    <a:pt x="457" y="490"/>
                  </a:lnTo>
                  <a:lnTo>
                    <a:pt x="476" y="390"/>
                  </a:lnTo>
                  <a:lnTo>
                    <a:pt x="451" y="379"/>
                  </a:lnTo>
                  <a:lnTo>
                    <a:pt x="419" y="390"/>
                  </a:lnTo>
                  <a:lnTo>
                    <a:pt x="401" y="479"/>
                  </a:lnTo>
                  <a:lnTo>
                    <a:pt x="357" y="490"/>
                  </a:lnTo>
                  <a:lnTo>
                    <a:pt x="338" y="469"/>
                  </a:lnTo>
                  <a:lnTo>
                    <a:pt x="307" y="356"/>
                  </a:lnTo>
                  <a:lnTo>
                    <a:pt x="307" y="279"/>
                  </a:lnTo>
                  <a:lnTo>
                    <a:pt x="313" y="233"/>
                  </a:lnTo>
                  <a:lnTo>
                    <a:pt x="288" y="212"/>
                  </a:lnTo>
                  <a:lnTo>
                    <a:pt x="244" y="100"/>
                  </a:lnTo>
                  <a:lnTo>
                    <a:pt x="212" y="123"/>
                  </a:lnTo>
                  <a:lnTo>
                    <a:pt x="170" y="35"/>
                  </a:lnTo>
                  <a:lnTo>
                    <a:pt x="101" y="56"/>
                  </a:lnTo>
                  <a:lnTo>
                    <a:pt x="37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08" name="Group 497"/>
            <p:cNvGrpSpPr>
              <a:grpSpLocks/>
            </p:cNvGrpSpPr>
            <p:nvPr>
              <p:custDataLst>
                <p:tags r:id="rId416"/>
              </p:custDataLst>
            </p:nvPr>
          </p:nvGrpSpPr>
          <p:grpSpPr bwMode="auto">
            <a:xfrm>
              <a:off x="2404242" y="3941333"/>
              <a:ext cx="880150" cy="487362"/>
              <a:chOff x="1118" y="2113"/>
              <a:chExt cx="476" cy="30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59" name="Freeform 498"/>
              <p:cNvSpPr>
                <a:spLocks/>
              </p:cNvSpPr>
              <p:nvPr/>
            </p:nvSpPr>
            <p:spPr bwMode="auto">
              <a:xfrm>
                <a:off x="1118" y="2113"/>
                <a:ext cx="476" cy="307"/>
              </a:xfrm>
              <a:custGeom>
                <a:avLst/>
                <a:gdLst>
                  <a:gd name="T0" fmla="*/ 0 w 476"/>
                  <a:gd name="T1" fmla="*/ 1 h 613"/>
                  <a:gd name="T2" fmla="*/ 26 w 476"/>
                  <a:gd name="T3" fmla="*/ 1 h 613"/>
                  <a:gd name="T4" fmla="*/ 50 w 476"/>
                  <a:gd name="T5" fmla="*/ 1 h 613"/>
                  <a:gd name="T6" fmla="*/ 50 w 476"/>
                  <a:gd name="T7" fmla="*/ 1 h 613"/>
                  <a:gd name="T8" fmla="*/ 37 w 476"/>
                  <a:gd name="T9" fmla="*/ 1 h 613"/>
                  <a:gd name="T10" fmla="*/ 69 w 476"/>
                  <a:gd name="T11" fmla="*/ 1 h 613"/>
                  <a:gd name="T12" fmla="*/ 82 w 476"/>
                  <a:gd name="T13" fmla="*/ 1 h 613"/>
                  <a:gd name="T14" fmla="*/ 82 w 476"/>
                  <a:gd name="T15" fmla="*/ 1 h 613"/>
                  <a:gd name="T16" fmla="*/ 113 w 476"/>
                  <a:gd name="T17" fmla="*/ 1 h 613"/>
                  <a:gd name="T18" fmla="*/ 125 w 476"/>
                  <a:gd name="T19" fmla="*/ 1 h 613"/>
                  <a:gd name="T20" fmla="*/ 45 w 476"/>
                  <a:gd name="T21" fmla="*/ 1 h 613"/>
                  <a:gd name="T22" fmla="*/ 37 w 476"/>
                  <a:gd name="T23" fmla="*/ 1 h 613"/>
                  <a:gd name="T24" fmla="*/ 56 w 476"/>
                  <a:gd name="T25" fmla="*/ 1 h 613"/>
                  <a:gd name="T26" fmla="*/ 87 w 476"/>
                  <a:gd name="T27" fmla="*/ 1 h 613"/>
                  <a:gd name="T28" fmla="*/ 125 w 476"/>
                  <a:gd name="T29" fmla="*/ 1 h 613"/>
                  <a:gd name="T30" fmla="*/ 125 w 476"/>
                  <a:gd name="T31" fmla="*/ 1 h 613"/>
                  <a:gd name="T32" fmla="*/ 182 w 476"/>
                  <a:gd name="T33" fmla="*/ 1 h 613"/>
                  <a:gd name="T34" fmla="*/ 188 w 476"/>
                  <a:gd name="T35" fmla="*/ 1 h 613"/>
                  <a:gd name="T36" fmla="*/ 182 w 476"/>
                  <a:gd name="T37" fmla="*/ 1 h 613"/>
                  <a:gd name="T38" fmla="*/ 194 w 476"/>
                  <a:gd name="T39" fmla="*/ 1 h 613"/>
                  <a:gd name="T40" fmla="*/ 307 w 476"/>
                  <a:gd name="T41" fmla="*/ 1 h 613"/>
                  <a:gd name="T42" fmla="*/ 357 w 476"/>
                  <a:gd name="T43" fmla="*/ 1 h 613"/>
                  <a:gd name="T44" fmla="*/ 388 w 476"/>
                  <a:gd name="T45" fmla="*/ 1 h 613"/>
                  <a:gd name="T46" fmla="*/ 401 w 476"/>
                  <a:gd name="T47" fmla="*/ 1 h 613"/>
                  <a:gd name="T48" fmla="*/ 419 w 476"/>
                  <a:gd name="T49" fmla="*/ 1 h 613"/>
                  <a:gd name="T50" fmla="*/ 401 w 476"/>
                  <a:gd name="T51" fmla="*/ 1 h 613"/>
                  <a:gd name="T52" fmla="*/ 438 w 476"/>
                  <a:gd name="T53" fmla="*/ 1 h 613"/>
                  <a:gd name="T54" fmla="*/ 451 w 476"/>
                  <a:gd name="T55" fmla="*/ 1 h 613"/>
                  <a:gd name="T56" fmla="*/ 457 w 476"/>
                  <a:gd name="T57" fmla="*/ 1 h 613"/>
                  <a:gd name="T58" fmla="*/ 457 w 476"/>
                  <a:gd name="T59" fmla="*/ 1 h 613"/>
                  <a:gd name="T60" fmla="*/ 476 w 476"/>
                  <a:gd name="T61" fmla="*/ 1 h 613"/>
                  <a:gd name="T62" fmla="*/ 451 w 476"/>
                  <a:gd name="T63" fmla="*/ 1 h 613"/>
                  <a:gd name="T64" fmla="*/ 419 w 476"/>
                  <a:gd name="T65" fmla="*/ 1 h 613"/>
                  <a:gd name="T66" fmla="*/ 401 w 476"/>
                  <a:gd name="T67" fmla="*/ 1 h 613"/>
                  <a:gd name="T68" fmla="*/ 357 w 476"/>
                  <a:gd name="T69" fmla="*/ 1 h 613"/>
                  <a:gd name="T70" fmla="*/ 338 w 476"/>
                  <a:gd name="T71" fmla="*/ 1 h 613"/>
                  <a:gd name="T72" fmla="*/ 307 w 476"/>
                  <a:gd name="T73" fmla="*/ 1 h 613"/>
                  <a:gd name="T74" fmla="*/ 307 w 476"/>
                  <a:gd name="T75" fmla="*/ 1 h 613"/>
                  <a:gd name="T76" fmla="*/ 313 w 476"/>
                  <a:gd name="T77" fmla="*/ 1 h 613"/>
                  <a:gd name="T78" fmla="*/ 288 w 476"/>
                  <a:gd name="T79" fmla="*/ 1 h 613"/>
                  <a:gd name="T80" fmla="*/ 244 w 476"/>
                  <a:gd name="T81" fmla="*/ 1 h 613"/>
                  <a:gd name="T82" fmla="*/ 212 w 476"/>
                  <a:gd name="T83" fmla="*/ 1 h 613"/>
                  <a:gd name="T84" fmla="*/ 170 w 476"/>
                  <a:gd name="T85" fmla="*/ 1 h 613"/>
                  <a:gd name="T86" fmla="*/ 101 w 476"/>
                  <a:gd name="T87" fmla="*/ 1 h 613"/>
                  <a:gd name="T88" fmla="*/ 37 w 476"/>
                  <a:gd name="T89" fmla="*/ 0 h 613"/>
                  <a:gd name="T90" fmla="*/ 0 w 476"/>
                  <a:gd name="T91" fmla="*/ 1 h 61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76" h="613">
                    <a:moveTo>
                      <a:pt x="0" y="12"/>
                    </a:moveTo>
                    <a:lnTo>
                      <a:pt x="26" y="100"/>
                    </a:lnTo>
                    <a:lnTo>
                      <a:pt x="50" y="145"/>
                    </a:lnTo>
                    <a:lnTo>
                      <a:pt x="50" y="168"/>
                    </a:lnTo>
                    <a:lnTo>
                      <a:pt x="37" y="179"/>
                    </a:lnTo>
                    <a:lnTo>
                      <a:pt x="69" y="202"/>
                    </a:lnTo>
                    <a:lnTo>
                      <a:pt x="82" y="246"/>
                    </a:lnTo>
                    <a:lnTo>
                      <a:pt x="82" y="279"/>
                    </a:lnTo>
                    <a:lnTo>
                      <a:pt x="113" y="335"/>
                    </a:lnTo>
                    <a:lnTo>
                      <a:pt x="125" y="312"/>
                    </a:lnTo>
                    <a:lnTo>
                      <a:pt x="45" y="89"/>
                    </a:lnTo>
                    <a:lnTo>
                      <a:pt x="37" y="22"/>
                    </a:lnTo>
                    <a:lnTo>
                      <a:pt x="56" y="45"/>
                    </a:lnTo>
                    <a:lnTo>
                      <a:pt x="87" y="145"/>
                    </a:lnTo>
                    <a:lnTo>
                      <a:pt x="125" y="223"/>
                    </a:lnTo>
                    <a:lnTo>
                      <a:pt x="125" y="246"/>
                    </a:lnTo>
                    <a:lnTo>
                      <a:pt x="182" y="356"/>
                    </a:lnTo>
                    <a:lnTo>
                      <a:pt x="188" y="390"/>
                    </a:lnTo>
                    <a:lnTo>
                      <a:pt x="182" y="425"/>
                    </a:lnTo>
                    <a:lnTo>
                      <a:pt x="194" y="458"/>
                    </a:lnTo>
                    <a:lnTo>
                      <a:pt x="307" y="569"/>
                    </a:lnTo>
                    <a:lnTo>
                      <a:pt x="357" y="557"/>
                    </a:lnTo>
                    <a:lnTo>
                      <a:pt x="388" y="613"/>
                    </a:lnTo>
                    <a:lnTo>
                      <a:pt x="401" y="557"/>
                    </a:lnTo>
                    <a:lnTo>
                      <a:pt x="419" y="557"/>
                    </a:lnTo>
                    <a:lnTo>
                      <a:pt x="401" y="513"/>
                    </a:lnTo>
                    <a:lnTo>
                      <a:pt x="438" y="502"/>
                    </a:lnTo>
                    <a:lnTo>
                      <a:pt x="451" y="479"/>
                    </a:lnTo>
                    <a:lnTo>
                      <a:pt x="457" y="469"/>
                    </a:lnTo>
                    <a:lnTo>
                      <a:pt x="457" y="490"/>
                    </a:lnTo>
                    <a:lnTo>
                      <a:pt x="476" y="390"/>
                    </a:lnTo>
                    <a:lnTo>
                      <a:pt x="451" y="379"/>
                    </a:lnTo>
                    <a:lnTo>
                      <a:pt x="419" y="390"/>
                    </a:lnTo>
                    <a:lnTo>
                      <a:pt x="401" y="479"/>
                    </a:lnTo>
                    <a:lnTo>
                      <a:pt x="357" y="490"/>
                    </a:lnTo>
                    <a:lnTo>
                      <a:pt x="338" y="469"/>
                    </a:lnTo>
                    <a:lnTo>
                      <a:pt x="307" y="356"/>
                    </a:lnTo>
                    <a:lnTo>
                      <a:pt x="307" y="279"/>
                    </a:lnTo>
                    <a:lnTo>
                      <a:pt x="313" y="233"/>
                    </a:lnTo>
                    <a:lnTo>
                      <a:pt x="288" y="212"/>
                    </a:lnTo>
                    <a:lnTo>
                      <a:pt x="244" y="100"/>
                    </a:lnTo>
                    <a:lnTo>
                      <a:pt x="212" y="123"/>
                    </a:lnTo>
                    <a:lnTo>
                      <a:pt x="170" y="35"/>
                    </a:lnTo>
                    <a:lnTo>
                      <a:pt x="101" y="56"/>
                    </a:lnTo>
                    <a:lnTo>
                      <a:pt x="37" y="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60" name="Freeform 499"/>
              <p:cNvSpPr>
                <a:spLocks/>
              </p:cNvSpPr>
              <p:nvPr/>
            </p:nvSpPr>
            <p:spPr bwMode="auto">
              <a:xfrm>
                <a:off x="1118" y="2113"/>
                <a:ext cx="476" cy="307"/>
              </a:xfrm>
              <a:custGeom>
                <a:avLst/>
                <a:gdLst>
                  <a:gd name="T0" fmla="*/ 0 w 476"/>
                  <a:gd name="T1" fmla="*/ 1 h 613"/>
                  <a:gd name="T2" fmla="*/ 26 w 476"/>
                  <a:gd name="T3" fmla="*/ 1 h 613"/>
                  <a:gd name="T4" fmla="*/ 50 w 476"/>
                  <a:gd name="T5" fmla="*/ 1 h 613"/>
                  <a:gd name="T6" fmla="*/ 50 w 476"/>
                  <a:gd name="T7" fmla="*/ 1 h 613"/>
                  <a:gd name="T8" fmla="*/ 37 w 476"/>
                  <a:gd name="T9" fmla="*/ 1 h 613"/>
                  <a:gd name="T10" fmla="*/ 69 w 476"/>
                  <a:gd name="T11" fmla="*/ 1 h 613"/>
                  <a:gd name="T12" fmla="*/ 82 w 476"/>
                  <a:gd name="T13" fmla="*/ 1 h 613"/>
                  <a:gd name="T14" fmla="*/ 82 w 476"/>
                  <a:gd name="T15" fmla="*/ 1 h 613"/>
                  <a:gd name="T16" fmla="*/ 113 w 476"/>
                  <a:gd name="T17" fmla="*/ 1 h 613"/>
                  <a:gd name="T18" fmla="*/ 125 w 476"/>
                  <a:gd name="T19" fmla="*/ 1 h 613"/>
                  <a:gd name="T20" fmla="*/ 45 w 476"/>
                  <a:gd name="T21" fmla="*/ 1 h 613"/>
                  <a:gd name="T22" fmla="*/ 37 w 476"/>
                  <a:gd name="T23" fmla="*/ 1 h 613"/>
                  <a:gd name="T24" fmla="*/ 56 w 476"/>
                  <a:gd name="T25" fmla="*/ 1 h 613"/>
                  <a:gd name="T26" fmla="*/ 87 w 476"/>
                  <a:gd name="T27" fmla="*/ 1 h 613"/>
                  <a:gd name="T28" fmla="*/ 125 w 476"/>
                  <a:gd name="T29" fmla="*/ 1 h 613"/>
                  <a:gd name="T30" fmla="*/ 125 w 476"/>
                  <a:gd name="T31" fmla="*/ 1 h 613"/>
                  <a:gd name="T32" fmla="*/ 182 w 476"/>
                  <a:gd name="T33" fmla="*/ 1 h 613"/>
                  <a:gd name="T34" fmla="*/ 188 w 476"/>
                  <a:gd name="T35" fmla="*/ 1 h 613"/>
                  <a:gd name="T36" fmla="*/ 182 w 476"/>
                  <a:gd name="T37" fmla="*/ 1 h 613"/>
                  <a:gd name="T38" fmla="*/ 194 w 476"/>
                  <a:gd name="T39" fmla="*/ 1 h 613"/>
                  <a:gd name="T40" fmla="*/ 307 w 476"/>
                  <a:gd name="T41" fmla="*/ 1 h 613"/>
                  <a:gd name="T42" fmla="*/ 357 w 476"/>
                  <a:gd name="T43" fmla="*/ 1 h 613"/>
                  <a:gd name="T44" fmla="*/ 388 w 476"/>
                  <a:gd name="T45" fmla="*/ 1 h 613"/>
                  <a:gd name="T46" fmla="*/ 401 w 476"/>
                  <a:gd name="T47" fmla="*/ 1 h 613"/>
                  <a:gd name="T48" fmla="*/ 419 w 476"/>
                  <a:gd name="T49" fmla="*/ 1 h 613"/>
                  <a:gd name="T50" fmla="*/ 401 w 476"/>
                  <a:gd name="T51" fmla="*/ 1 h 613"/>
                  <a:gd name="T52" fmla="*/ 438 w 476"/>
                  <a:gd name="T53" fmla="*/ 1 h 613"/>
                  <a:gd name="T54" fmla="*/ 451 w 476"/>
                  <a:gd name="T55" fmla="*/ 1 h 613"/>
                  <a:gd name="T56" fmla="*/ 457 w 476"/>
                  <a:gd name="T57" fmla="*/ 1 h 613"/>
                  <a:gd name="T58" fmla="*/ 457 w 476"/>
                  <a:gd name="T59" fmla="*/ 1 h 613"/>
                  <a:gd name="T60" fmla="*/ 476 w 476"/>
                  <a:gd name="T61" fmla="*/ 1 h 613"/>
                  <a:gd name="T62" fmla="*/ 451 w 476"/>
                  <a:gd name="T63" fmla="*/ 1 h 613"/>
                  <a:gd name="T64" fmla="*/ 419 w 476"/>
                  <a:gd name="T65" fmla="*/ 1 h 613"/>
                  <a:gd name="T66" fmla="*/ 401 w 476"/>
                  <a:gd name="T67" fmla="*/ 1 h 613"/>
                  <a:gd name="T68" fmla="*/ 357 w 476"/>
                  <a:gd name="T69" fmla="*/ 1 h 613"/>
                  <a:gd name="T70" fmla="*/ 338 w 476"/>
                  <a:gd name="T71" fmla="*/ 1 h 613"/>
                  <a:gd name="T72" fmla="*/ 307 w 476"/>
                  <a:gd name="T73" fmla="*/ 1 h 613"/>
                  <a:gd name="T74" fmla="*/ 307 w 476"/>
                  <a:gd name="T75" fmla="*/ 1 h 613"/>
                  <a:gd name="T76" fmla="*/ 313 w 476"/>
                  <a:gd name="T77" fmla="*/ 1 h 613"/>
                  <a:gd name="T78" fmla="*/ 288 w 476"/>
                  <a:gd name="T79" fmla="*/ 1 h 613"/>
                  <a:gd name="T80" fmla="*/ 244 w 476"/>
                  <a:gd name="T81" fmla="*/ 1 h 613"/>
                  <a:gd name="T82" fmla="*/ 212 w 476"/>
                  <a:gd name="T83" fmla="*/ 1 h 613"/>
                  <a:gd name="T84" fmla="*/ 170 w 476"/>
                  <a:gd name="T85" fmla="*/ 1 h 613"/>
                  <a:gd name="T86" fmla="*/ 101 w 476"/>
                  <a:gd name="T87" fmla="*/ 1 h 613"/>
                  <a:gd name="T88" fmla="*/ 37 w 476"/>
                  <a:gd name="T89" fmla="*/ 0 h 613"/>
                  <a:gd name="T90" fmla="*/ 0 w 476"/>
                  <a:gd name="T91" fmla="*/ 1 h 61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76" h="613">
                    <a:moveTo>
                      <a:pt x="0" y="12"/>
                    </a:moveTo>
                    <a:lnTo>
                      <a:pt x="26" y="100"/>
                    </a:lnTo>
                    <a:lnTo>
                      <a:pt x="50" y="145"/>
                    </a:lnTo>
                    <a:lnTo>
                      <a:pt x="50" y="168"/>
                    </a:lnTo>
                    <a:lnTo>
                      <a:pt x="37" y="179"/>
                    </a:lnTo>
                    <a:lnTo>
                      <a:pt x="69" y="202"/>
                    </a:lnTo>
                    <a:lnTo>
                      <a:pt x="82" y="246"/>
                    </a:lnTo>
                    <a:lnTo>
                      <a:pt x="82" y="279"/>
                    </a:lnTo>
                    <a:lnTo>
                      <a:pt x="113" y="335"/>
                    </a:lnTo>
                    <a:lnTo>
                      <a:pt x="125" y="312"/>
                    </a:lnTo>
                    <a:lnTo>
                      <a:pt x="45" y="89"/>
                    </a:lnTo>
                    <a:lnTo>
                      <a:pt x="37" y="22"/>
                    </a:lnTo>
                    <a:lnTo>
                      <a:pt x="56" y="45"/>
                    </a:lnTo>
                    <a:lnTo>
                      <a:pt x="87" y="145"/>
                    </a:lnTo>
                    <a:lnTo>
                      <a:pt x="125" y="223"/>
                    </a:lnTo>
                    <a:lnTo>
                      <a:pt x="125" y="246"/>
                    </a:lnTo>
                    <a:lnTo>
                      <a:pt x="182" y="356"/>
                    </a:lnTo>
                    <a:lnTo>
                      <a:pt x="188" y="390"/>
                    </a:lnTo>
                    <a:lnTo>
                      <a:pt x="182" y="425"/>
                    </a:lnTo>
                    <a:lnTo>
                      <a:pt x="194" y="458"/>
                    </a:lnTo>
                    <a:lnTo>
                      <a:pt x="307" y="569"/>
                    </a:lnTo>
                    <a:lnTo>
                      <a:pt x="357" y="557"/>
                    </a:lnTo>
                    <a:lnTo>
                      <a:pt x="388" y="613"/>
                    </a:lnTo>
                    <a:lnTo>
                      <a:pt x="401" y="557"/>
                    </a:lnTo>
                    <a:lnTo>
                      <a:pt x="419" y="557"/>
                    </a:lnTo>
                    <a:lnTo>
                      <a:pt x="401" y="513"/>
                    </a:lnTo>
                    <a:lnTo>
                      <a:pt x="438" y="502"/>
                    </a:lnTo>
                    <a:lnTo>
                      <a:pt x="451" y="479"/>
                    </a:lnTo>
                    <a:lnTo>
                      <a:pt x="457" y="469"/>
                    </a:lnTo>
                    <a:lnTo>
                      <a:pt x="457" y="490"/>
                    </a:lnTo>
                    <a:lnTo>
                      <a:pt x="476" y="390"/>
                    </a:lnTo>
                    <a:lnTo>
                      <a:pt x="451" y="379"/>
                    </a:lnTo>
                    <a:lnTo>
                      <a:pt x="419" y="390"/>
                    </a:lnTo>
                    <a:lnTo>
                      <a:pt x="401" y="479"/>
                    </a:lnTo>
                    <a:lnTo>
                      <a:pt x="357" y="490"/>
                    </a:lnTo>
                    <a:lnTo>
                      <a:pt x="338" y="469"/>
                    </a:lnTo>
                    <a:lnTo>
                      <a:pt x="307" y="356"/>
                    </a:lnTo>
                    <a:lnTo>
                      <a:pt x="307" y="279"/>
                    </a:lnTo>
                    <a:lnTo>
                      <a:pt x="313" y="233"/>
                    </a:lnTo>
                    <a:lnTo>
                      <a:pt x="288" y="212"/>
                    </a:lnTo>
                    <a:lnTo>
                      <a:pt x="244" y="100"/>
                    </a:lnTo>
                    <a:lnTo>
                      <a:pt x="212" y="123"/>
                    </a:lnTo>
                    <a:lnTo>
                      <a:pt x="170" y="35"/>
                    </a:lnTo>
                    <a:lnTo>
                      <a:pt x="101" y="56"/>
                    </a:lnTo>
                    <a:lnTo>
                      <a:pt x="37" y="0"/>
                    </a:lnTo>
                    <a:lnTo>
                      <a:pt x="0" y="12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09" name="Freeform 500"/>
            <p:cNvSpPr>
              <a:spLocks/>
            </p:cNvSpPr>
            <p:nvPr>
              <p:custDataLst>
                <p:tags r:id="rId417"/>
              </p:custDataLst>
            </p:nvPr>
          </p:nvSpPr>
          <p:spPr bwMode="auto">
            <a:xfrm>
              <a:off x="2404242" y="3941333"/>
              <a:ext cx="880150" cy="487362"/>
            </a:xfrm>
            <a:custGeom>
              <a:avLst/>
              <a:gdLst>
                <a:gd name="T0" fmla="*/ 0 w 476"/>
                <a:gd name="T1" fmla="*/ 2147483647 h 613"/>
                <a:gd name="T2" fmla="*/ 2147483647 w 476"/>
                <a:gd name="T3" fmla="*/ 2147483647 h 613"/>
                <a:gd name="T4" fmla="*/ 2147483647 w 476"/>
                <a:gd name="T5" fmla="*/ 2147483647 h 613"/>
                <a:gd name="T6" fmla="*/ 2147483647 w 476"/>
                <a:gd name="T7" fmla="*/ 2147483647 h 613"/>
                <a:gd name="T8" fmla="*/ 2147483647 w 476"/>
                <a:gd name="T9" fmla="*/ 2147483647 h 613"/>
                <a:gd name="T10" fmla="*/ 2147483647 w 476"/>
                <a:gd name="T11" fmla="*/ 2147483647 h 613"/>
                <a:gd name="T12" fmla="*/ 2147483647 w 476"/>
                <a:gd name="T13" fmla="*/ 2147483647 h 613"/>
                <a:gd name="T14" fmla="*/ 2147483647 w 476"/>
                <a:gd name="T15" fmla="*/ 2147483647 h 613"/>
                <a:gd name="T16" fmla="*/ 2147483647 w 476"/>
                <a:gd name="T17" fmla="*/ 2147483647 h 613"/>
                <a:gd name="T18" fmla="*/ 2147483647 w 476"/>
                <a:gd name="T19" fmla="*/ 2147483647 h 613"/>
                <a:gd name="T20" fmla="*/ 2147483647 w 476"/>
                <a:gd name="T21" fmla="*/ 2147483647 h 613"/>
                <a:gd name="T22" fmla="*/ 2147483647 w 476"/>
                <a:gd name="T23" fmla="*/ 2147483647 h 613"/>
                <a:gd name="T24" fmla="*/ 2147483647 w 476"/>
                <a:gd name="T25" fmla="*/ 2147483647 h 613"/>
                <a:gd name="T26" fmla="*/ 2147483647 w 476"/>
                <a:gd name="T27" fmla="*/ 2147483647 h 613"/>
                <a:gd name="T28" fmla="*/ 2147483647 w 476"/>
                <a:gd name="T29" fmla="*/ 2147483647 h 613"/>
                <a:gd name="T30" fmla="*/ 2147483647 w 476"/>
                <a:gd name="T31" fmla="*/ 2147483647 h 613"/>
                <a:gd name="T32" fmla="*/ 2147483647 w 476"/>
                <a:gd name="T33" fmla="*/ 2147483647 h 613"/>
                <a:gd name="T34" fmla="*/ 2147483647 w 476"/>
                <a:gd name="T35" fmla="*/ 2147483647 h 613"/>
                <a:gd name="T36" fmla="*/ 2147483647 w 476"/>
                <a:gd name="T37" fmla="*/ 2147483647 h 613"/>
                <a:gd name="T38" fmla="*/ 2147483647 w 476"/>
                <a:gd name="T39" fmla="*/ 2147483647 h 613"/>
                <a:gd name="T40" fmla="*/ 2147483647 w 476"/>
                <a:gd name="T41" fmla="*/ 2147483647 h 613"/>
                <a:gd name="T42" fmla="*/ 2147483647 w 476"/>
                <a:gd name="T43" fmla="*/ 2147483647 h 613"/>
                <a:gd name="T44" fmla="*/ 2147483647 w 476"/>
                <a:gd name="T45" fmla="*/ 2147483647 h 613"/>
                <a:gd name="T46" fmla="*/ 2147483647 w 476"/>
                <a:gd name="T47" fmla="*/ 2147483647 h 613"/>
                <a:gd name="T48" fmla="*/ 2147483647 w 476"/>
                <a:gd name="T49" fmla="*/ 2147483647 h 613"/>
                <a:gd name="T50" fmla="*/ 2147483647 w 476"/>
                <a:gd name="T51" fmla="*/ 2147483647 h 613"/>
                <a:gd name="T52" fmla="*/ 2147483647 w 476"/>
                <a:gd name="T53" fmla="*/ 2147483647 h 613"/>
                <a:gd name="T54" fmla="*/ 2147483647 w 476"/>
                <a:gd name="T55" fmla="*/ 2147483647 h 613"/>
                <a:gd name="T56" fmla="*/ 2147483647 w 476"/>
                <a:gd name="T57" fmla="*/ 2147483647 h 613"/>
                <a:gd name="T58" fmla="*/ 2147483647 w 476"/>
                <a:gd name="T59" fmla="*/ 2147483647 h 613"/>
                <a:gd name="T60" fmla="*/ 2147483647 w 476"/>
                <a:gd name="T61" fmla="*/ 2147483647 h 613"/>
                <a:gd name="T62" fmla="*/ 2147483647 w 476"/>
                <a:gd name="T63" fmla="*/ 2147483647 h 613"/>
                <a:gd name="T64" fmla="*/ 2147483647 w 476"/>
                <a:gd name="T65" fmla="*/ 2147483647 h 613"/>
                <a:gd name="T66" fmla="*/ 2147483647 w 476"/>
                <a:gd name="T67" fmla="*/ 2147483647 h 613"/>
                <a:gd name="T68" fmla="*/ 2147483647 w 476"/>
                <a:gd name="T69" fmla="*/ 2147483647 h 613"/>
                <a:gd name="T70" fmla="*/ 2147483647 w 476"/>
                <a:gd name="T71" fmla="*/ 2147483647 h 613"/>
                <a:gd name="T72" fmla="*/ 2147483647 w 476"/>
                <a:gd name="T73" fmla="*/ 2147483647 h 613"/>
                <a:gd name="T74" fmla="*/ 2147483647 w 476"/>
                <a:gd name="T75" fmla="*/ 2147483647 h 613"/>
                <a:gd name="T76" fmla="*/ 2147483647 w 476"/>
                <a:gd name="T77" fmla="*/ 2147483647 h 613"/>
                <a:gd name="T78" fmla="*/ 2147483647 w 476"/>
                <a:gd name="T79" fmla="*/ 2147483647 h 613"/>
                <a:gd name="T80" fmla="*/ 2147483647 w 476"/>
                <a:gd name="T81" fmla="*/ 2147483647 h 613"/>
                <a:gd name="T82" fmla="*/ 2147483647 w 476"/>
                <a:gd name="T83" fmla="*/ 2147483647 h 613"/>
                <a:gd name="T84" fmla="*/ 2147483647 w 476"/>
                <a:gd name="T85" fmla="*/ 2147483647 h 613"/>
                <a:gd name="T86" fmla="*/ 2147483647 w 476"/>
                <a:gd name="T87" fmla="*/ 2147483647 h 613"/>
                <a:gd name="T88" fmla="*/ 2147483647 w 476"/>
                <a:gd name="T89" fmla="*/ 0 h 613"/>
                <a:gd name="T90" fmla="*/ 0 w 476"/>
                <a:gd name="T91" fmla="*/ 2147483647 h 61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76" h="613">
                  <a:moveTo>
                    <a:pt x="0" y="12"/>
                  </a:moveTo>
                  <a:lnTo>
                    <a:pt x="26" y="100"/>
                  </a:lnTo>
                  <a:lnTo>
                    <a:pt x="50" y="145"/>
                  </a:lnTo>
                  <a:lnTo>
                    <a:pt x="50" y="168"/>
                  </a:lnTo>
                  <a:lnTo>
                    <a:pt x="37" y="179"/>
                  </a:lnTo>
                  <a:lnTo>
                    <a:pt x="69" y="202"/>
                  </a:lnTo>
                  <a:lnTo>
                    <a:pt x="82" y="246"/>
                  </a:lnTo>
                  <a:lnTo>
                    <a:pt x="82" y="279"/>
                  </a:lnTo>
                  <a:lnTo>
                    <a:pt x="113" y="335"/>
                  </a:lnTo>
                  <a:lnTo>
                    <a:pt x="125" y="312"/>
                  </a:lnTo>
                  <a:lnTo>
                    <a:pt x="45" y="89"/>
                  </a:lnTo>
                  <a:lnTo>
                    <a:pt x="37" y="22"/>
                  </a:lnTo>
                  <a:lnTo>
                    <a:pt x="56" y="45"/>
                  </a:lnTo>
                  <a:lnTo>
                    <a:pt x="87" y="145"/>
                  </a:lnTo>
                  <a:lnTo>
                    <a:pt x="125" y="223"/>
                  </a:lnTo>
                  <a:lnTo>
                    <a:pt x="125" y="246"/>
                  </a:lnTo>
                  <a:lnTo>
                    <a:pt x="182" y="356"/>
                  </a:lnTo>
                  <a:lnTo>
                    <a:pt x="188" y="390"/>
                  </a:lnTo>
                  <a:lnTo>
                    <a:pt x="182" y="425"/>
                  </a:lnTo>
                  <a:lnTo>
                    <a:pt x="194" y="458"/>
                  </a:lnTo>
                  <a:lnTo>
                    <a:pt x="307" y="569"/>
                  </a:lnTo>
                  <a:lnTo>
                    <a:pt x="357" y="557"/>
                  </a:lnTo>
                  <a:lnTo>
                    <a:pt x="388" y="613"/>
                  </a:lnTo>
                  <a:lnTo>
                    <a:pt x="401" y="557"/>
                  </a:lnTo>
                  <a:lnTo>
                    <a:pt x="419" y="557"/>
                  </a:lnTo>
                  <a:lnTo>
                    <a:pt x="401" y="513"/>
                  </a:lnTo>
                  <a:lnTo>
                    <a:pt x="438" y="502"/>
                  </a:lnTo>
                  <a:lnTo>
                    <a:pt x="451" y="479"/>
                  </a:lnTo>
                  <a:lnTo>
                    <a:pt x="457" y="469"/>
                  </a:lnTo>
                  <a:lnTo>
                    <a:pt x="457" y="490"/>
                  </a:lnTo>
                  <a:lnTo>
                    <a:pt x="476" y="390"/>
                  </a:lnTo>
                  <a:lnTo>
                    <a:pt x="451" y="379"/>
                  </a:lnTo>
                  <a:lnTo>
                    <a:pt x="419" y="390"/>
                  </a:lnTo>
                  <a:lnTo>
                    <a:pt x="401" y="479"/>
                  </a:lnTo>
                  <a:lnTo>
                    <a:pt x="357" y="490"/>
                  </a:lnTo>
                  <a:lnTo>
                    <a:pt x="338" y="469"/>
                  </a:lnTo>
                  <a:lnTo>
                    <a:pt x="307" y="356"/>
                  </a:lnTo>
                  <a:lnTo>
                    <a:pt x="307" y="279"/>
                  </a:lnTo>
                  <a:lnTo>
                    <a:pt x="313" y="233"/>
                  </a:lnTo>
                  <a:lnTo>
                    <a:pt x="288" y="212"/>
                  </a:lnTo>
                  <a:lnTo>
                    <a:pt x="244" y="100"/>
                  </a:lnTo>
                  <a:lnTo>
                    <a:pt x="212" y="123"/>
                  </a:lnTo>
                  <a:lnTo>
                    <a:pt x="170" y="35"/>
                  </a:lnTo>
                  <a:lnTo>
                    <a:pt x="101" y="56"/>
                  </a:lnTo>
                  <a:lnTo>
                    <a:pt x="37" y="0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10" name="Group 501"/>
            <p:cNvGrpSpPr>
              <a:grpSpLocks/>
            </p:cNvGrpSpPr>
            <p:nvPr>
              <p:custDataLst>
                <p:tags r:id="rId418"/>
              </p:custDataLst>
            </p:nvPr>
          </p:nvGrpSpPr>
          <p:grpSpPr bwMode="auto">
            <a:xfrm>
              <a:off x="2404242" y="3941333"/>
              <a:ext cx="880150" cy="487362"/>
              <a:chOff x="1118" y="2113"/>
              <a:chExt cx="476" cy="30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57" name="Freeform 502"/>
              <p:cNvSpPr>
                <a:spLocks/>
              </p:cNvSpPr>
              <p:nvPr/>
            </p:nvSpPr>
            <p:spPr bwMode="auto">
              <a:xfrm>
                <a:off x="1118" y="2113"/>
                <a:ext cx="476" cy="307"/>
              </a:xfrm>
              <a:custGeom>
                <a:avLst/>
                <a:gdLst>
                  <a:gd name="T0" fmla="*/ 0 w 476"/>
                  <a:gd name="T1" fmla="*/ 1 h 613"/>
                  <a:gd name="T2" fmla="*/ 26 w 476"/>
                  <a:gd name="T3" fmla="*/ 1 h 613"/>
                  <a:gd name="T4" fmla="*/ 50 w 476"/>
                  <a:gd name="T5" fmla="*/ 1 h 613"/>
                  <a:gd name="T6" fmla="*/ 50 w 476"/>
                  <a:gd name="T7" fmla="*/ 1 h 613"/>
                  <a:gd name="T8" fmla="*/ 37 w 476"/>
                  <a:gd name="T9" fmla="*/ 1 h 613"/>
                  <a:gd name="T10" fmla="*/ 69 w 476"/>
                  <a:gd name="T11" fmla="*/ 1 h 613"/>
                  <a:gd name="T12" fmla="*/ 82 w 476"/>
                  <a:gd name="T13" fmla="*/ 1 h 613"/>
                  <a:gd name="T14" fmla="*/ 82 w 476"/>
                  <a:gd name="T15" fmla="*/ 1 h 613"/>
                  <a:gd name="T16" fmla="*/ 113 w 476"/>
                  <a:gd name="T17" fmla="*/ 1 h 613"/>
                  <a:gd name="T18" fmla="*/ 125 w 476"/>
                  <a:gd name="T19" fmla="*/ 1 h 613"/>
                  <a:gd name="T20" fmla="*/ 45 w 476"/>
                  <a:gd name="T21" fmla="*/ 1 h 613"/>
                  <a:gd name="T22" fmla="*/ 37 w 476"/>
                  <a:gd name="T23" fmla="*/ 1 h 613"/>
                  <a:gd name="T24" fmla="*/ 56 w 476"/>
                  <a:gd name="T25" fmla="*/ 1 h 613"/>
                  <a:gd name="T26" fmla="*/ 87 w 476"/>
                  <a:gd name="T27" fmla="*/ 1 h 613"/>
                  <a:gd name="T28" fmla="*/ 125 w 476"/>
                  <a:gd name="T29" fmla="*/ 1 h 613"/>
                  <a:gd name="T30" fmla="*/ 125 w 476"/>
                  <a:gd name="T31" fmla="*/ 1 h 613"/>
                  <a:gd name="T32" fmla="*/ 182 w 476"/>
                  <a:gd name="T33" fmla="*/ 1 h 613"/>
                  <a:gd name="T34" fmla="*/ 188 w 476"/>
                  <a:gd name="T35" fmla="*/ 1 h 613"/>
                  <a:gd name="T36" fmla="*/ 182 w 476"/>
                  <a:gd name="T37" fmla="*/ 1 h 613"/>
                  <a:gd name="T38" fmla="*/ 194 w 476"/>
                  <a:gd name="T39" fmla="*/ 1 h 613"/>
                  <a:gd name="T40" fmla="*/ 307 w 476"/>
                  <a:gd name="T41" fmla="*/ 1 h 613"/>
                  <a:gd name="T42" fmla="*/ 357 w 476"/>
                  <a:gd name="T43" fmla="*/ 1 h 613"/>
                  <a:gd name="T44" fmla="*/ 388 w 476"/>
                  <a:gd name="T45" fmla="*/ 1 h 613"/>
                  <a:gd name="T46" fmla="*/ 401 w 476"/>
                  <a:gd name="T47" fmla="*/ 1 h 613"/>
                  <a:gd name="T48" fmla="*/ 419 w 476"/>
                  <a:gd name="T49" fmla="*/ 1 h 613"/>
                  <a:gd name="T50" fmla="*/ 401 w 476"/>
                  <a:gd name="T51" fmla="*/ 1 h 613"/>
                  <a:gd name="T52" fmla="*/ 438 w 476"/>
                  <a:gd name="T53" fmla="*/ 1 h 613"/>
                  <a:gd name="T54" fmla="*/ 451 w 476"/>
                  <a:gd name="T55" fmla="*/ 1 h 613"/>
                  <a:gd name="T56" fmla="*/ 457 w 476"/>
                  <a:gd name="T57" fmla="*/ 1 h 613"/>
                  <a:gd name="T58" fmla="*/ 457 w 476"/>
                  <a:gd name="T59" fmla="*/ 1 h 613"/>
                  <a:gd name="T60" fmla="*/ 476 w 476"/>
                  <a:gd name="T61" fmla="*/ 1 h 613"/>
                  <a:gd name="T62" fmla="*/ 451 w 476"/>
                  <a:gd name="T63" fmla="*/ 1 h 613"/>
                  <a:gd name="T64" fmla="*/ 419 w 476"/>
                  <a:gd name="T65" fmla="*/ 1 h 613"/>
                  <a:gd name="T66" fmla="*/ 401 w 476"/>
                  <a:gd name="T67" fmla="*/ 1 h 613"/>
                  <a:gd name="T68" fmla="*/ 357 w 476"/>
                  <a:gd name="T69" fmla="*/ 1 h 613"/>
                  <a:gd name="T70" fmla="*/ 338 w 476"/>
                  <a:gd name="T71" fmla="*/ 1 h 613"/>
                  <a:gd name="T72" fmla="*/ 307 w 476"/>
                  <a:gd name="T73" fmla="*/ 1 h 613"/>
                  <a:gd name="T74" fmla="*/ 307 w 476"/>
                  <a:gd name="T75" fmla="*/ 1 h 613"/>
                  <a:gd name="T76" fmla="*/ 313 w 476"/>
                  <a:gd name="T77" fmla="*/ 1 h 613"/>
                  <a:gd name="T78" fmla="*/ 288 w 476"/>
                  <a:gd name="T79" fmla="*/ 1 h 613"/>
                  <a:gd name="T80" fmla="*/ 244 w 476"/>
                  <a:gd name="T81" fmla="*/ 1 h 613"/>
                  <a:gd name="T82" fmla="*/ 212 w 476"/>
                  <a:gd name="T83" fmla="*/ 1 h 613"/>
                  <a:gd name="T84" fmla="*/ 170 w 476"/>
                  <a:gd name="T85" fmla="*/ 1 h 613"/>
                  <a:gd name="T86" fmla="*/ 101 w 476"/>
                  <a:gd name="T87" fmla="*/ 1 h 613"/>
                  <a:gd name="T88" fmla="*/ 37 w 476"/>
                  <a:gd name="T89" fmla="*/ 0 h 613"/>
                  <a:gd name="T90" fmla="*/ 0 w 476"/>
                  <a:gd name="T91" fmla="*/ 1 h 61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76" h="613">
                    <a:moveTo>
                      <a:pt x="0" y="12"/>
                    </a:moveTo>
                    <a:lnTo>
                      <a:pt x="26" y="100"/>
                    </a:lnTo>
                    <a:lnTo>
                      <a:pt x="50" y="145"/>
                    </a:lnTo>
                    <a:lnTo>
                      <a:pt x="50" y="168"/>
                    </a:lnTo>
                    <a:lnTo>
                      <a:pt x="37" y="179"/>
                    </a:lnTo>
                    <a:lnTo>
                      <a:pt x="69" y="202"/>
                    </a:lnTo>
                    <a:lnTo>
                      <a:pt x="82" y="246"/>
                    </a:lnTo>
                    <a:lnTo>
                      <a:pt x="82" y="279"/>
                    </a:lnTo>
                    <a:lnTo>
                      <a:pt x="113" y="335"/>
                    </a:lnTo>
                    <a:lnTo>
                      <a:pt x="125" y="312"/>
                    </a:lnTo>
                    <a:lnTo>
                      <a:pt x="45" y="89"/>
                    </a:lnTo>
                    <a:lnTo>
                      <a:pt x="37" y="22"/>
                    </a:lnTo>
                    <a:lnTo>
                      <a:pt x="56" y="45"/>
                    </a:lnTo>
                    <a:lnTo>
                      <a:pt x="87" y="145"/>
                    </a:lnTo>
                    <a:lnTo>
                      <a:pt x="125" y="223"/>
                    </a:lnTo>
                    <a:lnTo>
                      <a:pt x="125" y="246"/>
                    </a:lnTo>
                    <a:lnTo>
                      <a:pt x="182" y="356"/>
                    </a:lnTo>
                    <a:lnTo>
                      <a:pt x="188" y="390"/>
                    </a:lnTo>
                    <a:lnTo>
                      <a:pt x="182" y="425"/>
                    </a:lnTo>
                    <a:lnTo>
                      <a:pt x="194" y="458"/>
                    </a:lnTo>
                    <a:lnTo>
                      <a:pt x="307" y="569"/>
                    </a:lnTo>
                    <a:lnTo>
                      <a:pt x="357" y="557"/>
                    </a:lnTo>
                    <a:lnTo>
                      <a:pt x="388" y="613"/>
                    </a:lnTo>
                    <a:lnTo>
                      <a:pt x="401" y="557"/>
                    </a:lnTo>
                    <a:lnTo>
                      <a:pt x="419" y="557"/>
                    </a:lnTo>
                    <a:lnTo>
                      <a:pt x="401" y="513"/>
                    </a:lnTo>
                    <a:lnTo>
                      <a:pt x="438" y="502"/>
                    </a:lnTo>
                    <a:lnTo>
                      <a:pt x="451" y="479"/>
                    </a:lnTo>
                    <a:lnTo>
                      <a:pt x="457" y="469"/>
                    </a:lnTo>
                    <a:lnTo>
                      <a:pt x="457" y="490"/>
                    </a:lnTo>
                    <a:lnTo>
                      <a:pt x="476" y="390"/>
                    </a:lnTo>
                    <a:lnTo>
                      <a:pt x="451" y="379"/>
                    </a:lnTo>
                    <a:lnTo>
                      <a:pt x="419" y="390"/>
                    </a:lnTo>
                    <a:lnTo>
                      <a:pt x="401" y="479"/>
                    </a:lnTo>
                    <a:lnTo>
                      <a:pt x="357" y="490"/>
                    </a:lnTo>
                    <a:lnTo>
                      <a:pt x="338" y="469"/>
                    </a:lnTo>
                    <a:lnTo>
                      <a:pt x="307" y="356"/>
                    </a:lnTo>
                    <a:lnTo>
                      <a:pt x="307" y="279"/>
                    </a:lnTo>
                    <a:lnTo>
                      <a:pt x="313" y="233"/>
                    </a:lnTo>
                    <a:lnTo>
                      <a:pt x="288" y="212"/>
                    </a:lnTo>
                    <a:lnTo>
                      <a:pt x="244" y="100"/>
                    </a:lnTo>
                    <a:lnTo>
                      <a:pt x="212" y="123"/>
                    </a:lnTo>
                    <a:lnTo>
                      <a:pt x="170" y="35"/>
                    </a:lnTo>
                    <a:lnTo>
                      <a:pt x="101" y="56"/>
                    </a:lnTo>
                    <a:lnTo>
                      <a:pt x="37" y="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58" name="Freeform 503"/>
              <p:cNvSpPr>
                <a:spLocks/>
              </p:cNvSpPr>
              <p:nvPr/>
            </p:nvSpPr>
            <p:spPr bwMode="auto">
              <a:xfrm>
                <a:off x="1118" y="2113"/>
                <a:ext cx="476" cy="307"/>
              </a:xfrm>
              <a:custGeom>
                <a:avLst/>
                <a:gdLst>
                  <a:gd name="T0" fmla="*/ 0 w 476"/>
                  <a:gd name="T1" fmla="*/ 1 h 613"/>
                  <a:gd name="T2" fmla="*/ 26 w 476"/>
                  <a:gd name="T3" fmla="*/ 1 h 613"/>
                  <a:gd name="T4" fmla="*/ 50 w 476"/>
                  <a:gd name="T5" fmla="*/ 1 h 613"/>
                  <a:gd name="T6" fmla="*/ 50 w 476"/>
                  <a:gd name="T7" fmla="*/ 1 h 613"/>
                  <a:gd name="T8" fmla="*/ 37 w 476"/>
                  <a:gd name="T9" fmla="*/ 1 h 613"/>
                  <a:gd name="T10" fmla="*/ 69 w 476"/>
                  <a:gd name="T11" fmla="*/ 1 h 613"/>
                  <a:gd name="T12" fmla="*/ 82 w 476"/>
                  <a:gd name="T13" fmla="*/ 1 h 613"/>
                  <a:gd name="T14" fmla="*/ 82 w 476"/>
                  <a:gd name="T15" fmla="*/ 1 h 613"/>
                  <a:gd name="T16" fmla="*/ 113 w 476"/>
                  <a:gd name="T17" fmla="*/ 1 h 613"/>
                  <a:gd name="T18" fmla="*/ 125 w 476"/>
                  <a:gd name="T19" fmla="*/ 1 h 613"/>
                  <a:gd name="T20" fmla="*/ 45 w 476"/>
                  <a:gd name="T21" fmla="*/ 1 h 613"/>
                  <a:gd name="T22" fmla="*/ 37 w 476"/>
                  <a:gd name="T23" fmla="*/ 1 h 613"/>
                  <a:gd name="T24" fmla="*/ 56 w 476"/>
                  <a:gd name="T25" fmla="*/ 1 h 613"/>
                  <a:gd name="T26" fmla="*/ 87 w 476"/>
                  <a:gd name="T27" fmla="*/ 1 h 613"/>
                  <a:gd name="T28" fmla="*/ 125 w 476"/>
                  <a:gd name="T29" fmla="*/ 1 h 613"/>
                  <a:gd name="T30" fmla="*/ 125 w 476"/>
                  <a:gd name="T31" fmla="*/ 1 h 613"/>
                  <a:gd name="T32" fmla="*/ 182 w 476"/>
                  <a:gd name="T33" fmla="*/ 1 h 613"/>
                  <a:gd name="T34" fmla="*/ 188 w 476"/>
                  <a:gd name="T35" fmla="*/ 1 h 613"/>
                  <a:gd name="T36" fmla="*/ 182 w 476"/>
                  <a:gd name="T37" fmla="*/ 1 h 613"/>
                  <a:gd name="T38" fmla="*/ 194 w 476"/>
                  <a:gd name="T39" fmla="*/ 1 h 613"/>
                  <a:gd name="T40" fmla="*/ 307 w 476"/>
                  <a:gd name="T41" fmla="*/ 1 h 613"/>
                  <a:gd name="T42" fmla="*/ 357 w 476"/>
                  <a:gd name="T43" fmla="*/ 1 h 613"/>
                  <a:gd name="T44" fmla="*/ 388 w 476"/>
                  <a:gd name="T45" fmla="*/ 1 h 613"/>
                  <a:gd name="T46" fmla="*/ 401 w 476"/>
                  <a:gd name="T47" fmla="*/ 1 h 613"/>
                  <a:gd name="T48" fmla="*/ 419 w 476"/>
                  <a:gd name="T49" fmla="*/ 1 h 613"/>
                  <a:gd name="T50" fmla="*/ 401 w 476"/>
                  <a:gd name="T51" fmla="*/ 1 h 613"/>
                  <a:gd name="T52" fmla="*/ 438 w 476"/>
                  <a:gd name="T53" fmla="*/ 1 h 613"/>
                  <a:gd name="T54" fmla="*/ 451 w 476"/>
                  <a:gd name="T55" fmla="*/ 1 h 613"/>
                  <a:gd name="T56" fmla="*/ 457 w 476"/>
                  <a:gd name="T57" fmla="*/ 1 h 613"/>
                  <a:gd name="T58" fmla="*/ 457 w 476"/>
                  <a:gd name="T59" fmla="*/ 1 h 613"/>
                  <a:gd name="T60" fmla="*/ 476 w 476"/>
                  <a:gd name="T61" fmla="*/ 1 h 613"/>
                  <a:gd name="T62" fmla="*/ 451 w 476"/>
                  <a:gd name="T63" fmla="*/ 1 h 613"/>
                  <a:gd name="T64" fmla="*/ 419 w 476"/>
                  <a:gd name="T65" fmla="*/ 1 h 613"/>
                  <a:gd name="T66" fmla="*/ 401 w 476"/>
                  <a:gd name="T67" fmla="*/ 1 h 613"/>
                  <a:gd name="T68" fmla="*/ 357 w 476"/>
                  <a:gd name="T69" fmla="*/ 1 h 613"/>
                  <a:gd name="T70" fmla="*/ 338 w 476"/>
                  <a:gd name="T71" fmla="*/ 1 h 613"/>
                  <a:gd name="T72" fmla="*/ 307 w 476"/>
                  <a:gd name="T73" fmla="*/ 1 h 613"/>
                  <a:gd name="T74" fmla="*/ 307 w 476"/>
                  <a:gd name="T75" fmla="*/ 1 h 613"/>
                  <a:gd name="T76" fmla="*/ 313 w 476"/>
                  <a:gd name="T77" fmla="*/ 1 h 613"/>
                  <a:gd name="T78" fmla="*/ 288 w 476"/>
                  <a:gd name="T79" fmla="*/ 1 h 613"/>
                  <a:gd name="T80" fmla="*/ 244 w 476"/>
                  <a:gd name="T81" fmla="*/ 1 h 613"/>
                  <a:gd name="T82" fmla="*/ 212 w 476"/>
                  <a:gd name="T83" fmla="*/ 1 h 613"/>
                  <a:gd name="T84" fmla="*/ 170 w 476"/>
                  <a:gd name="T85" fmla="*/ 1 h 613"/>
                  <a:gd name="T86" fmla="*/ 101 w 476"/>
                  <a:gd name="T87" fmla="*/ 1 h 613"/>
                  <a:gd name="T88" fmla="*/ 37 w 476"/>
                  <a:gd name="T89" fmla="*/ 0 h 613"/>
                  <a:gd name="T90" fmla="*/ 0 w 476"/>
                  <a:gd name="T91" fmla="*/ 1 h 61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76" h="613">
                    <a:moveTo>
                      <a:pt x="0" y="12"/>
                    </a:moveTo>
                    <a:lnTo>
                      <a:pt x="26" y="100"/>
                    </a:lnTo>
                    <a:lnTo>
                      <a:pt x="50" y="145"/>
                    </a:lnTo>
                    <a:lnTo>
                      <a:pt x="50" y="168"/>
                    </a:lnTo>
                    <a:lnTo>
                      <a:pt x="37" y="179"/>
                    </a:lnTo>
                    <a:lnTo>
                      <a:pt x="69" y="202"/>
                    </a:lnTo>
                    <a:lnTo>
                      <a:pt x="82" y="246"/>
                    </a:lnTo>
                    <a:lnTo>
                      <a:pt x="82" y="279"/>
                    </a:lnTo>
                    <a:lnTo>
                      <a:pt x="113" y="335"/>
                    </a:lnTo>
                    <a:lnTo>
                      <a:pt x="125" y="312"/>
                    </a:lnTo>
                    <a:lnTo>
                      <a:pt x="45" y="89"/>
                    </a:lnTo>
                    <a:lnTo>
                      <a:pt x="37" y="22"/>
                    </a:lnTo>
                    <a:lnTo>
                      <a:pt x="56" y="45"/>
                    </a:lnTo>
                    <a:lnTo>
                      <a:pt x="87" y="145"/>
                    </a:lnTo>
                    <a:lnTo>
                      <a:pt x="125" y="223"/>
                    </a:lnTo>
                    <a:lnTo>
                      <a:pt x="125" y="246"/>
                    </a:lnTo>
                    <a:lnTo>
                      <a:pt x="182" y="356"/>
                    </a:lnTo>
                    <a:lnTo>
                      <a:pt x="188" y="390"/>
                    </a:lnTo>
                    <a:lnTo>
                      <a:pt x="182" y="425"/>
                    </a:lnTo>
                    <a:lnTo>
                      <a:pt x="194" y="458"/>
                    </a:lnTo>
                    <a:lnTo>
                      <a:pt x="307" y="569"/>
                    </a:lnTo>
                    <a:lnTo>
                      <a:pt x="357" y="557"/>
                    </a:lnTo>
                    <a:lnTo>
                      <a:pt x="388" y="613"/>
                    </a:lnTo>
                    <a:lnTo>
                      <a:pt x="401" y="557"/>
                    </a:lnTo>
                    <a:lnTo>
                      <a:pt x="419" y="557"/>
                    </a:lnTo>
                    <a:lnTo>
                      <a:pt x="401" y="513"/>
                    </a:lnTo>
                    <a:lnTo>
                      <a:pt x="438" y="502"/>
                    </a:lnTo>
                    <a:lnTo>
                      <a:pt x="451" y="479"/>
                    </a:lnTo>
                    <a:lnTo>
                      <a:pt x="457" y="469"/>
                    </a:lnTo>
                    <a:lnTo>
                      <a:pt x="457" y="490"/>
                    </a:lnTo>
                    <a:lnTo>
                      <a:pt x="476" y="390"/>
                    </a:lnTo>
                    <a:lnTo>
                      <a:pt x="451" y="379"/>
                    </a:lnTo>
                    <a:lnTo>
                      <a:pt x="419" y="390"/>
                    </a:lnTo>
                    <a:lnTo>
                      <a:pt x="401" y="479"/>
                    </a:lnTo>
                    <a:lnTo>
                      <a:pt x="357" y="490"/>
                    </a:lnTo>
                    <a:lnTo>
                      <a:pt x="338" y="469"/>
                    </a:lnTo>
                    <a:lnTo>
                      <a:pt x="307" y="356"/>
                    </a:lnTo>
                    <a:lnTo>
                      <a:pt x="307" y="279"/>
                    </a:lnTo>
                    <a:lnTo>
                      <a:pt x="313" y="233"/>
                    </a:lnTo>
                    <a:lnTo>
                      <a:pt x="288" y="212"/>
                    </a:lnTo>
                    <a:lnTo>
                      <a:pt x="244" y="100"/>
                    </a:lnTo>
                    <a:lnTo>
                      <a:pt x="212" y="123"/>
                    </a:lnTo>
                    <a:lnTo>
                      <a:pt x="170" y="35"/>
                    </a:lnTo>
                    <a:lnTo>
                      <a:pt x="101" y="56"/>
                    </a:lnTo>
                    <a:lnTo>
                      <a:pt x="37" y="0"/>
                    </a:lnTo>
                    <a:lnTo>
                      <a:pt x="0" y="12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11" name="Freeform 504"/>
            <p:cNvSpPr>
              <a:spLocks/>
            </p:cNvSpPr>
            <p:nvPr>
              <p:custDataLst>
                <p:tags r:id="rId419"/>
              </p:custDataLst>
            </p:nvPr>
          </p:nvSpPr>
          <p:spPr bwMode="auto">
            <a:xfrm>
              <a:off x="8543211" y="3339670"/>
              <a:ext cx="912228" cy="336550"/>
            </a:xfrm>
            <a:custGeom>
              <a:avLst/>
              <a:gdLst>
                <a:gd name="T0" fmla="*/ 0 w 493"/>
                <a:gd name="T1" fmla="*/ 2147483647 h 424"/>
                <a:gd name="T2" fmla="*/ 2147483647 w 493"/>
                <a:gd name="T3" fmla="*/ 2147483647 h 424"/>
                <a:gd name="T4" fmla="*/ 2147483647 w 493"/>
                <a:gd name="T5" fmla="*/ 2147483647 h 424"/>
                <a:gd name="T6" fmla="*/ 2147483647 w 493"/>
                <a:gd name="T7" fmla="*/ 2147483647 h 424"/>
                <a:gd name="T8" fmla="*/ 2147483647 w 493"/>
                <a:gd name="T9" fmla="*/ 2147483647 h 424"/>
                <a:gd name="T10" fmla="*/ 2147483647 w 493"/>
                <a:gd name="T11" fmla="*/ 2147483647 h 424"/>
                <a:gd name="T12" fmla="*/ 2147483647 w 493"/>
                <a:gd name="T13" fmla="*/ 2147483647 h 424"/>
                <a:gd name="T14" fmla="*/ 2147483647 w 493"/>
                <a:gd name="T15" fmla="*/ 2147483647 h 424"/>
                <a:gd name="T16" fmla="*/ 2147483647 w 493"/>
                <a:gd name="T17" fmla="*/ 2147483647 h 424"/>
                <a:gd name="T18" fmla="*/ 2147483647 w 493"/>
                <a:gd name="T19" fmla="*/ 2147483647 h 424"/>
                <a:gd name="T20" fmla="*/ 2147483647 w 493"/>
                <a:gd name="T21" fmla="*/ 2147483647 h 424"/>
                <a:gd name="T22" fmla="*/ 2147483647 w 493"/>
                <a:gd name="T23" fmla="*/ 2147483647 h 424"/>
                <a:gd name="T24" fmla="*/ 2147483647 w 493"/>
                <a:gd name="T25" fmla="*/ 2147483647 h 424"/>
                <a:gd name="T26" fmla="*/ 2147483647 w 493"/>
                <a:gd name="T27" fmla="*/ 2147483647 h 424"/>
                <a:gd name="T28" fmla="*/ 2147483647 w 493"/>
                <a:gd name="T29" fmla="*/ 2147483647 h 424"/>
                <a:gd name="T30" fmla="*/ 2147483647 w 493"/>
                <a:gd name="T31" fmla="*/ 2147483647 h 424"/>
                <a:gd name="T32" fmla="*/ 2147483647 w 493"/>
                <a:gd name="T33" fmla="*/ 2147483647 h 424"/>
                <a:gd name="T34" fmla="*/ 2147483647 w 493"/>
                <a:gd name="T35" fmla="*/ 2147483647 h 424"/>
                <a:gd name="T36" fmla="*/ 2147483647 w 493"/>
                <a:gd name="T37" fmla="*/ 2147483647 h 424"/>
                <a:gd name="T38" fmla="*/ 2147483647 w 493"/>
                <a:gd name="T39" fmla="*/ 2147483647 h 424"/>
                <a:gd name="T40" fmla="*/ 2147483647 w 493"/>
                <a:gd name="T41" fmla="*/ 2147483647 h 424"/>
                <a:gd name="T42" fmla="*/ 2147483647 w 493"/>
                <a:gd name="T43" fmla="*/ 2147483647 h 424"/>
                <a:gd name="T44" fmla="*/ 2147483647 w 493"/>
                <a:gd name="T45" fmla="*/ 2147483647 h 424"/>
                <a:gd name="T46" fmla="*/ 2147483647 w 493"/>
                <a:gd name="T47" fmla="*/ 0 h 424"/>
                <a:gd name="T48" fmla="*/ 2147483647 w 493"/>
                <a:gd name="T49" fmla="*/ 2147483647 h 424"/>
                <a:gd name="T50" fmla="*/ 2147483647 w 493"/>
                <a:gd name="T51" fmla="*/ 2147483647 h 424"/>
                <a:gd name="T52" fmla="*/ 2147483647 w 493"/>
                <a:gd name="T53" fmla="*/ 2147483647 h 424"/>
                <a:gd name="T54" fmla="*/ 0 w 493"/>
                <a:gd name="T55" fmla="*/ 2147483647 h 42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3" h="424">
                  <a:moveTo>
                    <a:pt x="0" y="134"/>
                  </a:moveTo>
                  <a:lnTo>
                    <a:pt x="18" y="178"/>
                  </a:lnTo>
                  <a:lnTo>
                    <a:pt x="37" y="202"/>
                  </a:lnTo>
                  <a:lnTo>
                    <a:pt x="44" y="292"/>
                  </a:lnTo>
                  <a:lnTo>
                    <a:pt x="118" y="324"/>
                  </a:lnTo>
                  <a:lnTo>
                    <a:pt x="144" y="380"/>
                  </a:lnTo>
                  <a:lnTo>
                    <a:pt x="200" y="380"/>
                  </a:lnTo>
                  <a:lnTo>
                    <a:pt x="262" y="424"/>
                  </a:lnTo>
                  <a:lnTo>
                    <a:pt x="349" y="380"/>
                  </a:lnTo>
                  <a:lnTo>
                    <a:pt x="374" y="346"/>
                  </a:lnTo>
                  <a:lnTo>
                    <a:pt x="374" y="301"/>
                  </a:lnTo>
                  <a:lnTo>
                    <a:pt x="399" y="315"/>
                  </a:lnTo>
                  <a:lnTo>
                    <a:pt x="450" y="236"/>
                  </a:lnTo>
                  <a:lnTo>
                    <a:pt x="493" y="236"/>
                  </a:lnTo>
                  <a:lnTo>
                    <a:pt x="475" y="178"/>
                  </a:lnTo>
                  <a:lnTo>
                    <a:pt x="438" y="192"/>
                  </a:lnTo>
                  <a:lnTo>
                    <a:pt x="438" y="134"/>
                  </a:lnTo>
                  <a:lnTo>
                    <a:pt x="443" y="102"/>
                  </a:lnTo>
                  <a:lnTo>
                    <a:pt x="418" y="90"/>
                  </a:lnTo>
                  <a:lnTo>
                    <a:pt x="343" y="123"/>
                  </a:lnTo>
                  <a:lnTo>
                    <a:pt x="274" y="67"/>
                  </a:lnTo>
                  <a:lnTo>
                    <a:pt x="237" y="79"/>
                  </a:lnTo>
                  <a:lnTo>
                    <a:pt x="219" y="34"/>
                  </a:lnTo>
                  <a:lnTo>
                    <a:pt x="182" y="0"/>
                  </a:lnTo>
                  <a:lnTo>
                    <a:pt x="156" y="34"/>
                  </a:lnTo>
                  <a:lnTo>
                    <a:pt x="156" y="90"/>
                  </a:lnTo>
                  <a:lnTo>
                    <a:pt x="63" y="67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12" name="Freeform 505"/>
            <p:cNvSpPr>
              <a:spLocks/>
            </p:cNvSpPr>
            <p:nvPr>
              <p:custDataLst>
                <p:tags r:id="rId420"/>
              </p:custDataLst>
            </p:nvPr>
          </p:nvSpPr>
          <p:spPr bwMode="auto">
            <a:xfrm>
              <a:off x="8543211" y="3339670"/>
              <a:ext cx="912228" cy="336550"/>
            </a:xfrm>
            <a:custGeom>
              <a:avLst/>
              <a:gdLst>
                <a:gd name="T0" fmla="*/ 0 w 493"/>
                <a:gd name="T1" fmla="*/ 2147483647 h 424"/>
                <a:gd name="T2" fmla="*/ 2147483647 w 493"/>
                <a:gd name="T3" fmla="*/ 2147483647 h 424"/>
                <a:gd name="T4" fmla="*/ 2147483647 w 493"/>
                <a:gd name="T5" fmla="*/ 2147483647 h 424"/>
                <a:gd name="T6" fmla="*/ 2147483647 w 493"/>
                <a:gd name="T7" fmla="*/ 2147483647 h 424"/>
                <a:gd name="T8" fmla="*/ 2147483647 w 493"/>
                <a:gd name="T9" fmla="*/ 2147483647 h 424"/>
                <a:gd name="T10" fmla="*/ 2147483647 w 493"/>
                <a:gd name="T11" fmla="*/ 2147483647 h 424"/>
                <a:gd name="T12" fmla="*/ 2147483647 w 493"/>
                <a:gd name="T13" fmla="*/ 2147483647 h 424"/>
                <a:gd name="T14" fmla="*/ 2147483647 w 493"/>
                <a:gd name="T15" fmla="*/ 2147483647 h 424"/>
                <a:gd name="T16" fmla="*/ 2147483647 w 493"/>
                <a:gd name="T17" fmla="*/ 2147483647 h 424"/>
                <a:gd name="T18" fmla="*/ 2147483647 w 493"/>
                <a:gd name="T19" fmla="*/ 2147483647 h 424"/>
                <a:gd name="T20" fmla="*/ 2147483647 w 493"/>
                <a:gd name="T21" fmla="*/ 2147483647 h 424"/>
                <a:gd name="T22" fmla="*/ 2147483647 w 493"/>
                <a:gd name="T23" fmla="*/ 2147483647 h 424"/>
                <a:gd name="T24" fmla="*/ 2147483647 w 493"/>
                <a:gd name="T25" fmla="*/ 2147483647 h 424"/>
                <a:gd name="T26" fmla="*/ 2147483647 w 493"/>
                <a:gd name="T27" fmla="*/ 2147483647 h 424"/>
                <a:gd name="T28" fmla="*/ 2147483647 w 493"/>
                <a:gd name="T29" fmla="*/ 2147483647 h 424"/>
                <a:gd name="T30" fmla="*/ 2147483647 w 493"/>
                <a:gd name="T31" fmla="*/ 2147483647 h 424"/>
                <a:gd name="T32" fmla="*/ 2147483647 w 493"/>
                <a:gd name="T33" fmla="*/ 2147483647 h 424"/>
                <a:gd name="T34" fmla="*/ 2147483647 w 493"/>
                <a:gd name="T35" fmla="*/ 2147483647 h 424"/>
                <a:gd name="T36" fmla="*/ 2147483647 w 493"/>
                <a:gd name="T37" fmla="*/ 2147483647 h 424"/>
                <a:gd name="T38" fmla="*/ 2147483647 w 493"/>
                <a:gd name="T39" fmla="*/ 2147483647 h 424"/>
                <a:gd name="T40" fmla="*/ 2147483647 w 493"/>
                <a:gd name="T41" fmla="*/ 2147483647 h 424"/>
                <a:gd name="T42" fmla="*/ 2147483647 w 493"/>
                <a:gd name="T43" fmla="*/ 2147483647 h 424"/>
                <a:gd name="T44" fmla="*/ 2147483647 w 493"/>
                <a:gd name="T45" fmla="*/ 2147483647 h 424"/>
                <a:gd name="T46" fmla="*/ 2147483647 w 493"/>
                <a:gd name="T47" fmla="*/ 0 h 424"/>
                <a:gd name="T48" fmla="*/ 2147483647 w 493"/>
                <a:gd name="T49" fmla="*/ 2147483647 h 424"/>
                <a:gd name="T50" fmla="*/ 2147483647 w 493"/>
                <a:gd name="T51" fmla="*/ 2147483647 h 424"/>
                <a:gd name="T52" fmla="*/ 2147483647 w 493"/>
                <a:gd name="T53" fmla="*/ 2147483647 h 424"/>
                <a:gd name="T54" fmla="*/ 0 w 493"/>
                <a:gd name="T55" fmla="*/ 2147483647 h 42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3" h="424">
                  <a:moveTo>
                    <a:pt x="0" y="134"/>
                  </a:moveTo>
                  <a:lnTo>
                    <a:pt x="18" y="178"/>
                  </a:lnTo>
                  <a:lnTo>
                    <a:pt x="37" y="202"/>
                  </a:lnTo>
                  <a:lnTo>
                    <a:pt x="44" y="292"/>
                  </a:lnTo>
                  <a:lnTo>
                    <a:pt x="118" y="324"/>
                  </a:lnTo>
                  <a:lnTo>
                    <a:pt x="144" y="380"/>
                  </a:lnTo>
                  <a:lnTo>
                    <a:pt x="200" y="380"/>
                  </a:lnTo>
                  <a:lnTo>
                    <a:pt x="262" y="424"/>
                  </a:lnTo>
                  <a:lnTo>
                    <a:pt x="349" y="380"/>
                  </a:lnTo>
                  <a:lnTo>
                    <a:pt x="374" y="346"/>
                  </a:lnTo>
                  <a:lnTo>
                    <a:pt x="374" y="301"/>
                  </a:lnTo>
                  <a:lnTo>
                    <a:pt x="399" y="315"/>
                  </a:lnTo>
                  <a:lnTo>
                    <a:pt x="450" y="236"/>
                  </a:lnTo>
                  <a:lnTo>
                    <a:pt x="493" y="236"/>
                  </a:lnTo>
                  <a:lnTo>
                    <a:pt x="475" y="178"/>
                  </a:lnTo>
                  <a:lnTo>
                    <a:pt x="438" y="192"/>
                  </a:lnTo>
                  <a:lnTo>
                    <a:pt x="438" y="134"/>
                  </a:lnTo>
                  <a:lnTo>
                    <a:pt x="443" y="102"/>
                  </a:lnTo>
                  <a:lnTo>
                    <a:pt x="418" y="90"/>
                  </a:lnTo>
                  <a:lnTo>
                    <a:pt x="343" y="123"/>
                  </a:lnTo>
                  <a:lnTo>
                    <a:pt x="274" y="67"/>
                  </a:lnTo>
                  <a:lnTo>
                    <a:pt x="237" y="79"/>
                  </a:lnTo>
                  <a:lnTo>
                    <a:pt x="219" y="34"/>
                  </a:lnTo>
                  <a:lnTo>
                    <a:pt x="182" y="0"/>
                  </a:lnTo>
                  <a:lnTo>
                    <a:pt x="156" y="34"/>
                  </a:lnTo>
                  <a:lnTo>
                    <a:pt x="156" y="90"/>
                  </a:lnTo>
                  <a:lnTo>
                    <a:pt x="63" y="67"/>
                  </a:lnTo>
                  <a:lnTo>
                    <a:pt x="0" y="1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13" name="Freeform 506"/>
            <p:cNvSpPr>
              <a:spLocks/>
            </p:cNvSpPr>
            <p:nvPr>
              <p:custDataLst>
                <p:tags r:id="rId421"/>
              </p:custDataLst>
            </p:nvPr>
          </p:nvSpPr>
          <p:spPr bwMode="auto">
            <a:xfrm>
              <a:off x="8543211" y="3339670"/>
              <a:ext cx="912228" cy="336550"/>
            </a:xfrm>
            <a:custGeom>
              <a:avLst/>
              <a:gdLst>
                <a:gd name="T0" fmla="*/ 0 w 493"/>
                <a:gd name="T1" fmla="*/ 2147483647 h 424"/>
                <a:gd name="T2" fmla="*/ 2147483647 w 493"/>
                <a:gd name="T3" fmla="*/ 2147483647 h 424"/>
                <a:gd name="T4" fmla="*/ 2147483647 w 493"/>
                <a:gd name="T5" fmla="*/ 2147483647 h 424"/>
                <a:gd name="T6" fmla="*/ 2147483647 w 493"/>
                <a:gd name="T7" fmla="*/ 2147483647 h 424"/>
                <a:gd name="T8" fmla="*/ 2147483647 w 493"/>
                <a:gd name="T9" fmla="*/ 2147483647 h 424"/>
                <a:gd name="T10" fmla="*/ 2147483647 w 493"/>
                <a:gd name="T11" fmla="*/ 2147483647 h 424"/>
                <a:gd name="T12" fmla="*/ 2147483647 w 493"/>
                <a:gd name="T13" fmla="*/ 2147483647 h 424"/>
                <a:gd name="T14" fmla="*/ 2147483647 w 493"/>
                <a:gd name="T15" fmla="*/ 2147483647 h 424"/>
                <a:gd name="T16" fmla="*/ 2147483647 w 493"/>
                <a:gd name="T17" fmla="*/ 2147483647 h 424"/>
                <a:gd name="T18" fmla="*/ 2147483647 w 493"/>
                <a:gd name="T19" fmla="*/ 2147483647 h 424"/>
                <a:gd name="T20" fmla="*/ 2147483647 w 493"/>
                <a:gd name="T21" fmla="*/ 2147483647 h 424"/>
                <a:gd name="T22" fmla="*/ 2147483647 w 493"/>
                <a:gd name="T23" fmla="*/ 2147483647 h 424"/>
                <a:gd name="T24" fmla="*/ 2147483647 w 493"/>
                <a:gd name="T25" fmla="*/ 2147483647 h 424"/>
                <a:gd name="T26" fmla="*/ 2147483647 w 493"/>
                <a:gd name="T27" fmla="*/ 2147483647 h 424"/>
                <a:gd name="T28" fmla="*/ 2147483647 w 493"/>
                <a:gd name="T29" fmla="*/ 2147483647 h 424"/>
                <a:gd name="T30" fmla="*/ 2147483647 w 493"/>
                <a:gd name="T31" fmla="*/ 2147483647 h 424"/>
                <a:gd name="T32" fmla="*/ 2147483647 w 493"/>
                <a:gd name="T33" fmla="*/ 2147483647 h 424"/>
                <a:gd name="T34" fmla="*/ 2147483647 w 493"/>
                <a:gd name="T35" fmla="*/ 2147483647 h 424"/>
                <a:gd name="T36" fmla="*/ 2147483647 w 493"/>
                <a:gd name="T37" fmla="*/ 2147483647 h 424"/>
                <a:gd name="T38" fmla="*/ 2147483647 w 493"/>
                <a:gd name="T39" fmla="*/ 2147483647 h 424"/>
                <a:gd name="T40" fmla="*/ 2147483647 w 493"/>
                <a:gd name="T41" fmla="*/ 2147483647 h 424"/>
                <a:gd name="T42" fmla="*/ 2147483647 w 493"/>
                <a:gd name="T43" fmla="*/ 2147483647 h 424"/>
                <a:gd name="T44" fmla="*/ 2147483647 w 493"/>
                <a:gd name="T45" fmla="*/ 2147483647 h 424"/>
                <a:gd name="T46" fmla="*/ 2147483647 w 493"/>
                <a:gd name="T47" fmla="*/ 0 h 424"/>
                <a:gd name="T48" fmla="*/ 2147483647 w 493"/>
                <a:gd name="T49" fmla="*/ 2147483647 h 424"/>
                <a:gd name="T50" fmla="*/ 2147483647 w 493"/>
                <a:gd name="T51" fmla="*/ 2147483647 h 424"/>
                <a:gd name="T52" fmla="*/ 2147483647 w 493"/>
                <a:gd name="T53" fmla="*/ 2147483647 h 424"/>
                <a:gd name="T54" fmla="*/ 0 w 493"/>
                <a:gd name="T55" fmla="*/ 2147483647 h 42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3" h="424">
                  <a:moveTo>
                    <a:pt x="0" y="134"/>
                  </a:moveTo>
                  <a:lnTo>
                    <a:pt x="18" y="178"/>
                  </a:lnTo>
                  <a:lnTo>
                    <a:pt x="37" y="202"/>
                  </a:lnTo>
                  <a:lnTo>
                    <a:pt x="44" y="292"/>
                  </a:lnTo>
                  <a:lnTo>
                    <a:pt x="118" y="324"/>
                  </a:lnTo>
                  <a:lnTo>
                    <a:pt x="144" y="380"/>
                  </a:lnTo>
                  <a:lnTo>
                    <a:pt x="200" y="380"/>
                  </a:lnTo>
                  <a:lnTo>
                    <a:pt x="262" y="424"/>
                  </a:lnTo>
                  <a:lnTo>
                    <a:pt x="349" y="380"/>
                  </a:lnTo>
                  <a:lnTo>
                    <a:pt x="374" y="346"/>
                  </a:lnTo>
                  <a:lnTo>
                    <a:pt x="374" y="301"/>
                  </a:lnTo>
                  <a:lnTo>
                    <a:pt x="399" y="315"/>
                  </a:lnTo>
                  <a:lnTo>
                    <a:pt x="450" y="236"/>
                  </a:lnTo>
                  <a:lnTo>
                    <a:pt x="493" y="236"/>
                  </a:lnTo>
                  <a:lnTo>
                    <a:pt x="475" y="178"/>
                  </a:lnTo>
                  <a:lnTo>
                    <a:pt x="438" y="192"/>
                  </a:lnTo>
                  <a:lnTo>
                    <a:pt x="438" y="134"/>
                  </a:lnTo>
                  <a:lnTo>
                    <a:pt x="443" y="102"/>
                  </a:lnTo>
                  <a:lnTo>
                    <a:pt x="418" y="90"/>
                  </a:lnTo>
                  <a:lnTo>
                    <a:pt x="343" y="123"/>
                  </a:lnTo>
                  <a:lnTo>
                    <a:pt x="274" y="67"/>
                  </a:lnTo>
                  <a:lnTo>
                    <a:pt x="237" y="79"/>
                  </a:lnTo>
                  <a:lnTo>
                    <a:pt x="219" y="34"/>
                  </a:lnTo>
                  <a:lnTo>
                    <a:pt x="182" y="0"/>
                  </a:lnTo>
                  <a:lnTo>
                    <a:pt x="156" y="34"/>
                  </a:lnTo>
                  <a:lnTo>
                    <a:pt x="156" y="90"/>
                  </a:lnTo>
                  <a:lnTo>
                    <a:pt x="63" y="67"/>
                  </a:lnTo>
                  <a:lnTo>
                    <a:pt x="0" y="1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14" name="Freeform 507"/>
            <p:cNvSpPr>
              <a:spLocks/>
            </p:cNvSpPr>
            <p:nvPr>
              <p:custDataLst>
                <p:tags r:id="rId422"/>
              </p:custDataLst>
            </p:nvPr>
          </p:nvSpPr>
          <p:spPr bwMode="auto">
            <a:xfrm>
              <a:off x="8543211" y="3339670"/>
              <a:ext cx="912228" cy="336550"/>
            </a:xfrm>
            <a:custGeom>
              <a:avLst/>
              <a:gdLst>
                <a:gd name="T0" fmla="*/ 0 w 493"/>
                <a:gd name="T1" fmla="*/ 2147483647 h 424"/>
                <a:gd name="T2" fmla="*/ 2147483647 w 493"/>
                <a:gd name="T3" fmla="*/ 2147483647 h 424"/>
                <a:gd name="T4" fmla="*/ 2147483647 w 493"/>
                <a:gd name="T5" fmla="*/ 2147483647 h 424"/>
                <a:gd name="T6" fmla="*/ 2147483647 w 493"/>
                <a:gd name="T7" fmla="*/ 2147483647 h 424"/>
                <a:gd name="T8" fmla="*/ 2147483647 w 493"/>
                <a:gd name="T9" fmla="*/ 2147483647 h 424"/>
                <a:gd name="T10" fmla="*/ 2147483647 w 493"/>
                <a:gd name="T11" fmla="*/ 2147483647 h 424"/>
                <a:gd name="T12" fmla="*/ 2147483647 w 493"/>
                <a:gd name="T13" fmla="*/ 2147483647 h 424"/>
                <a:gd name="T14" fmla="*/ 2147483647 w 493"/>
                <a:gd name="T15" fmla="*/ 2147483647 h 424"/>
                <a:gd name="T16" fmla="*/ 2147483647 w 493"/>
                <a:gd name="T17" fmla="*/ 2147483647 h 424"/>
                <a:gd name="T18" fmla="*/ 2147483647 w 493"/>
                <a:gd name="T19" fmla="*/ 2147483647 h 424"/>
                <a:gd name="T20" fmla="*/ 2147483647 w 493"/>
                <a:gd name="T21" fmla="*/ 2147483647 h 424"/>
                <a:gd name="T22" fmla="*/ 2147483647 w 493"/>
                <a:gd name="T23" fmla="*/ 2147483647 h 424"/>
                <a:gd name="T24" fmla="*/ 2147483647 w 493"/>
                <a:gd name="T25" fmla="*/ 2147483647 h 424"/>
                <a:gd name="T26" fmla="*/ 2147483647 w 493"/>
                <a:gd name="T27" fmla="*/ 2147483647 h 424"/>
                <a:gd name="T28" fmla="*/ 2147483647 w 493"/>
                <a:gd name="T29" fmla="*/ 2147483647 h 424"/>
                <a:gd name="T30" fmla="*/ 2147483647 w 493"/>
                <a:gd name="T31" fmla="*/ 2147483647 h 424"/>
                <a:gd name="T32" fmla="*/ 2147483647 w 493"/>
                <a:gd name="T33" fmla="*/ 2147483647 h 424"/>
                <a:gd name="T34" fmla="*/ 2147483647 w 493"/>
                <a:gd name="T35" fmla="*/ 2147483647 h 424"/>
                <a:gd name="T36" fmla="*/ 2147483647 w 493"/>
                <a:gd name="T37" fmla="*/ 2147483647 h 424"/>
                <a:gd name="T38" fmla="*/ 2147483647 w 493"/>
                <a:gd name="T39" fmla="*/ 2147483647 h 424"/>
                <a:gd name="T40" fmla="*/ 2147483647 w 493"/>
                <a:gd name="T41" fmla="*/ 2147483647 h 424"/>
                <a:gd name="T42" fmla="*/ 2147483647 w 493"/>
                <a:gd name="T43" fmla="*/ 2147483647 h 424"/>
                <a:gd name="T44" fmla="*/ 2147483647 w 493"/>
                <a:gd name="T45" fmla="*/ 2147483647 h 424"/>
                <a:gd name="T46" fmla="*/ 2147483647 w 493"/>
                <a:gd name="T47" fmla="*/ 0 h 424"/>
                <a:gd name="T48" fmla="*/ 2147483647 w 493"/>
                <a:gd name="T49" fmla="*/ 2147483647 h 424"/>
                <a:gd name="T50" fmla="*/ 2147483647 w 493"/>
                <a:gd name="T51" fmla="*/ 2147483647 h 424"/>
                <a:gd name="T52" fmla="*/ 2147483647 w 493"/>
                <a:gd name="T53" fmla="*/ 2147483647 h 424"/>
                <a:gd name="T54" fmla="*/ 0 w 493"/>
                <a:gd name="T55" fmla="*/ 2147483647 h 42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493" h="424">
                  <a:moveTo>
                    <a:pt x="0" y="134"/>
                  </a:moveTo>
                  <a:lnTo>
                    <a:pt x="18" y="178"/>
                  </a:lnTo>
                  <a:lnTo>
                    <a:pt x="37" y="202"/>
                  </a:lnTo>
                  <a:lnTo>
                    <a:pt x="44" y="292"/>
                  </a:lnTo>
                  <a:lnTo>
                    <a:pt x="118" y="324"/>
                  </a:lnTo>
                  <a:lnTo>
                    <a:pt x="144" y="380"/>
                  </a:lnTo>
                  <a:lnTo>
                    <a:pt x="200" y="380"/>
                  </a:lnTo>
                  <a:lnTo>
                    <a:pt x="262" y="424"/>
                  </a:lnTo>
                  <a:lnTo>
                    <a:pt x="349" y="380"/>
                  </a:lnTo>
                  <a:lnTo>
                    <a:pt x="374" y="346"/>
                  </a:lnTo>
                  <a:lnTo>
                    <a:pt x="374" y="301"/>
                  </a:lnTo>
                  <a:lnTo>
                    <a:pt x="399" y="315"/>
                  </a:lnTo>
                  <a:lnTo>
                    <a:pt x="450" y="236"/>
                  </a:lnTo>
                  <a:lnTo>
                    <a:pt x="493" y="236"/>
                  </a:lnTo>
                  <a:lnTo>
                    <a:pt x="475" y="178"/>
                  </a:lnTo>
                  <a:lnTo>
                    <a:pt x="438" y="192"/>
                  </a:lnTo>
                  <a:lnTo>
                    <a:pt x="438" y="134"/>
                  </a:lnTo>
                  <a:lnTo>
                    <a:pt x="443" y="102"/>
                  </a:lnTo>
                  <a:lnTo>
                    <a:pt x="418" y="90"/>
                  </a:lnTo>
                  <a:lnTo>
                    <a:pt x="343" y="123"/>
                  </a:lnTo>
                  <a:lnTo>
                    <a:pt x="274" y="67"/>
                  </a:lnTo>
                  <a:lnTo>
                    <a:pt x="237" y="79"/>
                  </a:lnTo>
                  <a:lnTo>
                    <a:pt x="219" y="34"/>
                  </a:lnTo>
                  <a:lnTo>
                    <a:pt x="182" y="0"/>
                  </a:lnTo>
                  <a:lnTo>
                    <a:pt x="156" y="34"/>
                  </a:lnTo>
                  <a:lnTo>
                    <a:pt x="156" y="90"/>
                  </a:lnTo>
                  <a:lnTo>
                    <a:pt x="63" y="67"/>
                  </a:lnTo>
                  <a:lnTo>
                    <a:pt x="0" y="1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15" name="Freeform 508"/>
            <p:cNvSpPr>
              <a:spLocks/>
            </p:cNvSpPr>
            <p:nvPr>
              <p:custDataLst>
                <p:tags r:id="rId423"/>
              </p:custDataLst>
            </p:nvPr>
          </p:nvSpPr>
          <p:spPr bwMode="auto">
            <a:xfrm>
              <a:off x="7510714" y="4155656"/>
              <a:ext cx="218533" cy="220663"/>
            </a:xfrm>
            <a:custGeom>
              <a:avLst/>
              <a:gdLst>
                <a:gd name="T0" fmla="*/ 0 w 118"/>
                <a:gd name="T1" fmla="*/ 2147483647 h 279"/>
                <a:gd name="T2" fmla="*/ 2147483647 w 118"/>
                <a:gd name="T3" fmla="*/ 2147483647 h 279"/>
                <a:gd name="T4" fmla="*/ 2147483647 w 118"/>
                <a:gd name="T5" fmla="*/ 2147483647 h 279"/>
                <a:gd name="T6" fmla="*/ 2147483647 w 118"/>
                <a:gd name="T7" fmla="*/ 2147483647 h 279"/>
                <a:gd name="T8" fmla="*/ 2147483647 w 118"/>
                <a:gd name="T9" fmla="*/ 2147483647 h 279"/>
                <a:gd name="T10" fmla="*/ 2147483647 w 118"/>
                <a:gd name="T11" fmla="*/ 2147483647 h 279"/>
                <a:gd name="T12" fmla="*/ 2147483647 w 118"/>
                <a:gd name="T13" fmla="*/ 2147483647 h 279"/>
                <a:gd name="T14" fmla="*/ 2147483647 w 118"/>
                <a:gd name="T15" fmla="*/ 2147483647 h 279"/>
                <a:gd name="T16" fmla="*/ 2147483647 w 118"/>
                <a:gd name="T17" fmla="*/ 0 h 279"/>
                <a:gd name="T18" fmla="*/ 2147483647 w 118"/>
                <a:gd name="T19" fmla="*/ 0 h 279"/>
                <a:gd name="T20" fmla="*/ 2147483647 w 118"/>
                <a:gd name="T21" fmla="*/ 2147483647 h 279"/>
                <a:gd name="T22" fmla="*/ 2147483647 w 118"/>
                <a:gd name="T23" fmla="*/ 2147483647 h 279"/>
                <a:gd name="T24" fmla="*/ 2147483647 w 118"/>
                <a:gd name="T25" fmla="*/ 2147483647 h 279"/>
                <a:gd name="T26" fmla="*/ 2147483647 w 118"/>
                <a:gd name="T27" fmla="*/ 2147483647 h 279"/>
                <a:gd name="T28" fmla="*/ 0 w 118"/>
                <a:gd name="T29" fmla="*/ 2147483647 h 2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8" h="279">
                  <a:moveTo>
                    <a:pt x="0" y="200"/>
                  </a:moveTo>
                  <a:lnTo>
                    <a:pt x="18" y="279"/>
                  </a:lnTo>
                  <a:lnTo>
                    <a:pt x="43" y="265"/>
                  </a:lnTo>
                  <a:lnTo>
                    <a:pt x="87" y="200"/>
                  </a:lnTo>
                  <a:lnTo>
                    <a:pt x="87" y="166"/>
                  </a:lnTo>
                  <a:lnTo>
                    <a:pt x="118" y="98"/>
                  </a:lnTo>
                  <a:lnTo>
                    <a:pt x="118" y="77"/>
                  </a:lnTo>
                  <a:lnTo>
                    <a:pt x="106" y="45"/>
                  </a:lnTo>
                  <a:lnTo>
                    <a:pt x="68" y="0"/>
                  </a:lnTo>
                  <a:lnTo>
                    <a:pt x="55" y="0"/>
                  </a:lnTo>
                  <a:lnTo>
                    <a:pt x="62" y="33"/>
                  </a:lnTo>
                  <a:lnTo>
                    <a:pt x="50" y="77"/>
                  </a:lnTo>
                  <a:lnTo>
                    <a:pt x="55" y="98"/>
                  </a:lnTo>
                  <a:lnTo>
                    <a:pt x="43" y="166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16" name="Freeform 509"/>
            <p:cNvSpPr>
              <a:spLocks/>
            </p:cNvSpPr>
            <p:nvPr>
              <p:custDataLst>
                <p:tags r:id="rId424"/>
              </p:custDataLst>
            </p:nvPr>
          </p:nvSpPr>
          <p:spPr bwMode="auto">
            <a:xfrm>
              <a:off x="7510714" y="4155656"/>
              <a:ext cx="218533" cy="220663"/>
            </a:xfrm>
            <a:custGeom>
              <a:avLst/>
              <a:gdLst>
                <a:gd name="T0" fmla="*/ 0 w 118"/>
                <a:gd name="T1" fmla="*/ 2147483647 h 279"/>
                <a:gd name="T2" fmla="*/ 2147483647 w 118"/>
                <a:gd name="T3" fmla="*/ 2147483647 h 279"/>
                <a:gd name="T4" fmla="*/ 2147483647 w 118"/>
                <a:gd name="T5" fmla="*/ 2147483647 h 279"/>
                <a:gd name="T6" fmla="*/ 2147483647 w 118"/>
                <a:gd name="T7" fmla="*/ 2147483647 h 279"/>
                <a:gd name="T8" fmla="*/ 2147483647 w 118"/>
                <a:gd name="T9" fmla="*/ 2147483647 h 279"/>
                <a:gd name="T10" fmla="*/ 2147483647 w 118"/>
                <a:gd name="T11" fmla="*/ 2147483647 h 279"/>
                <a:gd name="T12" fmla="*/ 2147483647 w 118"/>
                <a:gd name="T13" fmla="*/ 2147483647 h 279"/>
                <a:gd name="T14" fmla="*/ 2147483647 w 118"/>
                <a:gd name="T15" fmla="*/ 2147483647 h 279"/>
                <a:gd name="T16" fmla="*/ 2147483647 w 118"/>
                <a:gd name="T17" fmla="*/ 0 h 279"/>
                <a:gd name="T18" fmla="*/ 2147483647 w 118"/>
                <a:gd name="T19" fmla="*/ 0 h 279"/>
                <a:gd name="T20" fmla="*/ 2147483647 w 118"/>
                <a:gd name="T21" fmla="*/ 2147483647 h 279"/>
                <a:gd name="T22" fmla="*/ 2147483647 w 118"/>
                <a:gd name="T23" fmla="*/ 2147483647 h 279"/>
                <a:gd name="T24" fmla="*/ 2147483647 w 118"/>
                <a:gd name="T25" fmla="*/ 2147483647 h 279"/>
                <a:gd name="T26" fmla="*/ 2147483647 w 118"/>
                <a:gd name="T27" fmla="*/ 2147483647 h 279"/>
                <a:gd name="T28" fmla="*/ 0 w 118"/>
                <a:gd name="T29" fmla="*/ 2147483647 h 2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8" h="279">
                  <a:moveTo>
                    <a:pt x="0" y="200"/>
                  </a:moveTo>
                  <a:lnTo>
                    <a:pt x="18" y="279"/>
                  </a:lnTo>
                  <a:lnTo>
                    <a:pt x="43" y="265"/>
                  </a:lnTo>
                  <a:lnTo>
                    <a:pt x="87" y="200"/>
                  </a:lnTo>
                  <a:lnTo>
                    <a:pt x="87" y="166"/>
                  </a:lnTo>
                  <a:lnTo>
                    <a:pt x="118" y="98"/>
                  </a:lnTo>
                  <a:lnTo>
                    <a:pt x="118" y="77"/>
                  </a:lnTo>
                  <a:lnTo>
                    <a:pt x="106" y="45"/>
                  </a:lnTo>
                  <a:lnTo>
                    <a:pt x="68" y="0"/>
                  </a:lnTo>
                  <a:lnTo>
                    <a:pt x="55" y="0"/>
                  </a:lnTo>
                  <a:lnTo>
                    <a:pt x="62" y="33"/>
                  </a:lnTo>
                  <a:lnTo>
                    <a:pt x="50" y="77"/>
                  </a:lnTo>
                  <a:lnTo>
                    <a:pt x="55" y="98"/>
                  </a:lnTo>
                  <a:lnTo>
                    <a:pt x="43" y="166"/>
                  </a:lnTo>
                  <a:lnTo>
                    <a:pt x="0" y="20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17" name="Freeform 510"/>
            <p:cNvSpPr>
              <a:spLocks/>
            </p:cNvSpPr>
            <p:nvPr>
              <p:custDataLst>
                <p:tags r:id="rId425"/>
              </p:custDataLst>
            </p:nvPr>
          </p:nvSpPr>
          <p:spPr bwMode="auto">
            <a:xfrm>
              <a:off x="7510714" y="4155656"/>
              <a:ext cx="218533" cy="220663"/>
            </a:xfrm>
            <a:custGeom>
              <a:avLst/>
              <a:gdLst>
                <a:gd name="T0" fmla="*/ 0 w 118"/>
                <a:gd name="T1" fmla="*/ 2147483647 h 279"/>
                <a:gd name="T2" fmla="*/ 2147483647 w 118"/>
                <a:gd name="T3" fmla="*/ 2147483647 h 279"/>
                <a:gd name="T4" fmla="*/ 2147483647 w 118"/>
                <a:gd name="T5" fmla="*/ 2147483647 h 279"/>
                <a:gd name="T6" fmla="*/ 2147483647 w 118"/>
                <a:gd name="T7" fmla="*/ 2147483647 h 279"/>
                <a:gd name="T8" fmla="*/ 2147483647 w 118"/>
                <a:gd name="T9" fmla="*/ 2147483647 h 279"/>
                <a:gd name="T10" fmla="*/ 2147483647 w 118"/>
                <a:gd name="T11" fmla="*/ 2147483647 h 279"/>
                <a:gd name="T12" fmla="*/ 2147483647 w 118"/>
                <a:gd name="T13" fmla="*/ 2147483647 h 279"/>
                <a:gd name="T14" fmla="*/ 2147483647 w 118"/>
                <a:gd name="T15" fmla="*/ 2147483647 h 279"/>
                <a:gd name="T16" fmla="*/ 2147483647 w 118"/>
                <a:gd name="T17" fmla="*/ 0 h 279"/>
                <a:gd name="T18" fmla="*/ 2147483647 w 118"/>
                <a:gd name="T19" fmla="*/ 0 h 279"/>
                <a:gd name="T20" fmla="*/ 2147483647 w 118"/>
                <a:gd name="T21" fmla="*/ 2147483647 h 279"/>
                <a:gd name="T22" fmla="*/ 2147483647 w 118"/>
                <a:gd name="T23" fmla="*/ 2147483647 h 279"/>
                <a:gd name="T24" fmla="*/ 2147483647 w 118"/>
                <a:gd name="T25" fmla="*/ 2147483647 h 279"/>
                <a:gd name="T26" fmla="*/ 2147483647 w 118"/>
                <a:gd name="T27" fmla="*/ 2147483647 h 279"/>
                <a:gd name="T28" fmla="*/ 0 w 118"/>
                <a:gd name="T29" fmla="*/ 2147483647 h 2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8" h="279">
                  <a:moveTo>
                    <a:pt x="0" y="200"/>
                  </a:moveTo>
                  <a:lnTo>
                    <a:pt x="18" y="279"/>
                  </a:lnTo>
                  <a:lnTo>
                    <a:pt x="43" y="265"/>
                  </a:lnTo>
                  <a:lnTo>
                    <a:pt x="87" y="200"/>
                  </a:lnTo>
                  <a:lnTo>
                    <a:pt x="87" y="166"/>
                  </a:lnTo>
                  <a:lnTo>
                    <a:pt x="118" y="98"/>
                  </a:lnTo>
                  <a:lnTo>
                    <a:pt x="118" y="77"/>
                  </a:lnTo>
                  <a:lnTo>
                    <a:pt x="106" y="45"/>
                  </a:lnTo>
                  <a:lnTo>
                    <a:pt x="68" y="0"/>
                  </a:lnTo>
                  <a:lnTo>
                    <a:pt x="55" y="0"/>
                  </a:lnTo>
                  <a:lnTo>
                    <a:pt x="62" y="33"/>
                  </a:lnTo>
                  <a:lnTo>
                    <a:pt x="50" y="77"/>
                  </a:lnTo>
                  <a:lnTo>
                    <a:pt x="55" y="98"/>
                  </a:lnTo>
                  <a:lnTo>
                    <a:pt x="43" y="166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18" name="Freeform 511"/>
            <p:cNvSpPr>
              <a:spLocks/>
            </p:cNvSpPr>
            <p:nvPr>
              <p:custDataLst>
                <p:tags r:id="rId426"/>
              </p:custDataLst>
            </p:nvPr>
          </p:nvSpPr>
          <p:spPr bwMode="auto">
            <a:xfrm>
              <a:off x="7510714" y="4155656"/>
              <a:ext cx="218533" cy="220663"/>
            </a:xfrm>
            <a:custGeom>
              <a:avLst/>
              <a:gdLst>
                <a:gd name="T0" fmla="*/ 0 w 118"/>
                <a:gd name="T1" fmla="*/ 2147483647 h 279"/>
                <a:gd name="T2" fmla="*/ 2147483647 w 118"/>
                <a:gd name="T3" fmla="*/ 2147483647 h 279"/>
                <a:gd name="T4" fmla="*/ 2147483647 w 118"/>
                <a:gd name="T5" fmla="*/ 2147483647 h 279"/>
                <a:gd name="T6" fmla="*/ 2147483647 w 118"/>
                <a:gd name="T7" fmla="*/ 2147483647 h 279"/>
                <a:gd name="T8" fmla="*/ 2147483647 w 118"/>
                <a:gd name="T9" fmla="*/ 2147483647 h 279"/>
                <a:gd name="T10" fmla="*/ 2147483647 w 118"/>
                <a:gd name="T11" fmla="*/ 2147483647 h 279"/>
                <a:gd name="T12" fmla="*/ 2147483647 w 118"/>
                <a:gd name="T13" fmla="*/ 2147483647 h 279"/>
                <a:gd name="T14" fmla="*/ 2147483647 w 118"/>
                <a:gd name="T15" fmla="*/ 2147483647 h 279"/>
                <a:gd name="T16" fmla="*/ 2147483647 w 118"/>
                <a:gd name="T17" fmla="*/ 0 h 279"/>
                <a:gd name="T18" fmla="*/ 2147483647 w 118"/>
                <a:gd name="T19" fmla="*/ 0 h 279"/>
                <a:gd name="T20" fmla="*/ 2147483647 w 118"/>
                <a:gd name="T21" fmla="*/ 2147483647 h 279"/>
                <a:gd name="T22" fmla="*/ 2147483647 w 118"/>
                <a:gd name="T23" fmla="*/ 2147483647 h 279"/>
                <a:gd name="T24" fmla="*/ 2147483647 w 118"/>
                <a:gd name="T25" fmla="*/ 2147483647 h 279"/>
                <a:gd name="T26" fmla="*/ 2147483647 w 118"/>
                <a:gd name="T27" fmla="*/ 2147483647 h 279"/>
                <a:gd name="T28" fmla="*/ 0 w 118"/>
                <a:gd name="T29" fmla="*/ 2147483647 h 2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8" h="279">
                  <a:moveTo>
                    <a:pt x="0" y="200"/>
                  </a:moveTo>
                  <a:lnTo>
                    <a:pt x="18" y="279"/>
                  </a:lnTo>
                  <a:lnTo>
                    <a:pt x="43" y="265"/>
                  </a:lnTo>
                  <a:lnTo>
                    <a:pt x="87" y="200"/>
                  </a:lnTo>
                  <a:lnTo>
                    <a:pt x="87" y="166"/>
                  </a:lnTo>
                  <a:lnTo>
                    <a:pt x="118" y="98"/>
                  </a:lnTo>
                  <a:lnTo>
                    <a:pt x="118" y="77"/>
                  </a:lnTo>
                  <a:lnTo>
                    <a:pt x="106" y="45"/>
                  </a:lnTo>
                  <a:lnTo>
                    <a:pt x="68" y="0"/>
                  </a:lnTo>
                  <a:lnTo>
                    <a:pt x="55" y="0"/>
                  </a:lnTo>
                  <a:lnTo>
                    <a:pt x="62" y="33"/>
                  </a:lnTo>
                  <a:lnTo>
                    <a:pt x="50" y="77"/>
                  </a:lnTo>
                  <a:lnTo>
                    <a:pt x="55" y="98"/>
                  </a:lnTo>
                  <a:lnTo>
                    <a:pt x="43" y="166"/>
                  </a:lnTo>
                  <a:lnTo>
                    <a:pt x="0" y="20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19" name="Freeform 512"/>
            <p:cNvSpPr>
              <a:spLocks/>
            </p:cNvSpPr>
            <p:nvPr>
              <p:custDataLst>
                <p:tags r:id="rId427"/>
              </p:custDataLst>
            </p:nvPr>
          </p:nvSpPr>
          <p:spPr bwMode="auto">
            <a:xfrm>
              <a:off x="8320669" y="4012780"/>
              <a:ext cx="232568" cy="106363"/>
            </a:xfrm>
            <a:custGeom>
              <a:avLst/>
              <a:gdLst>
                <a:gd name="T0" fmla="*/ 0 w 126"/>
                <a:gd name="T1" fmla="*/ 2147483647 h 132"/>
                <a:gd name="T2" fmla="*/ 2147483647 w 126"/>
                <a:gd name="T3" fmla="*/ 0 h 132"/>
                <a:gd name="T4" fmla="*/ 2147483647 w 126"/>
                <a:gd name="T5" fmla="*/ 2147483647 h 132"/>
                <a:gd name="T6" fmla="*/ 2147483647 w 126"/>
                <a:gd name="T7" fmla="*/ 2147483647 h 132"/>
                <a:gd name="T8" fmla="*/ 2147483647 w 126"/>
                <a:gd name="T9" fmla="*/ 2147483647 h 132"/>
                <a:gd name="T10" fmla="*/ 2147483647 w 126"/>
                <a:gd name="T11" fmla="*/ 2147483647 h 132"/>
                <a:gd name="T12" fmla="*/ 2147483647 w 126"/>
                <a:gd name="T13" fmla="*/ 2147483647 h 132"/>
                <a:gd name="T14" fmla="*/ 0 w 126"/>
                <a:gd name="T15" fmla="*/ 2147483647 h 1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6" h="132">
                  <a:moveTo>
                    <a:pt x="0" y="44"/>
                  </a:moveTo>
                  <a:lnTo>
                    <a:pt x="19" y="0"/>
                  </a:lnTo>
                  <a:lnTo>
                    <a:pt x="63" y="32"/>
                  </a:lnTo>
                  <a:lnTo>
                    <a:pt x="88" y="77"/>
                  </a:lnTo>
                  <a:lnTo>
                    <a:pt x="126" y="77"/>
                  </a:lnTo>
                  <a:lnTo>
                    <a:pt x="119" y="132"/>
                  </a:lnTo>
                  <a:lnTo>
                    <a:pt x="44" y="98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20" name="Freeform 513"/>
            <p:cNvSpPr>
              <a:spLocks/>
            </p:cNvSpPr>
            <p:nvPr>
              <p:custDataLst>
                <p:tags r:id="rId428"/>
              </p:custDataLst>
            </p:nvPr>
          </p:nvSpPr>
          <p:spPr bwMode="auto">
            <a:xfrm>
              <a:off x="8320669" y="4012780"/>
              <a:ext cx="232568" cy="106363"/>
            </a:xfrm>
            <a:custGeom>
              <a:avLst/>
              <a:gdLst>
                <a:gd name="T0" fmla="*/ 0 w 126"/>
                <a:gd name="T1" fmla="*/ 2147483647 h 132"/>
                <a:gd name="T2" fmla="*/ 2147483647 w 126"/>
                <a:gd name="T3" fmla="*/ 0 h 132"/>
                <a:gd name="T4" fmla="*/ 2147483647 w 126"/>
                <a:gd name="T5" fmla="*/ 2147483647 h 132"/>
                <a:gd name="T6" fmla="*/ 2147483647 w 126"/>
                <a:gd name="T7" fmla="*/ 2147483647 h 132"/>
                <a:gd name="T8" fmla="*/ 2147483647 w 126"/>
                <a:gd name="T9" fmla="*/ 2147483647 h 132"/>
                <a:gd name="T10" fmla="*/ 2147483647 w 126"/>
                <a:gd name="T11" fmla="*/ 2147483647 h 132"/>
                <a:gd name="T12" fmla="*/ 2147483647 w 126"/>
                <a:gd name="T13" fmla="*/ 2147483647 h 132"/>
                <a:gd name="T14" fmla="*/ 0 w 126"/>
                <a:gd name="T15" fmla="*/ 2147483647 h 1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6" h="132">
                  <a:moveTo>
                    <a:pt x="0" y="44"/>
                  </a:moveTo>
                  <a:lnTo>
                    <a:pt x="19" y="0"/>
                  </a:lnTo>
                  <a:lnTo>
                    <a:pt x="63" y="32"/>
                  </a:lnTo>
                  <a:lnTo>
                    <a:pt x="88" y="77"/>
                  </a:lnTo>
                  <a:lnTo>
                    <a:pt x="126" y="77"/>
                  </a:lnTo>
                  <a:lnTo>
                    <a:pt x="119" y="132"/>
                  </a:lnTo>
                  <a:lnTo>
                    <a:pt x="44" y="98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21" name="Freeform 514"/>
            <p:cNvSpPr>
              <a:spLocks/>
            </p:cNvSpPr>
            <p:nvPr>
              <p:custDataLst>
                <p:tags r:id="rId429"/>
              </p:custDataLst>
            </p:nvPr>
          </p:nvSpPr>
          <p:spPr bwMode="auto">
            <a:xfrm>
              <a:off x="8320669" y="4012780"/>
              <a:ext cx="232568" cy="106363"/>
            </a:xfrm>
            <a:custGeom>
              <a:avLst/>
              <a:gdLst>
                <a:gd name="T0" fmla="*/ 0 w 126"/>
                <a:gd name="T1" fmla="*/ 2147483647 h 132"/>
                <a:gd name="T2" fmla="*/ 2147483647 w 126"/>
                <a:gd name="T3" fmla="*/ 0 h 132"/>
                <a:gd name="T4" fmla="*/ 2147483647 w 126"/>
                <a:gd name="T5" fmla="*/ 2147483647 h 132"/>
                <a:gd name="T6" fmla="*/ 2147483647 w 126"/>
                <a:gd name="T7" fmla="*/ 2147483647 h 132"/>
                <a:gd name="T8" fmla="*/ 2147483647 w 126"/>
                <a:gd name="T9" fmla="*/ 2147483647 h 132"/>
                <a:gd name="T10" fmla="*/ 2147483647 w 126"/>
                <a:gd name="T11" fmla="*/ 2147483647 h 132"/>
                <a:gd name="T12" fmla="*/ 2147483647 w 126"/>
                <a:gd name="T13" fmla="*/ 2147483647 h 132"/>
                <a:gd name="T14" fmla="*/ 0 w 126"/>
                <a:gd name="T15" fmla="*/ 2147483647 h 1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6" h="132">
                  <a:moveTo>
                    <a:pt x="0" y="44"/>
                  </a:moveTo>
                  <a:lnTo>
                    <a:pt x="19" y="0"/>
                  </a:lnTo>
                  <a:lnTo>
                    <a:pt x="63" y="32"/>
                  </a:lnTo>
                  <a:lnTo>
                    <a:pt x="88" y="77"/>
                  </a:lnTo>
                  <a:lnTo>
                    <a:pt x="126" y="77"/>
                  </a:lnTo>
                  <a:lnTo>
                    <a:pt x="119" y="132"/>
                  </a:lnTo>
                  <a:lnTo>
                    <a:pt x="44" y="98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22" name="Freeform 515"/>
            <p:cNvSpPr>
              <a:spLocks/>
            </p:cNvSpPr>
            <p:nvPr>
              <p:custDataLst>
                <p:tags r:id="rId430"/>
              </p:custDataLst>
            </p:nvPr>
          </p:nvSpPr>
          <p:spPr bwMode="auto">
            <a:xfrm>
              <a:off x="8320669" y="4012780"/>
              <a:ext cx="232568" cy="106363"/>
            </a:xfrm>
            <a:custGeom>
              <a:avLst/>
              <a:gdLst>
                <a:gd name="T0" fmla="*/ 0 w 126"/>
                <a:gd name="T1" fmla="*/ 2147483647 h 132"/>
                <a:gd name="T2" fmla="*/ 2147483647 w 126"/>
                <a:gd name="T3" fmla="*/ 0 h 132"/>
                <a:gd name="T4" fmla="*/ 2147483647 w 126"/>
                <a:gd name="T5" fmla="*/ 2147483647 h 132"/>
                <a:gd name="T6" fmla="*/ 2147483647 w 126"/>
                <a:gd name="T7" fmla="*/ 2147483647 h 132"/>
                <a:gd name="T8" fmla="*/ 2147483647 w 126"/>
                <a:gd name="T9" fmla="*/ 2147483647 h 132"/>
                <a:gd name="T10" fmla="*/ 2147483647 w 126"/>
                <a:gd name="T11" fmla="*/ 2147483647 h 132"/>
                <a:gd name="T12" fmla="*/ 2147483647 w 126"/>
                <a:gd name="T13" fmla="*/ 2147483647 h 132"/>
                <a:gd name="T14" fmla="*/ 0 w 126"/>
                <a:gd name="T15" fmla="*/ 2147483647 h 13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26" h="132">
                  <a:moveTo>
                    <a:pt x="0" y="44"/>
                  </a:moveTo>
                  <a:lnTo>
                    <a:pt x="19" y="0"/>
                  </a:lnTo>
                  <a:lnTo>
                    <a:pt x="63" y="32"/>
                  </a:lnTo>
                  <a:lnTo>
                    <a:pt x="88" y="77"/>
                  </a:lnTo>
                  <a:lnTo>
                    <a:pt x="126" y="77"/>
                  </a:lnTo>
                  <a:lnTo>
                    <a:pt x="119" y="132"/>
                  </a:lnTo>
                  <a:lnTo>
                    <a:pt x="44" y="98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23" name="Freeform 516"/>
            <p:cNvSpPr>
              <a:spLocks/>
            </p:cNvSpPr>
            <p:nvPr>
              <p:custDataLst>
                <p:tags r:id="rId431"/>
              </p:custDataLst>
            </p:nvPr>
          </p:nvSpPr>
          <p:spPr bwMode="auto">
            <a:xfrm>
              <a:off x="6121312" y="3304745"/>
              <a:ext cx="92225" cy="88900"/>
            </a:xfrm>
            <a:custGeom>
              <a:avLst/>
              <a:gdLst>
                <a:gd name="T0" fmla="*/ 0 w 50"/>
                <a:gd name="T1" fmla="*/ 2147483647 h 113"/>
                <a:gd name="T2" fmla="*/ 2147483647 w 50"/>
                <a:gd name="T3" fmla="*/ 2147483647 h 113"/>
                <a:gd name="T4" fmla="*/ 2147483647 w 50"/>
                <a:gd name="T5" fmla="*/ 2147483647 h 113"/>
                <a:gd name="T6" fmla="*/ 2147483647 w 50"/>
                <a:gd name="T7" fmla="*/ 2147483647 h 113"/>
                <a:gd name="T8" fmla="*/ 2147483647 w 50"/>
                <a:gd name="T9" fmla="*/ 2147483647 h 113"/>
                <a:gd name="T10" fmla="*/ 2147483647 w 50"/>
                <a:gd name="T11" fmla="*/ 0 h 113"/>
                <a:gd name="T12" fmla="*/ 2147483647 w 50"/>
                <a:gd name="T13" fmla="*/ 0 h 113"/>
                <a:gd name="T14" fmla="*/ 2147483647 w 50"/>
                <a:gd name="T15" fmla="*/ 2147483647 h 113"/>
                <a:gd name="T16" fmla="*/ 2147483647 w 50"/>
                <a:gd name="T17" fmla="*/ 2147483647 h 113"/>
                <a:gd name="T18" fmla="*/ 2147483647 w 50"/>
                <a:gd name="T19" fmla="*/ 2147483647 h 113"/>
                <a:gd name="T20" fmla="*/ 2147483647 w 50"/>
                <a:gd name="T21" fmla="*/ 2147483647 h 113"/>
                <a:gd name="T22" fmla="*/ 0 w 50"/>
                <a:gd name="T23" fmla="*/ 2147483647 h 1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0" h="113">
                  <a:moveTo>
                    <a:pt x="0" y="78"/>
                  </a:moveTo>
                  <a:lnTo>
                    <a:pt x="19" y="69"/>
                  </a:lnTo>
                  <a:lnTo>
                    <a:pt x="6" y="57"/>
                  </a:lnTo>
                  <a:lnTo>
                    <a:pt x="19" y="23"/>
                  </a:lnTo>
                  <a:lnTo>
                    <a:pt x="25" y="44"/>
                  </a:lnTo>
                  <a:lnTo>
                    <a:pt x="25" y="0"/>
                  </a:lnTo>
                  <a:lnTo>
                    <a:pt x="50" y="0"/>
                  </a:lnTo>
                  <a:lnTo>
                    <a:pt x="50" y="44"/>
                  </a:lnTo>
                  <a:lnTo>
                    <a:pt x="31" y="57"/>
                  </a:lnTo>
                  <a:lnTo>
                    <a:pt x="38" y="113"/>
                  </a:lnTo>
                  <a:lnTo>
                    <a:pt x="19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24" name="Freeform 517"/>
            <p:cNvSpPr>
              <a:spLocks/>
            </p:cNvSpPr>
            <p:nvPr>
              <p:custDataLst>
                <p:tags r:id="rId432"/>
              </p:custDataLst>
            </p:nvPr>
          </p:nvSpPr>
          <p:spPr bwMode="auto">
            <a:xfrm>
              <a:off x="6121312" y="3304745"/>
              <a:ext cx="92225" cy="88900"/>
            </a:xfrm>
            <a:custGeom>
              <a:avLst/>
              <a:gdLst>
                <a:gd name="T0" fmla="*/ 0 w 50"/>
                <a:gd name="T1" fmla="*/ 2147483647 h 113"/>
                <a:gd name="T2" fmla="*/ 2147483647 w 50"/>
                <a:gd name="T3" fmla="*/ 2147483647 h 113"/>
                <a:gd name="T4" fmla="*/ 2147483647 w 50"/>
                <a:gd name="T5" fmla="*/ 2147483647 h 113"/>
                <a:gd name="T6" fmla="*/ 2147483647 w 50"/>
                <a:gd name="T7" fmla="*/ 2147483647 h 113"/>
                <a:gd name="T8" fmla="*/ 2147483647 w 50"/>
                <a:gd name="T9" fmla="*/ 2147483647 h 113"/>
                <a:gd name="T10" fmla="*/ 2147483647 w 50"/>
                <a:gd name="T11" fmla="*/ 0 h 113"/>
                <a:gd name="T12" fmla="*/ 2147483647 w 50"/>
                <a:gd name="T13" fmla="*/ 0 h 113"/>
                <a:gd name="T14" fmla="*/ 2147483647 w 50"/>
                <a:gd name="T15" fmla="*/ 2147483647 h 113"/>
                <a:gd name="T16" fmla="*/ 2147483647 w 50"/>
                <a:gd name="T17" fmla="*/ 2147483647 h 113"/>
                <a:gd name="T18" fmla="*/ 2147483647 w 50"/>
                <a:gd name="T19" fmla="*/ 2147483647 h 113"/>
                <a:gd name="T20" fmla="*/ 2147483647 w 50"/>
                <a:gd name="T21" fmla="*/ 2147483647 h 113"/>
                <a:gd name="T22" fmla="*/ 0 w 50"/>
                <a:gd name="T23" fmla="*/ 2147483647 h 11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50" h="113">
                  <a:moveTo>
                    <a:pt x="0" y="78"/>
                  </a:moveTo>
                  <a:lnTo>
                    <a:pt x="19" y="69"/>
                  </a:lnTo>
                  <a:lnTo>
                    <a:pt x="6" y="57"/>
                  </a:lnTo>
                  <a:lnTo>
                    <a:pt x="19" y="23"/>
                  </a:lnTo>
                  <a:lnTo>
                    <a:pt x="25" y="44"/>
                  </a:lnTo>
                  <a:lnTo>
                    <a:pt x="25" y="0"/>
                  </a:lnTo>
                  <a:lnTo>
                    <a:pt x="50" y="0"/>
                  </a:lnTo>
                  <a:lnTo>
                    <a:pt x="50" y="44"/>
                  </a:lnTo>
                  <a:lnTo>
                    <a:pt x="31" y="57"/>
                  </a:lnTo>
                  <a:lnTo>
                    <a:pt x="38" y="113"/>
                  </a:lnTo>
                  <a:lnTo>
                    <a:pt x="19" y="78"/>
                  </a:lnTo>
                  <a:lnTo>
                    <a:pt x="0" y="78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25" name="Freeform 518"/>
            <p:cNvSpPr>
              <a:spLocks/>
            </p:cNvSpPr>
            <p:nvPr>
              <p:custDataLst>
                <p:tags r:id="rId433"/>
              </p:custDataLst>
            </p:nvPr>
          </p:nvSpPr>
          <p:spPr bwMode="auto">
            <a:xfrm>
              <a:off x="10810773" y="5887608"/>
              <a:ext cx="218533" cy="184150"/>
            </a:xfrm>
            <a:custGeom>
              <a:avLst/>
              <a:gdLst>
                <a:gd name="T0" fmla="*/ 0 w 118"/>
                <a:gd name="T1" fmla="*/ 2147483647 h 233"/>
                <a:gd name="T2" fmla="*/ 2147483647 w 118"/>
                <a:gd name="T3" fmla="*/ 2147483647 h 233"/>
                <a:gd name="T4" fmla="*/ 2147483647 w 118"/>
                <a:gd name="T5" fmla="*/ 2147483647 h 233"/>
                <a:gd name="T6" fmla="*/ 2147483647 w 118"/>
                <a:gd name="T7" fmla="*/ 0 h 233"/>
                <a:gd name="T8" fmla="*/ 2147483647 w 118"/>
                <a:gd name="T9" fmla="*/ 2147483647 h 233"/>
                <a:gd name="T10" fmla="*/ 2147483647 w 118"/>
                <a:gd name="T11" fmla="*/ 2147483647 h 233"/>
                <a:gd name="T12" fmla="*/ 2147483647 w 118"/>
                <a:gd name="T13" fmla="*/ 2147483647 h 233"/>
                <a:gd name="T14" fmla="*/ 2147483647 w 118"/>
                <a:gd name="T15" fmla="*/ 2147483647 h 233"/>
                <a:gd name="T16" fmla="*/ 2147483647 w 118"/>
                <a:gd name="T17" fmla="*/ 2147483647 h 233"/>
                <a:gd name="T18" fmla="*/ 2147483647 w 118"/>
                <a:gd name="T19" fmla="*/ 2147483647 h 233"/>
                <a:gd name="T20" fmla="*/ 2147483647 w 118"/>
                <a:gd name="T21" fmla="*/ 2147483647 h 233"/>
                <a:gd name="T22" fmla="*/ 2147483647 w 118"/>
                <a:gd name="T23" fmla="*/ 2147483647 h 233"/>
                <a:gd name="T24" fmla="*/ 0 w 118"/>
                <a:gd name="T25" fmla="*/ 2147483647 h 23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8" h="233">
                  <a:moveTo>
                    <a:pt x="0" y="200"/>
                  </a:moveTo>
                  <a:lnTo>
                    <a:pt x="24" y="133"/>
                  </a:lnTo>
                  <a:lnTo>
                    <a:pt x="68" y="79"/>
                  </a:lnTo>
                  <a:lnTo>
                    <a:pt x="93" y="0"/>
                  </a:lnTo>
                  <a:lnTo>
                    <a:pt x="105" y="21"/>
                  </a:lnTo>
                  <a:lnTo>
                    <a:pt x="118" y="12"/>
                  </a:lnTo>
                  <a:lnTo>
                    <a:pt x="118" y="44"/>
                  </a:lnTo>
                  <a:lnTo>
                    <a:pt x="93" y="100"/>
                  </a:lnTo>
                  <a:lnTo>
                    <a:pt x="105" y="123"/>
                  </a:lnTo>
                  <a:lnTo>
                    <a:pt x="74" y="133"/>
                  </a:lnTo>
                  <a:lnTo>
                    <a:pt x="63" y="211"/>
                  </a:lnTo>
                  <a:lnTo>
                    <a:pt x="37" y="233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26" name="Group 519"/>
            <p:cNvGrpSpPr>
              <a:grpSpLocks/>
            </p:cNvGrpSpPr>
            <p:nvPr>
              <p:custDataLst>
                <p:tags r:id="rId434"/>
              </p:custDataLst>
            </p:nvPr>
          </p:nvGrpSpPr>
          <p:grpSpPr bwMode="auto">
            <a:xfrm>
              <a:off x="10810773" y="5887608"/>
              <a:ext cx="218533" cy="184150"/>
              <a:chOff x="5535" y="3339"/>
              <a:chExt cx="118" cy="11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55" name="Freeform 520"/>
              <p:cNvSpPr>
                <a:spLocks/>
              </p:cNvSpPr>
              <p:nvPr/>
            </p:nvSpPr>
            <p:spPr bwMode="auto">
              <a:xfrm>
                <a:off x="5535" y="3339"/>
                <a:ext cx="118" cy="116"/>
              </a:xfrm>
              <a:custGeom>
                <a:avLst/>
                <a:gdLst>
                  <a:gd name="T0" fmla="*/ 0 w 118"/>
                  <a:gd name="T1" fmla="*/ 0 h 233"/>
                  <a:gd name="T2" fmla="*/ 24 w 118"/>
                  <a:gd name="T3" fmla="*/ 0 h 233"/>
                  <a:gd name="T4" fmla="*/ 68 w 118"/>
                  <a:gd name="T5" fmla="*/ 0 h 233"/>
                  <a:gd name="T6" fmla="*/ 93 w 118"/>
                  <a:gd name="T7" fmla="*/ 0 h 233"/>
                  <a:gd name="T8" fmla="*/ 105 w 118"/>
                  <a:gd name="T9" fmla="*/ 0 h 233"/>
                  <a:gd name="T10" fmla="*/ 118 w 118"/>
                  <a:gd name="T11" fmla="*/ 0 h 233"/>
                  <a:gd name="T12" fmla="*/ 118 w 118"/>
                  <a:gd name="T13" fmla="*/ 0 h 233"/>
                  <a:gd name="T14" fmla="*/ 93 w 118"/>
                  <a:gd name="T15" fmla="*/ 0 h 233"/>
                  <a:gd name="T16" fmla="*/ 105 w 118"/>
                  <a:gd name="T17" fmla="*/ 0 h 233"/>
                  <a:gd name="T18" fmla="*/ 74 w 118"/>
                  <a:gd name="T19" fmla="*/ 0 h 233"/>
                  <a:gd name="T20" fmla="*/ 63 w 118"/>
                  <a:gd name="T21" fmla="*/ 0 h 233"/>
                  <a:gd name="T22" fmla="*/ 37 w 118"/>
                  <a:gd name="T23" fmla="*/ 0 h 233"/>
                  <a:gd name="T24" fmla="*/ 0 w 118"/>
                  <a:gd name="T25" fmla="*/ 0 h 23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8" h="233">
                    <a:moveTo>
                      <a:pt x="0" y="200"/>
                    </a:moveTo>
                    <a:lnTo>
                      <a:pt x="24" y="133"/>
                    </a:lnTo>
                    <a:lnTo>
                      <a:pt x="68" y="79"/>
                    </a:lnTo>
                    <a:lnTo>
                      <a:pt x="93" y="0"/>
                    </a:lnTo>
                    <a:lnTo>
                      <a:pt x="105" y="21"/>
                    </a:lnTo>
                    <a:lnTo>
                      <a:pt x="118" y="12"/>
                    </a:lnTo>
                    <a:lnTo>
                      <a:pt x="118" y="44"/>
                    </a:lnTo>
                    <a:lnTo>
                      <a:pt x="93" y="100"/>
                    </a:lnTo>
                    <a:lnTo>
                      <a:pt x="105" y="123"/>
                    </a:lnTo>
                    <a:lnTo>
                      <a:pt x="74" y="133"/>
                    </a:lnTo>
                    <a:lnTo>
                      <a:pt x="63" y="211"/>
                    </a:lnTo>
                    <a:lnTo>
                      <a:pt x="37" y="233"/>
                    </a:lnTo>
                    <a:lnTo>
                      <a:pt x="0" y="20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56" name="Freeform 521"/>
              <p:cNvSpPr>
                <a:spLocks/>
              </p:cNvSpPr>
              <p:nvPr/>
            </p:nvSpPr>
            <p:spPr bwMode="auto">
              <a:xfrm>
                <a:off x="5535" y="3339"/>
                <a:ext cx="118" cy="116"/>
              </a:xfrm>
              <a:custGeom>
                <a:avLst/>
                <a:gdLst>
                  <a:gd name="T0" fmla="*/ 0 w 118"/>
                  <a:gd name="T1" fmla="*/ 0 h 233"/>
                  <a:gd name="T2" fmla="*/ 24 w 118"/>
                  <a:gd name="T3" fmla="*/ 0 h 233"/>
                  <a:gd name="T4" fmla="*/ 68 w 118"/>
                  <a:gd name="T5" fmla="*/ 0 h 233"/>
                  <a:gd name="T6" fmla="*/ 93 w 118"/>
                  <a:gd name="T7" fmla="*/ 0 h 233"/>
                  <a:gd name="T8" fmla="*/ 105 w 118"/>
                  <a:gd name="T9" fmla="*/ 0 h 233"/>
                  <a:gd name="T10" fmla="*/ 118 w 118"/>
                  <a:gd name="T11" fmla="*/ 0 h 233"/>
                  <a:gd name="T12" fmla="*/ 118 w 118"/>
                  <a:gd name="T13" fmla="*/ 0 h 233"/>
                  <a:gd name="T14" fmla="*/ 93 w 118"/>
                  <a:gd name="T15" fmla="*/ 0 h 233"/>
                  <a:gd name="T16" fmla="*/ 105 w 118"/>
                  <a:gd name="T17" fmla="*/ 0 h 233"/>
                  <a:gd name="T18" fmla="*/ 74 w 118"/>
                  <a:gd name="T19" fmla="*/ 0 h 233"/>
                  <a:gd name="T20" fmla="*/ 63 w 118"/>
                  <a:gd name="T21" fmla="*/ 0 h 233"/>
                  <a:gd name="T22" fmla="*/ 37 w 118"/>
                  <a:gd name="T23" fmla="*/ 0 h 233"/>
                  <a:gd name="T24" fmla="*/ 0 w 118"/>
                  <a:gd name="T25" fmla="*/ 0 h 23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8" h="233">
                    <a:moveTo>
                      <a:pt x="0" y="200"/>
                    </a:moveTo>
                    <a:lnTo>
                      <a:pt x="24" y="133"/>
                    </a:lnTo>
                    <a:lnTo>
                      <a:pt x="68" y="79"/>
                    </a:lnTo>
                    <a:lnTo>
                      <a:pt x="93" y="0"/>
                    </a:lnTo>
                    <a:lnTo>
                      <a:pt x="105" y="21"/>
                    </a:lnTo>
                    <a:lnTo>
                      <a:pt x="118" y="12"/>
                    </a:lnTo>
                    <a:lnTo>
                      <a:pt x="118" y="44"/>
                    </a:lnTo>
                    <a:lnTo>
                      <a:pt x="93" y="100"/>
                    </a:lnTo>
                    <a:lnTo>
                      <a:pt x="105" y="123"/>
                    </a:lnTo>
                    <a:lnTo>
                      <a:pt x="74" y="133"/>
                    </a:lnTo>
                    <a:lnTo>
                      <a:pt x="63" y="211"/>
                    </a:lnTo>
                    <a:lnTo>
                      <a:pt x="37" y="233"/>
                    </a:lnTo>
                    <a:lnTo>
                      <a:pt x="0" y="20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27" name="Freeform 522"/>
            <p:cNvSpPr>
              <a:spLocks/>
            </p:cNvSpPr>
            <p:nvPr>
              <p:custDataLst>
                <p:tags r:id="rId435"/>
              </p:custDataLst>
            </p:nvPr>
          </p:nvSpPr>
          <p:spPr bwMode="auto">
            <a:xfrm>
              <a:off x="10810773" y="5887608"/>
              <a:ext cx="218533" cy="184150"/>
            </a:xfrm>
            <a:custGeom>
              <a:avLst/>
              <a:gdLst>
                <a:gd name="T0" fmla="*/ 0 w 118"/>
                <a:gd name="T1" fmla="*/ 2147483647 h 233"/>
                <a:gd name="T2" fmla="*/ 2147483647 w 118"/>
                <a:gd name="T3" fmla="*/ 2147483647 h 233"/>
                <a:gd name="T4" fmla="*/ 2147483647 w 118"/>
                <a:gd name="T5" fmla="*/ 2147483647 h 233"/>
                <a:gd name="T6" fmla="*/ 2147483647 w 118"/>
                <a:gd name="T7" fmla="*/ 0 h 233"/>
                <a:gd name="T8" fmla="*/ 2147483647 w 118"/>
                <a:gd name="T9" fmla="*/ 2147483647 h 233"/>
                <a:gd name="T10" fmla="*/ 2147483647 w 118"/>
                <a:gd name="T11" fmla="*/ 2147483647 h 233"/>
                <a:gd name="T12" fmla="*/ 2147483647 w 118"/>
                <a:gd name="T13" fmla="*/ 2147483647 h 233"/>
                <a:gd name="T14" fmla="*/ 2147483647 w 118"/>
                <a:gd name="T15" fmla="*/ 2147483647 h 233"/>
                <a:gd name="T16" fmla="*/ 2147483647 w 118"/>
                <a:gd name="T17" fmla="*/ 2147483647 h 233"/>
                <a:gd name="T18" fmla="*/ 2147483647 w 118"/>
                <a:gd name="T19" fmla="*/ 2147483647 h 233"/>
                <a:gd name="T20" fmla="*/ 2147483647 w 118"/>
                <a:gd name="T21" fmla="*/ 2147483647 h 233"/>
                <a:gd name="T22" fmla="*/ 2147483647 w 118"/>
                <a:gd name="T23" fmla="*/ 2147483647 h 233"/>
                <a:gd name="T24" fmla="*/ 0 w 118"/>
                <a:gd name="T25" fmla="*/ 2147483647 h 23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8" h="233">
                  <a:moveTo>
                    <a:pt x="0" y="200"/>
                  </a:moveTo>
                  <a:lnTo>
                    <a:pt x="24" y="133"/>
                  </a:lnTo>
                  <a:lnTo>
                    <a:pt x="68" y="79"/>
                  </a:lnTo>
                  <a:lnTo>
                    <a:pt x="93" y="0"/>
                  </a:lnTo>
                  <a:lnTo>
                    <a:pt x="105" y="21"/>
                  </a:lnTo>
                  <a:lnTo>
                    <a:pt x="118" y="12"/>
                  </a:lnTo>
                  <a:lnTo>
                    <a:pt x="118" y="44"/>
                  </a:lnTo>
                  <a:lnTo>
                    <a:pt x="93" y="100"/>
                  </a:lnTo>
                  <a:lnTo>
                    <a:pt x="105" y="123"/>
                  </a:lnTo>
                  <a:lnTo>
                    <a:pt x="74" y="133"/>
                  </a:lnTo>
                  <a:lnTo>
                    <a:pt x="63" y="211"/>
                  </a:lnTo>
                  <a:lnTo>
                    <a:pt x="37" y="233"/>
                  </a:lnTo>
                  <a:lnTo>
                    <a:pt x="0" y="2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28" name="Group 523"/>
            <p:cNvGrpSpPr>
              <a:grpSpLocks/>
            </p:cNvGrpSpPr>
            <p:nvPr>
              <p:custDataLst>
                <p:tags r:id="rId436"/>
              </p:custDataLst>
            </p:nvPr>
          </p:nvGrpSpPr>
          <p:grpSpPr bwMode="auto">
            <a:xfrm>
              <a:off x="10810773" y="5887608"/>
              <a:ext cx="218533" cy="184150"/>
              <a:chOff x="5535" y="3339"/>
              <a:chExt cx="118" cy="116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53" name="Freeform 524"/>
              <p:cNvSpPr>
                <a:spLocks/>
              </p:cNvSpPr>
              <p:nvPr/>
            </p:nvSpPr>
            <p:spPr bwMode="auto">
              <a:xfrm>
                <a:off x="5535" y="3339"/>
                <a:ext cx="118" cy="116"/>
              </a:xfrm>
              <a:custGeom>
                <a:avLst/>
                <a:gdLst>
                  <a:gd name="T0" fmla="*/ 0 w 118"/>
                  <a:gd name="T1" fmla="*/ 0 h 233"/>
                  <a:gd name="T2" fmla="*/ 24 w 118"/>
                  <a:gd name="T3" fmla="*/ 0 h 233"/>
                  <a:gd name="T4" fmla="*/ 68 w 118"/>
                  <a:gd name="T5" fmla="*/ 0 h 233"/>
                  <a:gd name="T6" fmla="*/ 93 w 118"/>
                  <a:gd name="T7" fmla="*/ 0 h 233"/>
                  <a:gd name="T8" fmla="*/ 105 w 118"/>
                  <a:gd name="T9" fmla="*/ 0 h 233"/>
                  <a:gd name="T10" fmla="*/ 118 w 118"/>
                  <a:gd name="T11" fmla="*/ 0 h 233"/>
                  <a:gd name="T12" fmla="*/ 118 w 118"/>
                  <a:gd name="T13" fmla="*/ 0 h 233"/>
                  <a:gd name="T14" fmla="*/ 93 w 118"/>
                  <a:gd name="T15" fmla="*/ 0 h 233"/>
                  <a:gd name="T16" fmla="*/ 105 w 118"/>
                  <a:gd name="T17" fmla="*/ 0 h 233"/>
                  <a:gd name="T18" fmla="*/ 74 w 118"/>
                  <a:gd name="T19" fmla="*/ 0 h 233"/>
                  <a:gd name="T20" fmla="*/ 63 w 118"/>
                  <a:gd name="T21" fmla="*/ 0 h 233"/>
                  <a:gd name="T22" fmla="*/ 37 w 118"/>
                  <a:gd name="T23" fmla="*/ 0 h 233"/>
                  <a:gd name="T24" fmla="*/ 0 w 118"/>
                  <a:gd name="T25" fmla="*/ 0 h 23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8" h="233">
                    <a:moveTo>
                      <a:pt x="0" y="200"/>
                    </a:moveTo>
                    <a:lnTo>
                      <a:pt x="24" y="133"/>
                    </a:lnTo>
                    <a:lnTo>
                      <a:pt x="68" y="79"/>
                    </a:lnTo>
                    <a:lnTo>
                      <a:pt x="93" y="0"/>
                    </a:lnTo>
                    <a:lnTo>
                      <a:pt x="105" y="21"/>
                    </a:lnTo>
                    <a:lnTo>
                      <a:pt x="118" y="12"/>
                    </a:lnTo>
                    <a:lnTo>
                      <a:pt x="118" y="44"/>
                    </a:lnTo>
                    <a:lnTo>
                      <a:pt x="93" y="100"/>
                    </a:lnTo>
                    <a:lnTo>
                      <a:pt x="105" y="123"/>
                    </a:lnTo>
                    <a:lnTo>
                      <a:pt x="74" y="133"/>
                    </a:lnTo>
                    <a:lnTo>
                      <a:pt x="63" y="211"/>
                    </a:lnTo>
                    <a:lnTo>
                      <a:pt x="37" y="233"/>
                    </a:lnTo>
                    <a:lnTo>
                      <a:pt x="0" y="200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54" name="Freeform 525"/>
              <p:cNvSpPr>
                <a:spLocks/>
              </p:cNvSpPr>
              <p:nvPr/>
            </p:nvSpPr>
            <p:spPr bwMode="auto">
              <a:xfrm>
                <a:off x="5535" y="3339"/>
                <a:ext cx="118" cy="116"/>
              </a:xfrm>
              <a:custGeom>
                <a:avLst/>
                <a:gdLst>
                  <a:gd name="T0" fmla="*/ 0 w 118"/>
                  <a:gd name="T1" fmla="*/ 0 h 233"/>
                  <a:gd name="T2" fmla="*/ 24 w 118"/>
                  <a:gd name="T3" fmla="*/ 0 h 233"/>
                  <a:gd name="T4" fmla="*/ 68 w 118"/>
                  <a:gd name="T5" fmla="*/ 0 h 233"/>
                  <a:gd name="T6" fmla="*/ 93 w 118"/>
                  <a:gd name="T7" fmla="*/ 0 h 233"/>
                  <a:gd name="T8" fmla="*/ 105 w 118"/>
                  <a:gd name="T9" fmla="*/ 0 h 233"/>
                  <a:gd name="T10" fmla="*/ 118 w 118"/>
                  <a:gd name="T11" fmla="*/ 0 h 233"/>
                  <a:gd name="T12" fmla="*/ 118 w 118"/>
                  <a:gd name="T13" fmla="*/ 0 h 233"/>
                  <a:gd name="T14" fmla="*/ 93 w 118"/>
                  <a:gd name="T15" fmla="*/ 0 h 233"/>
                  <a:gd name="T16" fmla="*/ 105 w 118"/>
                  <a:gd name="T17" fmla="*/ 0 h 233"/>
                  <a:gd name="T18" fmla="*/ 74 w 118"/>
                  <a:gd name="T19" fmla="*/ 0 h 233"/>
                  <a:gd name="T20" fmla="*/ 63 w 118"/>
                  <a:gd name="T21" fmla="*/ 0 h 233"/>
                  <a:gd name="T22" fmla="*/ 37 w 118"/>
                  <a:gd name="T23" fmla="*/ 0 h 233"/>
                  <a:gd name="T24" fmla="*/ 0 w 118"/>
                  <a:gd name="T25" fmla="*/ 0 h 23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8" h="233">
                    <a:moveTo>
                      <a:pt x="0" y="200"/>
                    </a:moveTo>
                    <a:lnTo>
                      <a:pt x="24" y="133"/>
                    </a:lnTo>
                    <a:lnTo>
                      <a:pt x="68" y="79"/>
                    </a:lnTo>
                    <a:lnTo>
                      <a:pt x="93" y="0"/>
                    </a:lnTo>
                    <a:lnTo>
                      <a:pt x="105" y="21"/>
                    </a:lnTo>
                    <a:lnTo>
                      <a:pt x="118" y="12"/>
                    </a:lnTo>
                    <a:lnTo>
                      <a:pt x="118" y="44"/>
                    </a:lnTo>
                    <a:lnTo>
                      <a:pt x="93" y="100"/>
                    </a:lnTo>
                    <a:lnTo>
                      <a:pt x="105" y="123"/>
                    </a:lnTo>
                    <a:lnTo>
                      <a:pt x="74" y="133"/>
                    </a:lnTo>
                    <a:lnTo>
                      <a:pt x="63" y="211"/>
                    </a:lnTo>
                    <a:lnTo>
                      <a:pt x="37" y="233"/>
                    </a:lnTo>
                    <a:lnTo>
                      <a:pt x="0" y="200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29" name="Freeform 526"/>
            <p:cNvSpPr>
              <a:spLocks/>
            </p:cNvSpPr>
            <p:nvPr>
              <p:custDataLst>
                <p:tags r:id="rId437"/>
              </p:custDataLst>
            </p:nvPr>
          </p:nvSpPr>
          <p:spPr bwMode="auto">
            <a:xfrm>
              <a:off x="10983192" y="5698695"/>
              <a:ext cx="164401" cy="204788"/>
            </a:xfrm>
            <a:custGeom>
              <a:avLst/>
              <a:gdLst>
                <a:gd name="T0" fmla="*/ 0 w 89"/>
                <a:gd name="T1" fmla="*/ 0 h 257"/>
                <a:gd name="T2" fmla="*/ 2147483647 w 89"/>
                <a:gd name="T3" fmla="*/ 2147483647 h 257"/>
                <a:gd name="T4" fmla="*/ 2147483647 w 89"/>
                <a:gd name="T5" fmla="*/ 2147483647 h 257"/>
                <a:gd name="T6" fmla="*/ 2147483647 w 89"/>
                <a:gd name="T7" fmla="*/ 2147483647 h 257"/>
                <a:gd name="T8" fmla="*/ 2147483647 w 89"/>
                <a:gd name="T9" fmla="*/ 2147483647 h 257"/>
                <a:gd name="T10" fmla="*/ 2147483647 w 89"/>
                <a:gd name="T11" fmla="*/ 2147483647 h 257"/>
                <a:gd name="T12" fmla="*/ 2147483647 w 89"/>
                <a:gd name="T13" fmla="*/ 2147483647 h 257"/>
                <a:gd name="T14" fmla="*/ 2147483647 w 89"/>
                <a:gd name="T15" fmla="*/ 2147483647 h 257"/>
                <a:gd name="T16" fmla="*/ 2147483647 w 89"/>
                <a:gd name="T17" fmla="*/ 2147483647 h 257"/>
                <a:gd name="T18" fmla="*/ 2147483647 w 89"/>
                <a:gd name="T19" fmla="*/ 2147483647 h 257"/>
                <a:gd name="T20" fmla="*/ 2147483647 w 89"/>
                <a:gd name="T21" fmla="*/ 2147483647 h 257"/>
                <a:gd name="T22" fmla="*/ 2147483647 w 89"/>
                <a:gd name="T23" fmla="*/ 2147483647 h 257"/>
                <a:gd name="T24" fmla="*/ 2147483647 w 89"/>
                <a:gd name="T25" fmla="*/ 2147483647 h 257"/>
                <a:gd name="T26" fmla="*/ 2147483647 w 89"/>
                <a:gd name="T27" fmla="*/ 2147483647 h 257"/>
                <a:gd name="T28" fmla="*/ 2147483647 w 89"/>
                <a:gd name="T29" fmla="*/ 2147483647 h 257"/>
                <a:gd name="T30" fmla="*/ 0 w 89"/>
                <a:gd name="T31" fmla="*/ 0 h 25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257">
                  <a:moveTo>
                    <a:pt x="0" y="0"/>
                  </a:moveTo>
                  <a:lnTo>
                    <a:pt x="26" y="34"/>
                  </a:lnTo>
                  <a:lnTo>
                    <a:pt x="32" y="90"/>
                  </a:lnTo>
                  <a:lnTo>
                    <a:pt x="45" y="113"/>
                  </a:lnTo>
                  <a:lnTo>
                    <a:pt x="51" y="79"/>
                  </a:lnTo>
                  <a:lnTo>
                    <a:pt x="57" y="123"/>
                  </a:lnTo>
                  <a:lnTo>
                    <a:pt x="89" y="123"/>
                  </a:lnTo>
                  <a:lnTo>
                    <a:pt x="82" y="180"/>
                  </a:lnTo>
                  <a:lnTo>
                    <a:pt x="63" y="190"/>
                  </a:lnTo>
                  <a:lnTo>
                    <a:pt x="51" y="257"/>
                  </a:lnTo>
                  <a:lnTo>
                    <a:pt x="32" y="257"/>
                  </a:lnTo>
                  <a:lnTo>
                    <a:pt x="45" y="234"/>
                  </a:lnTo>
                  <a:lnTo>
                    <a:pt x="20" y="180"/>
                  </a:lnTo>
                  <a:lnTo>
                    <a:pt x="38" y="136"/>
                  </a:lnTo>
                  <a:lnTo>
                    <a:pt x="32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30" name="Group 527"/>
            <p:cNvGrpSpPr>
              <a:grpSpLocks/>
            </p:cNvGrpSpPr>
            <p:nvPr>
              <p:custDataLst>
                <p:tags r:id="rId438"/>
              </p:custDataLst>
            </p:nvPr>
          </p:nvGrpSpPr>
          <p:grpSpPr bwMode="auto">
            <a:xfrm>
              <a:off x="10983192" y="5698695"/>
              <a:ext cx="164401" cy="204788"/>
              <a:chOff x="5628" y="3220"/>
              <a:chExt cx="89" cy="129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51" name="Freeform 528"/>
              <p:cNvSpPr>
                <a:spLocks/>
              </p:cNvSpPr>
              <p:nvPr/>
            </p:nvSpPr>
            <p:spPr bwMode="auto">
              <a:xfrm>
                <a:off x="5628" y="3220"/>
                <a:ext cx="89" cy="129"/>
              </a:xfrm>
              <a:custGeom>
                <a:avLst/>
                <a:gdLst>
                  <a:gd name="T0" fmla="*/ 0 w 89"/>
                  <a:gd name="T1" fmla="*/ 0 h 257"/>
                  <a:gd name="T2" fmla="*/ 26 w 89"/>
                  <a:gd name="T3" fmla="*/ 1 h 257"/>
                  <a:gd name="T4" fmla="*/ 32 w 89"/>
                  <a:gd name="T5" fmla="*/ 1 h 257"/>
                  <a:gd name="T6" fmla="*/ 45 w 89"/>
                  <a:gd name="T7" fmla="*/ 1 h 257"/>
                  <a:gd name="T8" fmla="*/ 51 w 89"/>
                  <a:gd name="T9" fmla="*/ 1 h 257"/>
                  <a:gd name="T10" fmla="*/ 57 w 89"/>
                  <a:gd name="T11" fmla="*/ 1 h 257"/>
                  <a:gd name="T12" fmla="*/ 89 w 89"/>
                  <a:gd name="T13" fmla="*/ 1 h 257"/>
                  <a:gd name="T14" fmla="*/ 82 w 89"/>
                  <a:gd name="T15" fmla="*/ 1 h 257"/>
                  <a:gd name="T16" fmla="*/ 63 w 89"/>
                  <a:gd name="T17" fmla="*/ 1 h 257"/>
                  <a:gd name="T18" fmla="*/ 51 w 89"/>
                  <a:gd name="T19" fmla="*/ 1 h 257"/>
                  <a:gd name="T20" fmla="*/ 32 w 89"/>
                  <a:gd name="T21" fmla="*/ 1 h 257"/>
                  <a:gd name="T22" fmla="*/ 45 w 89"/>
                  <a:gd name="T23" fmla="*/ 1 h 257"/>
                  <a:gd name="T24" fmla="*/ 20 w 89"/>
                  <a:gd name="T25" fmla="*/ 1 h 257"/>
                  <a:gd name="T26" fmla="*/ 38 w 89"/>
                  <a:gd name="T27" fmla="*/ 1 h 257"/>
                  <a:gd name="T28" fmla="*/ 32 w 89"/>
                  <a:gd name="T29" fmla="*/ 1 h 257"/>
                  <a:gd name="T30" fmla="*/ 0 w 89"/>
                  <a:gd name="T31" fmla="*/ 0 h 25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257">
                    <a:moveTo>
                      <a:pt x="0" y="0"/>
                    </a:moveTo>
                    <a:lnTo>
                      <a:pt x="26" y="34"/>
                    </a:lnTo>
                    <a:lnTo>
                      <a:pt x="32" y="90"/>
                    </a:lnTo>
                    <a:lnTo>
                      <a:pt x="45" y="113"/>
                    </a:lnTo>
                    <a:lnTo>
                      <a:pt x="51" y="79"/>
                    </a:lnTo>
                    <a:lnTo>
                      <a:pt x="57" y="123"/>
                    </a:lnTo>
                    <a:lnTo>
                      <a:pt x="89" y="123"/>
                    </a:lnTo>
                    <a:lnTo>
                      <a:pt x="82" y="180"/>
                    </a:lnTo>
                    <a:lnTo>
                      <a:pt x="63" y="190"/>
                    </a:lnTo>
                    <a:lnTo>
                      <a:pt x="51" y="257"/>
                    </a:lnTo>
                    <a:lnTo>
                      <a:pt x="32" y="257"/>
                    </a:lnTo>
                    <a:lnTo>
                      <a:pt x="45" y="234"/>
                    </a:lnTo>
                    <a:lnTo>
                      <a:pt x="20" y="180"/>
                    </a:lnTo>
                    <a:lnTo>
                      <a:pt x="38" y="136"/>
                    </a:lnTo>
                    <a:lnTo>
                      <a:pt x="32" y="10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52" name="Freeform 529"/>
              <p:cNvSpPr>
                <a:spLocks/>
              </p:cNvSpPr>
              <p:nvPr/>
            </p:nvSpPr>
            <p:spPr bwMode="auto">
              <a:xfrm>
                <a:off x="5628" y="3220"/>
                <a:ext cx="89" cy="129"/>
              </a:xfrm>
              <a:custGeom>
                <a:avLst/>
                <a:gdLst>
                  <a:gd name="T0" fmla="*/ 0 w 89"/>
                  <a:gd name="T1" fmla="*/ 0 h 257"/>
                  <a:gd name="T2" fmla="*/ 26 w 89"/>
                  <a:gd name="T3" fmla="*/ 1 h 257"/>
                  <a:gd name="T4" fmla="*/ 32 w 89"/>
                  <a:gd name="T5" fmla="*/ 1 h 257"/>
                  <a:gd name="T6" fmla="*/ 45 w 89"/>
                  <a:gd name="T7" fmla="*/ 1 h 257"/>
                  <a:gd name="T8" fmla="*/ 51 w 89"/>
                  <a:gd name="T9" fmla="*/ 1 h 257"/>
                  <a:gd name="T10" fmla="*/ 57 w 89"/>
                  <a:gd name="T11" fmla="*/ 1 h 257"/>
                  <a:gd name="T12" fmla="*/ 89 w 89"/>
                  <a:gd name="T13" fmla="*/ 1 h 257"/>
                  <a:gd name="T14" fmla="*/ 82 w 89"/>
                  <a:gd name="T15" fmla="*/ 1 h 257"/>
                  <a:gd name="T16" fmla="*/ 63 w 89"/>
                  <a:gd name="T17" fmla="*/ 1 h 257"/>
                  <a:gd name="T18" fmla="*/ 51 w 89"/>
                  <a:gd name="T19" fmla="*/ 1 h 257"/>
                  <a:gd name="T20" fmla="*/ 32 w 89"/>
                  <a:gd name="T21" fmla="*/ 1 h 257"/>
                  <a:gd name="T22" fmla="*/ 45 w 89"/>
                  <a:gd name="T23" fmla="*/ 1 h 257"/>
                  <a:gd name="T24" fmla="*/ 20 w 89"/>
                  <a:gd name="T25" fmla="*/ 1 h 257"/>
                  <a:gd name="T26" fmla="*/ 38 w 89"/>
                  <a:gd name="T27" fmla="*/ 1 h 257"/>
                  <a:gd name="T28" fmla="*/ 32 w 89"/>
                  <a:gd name="T29" fmla="*/ 1 h 257"/>
                  <a:gd name="T30" fmla="*/ 0 w 89"/>
                  <a:gd name="T31" fmla="*/ 0 h 25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257">
                    <a:moveTo>
                      <a:pt x="0" y="0"/>
                    </a:moveTo>
                    <a:lnTo>
                      <a:pt x="26" y="34"/>
                    </a:lnTo>
                    <a:lnTo>
                      <a:pt x="32" y="90"/>
                    </a:lnTo>
                    <a:lnTo>
                      <a:pt x="45" y="113"/>
                    </a:lnTo>
                    <a:lnTo>
                      <a:pt x="51" y="79"/>
                    </a:lnTo>
                    <a:lnTo>
                      <a:pt x="57" y="123"/>
                    </a:lnTo>
                    <a:lnTo>
                      <a:pt x="89" y="123"/>
                    </a:lnTo>
                    <a:lnTo>
                      <a:pt x="82" y="180"/>
                    </a:lnTo>
                    <a:lnTo>
                      <a:pt x="63" y="190"/>
                    </a:lnTo>
                    <a:lnTo>
                      <a:pt x="51" y="257"/>
                    </a:lnTo>
                    <a:lnTo>
                      <a:pt x="32" y="257"/>
                    </a:lnTo>
                    <a:lnTo>
                      <a:pt x="45" y="234"/>
                    </a:lnTo>
                    <a:lnTo>
                      <a:pt x="20" y="180"/>
                    </a:lnTo>
                    <a:lnTo>
                      <a:pt x="38" y="136"/>
                    </a:lnTo>
                    <a:lnTo>
                      <a:pt x="32" y="102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31" name="Freeform 530"/>
            <p:cNvSpPr>
              <a:spLocks/>
            </p:cNvSpPr>
            <p:nvPr>
              <p:custDataLst>
                <p:tags r:id="rId439"/>
              </p:custDataLst>
            </p:nvPr>
          </p:nvSpPr>
          <p:spPr bwMode="auto">
            <a:xfrm>
              <a:off x="10983192" y="5698695"/>
              <a:ext cx="164401" cy="204788"/>
            </a:xfrm>
            <a:custGeom>
              <a:avLst/>
              <a:gdLst>
                <a:gd name="T0" fmla="*/ 0 w 89"/>
                <a:gd name="T1" fmla="*/ 0 h 257"/>
                <a:gd name="T2" fmla="*/ 2147483647 w 89"/>
                <a:gd name="T3" fmla="*/ 2147483647 h 257"/>
                <a:gd name="T4" fmla="*/ 2147483647 w 89"/>
                <a:gd name="T5" fmla="*/ 2147483647 h 257"/>
                <a:gd name="T6" fmla="*/ 2147483647 w 89"/>
                <a:gd name="T7" fmla="*/ 2147483647 h 257"/>
                <a:gd name="T8" fmla="*/ 2147483647 w 89"/>
                <a:gd name="T9" fmla="*/ 2147483647 h 257"/>
                <a:gd name="T10" fmla="*/ 2147483647 w 89"/>
                <a:gd name="T11" fmla="*/ 2147483647 h 257"/>
                <a:gd name="T12" fmla="*/ 2147483647 w 89"/>
                <a:gd name="T13" fmla="*/ 2147483647 h 257"/>
                <a:gd name="T14" fmla="*/ 2147483647 w 89"/>
                <a:gd name="T15" fmla="*/ 2147483647 h 257"/>
                <a:gd name="T16" fmla="*/ 2147483647 w 89"/>
                <a:gd name="T17" fmla="*/ 2147483647 h 257"/>
                <a:gd name="T18" fmla="*/ 2147483647 w 89"/>
                <a:gd name="T19" fmla="*/ 2147483647 h 257"/>
                <a:gd name="T20" fmla="*/ 2147483647 w 89"/>
                <a:gd name="T21" fmla="*/ 2147483647 h 257"/>
                <a:gd name="T22" fmla="*/ 2147483647 w 89"/>
                <a:gd name="T23" fmla="*/ 2147483647 h 257"/>
                <a:gd name="T24" fmla="*/ 2147483647 w 89"/>
                <a:gd name="T25" fmla="*/ 2147483647 h 257"/>
                <a:gd name="T26" fmla="*/ 2147483647 w 89"/>
                <a:gd name="T27" fmla="*/ 2147483647 h 257"/>
                <a:gd name="T28" fmla="*/ 2147483647 w 89"/>
                <a:gd name="T29" fmla="*/ 2147483647 h 257"/>
                <a:gd name="T30" fmla="*/ 0 w 89"/>
                <a:gd name="T31" fmla="*/ 0 h 25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89" h="257">
                  <a:moveTo>
                    <a:pt x="0" y="0"/>
                  </a:moveTo>
                  <a:lnTo>
                    <a:pt x="26" y="34"/>
                  </a:lnTo>
                  <a:lnTo>
                    <a:pt x="32" y="90"/>
                  </a:lnTo>
                  <a:lnTo>
                    <a:pt x="45" y="113"/>
                  </a:lnTo>
                  <a:lnTo>
                    <a:pt x="51" y="79"/>
                  </a:lnTo>
                  <a:lnTo>
                    <a:pt x="57" y="123"/>
                  </a:lnTo>
                  <a:lnTo>
                    <a:pt x="89" y="123"/>
                  </a:lnTo>
                  <a:lnTo>
                    <a:pt x="82" y="180"/>
                  </a:lnTo>
                  <a:lnTo>
                    <a:pt x="63" y="190"/>
                  </a:lnTo>
                  <a:lnTo>
                    <a:pt x="51" y="257"/>
                  </a:lnTo>
                  <a:lnTo>
                    <a:pt x="32" y="257"/>
                  </a:lnTo>
                  <a:lnTo>
                    <a:pt x="45" y="234"/>
                  </a:lnTo>
                  <a:lnTo>
                    <a:pt x="20" y="180"/>
                  </a:lnTo>
                  <a:lnTo>
                    <a:pt x="38" y="136"/>
                  </a:lnTo>
                  <a:lnTo>
                    <a:pt x="32" y="1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32" name="Group 531"/>
            <p:cNvGrpSpPr>
              <a:grpSpLocks/>
            </p:cNvGrpSpPr>
            <p:nvPr>
              <p:custDataLst>
                <p:tags r:id="rId440"/>
              </p:custDataLst>
            </p:nvPr>
          </p:nvGrpSpPr>
          <p:grpSpPr bwMode="auto">
            <a:xfrm>
              <a:off x="10983192" y="5698695"/>
              <a:ext cx="164401" cy="204788"/>
              <a:chOff x="5628" y="3220"/>
              <a:chExt cx="89" cy="129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49" name="Freeform 532"/>
              <p:cNvSpPr>
                <a:spLocks/>
              </p:cNvSpPr>
              <p:nvPr/>
            </p:nvSpPr>
            <p:spPr bwMode="auto">
              <a:xfrm>
                <a:off x="5628" y="3220"/>
                <a:ext cx="89" cy="129"/>
              </a:xfrm>
              <a:custGeom>
                <a:avLst/>
                <a:gdLst>
                  <a:gd name="T0" fmla="*/ 0 w 89"/>
                  <a:gd name="T1" fmla="*/ 0 h 257"/>
                  <a:gd name="T2" fmla="*/ 26 w 89"/>
                  <a:gd name="T3" fmla="*/ 1 h 257"/>
                  <a:gd name="T4" fmla="*/ 32 w 89"/>
                  <a:gd name="T5" fmla="*/ 1 h 257"/>
                  <a:gd name="T6" fmla="*/ 45 w 89"/>
                  <a:gd name="T7" fmla="*/ 1 h 257"/>
                  <a:gd name="T8" fmla="*/ 51 w 89"/>
                  <a:gd name="T9" fmla="*/ 1 h 257"/>
                  <a:gd name="T10" fmla="*/ 57 w 89"/>
                  <a:gd name="T11" fmla="*/ 1 h 257"/>
                  <a:gd name="T12" fmla="*/ 89 w 89"/>
                  <a:gd name="T13" fmla="*/ 1 h 257"/>
                  <a:gd name="T14" fmla="*/ 82 w 89"/>
                  <a:gd name="T15" fmla="*/ 1 h 257"/>
                  <a:gd name="T16" fmla="*/ 63 w 89"/>
                  <a:gd name="T17" fmla="*/ 1 h 257"/>
                  <a:gd name="T18" fmla="*/ 51 w 89"/>
                  <a:gd name="T19" fmla="*/ 1 h 257"/>
                  <a:gd name="T20" fmla="*/ 32 w 89"/>
                  <a:gd name="T21" fmla="*/ 1 h 257"/>
                  <a:gd name="T22" fmla="*/ 45 w 89"/>
                  <a:gd name="T23" fmla="*/ 1 h 257"/>
                  <a:gd name="T24" fmla="*/ 20 w 89"/>
                  <a:gd name="T25" fmla="*/ 1 h 257"/>
                  <a:gd name="T26" fmla="*/ 38 w 89"/>
                  <a:gd name="T27" fmla="*/ 1 h 257"/>
                  <a:gd name="T28" fmla="*/ 32 w 89"/>
                  <a:gd name="T29" fmla="*/ 1 h 257"/>
                  <a:gd name="T30" fmla="*/ 0 w 89"/>
                  <a:gd name="T31" fmla="*/ 0 h 25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257">
                    <a:moveTo>
                      <a:pt x="0" y="0"/>
                    </a:moveTo>
                    <a:lnTo>
                      <a:pt x="26" y="34"/>
                    </a:lnTo>
                    <a:lnTo>
                      <a:pt x="32" y="90"/>
                    </a:lnTo>
                    <a:lnTo>
                      <a:pt x="45" y="113"/>
                    </a:lnTo>
                    <a:lnTo>
                      <a:pt x="51" y="79"/>
                    </a:lnTo>
                    <a:lnTo>
                      <a:pt x="57" y="123"/>
                    </a:lnTo>
                    <a:lnTo>
                      <a:pt x="89" y="123"/>
                    </a:lnTo>
                    <a:lnTo>
                      <a:pt x="82" y="180"/>
                    </a:lnTo>
                    <a:lnTo>
                      <a:pt x="63" y="190"/>
                    </a:lnTo>
                    <a:lnTo>
                      <a:pt x="51" y="257"/>
                    </a:lnTo>
                    <a:lnTo>
                      <a:pt x="32" y="257"/>
                    </a:lnTo>
                    <a:lnTo>
                      <a:pt x="45" y="234"/>
                    </a:lnTo>
                    <a:lnTo>
                      <a:pt x="20" y="180"/>
                    </a:lnTo>
                    <a:lnTo>
                      <a:pt x="38" y="136"/>
                    </a:lnTo>
                    <a:lnTo>
                      <a:pt x="32" y="10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50" name="Freeform 533"/>
              <p:cNvSpPr>
                <a:spLocks/>
              </p:cNvSpPr>
              <p:nvPr/>
            </p:nvSpPr>
            <p:spPr bwMode="auto">
              <a:xfrm>
                <a:off x="5628" y="3220"/>
                <a:ext cx="89" cy="129"/>
              </a:xfrm>
              <a:custGeom>
                <a:avLst/>
                <a:gdLst>
                  <a:gd name="T0" fmla="*/ 0 w 89"/>
                  <a:gd name="T1" fmla="*/ 0 h 257"/>
                  <a:gd name="T2" fmla="*/ 26 w 89"/>
                  <a:gd name="T3" fmla="*/ 1 h 257"/>
                  <a:gd name="T4" fmla="*/ 32 w 89"/>
                  <a:gd name="T5" fmla="*/ 1 h 257"/>
                  <a:gd name="T6" fmla="*/ 45 w 89"/>
                  <a:gd name="T7" fmla="*/ 1 h 257"/>
                  <a:gd name="T8" fmla="*/ 51 w 89"/>
                  <a:gd name="T9" fmla="*/ 1 h 257"/>
                  <a:gd name="T10" fmla="*/ 57 w 89"/>
                  <a:gd name="T11" fmla="*/ 1 h 257"/>
                  <a:gd name="T12" fmla="*/ 89 w 89"/>
                  <a:gd name="T13" fmla="*/ 1 h 257"/>
                  <a:gd name="T14" fmla="*/ 82 w 89"/>
                  <a:gd name="T15" fmla="*/ 1 h 257"/>
                  <a:gd name="T16" fmla="*/ 63 w 89"/>
                  <a:gd name="T17" fmla="*/ 1 h 257"/>
                  <a:gd name="T18" fmla="*/ 51 w 89"/>
                  <a:gd name="T19" fmla="*/ 1 h 257"/>
                  <a:gd name="T20" fmla="*/ 32 w 89"/>
                  <a:gd name="T21" fmla="*/ 1 h 257"/>
                  <a:gd name="T22" fmla="*/ 45 w 89"/>
                  <a:gd name="T23" fmla="*/ 1 h 257"/>
                  <a:gd name="T24" fmla="*/ 20 w 89"/>
                  <a:gd name="T25" fmla="*/ 1 h 257"/>
                  <a:gd name="T26" fmla="*/ 38 w 89"/>
                  <a:gd name="T27" fmla="*/ 1 h 257"/>
                  <a:gd name="T28" fmla="*/ 32 w 89"/>
                  <a:gd name="T29" fmla="*/ 1 h 257"/>
                  <a:gd name="T30" fmla="*/ 0 w 89"/>
                  <a:gd name="T31" fmla="*/ 0 h 25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257">
                    <a:moveTo>
                      <a:pt x="0" y="0"/>
                    </a:moveTo>
                    <a:lnTo>
                      <a:pt x="26" y="34"/>
                    </a:lnTo>
                    <a:lnTo>
                      <a:pt x="32" y="90"/>
                    </a:lnTo>
                    <a:lnTo>
                      <a:pt x="45" y="113"/>
                    </a:lnTo>
                    <a:lnTo>
                      <a:pt x="51" y="79"/>
                    </a:lnTo>
                    <a:lnTo>
                      <a:pt x="57" y="123"/>
                    </a:lnTo>
                    <a:lnTo>
                      <a:pt x="89" y="123"/>
                    </a:lnTo>
                    <a:lnTo>
                      <a:pt x="82" y="180"/>
                    </a:lnTo>
                    <a:lnTo>
                      <a:pt x="63" y="190"/>
                    </a:lnTo>
                    <a:lnTo>
                      <a:pt x="51" y="257"/>
                    </a:lnTo>
                    <a:lnTo>
                      <a:pt x="32" y="257"/>
                    </a:lnTo>
                    <a:lnTo>
                      <a:pt x="45" y="234"/>
                    </a:lnTo>
                    <a:lnTo>
                      <a:pt x="20" y="180"/>
                    </a:lnTo>
                    <a:lnTo>
                      <a:pt x="38" y="136"/>
                    </a:lnTo>
                    <a:lnTo>
                      <a:pt x="32" y="102"/>
                    </a:lnTo>
                    <a:lnTo>
                      <a:pt x="0" y="0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33" name="Freeform 534"/>
            <p:cNvSpPr>
              <a:spLocks/>
            </p:cNvSpPr>
            <p:nvPr>
              <p:custDataLst>
                <p:tags r:id="rId441"/>
              </p:custDataLst>
            </p:nvPr>
          </p:nvSpPr>
          <p:spPr bwMode="auto">
            <a:xfrm>
              <a:off x="3262315" y="4409678"/>
              <a:ext cx="112274" cy="106363"/>
            </a:xfrm>
            <a:custGeom>
              <a:avLst/>
              <a:gdLst>
                <a:gd name="T0" fmla="*/ 0 w 61"/>
                <a:gd name="T1" fmla="*/ 2147483647 h 135"/>
                <a:gd name="T2" fmla="*/ 2147483647 w 61"/>
                <a:gd name="T3" fmla="*/ 2147483647 h 135"/>
                <a:gd name="T4" fmla="*/ 2147483647 w 61"/>
                <a:gd name="T5" fmla="*/ 2147483647 h 135"/>
                <a:gd name="T6" fmla="*/ 2147483647 w 61"/>
                <a:gd name="T7" fmla="*/ 0 h 135"/>
                <a:gd name="T8" fmla="*/ 2147483647 w 61"/>
                <a:gd name="T9" fmla="*/ 2147483647 h 135"/>
                <a:gd name="T10" fmla="*/ 0 w 61"/>
                <a:gd name="T11" fmla="*/ 2147483647 h 1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135">
                  <a:moveTo>
                    <a:pt x="0" y="77"/>
                  </a:moveTo>
                  <a:lnTo>
                    <a:pt x="24" y="135"/>
                  </a:lnTo>
                  <a:lnTo>
                    <a:pt x="61" y="135"/>
                  </a:lnTo>
                  <a:lnTo>
                    <a:pt x="61" y="0"/>
                  </a:lnTo>
                  <a:lnTo>
                    <a:pt x="42" y="12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34" name="Freeform 535"/>
            <p:cNvSpPr>
              <a:spLocks/>
            </p:cNvSpPr>
            <p:nvPr>
              <p:custDataLst>
                <p:tags r:id="rId442"/>
              </p:custDataLst>
            </p:nvPr>
          </p:nvSpPr>
          <p:spPr bwMode="auto">
            <a:xfrm>
              <a:off x="3262315" y="4409678"/>
              <a:ext cx="112274" cy="106363"/>
            </a:xfrm>
            <a:custGeom>
              <a:avLst/>
              <a:gdLst>
                <a:gd name="T0" fmla="*/ 0 w 61"/>
                <a:gd name="T1" fmla="*/ 2147483647 h 135"/>
                <a:gd name="T2" fmla="*/ 2147483647 w 61"/>
                <a:gd name="T3" fmla="*/ 2147483647 h 135"/>
                <a:gd name="T4" fmla="*/ 2147483647 w 61"/>
                <a:gd name="T5" fmla="*/ 2147483647 h 135"/>
                <a:gd name="T6" fmla="*/ 2147483647 w 61"/>
                <a:gd name="T7" fmla="*/ 0 h 135"/>
                <a:gd name="T8" fmla="*/ 2147483647 w 61"/>
                <a:gd name="T9" fmla="*/ 2147483647 h 135"/>
                <a:gd name="T10" fmla="*/ 0 w 61"/>
                <a:gd name="T11" fmla="*/ 2147483647 h 1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135">
                  <a:moveTo>
                    <a:pt x="0" y="77"/>
                  </a:moveTo>
                  <a:lnTo>
                    <a:pt x="24" y="135"/>
                  </a:lnTo>
                  <a:lnTo>
                    <a:pt x="61" y="135"/>
                  </a:lnTo>
                  <a:lnTo>
                    <a:pt x="61" y="0"/>
                  </a:lnTo>
                  <a:lnTo>
                    <a:pt x="42" y="12"/>
                  </a:lnTo>
                  <a:lnTo>
                    <a:pt x="0" y="7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35" name="Freeform 536"/>
            <p:cNvSpPr>
              <a:spLocks/>
            </p:cNvSpPr>
            <p:nvPr>
              <p:custDataLst>
                <p:tags r:id="rId443"/>
              </p:custDataLst>
            </p:nvPr>
          </p:nvSpPr>
          <p:spPr bwMode="auto">
            <a:xfrm>
              <a:off x="3262315" y="4409678"/>
              <a:ext cx="112274" cy="106363"/>
            </a:xfrm>
            <a:custGeom>
              <a:avLst/>
              <a:gdLst>
                <a:gd name="T0" fmla="*/ 0 w 61"/>
                <a:gd name="T1" fmla="*/ 2147483647 h 135"/>
                <a:gd name="T2" fmla="*/ 2147483647 w 61"/>
                <a:gd name="T3" fmla="*/ 2147483647 h 135"/>
                <a:gd name="T4" fmla="*/ 2147483647 w 61"/>
                <a:gd name="T5" fmla="*/ 2147483647 h 135"/>
                <a:gd name="T6" fmla="*/ 2147483647 w 61"/>
                <a:gd name="T7" fmla="*/ 0 h 135"/>
                <a:gd name="T8" fmla="*/ 2147483647 w 61"/>
                <a:gd name="T9" fmla="*/ 2147483647 h 135"/>
                <a:gd name="T10" fmla="*/ 0 w 61"/>
                <a:gd name="T11" fmla="*/ 2147483647 h 1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135">
                  <a:moveTo>
                    <a:pt x="0" y="77"/>
                  </a:moveTo>
                  <a:lnTo>
                    <a:pt x="24" y="135"/>
                  </a:lnTo>
                  <a:lnTo>
                    <a:pt x="61" y="135"/>
                  </a:lnTo>
                  <a:lnTo>
                    <a:pt x="61" y="0"/>
                  </a:lnTo>
                  <a:lnTo>
                    <a:pt x="42" y="12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36" name="Freeform 537"/>
            <p:cNvSpPr>
              <a:spLocks/>
            </p:cNvSpPr>
            <p:nvPr>
              <p:custDataLst>
                <p:tags r:id="rId444"/>
              </p:custDataLst>
            </p:nvPr>
          </p:nvSpPr>
          <p:spPr bwMode="auto">
            <a:xfrm>
              <a:off x="3262315" y="4409678"/>
              <a:ext cx="112274" cy="106363"/>
            </a:xfrm>
            <a:custGeom>
              <a:avLst/>
              <a:gdLst>
                <a:gd name="T0" fmla="*/ 0 w 61"/>
                <a:gd name="T1" fmla="*/ 2147483647 h 135"/>
                <a:gd name="T2" fmla="*/ 2147483647 w 61"/>
                <a:gd name="T3" fmla="*/ 2147483647 h 135"/>
                <a:gd name="T4" fmla="*/ 2147483647 w 61"/>
                <a:gd name="T5" fmla="*/ 2147483647 h 135"/>
                <a:gd name="T6" fmla="*/ 2147483647 w 61"/>
                <a:gd name="T7" fmla="*/ 0 h 135"/>
                <a:gd name="T8" fmla="*/ 2147483647 w 61"/>
                <a:gd name="T9" fmla="*/ 2147483647 h 135"/>
                <a:gd name="T10" fmla="*/ 0 w 61"/>
                <a:gd name="T11" fmla="*/ 2147483647 h 1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1" h="135">
                  <a:moveTo>
                    <a:pt x="0" y="77"/>
                  </a:moveTo>
                  <a:lnTo>
                    <a:pt x="24" y="135"/>
                  </a:lnTo>
                  <a:lnTo>
                    <a:pt x="61" y="135"/>
                  </a:lnTo>
                  <a:lnTo>
                    <a:pt x="61" y="0"/>
                  </a:lnTo>
                  <a:lnTo>
                    <a:pt x="42" y="12"/>
                  </a:lnTo>
                  <a:lnTo>
                    <a:pt x="0" y="7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37" name="Freeform 538"/>
            <p:cNvSpPr>
              <a:spLocks/>
            </p:cNvSpPr>
            <p:nvPr>
              <p:custDataLst>
                <p:tags r:id="rId445"/>
              </p:custDataLst>
            </p:nvPr>
          </p:nvSpPr>
          <p:spPr bwMode="auto">
            <a:xfrm>
              <a:off x="6157399" y="2607833"/>
              <a:ext cx="749831" cy="520700"/>
            </a:xfrm>
            <a:custGeom>
              <a:avLst/>
              <a:gdLst>
                <a:gd name="T0" fmla="*/ 2147483647 w 405"/>
                <a:gd name="T1" fmla="*/ 2147483647 h 657"/>
                <a:gd name="T2" fmla="*/ 2147483647 w 405"/>
                <a:gd name="T3" fmla="*/ 2147483647 h 657"/>
                <a:gd name="T4" fmla="*/ 2147483647 w 405"/>
                <a:gd name="T5" fmla="*/ 2147483647 h 657"/>
                <a:gd name="T6" fmla="*/ 2147483647 w 405"/>
                <a:gd name="T7" fmla="*/ 2147483647 h 657"/>
                <a:gd name="T8" fmla="*/ 2147483647 w 405"/>
                <a:gd name="T9" fmla="*/ 2147483647 h 657"/>
                <a:gd name="T10" fmla="*/ 2147483647 w 405"/>
                <a:gd name="T11" fmla="*/ 2147483647 h 657"/>
                <a:gd name="T12" fmla="*/ 2147483647 w 405"/>
                <a:gd name="T13" fmla="*/ 2147483647 h 657"/>
                <a:gd name="T14" fmla="*/ 2147483647 w 405"/>
                <a:gd name="T15" fmla="*/ 2147483647 h 657"/>
                <a:gd name="T16" fmla="*/ 2147483647 w 405"/>
                <a:gd name="T17" fmla="*/ 2147483647 h 657"/>
                <a:gd name="T18" fmla="*/ 2147483647 w 405"/>
                <a:gd name="T19" fmla="*/ 2147483647 h 657"/>
                <a:gd name="T20" fmla="*/ 2147483647 w 405"/>
                <a:gd name="T21" fmla="*/ 2147483647 h 657"/>
                <a:gd name="T22" fmla="*/ 2147483647 w 405"/>
                <a:gd name="T23" fmla="*/ 2147483647 h 657"/>
                <a:gd name="T24" fmla="*/ 2147483647 w 405"/>
                <a:gd name="T25" fmla="*/ 2147483647 h 657"/>
                <a:gd name="T26" fmla="*/ 2147483647 w 405"/>
                <a:gd name="T27" fmla="*/ 2147483647 h 657"/>
                <a:gd name="T28" fmla="*/ 2147483647 w 405"/>
                <a:gd name="T29" fmla="*/ 2147483647 h 657"/>
                <a:gd name="T30" fmla="*/ 2147483647 w 405"/>
                <a:gd name="T31" fmla="*/ 2147483647 h 657"/>
                <a:gd name="T32" fmla="*/ 2147483647 w 405"/>
                <a:gd name="T33" fmla="*/ 2147483647 h 657"/>
                <a:gd name="T34" fmla="*/ 2147483647 w 405"/>
                <a:gd name="T35" fmla="*/ 2147483647 h 657"/>
                <a:gd name="T36" fmla="*/ 2147483647 w 405"/>
                <a:gd name="T37" fmla="*/ 2147483647 h 657"/>
                <a:gd name="T38" fmla="*/ 2147483647 w 405"/>
                <a:gd name="T39" fmla="*/ 2147483647 h 657"/>
                <a:gd name="T40" fmla="*/ 2147483647 w 405"/>
                <a:gd name="T41" fmla="*/ 2147483647 h 657"/>
                <a:gd name="T42" fmla="*/ 2147483647 w 405"/>
                <a:gd name="T43" fmla="*/ 2147483647 h 657"/>
                <a:gd name="T44" fmla="*/ 2147483647 w 405"/>
                <a:gd name="T45" fmla="*/ 0 h 657"/>
                <a:gd name="T46" fmla="*/ 2147483647 w 405"/>
                <a:gd name="T47" fmla="*/ 2147483647 h 657"/>
                <a:gd name="T48" fmla="*/ 2147483647 w 405"/>
                <a:gd name="T49" fmla="*/ 0 h 657"/>
                <a:gd name="T50" fmla="*/ 2147483647 w 405"/>
                <a:gd name="T51" fmla="*/ 2147483647 h 657"/>
                <a:gd name="T52" fmla="*/ 2147483647 w 405"/>
                <a:gd name="T53" fmla="*/ 2147483647 h 657"/>
                <a:gd name="T54" fmla="*/ 2147483647 w 405"/>
                <a:gd name="T55" fmla="*/ 2147483647 h 657"/>
                <a:gd name="T56" fmla="*/ 2147483647 w 405"/>
                <a:gd name="T57" fmla="*/ 2147483647 h 657"/>
                <a:gd name="T58" fmla="*/ 2147483647 w 405"/>
                <a:gd name="T59" fmla="*/ 2147483647 h 657"/>
                <a:gd name="T60" fmla="*/ 2147483647 w 405"/>
                <a:gd name="T61" fmla="*/ 2147483647 h 657"/>
                <a:gd name="T62" fmla="*/ 2147483647 w 405"/>
                <a:gd name="T63" fmla="*/ 2147483647 h 657"/>
                <a:gd name="T64" fmla="*/ 2147483647 w 405"/>
                <a:gd name="T65" fmla="*/ 2147483647 h 657"/>
                <a:gd name="T66" fmla="*/ 2147483647 w 405"/>
                <a:gd name="T67" fmla="*/ 2147483647 h 657"/>
                <a:gd name="T68" fmla="*/ 2147483647 w 405"/>
                <a:gd name="T69" fmla="*/ 2147483647 h 657"/>
                <a:gd name="T70" fmla="*/ 2147483647 w 405"/>
                <a:gd name="T71" fmla="*/ 2147483647 h 657"/>
                <a:gd name="T72" fmla="*/ 2147483647 w 405"/>
                <a:gd name="T73" fmla="*/ 2147483647 h 657"/>
                <a:gd name="T74" fmla="*/ 2147483647 w 405"/>
                <a:gd name="T75" fmla="*/ 2147483647 h 657"/>
                <a:gd name="T76" fmla="*/ 2147483647 w 405"/>
                <a:gd name="T77" fmla="*/ 2147483647 h 657"/>
                <a:gd name="T78" fmla="*/ 2147483647 w 405"/>
                <a:gd name="T79" fmla="*/ 2147483647 h 657"/>
                <a:gd name="T80" fmla="*/ 0 w 405"/>
                <a:gd name="T81" fmla="*/ 2147483647 h 65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405" h="657">
                  <a:moveTo>
                    <a:pt x="0" y="490"/>
                  </a:moveTo>
                  <a:lnTo>
                    <a:pt x="6" y="522"/>
                  </a:lnTo>
                  <a:lnTo>
                    <a:pt x="37" y="499"/>
                  </a:lnTo>
                  <a:lnTo>
                    <a:pt x="43" y="513"/>
                  </a:lnTo>
                  <a:lnTo>
                    <a:pt x="6" y="534"/>
                  </a:lnTo>
                  <a:lnTo>
                    <a:pt x="12" y="543"/>
                  </a:lnTo>
                  <a:lnTo>
                    <a:pt x="6" y="578"/>
                  </a:lnTo>
                  <a:lnTo>
                    <a:pt x="31" y="543"/>
                  </a:lnTo>
                  <a:lnTo>
                    <a:pt x="6" y="601"/>
                  </a:lnTo>
                  <a:lnTo>
                    <a:pt x="19" y="601"/>
                  </a:lnTo>
                  <a:lnTo>
                    <a:pt x="12" y="645"/>
                  </a:lnTo>
                  <a:lnTo>
                    <a:pt x="50" y="657"/>
                  </a:lnTo>
                  <a:lnTo>
                    <a:pt x="81" y="622"/>
                  </a:lnTo>
                  <a:lnTo>
                    <a:pt x="87" y="578"/>
                  </a:lnTo>
                  <a:lnTo>
                    <a:pt x="100" y="622"/>
                  </a:lnTo>
                  <a:lnTo>
                    <a:pt x="112" y="578"/>
                  </a:lnTo>
                  <a:lnTo>
                    <a:pt x="112" y="534"/>
                  </a:lnTo>
                  <a:lnTo>
                    <a:pt x="119" y="513"/>
                  </a:lnTo>
                  <a:lnTo>
                    <a:pt x="112" y="490"/>
                  </a:lnTo>
                  <a:lnTo>
                    <a:pt x="112" y="399"/>
                  </a:lnTo>
                  <a:lnTo>
                    <a:pt x="144" y="367"/>
                  </a:lnTo>
                  <a:lnTo>
                    <a:pt x="138" y="346"/>
                  </a:lnTo>
                  <a:lnTo>
                    <a:pt x="150" y="267"/>
                  </a:lnTo>
                  <a:lnTo>
                    <a:pt x="175" y="211"/>
                  </a:lnTo>
                  <a:lnTo>
                    <a:pt x="180" y="179"/>
                  </a:lnTo>
                  <a:lnTo>
                    <a:pt x="199" y="167"/>
                  </a:lnTo>
                  <a:lnTo>
                    <a:pt x="206" y="132"/>
                  </a:lnTo>
                  <a:lnTo>
                    <a:pt x="238" y="144"/>
                  </a:lnTo>
                  <a:lnTo>
                    <a:pt x="238" y="109"/>
                  </a:lnTo>
                  <a:lnTo>
                    <a:pt x="244" y="109"/>
                  </a:lnTo>
                  <a:lnTo>
                    <a:pt x="256" y="100"/>
                  </a:lnTo>
                  <a:lnTo>
                    <a:pt x="275" y="123"/>
                  </a:lnTo>
                  <a:lnTo>
                    <a:pt x="306" y="132"/>
                  </a:lnTo>
                  <a:lnTo>
                    <a:pt x="325" y="109"/>
                  </a:lnTo>
                  <a:lnTo>
                    <a:pt x="331" y="65"/>
                  </a:lnTo>
                  <a:lnTo>
                    <a:pt x="363" y="56"/>
                  </a:lnTo>
                  <a:lnTo>
                    <a:pt x="375" y="79"/>
                  </a:lnTo>
                  <a:lnTo>
                    <a:pt x="375" y="109"/>
                  </a:lnTo>
                  <a:lnTo>
                    <a:pt x="400" y="65"/>
                  </a:lnTo>
                  <a:lnTo>
                    <a:pt x="381" y="79"/>
                  </a:lnTo>
                  <a:lnTo>
                    <a:pt x="387" y="65"/>
                  </a:lnTo>
                  <a:lnTo>
                    <a:pt x="368" y="56"/>
                  </a:lnTo>
                  <a:lnTo>
                    <a:pt x="405" y="35"/>
                  </a:lnTo>
                  <a:lnTo>
                    <a:pt x="375" y="11"/>
                  </a:lnTo>
                  <a:lnTo>
                    <a:pt x="355" y="35"/>
                  </a:lnTo>
                  <a:lnTo>
                    <a:pt x="368" y="0"/>
                  </a:lnTo>
                  <a:lnTo>
                    <a:pt x="350" y="0"/>
                  </a:lnTo>
                  <a:lnTo>
                    <a:pt x="344" y="35"/>
                  </a:lnTo>
                  <a:lnTo>
                    <a:pt x="337" y="35"/>
                  </a:lnTo>
                  <a:lnTo>
                    <a:pt x="337" y="0"/>
                  </a:lnTo>
                  <a:lnTo>
                    <a:pt x="313" y="56"/>
                  </a:lnTo>
                  <a:lnTo>
                    <a:pt x="325" y="11"/>
                  </a:lnTo>
                  <a:lnTo>
                    <a:pt x="313" y="0"/>
                  </a:lnTo>
                  <a:lnTo>
                    <a:pt x="288" y="65"/>
                  </a:lnTo>
                  <a:lnTo>
                    <a:pt x="256" y="44"/>
                  </a:lnTo>
                  <a:lnTo>
                    <a:pt x="263" y="79"/>
                  </a:lnTo>
                  <a:lnTo>
                    <a:pt x="256" y="56"/>
                  </a:lnTo>
                  <a:lnTo>
                    <a:pt x="238" y="100"/>
                  </a:lnTo>
                  <a:lnTo>
                    <a:pt x="238" y="65"/>
                  </a:lnTo>
                  <a:lnTo>
                    <a:pt x="230" y="88"/>
                  </a:lnTo>
                  <a:lnTo>
                    <a:pt x="219" y="65"/>
                  </a:lnTo>
                  <a:lnTo>
                    <a:pt x="225" y="100"/>
                  </a:lnTo>
                  <a:lnTo>
                    <a:pt x="206" y="88"/>
                  </a:lnTo>
                  <a:lnTo>
                    <a:pt x="199" y="123"/>
                  </a:lnTo>
                  <a:lnTo>
                    <a:pt x="180" y="144"/>
                  </a:lnTo>
                  <a:lnTo>
                    <a:pt x="199" y="144"/>
                  </a:lnTo>
                  <a:lnTo>
                    <a:pt x="169" y="167"/>
                  </a:lnTo>
                  <a:lnTo>
                    <a:pt x="162" y="188"/>
                  </a:lnTo>
                  <a:lnTo>
                    <a:pt x="169" y="188"/>
                  </a:lnTo>
                  <a:lnTo>
                    <a:pt x="130" y="232"/>
                  </a:lnTo>
                  <a:lnTo>
                    <a:pt x="119" y="323"/>
                  </a:lnTo>
                  <a:lnTo>
                    <a:pt x="75" y="390"/>
                  </a:lnTo>
                  <a:lnTo>
                    <a:pt x="81" y="399"/>
                  </a:lnTo>
                  <a:lnTo>
                    <a:pt x="100" y="390"/>
                  </a:lnTo>
                  <a:lnTo>
                    <a:pt x="56" y="411"/>
                  </a:lnTo>
                  <a:lnTo>
                    <a:pt x="31" y="434"/>
                  </a:lnTo>
                  <a:lnTo>
                    <a:pt x="37" y="446"/>
                  </a:lnTo>
                  <a:lnTo>
                    <a:pt x="24" y="446"/>
                  </a:lnTo>
                  <a:lnTo>
                    <a:pt x="24" y="469"/>
                  </a:lnTo>
                  <a:lnTo>
                    <a:pt x="6" y="469"/>
                  </a:lnTo>
                  <a:lnTo>
                    <a:pt x="24" y="478"/>
                  </a:lnTo>
                  <a:lnTo>
                    <a:pt x="0" y="490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38" name="Freeform 539"/>
            <p:cNvSpPr>
              <a:spLocks/>
            </p:cNvSpPr>
            <p:nvPr>
              <p:custDataLst>
                <p:tags r:id="rId446"/>
              </p:custDataLst>
            </p:nvPr>
          </p:nvSpPr>
          <p:spPr bwMode="auto">
            <a:xfrm>
              <a:off x="6157399" y="2607833"/>
              <a:ext cx="749831" cy="520700"/>
            </a:xfrm>
            <a:custGeom>
              <a:avLst/>
              <a:gdLst>
                <a:gd name="T0" fmla="*/ 2147483647 w 405"/>
                <a:gd name="T1" fmla="*/ 2147483647 h 657"/>
                <a:gd name="T2" fmla="*/ 2147483647 w 405"/>
                <a:gd name="T3" fmla="*/ 2147483647 h 657"/>
                <a:gd name="T4" fmla="*/ 2147483647 w 405"/>
                <a:gd name="T5" fmla="*/ 2147483647 h 657"/>
                <a:gd name="T6" fmla="*/ 2147483647 w 405"/>
                <a:gd name="T7" fmla="*/ 2147483647 h 657"/>
                <a:gd name="T8" fmla="*/ 2147483647 w 405"/>
                <a:gd name="T9" fmla="*/ 2147483647 h 657"/>
                <a:gd name="T10" fmla="*/ 2147483647 w 405"/>
                <a:gd name="T11" fmla="*/ 2147483647 h 657"/>
                <a:gd name="T12" fmla="*/ 2147483647 w 405"/>
                <a:gd name="T13" fmla="*/ 2147483647 h 657"/>
                <a:gd name="T14" fmla="*/ 2147483647 w 405"/>
                <a:gd name="T15" fmla="*/ 2147483647 h 657"/>
                <a:gd name="T16" fmla="*/ 2147483647 w 405"/>
                <a:gd name="T17" fmla="*/ 2147483647 h 657"/>
                <a:gd name="T18" fmla="*/ 2147483647 w 405"/>
                <a:gd name="T19" fmla="*/ 2147483647 h 657"/>
                <a:gd name="T20" fmla="*/ 2147483647 w 405"/>
                <a:gd name="T21" fmla="*/ 2147483647 h 657"/>
                <a:gd name="T22" fmla="*/ 2147483647 w 405"/>
                <a:gd name="T23" fmla="*/ 2147483647 h 657"/>
                <a:gd name="T24" fmla="*/ 2147483647 w 405"/>
                <a:gd name="T25" fmla="*/ 2147483647 h 657"/>
                <a:gd name="T26" fmla="*/ 2147483647 w 405"/>
                <a:gd name="T27" fmla="*/ 2147483647 h 657"/>
                <a:gd name="T28" fmla="*/ 2147483647 w 405"/>
                <a:gd name="T29" fmla="*/ 2147483647 h 657"/>
                <a:gd name="T30" fmla="*/ 2147483647 w 405"/>
                <a:gd name="T31" fmla="*/ 2147483647 h 657"/>
                <a:gd name="T32" fmla="*/ 2147483647 w 405"/>
                <a:gd name="T33" fmla="*/ 2147483647 h 657"/>
                <a:gd name="T34" fmla="*/ 2147483647 w 405"/>
                <a:gd name="T35" fmla="*/ 2147483647 h 657"/>
                <a:gd name="T36" fmla="*/ 2147483647 w 405"/>
                <a:gd name="T37" fmla="*/ 2147483647 h 657"/>
                <a:gd name="T38" fmla="*/ 2147483647 w 405"/>
                <a:gd name="T39" fmla="*/ 2147483647 h 657"/>
                <a:gd name="T40" fmla="*/ 2147483647 w 405"/>
                <a:gd name="T41" fmla="*/ 2147483647 h 657"/>
                <a:gd name="T42" fmla="*/ 2147483647 w 405"/>
                <a:gd name="T43" fmla="*/ 2147483647 h 657"/>
                <a:gd name="T44" fmla="*/ 2147483647 w 405"/>
                <a:gd name="T45" fmla="*/ 0 h 657"/>
                <a:gd name="T46" fmla="*/ 2147483647 w 405"/>
                <a:gd name="T47" fmla="*/ 2147483647 h 657"/>
                <a:gd name="T48" fmla="*/ 2147483647 w 405"/>
                <a:gd name="T49" fmla="*/ 0 h 657"/>
                <a:gd name="T50" fmla="*/ 2147483647 w 405"/>
                <a:gd name="T51" fmla="*/ 2147483647 h 657"/>
                <a:gd name="T52" fmla="*/ 2147483647 w 405"/>
                <a:gd name="T53" fmla="*/ 2147483647 h 657"/>
                <a:gd name="T54" fmla="*/ 2147483647 w 405"/>
                <a:gd name="T55" fmla="*/ 2147483647 h 657"/>
                <a:gd name="T56" fmla="*/ 2147483647 w 405"/>
                <a:gd name="T57" fmla="*/ 2147483647 h 657"/>
                <a:gd name="T58" fmla="*/ 2147483647 w 405"/>
                <a:gd name="T59" fmla="*/ 2147483647 h 657"/>
                <a:gd name="T60" fmla="*/ 2147483647 w 405"/>
                <a:gd name="T61" fmla="*/ 2147483647 h 657"/>
                <a:gd name="T62" fmla="*/ 2147483647 w 405"/>
                <a:gd name="T63" fmla="*/ 2147483647 h 657"/>
                <a:gd name="T64" fmla="*/ 2147483647 w 405"/>
                <a:gd name="T65" fmla="*/ 2147483647 h 657"/>
                <a:gd name="T66" fmla="*/ 2147483647 w 405"/>
                <a:gd name="T67" fmla="*/ 2147483647 h 657"/>
                <a:gd name="T68" fmla="*/ 2147483647 w 405"/>
                <a:gd name="T69" fmla="*/ 2147483647 h 657"/>
                <a:gd name="T70" fmla="*/ 2147483647 w 405"/>
                <a:gd name="T71" fmla="*/ 2147483647 h 657"/>
                <a:gd name="T72" fmla="*/ 2147483647 w 405"/>
                <a:gd name="T73" fmla="*/ 2147483647 h 657"/>
                <a:gd name="T74" fmla="*/ 2147483647 w 405"/>
                <a:gd name="T75" fmla="*/ 2147483647 h 657"/>
                <a:gd name="T76" fmla="*/ 2147483647 w 405"/>
                <a:gd name="T77" fmla="*/ 2147483647 h 657"/>
                <a:gd name="T78" fmla="*/ 2147483647 w 405"/>
                <a:gd name="T79" fmla="*/ 2147483647 h 657"/>
                <a:gd name="T80" fmla="*/ 0 w 405"/>
                <a:gd name="T81" fmla="*/ 2147483647 h 65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405" h="657">
                  <a:moveTo>
                    <a:pt x="0" y="490"/>
                  </a:moveTo>
                  <a:lnTo>
                    <a:pt x="6" y="522"/>
                  </a:lnTo>
                  <a:lnTo>
                    <a:pt x="37" y="499"/>
                  </a:lnTo>
                  <a:lnTo>
                    <a:pt x="43" y="513"/>
                  </a:lnTo>
                  <a:lnTo>
                    <a:pt x="6" y="534"/>
                  </a:lnTo>
                  <a:lnTo>
                    <a:pt x="12" y="543"/>
                  </a:lnTo>
                  <a:lnTo>
                    <a:pt x="6" y="578"/>
                  </a:lnTo>
                  <a:lnTo>
                    <a:pt x="31" y="543"/>
                  </a:lnTo>
                  <a:lnTo>
                    <a:pt x="6" y="601"/>
                  </a:lnTo>
                  <a:lnTo>
                    <a:pt x="19" y="601"/>
                  </a:lnTo>
                  <a:lnTo>
                    <a:pt x="12" y="645"/>
                  </a:lnTo>
                  <a:lnTo>
                    <a:pt x="50" y="657"/>
                  </a:lnTo>
                  <a:lnTo>
                    <a:pt x="81" y="622"/>
                  </a:lnTo>
                  <a:lnTo>
                    <a:pt x="87" y="578"/>
                  </a:lnTo>
                  <a:lnTo>
                    <a:pt x="100" y="622"/>
                  </a:lnTo>
                  <a:lnTo>
                    <a:pt x="112" y="578"/>
                  </a:lnTo>
                  <a:lnTo>
                    <a:pt x="112" y="534"/>
                  </a:lnTo>
                  <a:lnTo>
                    <a:pt x="119" y="513"/>
                  </a:lnTo>
                  <a:lnTo>
                    <a:pt x="112" y="490"/>
                  </a:lnTo>
                  <a:lnTo>
                    <a:pt x="112" y="399"/>
                  </a:lnTo>
                  <a:lnTo>
                    <a:pt x="144" y="367"/>
                  </a:lnTo>
                  <a:lnTo>
                    <a:pt x="138" y="346"/>
                  </a:lnTo>
                  <a:lnTo>
                    <a:pt x="150" y="267"/>
                  </a:lnTo>
                  <a:lnTo>
                    <a:pt x="175" y="211"/>
                  </a:lnTo>
                  <a:lnTo>
                    <a:pt x="180" y="179"/>
                  </a:lnTo>
                  <a:lnTo>
                    <a:pt x="199" y="167"/>
                  </a:lnTo>
                  <a:lnTo>
                    <a:pt x="206" y="132"/>
                  </a:lnTo>
                  <a:lnTo>
                    <a:pt x="238" y="144"/>
                  </a:lnTo>
                  <a:lnTo>
                    <a:pt x="238" y="109"/>
                  </a:lnTo>
                  <a:lnTo>
                    <a:pt x="244" y="109"/>
                  </a:lnTo>
                  <a:lnTo>
                    <a:pt x="256" y="100"/>
                  </a:lnTo>
                  <a:lnTo>
                    <a:pt x="275" y="123"/>
                  </a:lnTo>
                  <a:lnTo>
                    <a:pt x="306" y="132"/>
                  </a:lnTo>
                  <a:lnTo>
                    <a:pt x="325" y="109"/>
                  </a:lnTo>
                  <a:lnTo>
                    <a:pt x="331" y="65"/>
                  </a:lnTo>
                  <a:lnTo>
                    <a:pt x="363" y="56"/>
                  </a:lnTo>
                  <a:lnTo>
                    <a:pt x="375" y="79"/>
                  </a:lnTo>
                  <a:lnTo>
                    <a:pt x="375" y="109"/>
                  </a:lnTo>
                  <a:lnTo>
                    <a:pt x="400" y="65"/>
                  </a:lnTo>
                  <a:lnTo>
                    <a:pt x="381" y="79"/>
                  </a:lnTo>
                  <a:lnTo>
                    <a:pt x="387" y="65"/>
                  </a:lnTo>
                  <a:lnTo>
                    <a:pt x="368" y="56"/>
                  </a:lnTo>
                  <a:lnTo>
                    <a:pt x="405" y="35"/>
                  </a:lnTo>
                  <a:lnTo>
                    <a:pt x="375" y="11"/>
                  </a:lnTo>
                  <a:lnTo>
                    <a:pt x="355" y="35"/>
                  </a:lnTo>
                  <a:lnTo>
                    <a:pt x="368" y="0"/>
                  </a:lnTo>
                  <a:lnTo>
                    <a:pt x="350" y="0"/>
                  </a:lnTo>
                  <a:lnTo>
                    <a:pt x="344" y="35"/>
                  </a:lnTo>
                  <a:lnTo>
                    <a:pt x="337" y="35"/>
                  </a:lnTo>
                  <a:lnTo>
                    <a:pt x="337" y="0"/>
                  </a:lnTo>
                  <a:lnTo>
                    <a:pt x="313" y="56"/>
                  </a:lnTo>
                  <a:lnTo>
                    <a:pt x="325" y="11"/>
                  </a:lnTo>
                  <a:lnTo>
                    <a:pt x="313" y="0"/>
                  </a:lnTo>
                  <a:lnTo>
                    <a:pt x="288" y="65"/>
                  </a:lnTo>
                  <a:lnTo>
                    <a:pt x="256" y="44"/>
                  </a:lnTo>
                  <a:lnTo>
                    <a:pt x="263" y="79"/>
                  </a:lnTo>
                  <a:lnTo>
                    <a:pt x="256" y="56"/>
                  </a:lnTo>
                  <a:lnTo>
                    <a:pt x="238" y="100"/>
                  </a:lnTo>
                  <a:lnTo>
                    <a:pt x="238" y="65"/>
                  </a:lnTo>
                  <a:lnTo>
                    <a:pt x="230" y="88"/>
                  </a:lnTo>
                  <a:lnTo>
                    <a:pt x="219" y="65"/>
                  </a:lnTo>
                  <a:lnTo>
                    <a:pt x="225" y="100"/>
                  </a:lnTo>
                  <a:lnTo>
                    <a:pt x="206" y="88"/>
                  </a:lnTo>
                  <a:lnTo>
                    <a:pt x="199" y="123"/>
                  </a:lnTo>
                  <a:lnTo>
                    <a:pt x="180" y="144"/>
                  </a:lnTo>
                  <a:lnTo>
                    <a:pt x="199" y="144"/>
                  </a:lnTo>
                  <a:lnTo>
                    <a:pt x="169" y="167"/>
                  </a:lnTo>
                  <a:lnTo>
                    <a:pt x="162" y="188"/>
                  </a:lnTo>
                  <a:lnTo>
                    <a:pt x="169" y="188"/>
                  </a:lnTo>
                  <a:lnTo>
                    <a:pt x="130" y="232"/>
                  </a:lnTo>
                  <a:lnTo>
                    <a:pt x="119" y="323"/>
                  </a:lnTo>
                  <a:lnTo>
                    <a:pt x="75" y="390"/>
                  </a:lnTo>
                  <a:lnTo>
                    <a:pt x="81" y="399"/>
                  </a:lnTo>
                  <a:lnTo>
                    <a:pt x="100" y="390"/>
                  </a:lnTo>
                  <a:lnTo>
                    <a:pt x="56" y="411"/>
                  </a:lnTo>
                  <a:lnTo>
                    <a:pt x="31" y="434"/>
                  </a:lnTo>
                  <a:lnTo>
                    <a:pt x="37" y="446"/>
                  </a:lnTo>
                  <a:lnTo>
                    <a:pt x="24" y="446"/>
                  </a:lnTo>
                  <a:lnTo>
                    <a:pt x="24" y="469"/>
                  </a:lnTo>
                  <a:lnTo>
                    <a:pt x="6" y="469"/>
                  </a:lnTo>
                  <a:lnTo>
                    <a:pt x="24" y="478"/>
                  </a:lnTo>
                  <a:lnTo>
                    <a:pt x="0" y="49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39" name="Freeform 540"/>
            <p:cNvSpPr>
              <a:spLocks/>
            </p:cNvSpPr>
            <p:nvPr>
              <p:custDataLst>
                <p:tags r:id="rId447"/>
              </p:custDataLst>
            </p:nvPr>
          </p:nvSpPr>
          <p:spPr bwMode="auto">
            <a:xfrm>
              <a:off x="7765312" y="3817508"/>
              <a:ext cx="487190" cy="373062"/>
            </a:xfrm>
            <a:custGeom>
              <a:avLst/>
              <a:gdLst>
                <a:gd name="T0" fmla="*/ 0 w 263"/>
                <a:gd name="T1" fmla="*/ 2147483647 h 469"/>
                <a:gd name="T2" fmla="*/ 2147483647 w 263"/>
                <a:gd name="T3" fmla="*/ 2147483647 h 469"/>
                <a:gd name="T4" fmla="*/ 2147483647 w 263"/>
                <a:gd name="T5" fmla="*/ 2147483647 h 469"/>
                <a:gd name="T6" fmla="*/ 2147483647 w 263"/>
                <a:gd name="T7" fmla="*/ 2147483647 h 469"/>
                <a:gd name="T8" fmla="*/ 2147483647 w 263"/>
                <a:gd name="T9" fmla="*/ 2147483647 h 469"/>
                <a:gd name="T10" fmla="*/ 2147483647 w 263"/>
                <a:gd name="T11" fmla="*/ 2147483647 h 469"/>
                <a:gd name="T12" fmla="*/ 2147483647 w 263"/>
                <a:gd name="T13" fmla="*/ 2147483647 h 469"/>
                <a:gd name="T14" fmla="*/ 2147483647 w 263"/>
                <a:gd name="T15" fmla="*/ 2147483647 h 469"/>
                <a:gd name="T16" fmla="*/ 2147483647 w 263"/>
                <a:gd name="T17" fmla="*/ 2147483647 h 469"/>
                <a:gd name="T18" fmla="*/ 2147483647 w 263"/>
                <a:gd name="T19" fmla="*/ 2147483647 h 469"/>
                <a:gd name="T20" fmla="*/ 2147483647 w 263"/>
                <a:gd name="T21" fmla="*/ 2147483647 h 469"/>
                <a:gd name="T22" fmla="*/ 2147483647 w 263"/>
                <a:gd name="T23" fmla="*/ 0 h 469"/>
                <a:gd name="T24" fmla="*/ 2147483647 w 263"/>
                <a:gd name="T25" fmla="*/ 2147483647 h 469"/>
                <a:gd name="T26" fmla="*/ 2147483647 w 263"/>
                <a:gd name="T27" fmla="*/ 2147483647 h 469"/>
                <a:gd name="T28" fmla="*/ 2147483647 w 263"/>
                <a:gd name="T29" fmla="*/ 2147483647 h 469"/>
                <a:gd name="T30" fmla="*/ 2147483647 w 263"/>
                <a:gd name="T31" fmla="*/ 2147483647 h 469"/>
                <a:gd name="T32" fmla="*/ 2147483647 w 263"/>
                <a:gd name="T33" fmla="*/ 2147483647 h 469"/>
                <a:gd name="T34" fmla="*/ 2147483647 w 263"/>
                <a:gd name="T35" fmla="*/ 2147483647 h 469"/>
                <a:gd name="T36" fmla="*/ 2147483647 w 263"/>
                <a:gd name="T37" fmla="*/ 2147483647 h 469"/>
                <a:gd name="T38" fmla="*/ 2147483647 w 263"/>
                <a:gd name="T39" fmla="*/ 2147483647 h 469"/>
                <a:gd name="T40" fmla="*/ 2147483647 w 263"/>
                <a:gd name="T41" fmla="*/ 2147483647 h 469"/>
                <a:gd name="T42" fmla="*/ 2147483647 w 263"/>
                <a:gd name="T43" fmla="*/ 2147483647 h 469"/>
                <a:gd name="T44" fmla="*/ 2147483647 w 263"/>
                <a:gd name="T45" fmla="*/ 2147483647 h 469"/>
                <a:gd name="T46" fmla="*/ 2147483647 w 263"/>
                <a:gd name="T47" fmla="*/ 2147483647 h 469"/>
                <a:gd name="T48" fmla="*/ 2147483647 w 263"/>
                <a:gd name="T49" fmla="*/ 2147483647 h 469"/>
                <a:gd name="T50" fmla="*/ 2147483647 w 263"/>
                <a:gd name="T51" fmla="*/ 2147483647 h 469"/>
                <a:gd name="T52" fmla="*/ 2147483647 w 263"/>
                <a:gd name="T53" fmla="*/ 2147483647 h 469"/>
                <a:gd name="T54" fmla="*/ 2147483647 w 263"/>
                <a:gd name="T55" fmla="*/ 2147483647 h 469"/>
                <a:gd name="T56" fmla="*/ 0 w 263"/>
                <a:gd name="T57" fmla="*/ 2147483647 h 4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63" h="469">
                  <a:moveTo>
                    <a:pt x="0" y="255"/>
                  </a:moveTo>
                  <a:lnTo>
                    <a:pt x="24" y="267"/>
                  </a:lnTo>
                  <a:lnTo>
                    <a:pt x="82" y="255"/>
                  </a:lnTo>
                  <a:lnTo>
                    <a:pt x="93" y="211"/>
                  </a:lnTo>
                  <a:lnTo>
                    <a:pt x="132" y="177"/>
                  </a:lnTo>
                  <a:lnTo>
                    <a:pt x="138" y="146"/>
                  </a:lnTo>
                  <a:lnTo>
                    <a:pt x="150" y="132"/>
                  </a:lnTo>
                  <a:lnTo>
                    <a:pt x="143" y="111"/>
                  </a:lnTo>
                  <a:lnTo>
                    <a:pt x="157" y="111"/>
                  </a:lnTo>
                  <a:lnTo>
                    <a:pt x="169" y="67"/>
                  </a:lnTo>
                  <a:lnTo>
                    <a:pt x="162" y="23"/>
                  </a:lnTo>
                  <a:lnTo>
                    <a:pt x="213" y="0"/>
                  </a:lnTo>
                  <a:lnTo>
                    <a:pt x="263" y="56"/>
                  </a:lnTo>
                  <a:lnTo>
                    <a:pt x="249" y="79"/>
                  </a:lnTo>
                  <a:lnTo>
                    <a:pt x="207" y="79"/>
                  </a:lnTo>
                  <a:lnTo>
                    <a:pt x="207" y="132"/>
                  </a:lnTo>
                  <a:lnTo>
                    <a:pt x="225" y="167"/>
                  </a:lnTo>
                  <a:lnTo>
                    <a:pt x="213" y="190"/>
                  </a:lnTo>
                  <a:lnTo>
                    <a:pt x="219" y="211"/>
                  </a:lnTo>
                  <a:lnTo>
                    <a:pt x="169" y="324"/>
                  </a:lnTo>
                  <a:lnTo>
                    <a:pt x="150" y="324"/>
                  </a:lnTo>
                  <a:lnTo>
                    <a:pt x="138" y="346"/>
                  </a:lnTo>
                  <a:lnTo>
                    <a:pt x="162" y="445"/>
                  </a:lnTo>
                  <a:lnTo>
                    <a:pt x="125" y="445"/>
                  </a:lnTo>
                  <a:lnTo>
                    <a:pt x="113" y="469"/>
                  </a:lnTo>
                  <a:lnTo>
                    <a:pt x="88" y="401"/>
                  </a:lnTo>
                  <a:lnTo>
                    <a:pt x="13" y="422"/>
                  </a:lnTo>
                  <a:lnTo>
                    <a:pt x="38" y="346"/>
                  </a:lnTo>
                  <a:lnTo>
                    <a:pt x="0" y="2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40" name="Freeform 541"/>
            <p:cNvSpPr>
              <a:spLocks/>
            </p:cNvSpPr>
            <p:nvPr>
              <p:custDataLst>
                <p:tags r:id="rId448"/>
              </p:custDataLst>
            </p:nvPr>
          </p:nvSpPr>
          <p:spPr bwMode="auto">
            <a:xfrm>
              <a:off x="7765312" y="3817508"/>
              <a:ext cx="487190" cy="373062"/>
            </a:xfrm>
            <a:custGeom>
              <a:avLst/>
              <a:gdLst>
                <a:gd name="T0" fmla="*/ 0 w 263"/>
                <a:gd name="T1" fmla="*/ 2147483647 h 469"/>
                <a:gd name="T2" fmla="*/ 2147483647 w 263"/>
                <a:gd name="T3" fmla="*/ 2147483647 h 469"/>
                <a:gd name="T4" fmla="*/ 2147483647 w 263"/>
                <a:gd name="T5" fmla="*/ 2147483647 h 469"/>
                <a:gd name="T6" fmla="*/ 2147483647 w 263"/>
                <a:gd name="T7" fmla="*/ 2147483647 h 469"/>
                <a:gd name="T8" fmla="*/ 2147483647 w 263"/>
                <a:gd name="T9" fmla="*/ 2147483647 h 469"/>
                <a:gd name="T10" fmla="*/ 2147483647 w 263"/>
                <a:gd name="T11" fmla="*/ 2147483647 h 469"/>
                <a:gd name="T12" fmla="*/ 2147483647 w 263"/>
                <a:gd name="T13" fmla="*/ 2147483647 h 469"/>
                <a:gd name="T14" fmla="*/ 2147483647 w 263"/>
                <a:gd name="T15" fmla="*/ 2147483647 h 469"/>
                <a:gd name="T16" fmla="*/ 2147483647 w 263"/>
                <a:gd name="T17" fmla="*/ 2147483647 h 469"/>
                <a:gd name="T18" fmla="*/ 2147483647 w 263"/>
                <a:gd name="T19" fmla="*/ 2147483647 h 469"/>
                <a:gd name="T20" fmla="*/ 2147483647 w 263"/>
                <a:gd name="T21" fmla="*/ 2147483647 h 469"/>
                <a:gd name="T22" fmla="*/ 2147483647 w 263"/>
                <a:gd name="T23" fmla="*/ 0 h 469"/>
                <a:gd name="T24" fmla="*/ 2147483647 w 263"/>
                <a:gd name="T25" fmla="*/ 2147483647 h 469"/>
                <a:gd name="T26" fmla="*/ 2147483647 w 263"/>
                <a:gd name="T27" fmla="*/ 2147483647 h 469"/>
                <a:gd name="T28" fmla="*/ 2147483647 w 263"/>
                <a:gd name="T29" fmla="*/ 2147483647 h 469"/>
                <a:gd name="T30" fmla="*/ 2147483647 w 263"/>
                <a:gd name="T31" fmla="*/ 2147483647 h 469"/>
                <a:gd name="T32" fmla="*/ 2147483647 w 263"/>
                <a:gd name="T33" fmla="*/ 2147483647 h 469"/>
                <a:gd name="T34" fmla="*/ 2147483647 w 263"/>
                <a:gd name="T35" fmla="*/ 2147483647 h 469"/>
                <a:gd name="T36" fmla="*/ 2147483647 w 263"/>
                <a:gd name="T37" fmla="*/ 2147483647 h 469"/>
                <a:gd name="T38" fmla="*/ 2147483647 w 263"/>
                <a:gd name="T39" fmla="*/ 2147483647 h 469"/>
                <a:gd name="T40" fmla="*/ 2147483647 w 263"/>
                <a:gd name="T41" fmla="*/ 2147483647 h 469"/>
                <a:gd name="T42" fmla="*/ 2147483647 w 263"/>
                <a:gd name="T43" fmla="*/ 2147483647 h 469"/>
                <a:gd name="T44" fmla="*/ 2147483647 w 263"/>
                <a:gd name="T45" fmla="*/ 2147483647 h 469"/>
                <a:gd name="T46" fmla="*/ 2147483647 w 263"/>
                <a:gd name="T47" fmla="*/ 2147483647 h 469"/>
                <a:gd name="T48" fmla="*/ 2147483647 w 263"/>
                <a:gd name="T49" fmla="*/ 2147483647 h 469"/>
                <a:gd name="T50" fmla="*/ 2147483647 w 263"/>
                <a:gd name="T51" fmla="*/ 2147483647 h 469"/>
                <a:gd name="T52" fmla="*/ 2147483647 w 263"/>
                <a:gd name="T53" fmla="*/ 2147483647 h 469"/>
                <a:gd name="T54" fmla="*/ 2147483647 w 263"/>
                <a:gd name="T55" fmla="*/ 2147483647 h 469"/>
                <a:gd name="T56" fmla="*/ 0 w 263"/>
                <a:gd name="T57" fmla="*/ 2147483647 h 4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63" h="469">
                  <a:moveTo>
                    <a:pt x="0" y="255"/>
                  </a:moveTo>
                  <a:lnTo>
                    <a:pt x="24" y="267"/>
                  </a:lnTo>
                  <a:lnTo>
                    <a:pt x="82" y="255"/>
                  </a:lnTo>
                  <a:lnTo>
                    <a:pt x="93" y="211"/>
                  </a:lnTo>
                  <a:lnTo>
                    <a:pt x="132" y="177"/>
                  </a:lnTo>
                  <a:lnTo>
                    <a:pt x="138" y="146"/>
                  </a:lnTo>
                  <a:lnTo>
                    <a:pt x="150" y="132"/>
                  </a:lnTo>
                  <a:lnTo>
                    <a:pt x="143" y="111"/>
                  </a:lnTo>
                  <a:lnTo>
                    <a:pt x="157" y="111"/>
                  </a:lnTo>
                  <a:lnTo>
                    <a:pt x="169" y="67"/>
                  </a:lnTo>
                  <a:lnTo>
                    <a:pt x="162" y="23"/>
                  </a:lnTo>
                  <a:lnTo>
                    <a:pt x="213" y="0"/>
                  </a:lnTo>
                  <a:lnTo>
                    <a:pt x="263" y="56"/>
                  </a:lnTo>
                  <a:lnTo>
                    <a:pt x="249" y="79"/>
                  </a:lnTo>
                  <a:lnTo>
                    <a:pt x="207" y="79"/>
                  </a:lnTo>
                  <a:lnTo>
                    <a:pt x="207" y="132"/>
                  </a:lnTo>
                  <a:lnTo>
                    <a:pt x="225" y="167"/>
                  </a:lnTo>
                  <a:lnTo>
                    <a:pt x="213" y="190"/>
                  </a:lnTo>
                  <a:lnTo>
                    <a:pt x="219" y="211"/>
                  </a:lnTo>
                  <a:lnTo>
                    <a:pt x="169" y="324"/>
                  </a:lnTo>
                  <a:lnTo>
                    <a:pt x="150" y="324"/>
                  </a:lnTo>
                  <a:lnTo>
                    <a:pt x="138" y="346"/>
                  </a:lnTo>
                  <a:lnTo>
                    <a:pt x="162" y="445"/>
                  </a:lnTo>
                  <a:lnTo>
                    <a:pt x="125" y="445"/>
                  </a:lnTo>
                  <a:lnTo>
                    <a:pt x="113" y="469"/>
                  </a:lnTo>
                  <a:lnTo>
                    <a:pt x="88" y="401"/>
                  </a:lnTo>
                  <a:lnTo>
                    <a:pt x="13" y="422"/>
                  </a:lnTo>
                  <a:lnTo>
                    <a:pt x="38" y="346"/>
                  </a:lnTo>
                  <a:lnTo>
                    <a:pt x="0" y="25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41" name="Freeform 542"/>
            <p:cNvSpPr>
              <a:spLocks/>
            </p:cNvSpPr>
            <p:nvPr>
              <p:custDataLst>
                <p:tags r:id="rId449"/>
              </p:custDataLst>
            </p:nvPr>
          </p:nvSpPr>
          <p:spPr bwMode="auto">
            <a:xfrm>
              <a:off x="7765312" y="3817508"/>
              <a:ext cx="487190" cy="373062"/>
            </a:xfrm>
            <a:custGeom>
              <a:avLst/>
              <a:gdLst>
                <a:gd name="T0" fmla="*/ 0 w 263"/>
                <a:gd name="T1" fmla="*/ 2147483647 h 469"/>
                <a:gd name="T2" fmla="*/ 2147483647 w 263"/>
                <a:gd name="T3" fmla="*/ 2147483647 h 469"/>
                <a:gd name="T4" fmla="*/ 2147483647 w 263"/>
                <a:gd name="T5" fmla="*/ 2147483647 h 469"/>
                <a:gd name="T6" fmla="*/ 2147483647 w 263"/>
                <a:gd name="T7" fmla="*/ 2147483647 h 469"/>
                <a:gd name="T8" fmla="*/ 2147483647 w 263"/>
                <a:gd name="T9" fmla="*/ 2147483647 h 469"/>
                <a:gd name="T10" fmla="*/ 2147483647 w 263"/>
                <a:gd name="T11" fmla="*/ 2147483647 h 469"/>
                <a:gd name="T12" fmla="*/ 2147483647 w 263"/>
                <a:gd name="T13" fmla="*/ 2147483647 h 469"/>
                <a:gd name="T14" fmla="*/ 2147483647 w 263"/>
                <a:gd name="T15" fmla="*/ 2147483647 h 469"/>
                <a:gd name="T16" fmla="*/ 2147483647 w 263"/>
                <a:gd name="T17" fmla="*/ 2147483647 h 469"/>
                <a:gd name="T18" fmla="*/ 2147483647 w 263"/>
                <a:gd name="T19" fmla="*/ 2147483647 h 469"/>
                <a:gd name="T20" fmla="*/ 2147483647 w 263"/>
                <a:gd name="T21" fmla="*/ 2147483647 h 469"/>
                <a:gd name="T22" fmla="*/ 2147483647 w 263"/>
                <a:gd name="T23" fmla="*/ 0 h 469"/>
                <a:gd name="T24" fmla="*/ 2147483647 w 263"/>
                <a:gd name="T25" fmla="*/ 2147483647 h 469"/>
                <a:gd name="T26" fmla="*/ 2147483647 w 263"/>
                <a:gd name="T27" fmla="*/ 2147483647 h 469"/>
                <a:gd name="T28" fmla="*/ 2147483647 w 263"/>
                <a:gd name="T29" fmla="*/ 2147483647 h 469"/>
                <a:gd name="T30" fmla="*/ 2147483647 w 263"/>
                <a:gd name="T31" fmla="*/ 2147483647 h 469"/>
                <a:gd name="T32" fmla="*/ 2147483647 w 263"/>
                <a:gd name="T33" fmla="*/ 2147483647 h 469"/>
                <a:gd name="T34" fmla="*/ 2147483647 w 263"/>
                <a:gd name="T35" fmla="*/ 2147483647 h 469"/>
                <a:gd name="T36" fmla="*/ 2147483647 w 263"/>
                <a:gd name="T37" fmla="*/ 2147483647 h 469"/>
                <a:gd name="T38" fmla="*/ 2147483647 w 263"/>
                <a:gd name="T39" fmla="*/ 2147483647 h 469"/>
                <a:gd name="T40" fmla="*/ 2147483647 w 263"/>
                <a:gd name="T41" fmla="*/ 2147483647 h 469"/>
                <a:gd name="T42" fmla="*/ 2147483647 w 263"/>
                <a:gd name="T43" fmla="*/ 2147483647 h 469"/>
                <a:gd name="T44" fmla="*/ 2147483647 w 263"/>
                <a:gd name="T45" fmla="*/ 2147483647 h 469"/>
                <a:gd name="T46" fmla="*/ 2147483647 w 263"/>
                <a:gd name="T47" fmla="*/ 2147483647 h 469"/>
                <a:gd name="T48" fmla="*/ 2147483647 w 263"/>
                <a:gd name="T49" fmla="*/ 2147483647 h 469"/>
                <a:gd name="T50" fmla="*/ 2147483647 w 263"/>
                <a:gd name="T51" fmla="*/ 2147483647 h 469"/>
                <a:gd name="T52" fmla="*/ 2147483647 w 263"/>
                <a:gd name="T53" fmla="*/ 2147483647 h 469"/>
                <a:gd name="T54" fmla="*/ 2147483647 w 263"/>
                <a:gd name="T55" fmla="*/ 2147483647 h 469"/>
                <a:gd name="T56" fmla="*/ 0 w 263"/>
                <a:gd name="T57" fmla="*/ 2147483647 h 4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63" h="469">
                  <a:moveTo>
                    <a:pt x="0" y="255"/>
                  </a:moveTo>
                  <a:lnTo>
                    <a:pt x="24" y="267"/>
                  </a:lnTo>
                  <a:lnTo>
                    <a:pt x="82" y="255"/>
                  </a:lnTo>
                  <a:lnTo>
                    <a:pt x="93" y="211"/>
                  </a:lnTo>
                  <a:lnTo>
                    <a:pt x="132" y="177"/>
                  </a:lnTo>
                  <a:lnTo>
                    <a:pt x="138" y="146"/>
                  </a:lnTo>
                  <a:lnTo>
                    <a:pt x="150" y="132"/>
                  </a:lnTo>
                  <a:lnTo>
                    <a:pt x="143" y="111"/>
                  </a:lnTo>
                  <a:lnTo>
                    <a:pt x="157" y="111"/>
                  </a:lnTo>
                  <a:lnTo>
                    <a:pt x="169" y="67"/>
                  </a:lnTo>
                  <a:lnTo>
                    <a:pt x="162" y="23"/>
                  </a:lnTo>
                  <a:lnTo>
                    <a:pt x="213" y="0"/>
                  </a:lnTo>
                  <a:lnTo>
                    <a:pt x="263" y="56"/>
                  </a:lnTo>
                  <a:lnTo>
                    <a:pt x="249" y="79"/>
                  </a:lnTo>
                  <a:lnTo>
                    <a:pt x="207" y="79"/>
                  </a:lnTo>
                  <a:lnTo>
                    <a:pt x="207" y="132"/>
                  </a:lnTo>
                  <a:lnTo>
                    <a:pt x="225" y="167"/>
                  </a:lnTo>
                  <a:lnTo>
                    <a:pt x="213" y="190"/>
                  </a:lnTo>
                  <a:lnTo>
                    <a:pt x="219" y="211"/>
                  </a:lnTo>
                  <a:lnTo>
                    <a:pt x="169" y="324"/>
                  </a:lnTo>
                  <a:lnTo>
                    <a:pt x="150" y="324"/>
                  </a:lnTo>
                  <a:lnTo>
                    <a:pt x="138" y="346"/>
                  </a:lnTo>
                  <a:lnTo>
                    <a:pt x="162" y="445"/>
                  </a:lnTo>
                  <a:lnTo>
                    <a:pt x="125" y="445"/>
                  </a:lnTo>
                  <a:lnTo>
                    <a:pt x="113" y="469"/>
                  </a:lnTo>
                  <a:lnTo>
                    <a:pt x="88" y="401"/>
                  </a:lnTo>
                  <a:lnTo>
                    <a:pt x="13" y="422"/>
                  </a:lnTo>
                  <a:lnTo>
                    <a:pt x="38" y="346"/>
                  </a:lnTo>
                  <a:lnTo>
                    <a:pt x="0" y="2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42" name="Freeform 543"/>
            <p:cNvSpPr>
              <a:spLocks/>
            </p:cNvSpPr>
            <p:nvPr>
              <p:custDataLst>
                <p:tags r:id="rId450"/>
              </p:custDataLst>
            </p:nvPr>
          </p:nvSpPr>
          <p:spPr bwMode="auto">
            <a:xfrm>
              <a:off x="7765312" y="3817508"/>
              <a:ext cx="487190" cy="373062"/>
            </a:xfrm>
            <a:custGeom>
              <a:avLst/>
              <a:gdLst>
                <a:gd name="T0" fmla="*/ 0 w 263"/>
                <a:gd name="T1" fmla="*/ 2147483647 h 469"/>
                <a:gd name="T2" fmla="*/ 2147483647 w 263"/>
                <a:gd name="T3" fmla="*/ 2147483647 h 469"/>
                <a:gd name="T4" fmla="*/ 2147483647 w 263"/>
                <a:gd name="T5" fmla="*/ 2147483647 h 469"/>
                <a:gd name="T6" fmla="*/ 2147483647 w 263"/>
                <a:gd name="T7" fmla="*/ 2147483647 h 469"/>
                <a:gd name="T8" fmla="*/ 2147483647 w 263"/>
                <a:gd name="T9" fmla="*/ 2147483647 h 469"/>
                <a:gd name="T10" fmla="*/ 2147483647 w 263"/>
                <a:gd name="T11" fmla="*/ 2147483647 h 469"/>
                <a:gd name="T12" fmla="*/ 2147483647 w 263"/>
                <a:gd name="T13" fmla="*/ 2147483647 h 469"/>
                <a:gd name="T14" fmla="*/ 2147483647 w 263"/>
                <a:gd name="T15" fmla="*/ 2147483647 h 469"/>
                <a:gd name="T16" fmla="*/ 2147483647 w 263"/>
                <a:gd name="T17" fmla="*/ 2147483647 h 469"/>
                <a:gd name="T18" fmla="*/ 2147483647 w 263"/>
                <a:gd name="T19" fmla="*/ 2147483647 h 469"/>
                <a:gd name="T20" fmla="*/ 2147483647 w 263"/>
                <a:gd name="T21" fmla="*/ 2147483647 h 469"/>
                <a:gd name="T22" fmla="*/ 2147483647 w 263"/>
                <a:gd name="T23" fmla="*/ 0 h 469"/>
                <a:gd name="T24" fmla="*/ 2147483647 w 263"/>
                <a:gd name="T25" fmla="*/ 2147483647 h 469"/>
                <a:gd name="T26" fmla="*/ 2147483647 w 263"/>
                <a:gd name="T27" fmla="*/ 2147483647 h 469"/>
                <a:gd name="T28" fmla="*/ 2147483647 w 263"/>
                <a:gd name="T29" fmla="*/ 2147483647 h 469"/>
                <a:gd name="T30" fmla="*/ 2147483647 w 263"/>
                <a:gd name="T31" fmla="*/ 2147483647 h 469"/>
                <a:gd name="T32" fmla="*/ 2147483647 w 263"/>
                <a:gd name="T33" fmla="*/ 2147483647 h 469"/>
                <a:gd name="T34" fmla="*/ 2147483647 w 263"/>
                <a:gd name="T35" fmla="*/ 2147483647 h 469"/>
                <a:gd name="T36" fmla="*/ 2147483647 w 263"/>
                <a:gd name="T37" fmla="*/ 2147483647 h 469"/>
                <a:gd name="T38" fmla="*/ 2147483647 w 263"/>
                <a:gd name="T39" fmla="*/ 2147483647 h 469"/>
                <a:gd name="T40" fmla="*/ 2147483647 w 263"/>
                <a:gd name="T41" fmla="*/ 2147483647 h 469"/>
                <a:gd name="T42" fmla="*/ 2147483647 w 263"/>
                <a:gd name="T43" fmla="*/ 2147483647 h 469"/>
                <a:gd name="T44" fmla="*/ 2147483647 w 263"/>
                <a:gd name="T45" fmla="*/ 2147483647 h 469"/>
                <a:gd name="T46" fmla="*/ 2147483647 w 263"/>
                <a:gd name="T47" fmla="*/ 2147483647 h 469"/>
                <a:gd name="T48" fmla="*/ 2147483647 w 263"/>
                <a:gd name="T49" fmla="*/ 2147483647 h 469"/>
                <a:gd name="T50" fmla="*/ 2147483647 w 263"/>
                <a:gd name="T51" fmla="*/ 2147483647 h 469"/>
                <a:gd name="T52" fmla="*/ 2147483647 w 263"/>
                <a:gd name="T53" fmla="*/ 2147483647 h 469"/>
                <a:gd name="T54" fmla="*/ 2147483647 w 263"/>
                <a:gd name="T55" fmla="*/ 2147483647 h 469"/>
                <a:gd name="T56" fmla="*/ 0 w 263"/>
                <a:gd name="T57" fmla="*/ 2147483647 h 4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263" h="469">
                  <a:moveTo>
                    <a:pt x="0" y="255"/>
                  </a:moveTo>
                  <a:lnTo>
                    <a:pt x="24" y="267"/>
                  </a:lnTo>
                  <a:lnTo>
                    <a:pt x="82" y="255"/>
                  </a:lnTo>
                  <a:lnTo>
                    <a:pt x="93" y="211"/>
                  </a:lnTo>
                  <a:lnTo>
                    <a:pt x="132" y="177"/>
                  </a:lnTo>
                  <a:lnTo>
                    <a:pt x="138" y="146"/>
                  </a:lnTo>
                  <a:lnTo>
                    <a:pt x="150" y="132"/>
                  </a:lnTo>
                  <a:lnTo>
                    <a:pt x="143" y="111"/>
                  </a:lnTo>
                  <a:lnTo>
                    <a:pt x="157" y="111"/>
                  </a:lnTo>
                  <a:lnTo>
                    <a:pt x="169" y="67"/>
                  </a:lnTo>
                  <a:lnTo>
                    <a:pt x="162" y="23"/>
                  </a:lnTo>
                  <a:lnTo>
                    <a:pt x="213" y="0"/>
                  </a:lnTo>
                  <a:lnTo>
                    <a:pt x="263" y="56"/>
                  </a:lnTo>
                  <a:lnTo>
                    <a:pt x="249" y="79"/>
                  </a:lnTo>
                  <a:lnTo>
                    <a:pt x="207" y="79"/>
                  </a:lnTo>
                  <a:lnTo>
                    <a:pt x="207" y="132"/>
                  </a:lnTo>
                  <a:lnTo>
                    <a:pt x="225" y="167"/>
                  </a:lnTo>
                  <a:lnTo>
                    <a:pt x="213" y="190"/>
                  </a:lnTo>
                  <a:lnTo>
                    <a:pt x="219" y="211"/>
                  </a:lnTo>
                  <a:lnTo>
                    <a:pt x="169" y="324"/>
                  </a:lnTo>
                  <a:lnTo>
                    <a:pt x="150" y="324"/>
                  </a:lnTo>
                  <a:lnTo>
                    <a:pt x="138" y="346"/>
                  </a:lnTo>
                  <a:lnTo>
                    <a:pt x="162" y="445"/>
                  </a:lnTo>
                  <a:lnTo>
                    <a:pt x="125" y="445"/>
                  </a:lnTo>
                  <a:lnTo>
                    <a:pt x="113" y="469"/>
                  </a:lnTo>
                  <a:lnTo>
                    <a:pt x="88" y="401"/>
                  </a:lnTo>
                  <a:lnTo>
                    <a:pt x="13" y="422"/>
                  </a:lnTo>
                  <a:lnTo>
                    <a:pt x="38" y="346"/>
                  </a:lnTo>
                  <a:lnTo>
                    <a:pt x="0" y="25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43" name="Freeform 544"/>
            <p:cNvSpPr>
              <a:spLocks/>
            </p:cNvSpPr>
            <p:nvPr>
              <p:custDataLst>
                <p:tags r:id="rId451"/>
              </p:custDataLst>
            </p:nvPr>
          </p:nvSpPr>
          <p:spPr bwMode="auto">
            <a:xfrm>
              <a:off x="3386643" y="4550933"/>
              <a:ext cx="164401" cy="63500"/>
            </a:xfrm>
            <a:custGeom>
              <a:avLst/>
              <a:gdLst>
                <a:gd name="T0" fmla="*/ 0 w 89"/>
                <a:gd name="T1" fmla="*/ 2147483647 h 78"/>
                <a:gd name="T2" fmla="*/ 2147483647 w 89"/>
                <a:gd name="T3" fmla="*/ 0 h 78"/>
                <a:gd name="T4" fmla="*/ 2147483647 w 89"/>
                <a:gd name="T5" fmla="*/ 2147483647 h 78"/>
                <a:gd name="T6" fmla="*/ 2147483647 w 89"/>
                <a:gd name="T7" fmla="*/ 0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2147483647 h 78"/>
                <a:gd name="T16" fmla="*/ 2147483647 w 89"/>
                <a:gd name="T17" fmla="*/ 2147483647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0 w 89"/>
                <a:gd name="T23" fmla="*/ 2147483647 h 7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9" h="78">
                  <a:moveTo>
                    <a:pt x="0" y="44"/>
                  </a:moveTo>
                  <a:lnTo>
                    <a:pt x="7" y="0"/>
                  </a:lnTo>
                  <a:lnTo>
                    <a:pt x="25" y="21"/>
                  </a:lnTo>
                  <a:lnTo>
                    <a:pt x="63" y="0"/>
                  </a:lnTo>
                  <a:lnTo>
                    <a:pt x="89" y="34"/>
                  </a:lnTo>
                  <a:lnTo>
                    <a:pt x="83" y="78"/>
                  </a:lnTo>
                  <a:lnTo>
                    <a:pt x="83" y="44"/>
                  </a:lnTo>
                  <a:lnTo>
                    <a:pt x="63" y="21"/>
                  </a:lnTo>
                  <a:lnTo>
                    <a:pt x="44" y="44"/>
                  </a:lnTo>
                  <a:lnTo>
                    <a:pt x="44" y="65"/>
                  </a:lnTo>
                  <a:lnTo>
                    <a:pt x="38" y="78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44" name="Freeform 545"/>
            <p:cNvSpPr>
              <a:spLocks/>
            </p:cNvSpPr>
            <p:nvPr>
              <p:custDataLst>
                <p:tags r:id="rId452"/>
              </p:custDataLst>
            </p:nvPr>
          </p:nvSpPr>
          <p:spPr bwMode="auto">
            <a:xfrm>
              <a:off x="3386643" y="4550933"/>
              <a:ext cx="164401" cy="63500"/>
            </a:xfrm>
            <a:custGeom>
              <a:avLst/>
              <a:gdLst>
                <a:gd name="T0" fmla="*/ 0 w 89"/>
                <a:gd name="T1" fmla="*/ 2147483647 h 78"/>
                <a:gd name="T2" fmla="*/ 2147483647 w 89"/>
                <a:gd name="T3" fmla="*/ 0 h 78"/>
                <a:gd name="T4" fmla="*/ 2147483647 w 89"/>
                <a:gd name="T5" fmla="*/ 2147483647 h 78"/>
                <a:gd name="T6" fmla="*/ 2147483647 w 89"/>
                <a:gd name="T7" fmla="*/ 0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2147483647 h 78"/>
                <a:gd name="T16" fmla="*/ 2147483647 w 89"/>
                <a:gd name="T17" fmla="*/ 2147483647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0 w 89"/>
                <a:gd name="T23" fmla="*/ 2147483647 h 7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9" h="78">
                  <a:moveTo>
                    <a:pt x="0" y="44"/>
                  </a:moveTo>
                  <a:lnTo>
                    <a:pt x="7" y="0"/>
                  </a:lnTo>
                  <a:lnTo>
                    <a:pt x="25" y="21"/>
                  </a:lnTo>
                  <a:lnTo>
                    <a:pt x="63" y="0"/>
                  </a:lnTo>
                  <a:lnTo>
                    <a:pt x="89" y="34"/>
                  </a:lnTo>
                  <a:lnTo>
                    <a:pt x="83" y="78"/>
                  </a:lnTo>
                  <a:lnTo>
                    <a:pt x="83" y="44"/>
                  </a:lnTo>
                  <a:lnTo>
                    <a:pt x="63" y="21"/>
                  </a:lnTo>
                  <a:lnTo>
                    <a:pt x="44" y="44"/>
                  </a:lnTo>
                  <a:lnTo>
                    <a:pt x="44" y="65"/>
                  </a:lnTo>
                  <a:lnTo>
                    <a:pt x="38" y="78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45" name="Freeform 546"/>
            <p:cNvSpPr>
              <a:spLocks/>
            </p:cNvSpPr>
            <p:nvPr>
              <p:custDataLst>
                <p:tags r:id="rId453"/>
              </p:custDataLst>
            </p:nvPr>
          </p:nvSpPr>
          <p:spPr bwMode="auto">
            <a:xfrm>
              <a:off x="3386643" y="4550933"/>
              <a:ext cx="164401" cy="63500"/>
            </a:xfrm>
            <a:custGeom>
              <a:avLst/>
              <a:gdLst>
                <a:gd name="T0" fmla="*/ 0 w 89"/>
                <a:gd name="T1" fmla="*/ 2147483647 h 78"/>
                <a:gd name="T2" fmla="*/ 2147483647 w 89"/>
                <a:gd name="T3" fmla="*/ 0 h 78"/>
                <a:gd name="T4" fmla="*/ 2147483647 w 89"/>
                <a:gd name="T5" fmla="*/ 2147483647 h 78"/>
                <a:gd name="T6" fmla="*/ 2147483647 w 89"/>
                <a:gd name="T7" fmla="*/ 0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2147483647 h 78"/>
                <a:gd name="T16" fmla="*/ 2147483647 w 89"/>
                <a:gd name="T17" fmla="*/ 2147483647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0 w 89"/>
                <a:gd name="T23" fmla="*/ 2147483647 h 7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9" h="78">
                  <a:moveTo>
                    <a:pt x="0" y="44"/>
                  </a:moveTo>
                  <a:lnTo>
                    <a:pt x="7" y="0"/>
                  </a:lnTo>
                  <a:lnTo>
                    <a:pt x="25" y="21"/>
                  </a:lnTo>
                  <a:lnTo>
                    <a:pt x="63" y="0"/>
                  </a:lnTo>
                  <a:lnTo>
                    <a:pt x="89" y="34"/>
                  </a:lnTo>
                  <a:lnTo>
                    <a:pt x="83" y="78"/>
                  </a:lnTo>
                  <a:lnTo>
                    <a:pt x="83" y="44"/>
                  </a:lnTo>
                  <a:lnTo>
                    <a:pt x="63" y="21"/>
                  </a:lnTo>
                  <a:lnTo>
                    <a:pt x="44" y="44"/>
                  </a:lnTo>
                  <a:lnTo>
                    <a:pt x="44" y="65"/>
                  </a:lnTo>
                  <a:lnTo>
                    <a:pt x="38" y="78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46" name="Freeform 547"/>
            <p:cNvSpPr>
              <a:spLocks/>
            </p:cNvSpPr>
            <p:nvPr>
              <p:custDataLst>
                <p:tags r:id="rId454"/>
              </p:custDataLst>
            </p:nvPr>
          </p:nvSpPr>
          <p:spPr bwMode="auto">
            <a:xfrm>
              <a:off x="3386643" y="4550933"/>
              <a:ext cx="164401" cy="63500"/>
            </a:xfrm>
            <a:custGeom>
              <a:avLst/>
              <a:gdLst>
                <a:gd name="T0" fmla="*/ 0 w 89"/>
                <a:gd name="T1" fmla="*/ 2147483647 h 78"/>
                <a:gd name="T2" fmla="*/ 2147483647 w 89"/>
                <a:gd name="T3" fmla="*/ 0 h 78"/>
                <a:gd name="T4" fmla="*/ 2147483647 w 89"/>
                <a:gd name="T5" fmla="*/ 2147483647 h 78"/>
                <a:gd name="T6" fmla="*/ 2147483647 w 89"/>
                <a:gd name="T7" fmla="*/ 0 h 78"/>
                <a:gd name="T8" fmla="*/ 2147483647 w 89"/>
                <a:gd name="T9" fmla="*/ 2147483647 h 78"/>
                <a:gd name="T10" fmla="*/ 2147483647 w 89"/>
                <a:gd name="T11" fmla="*/ 2147483647 h 78"/>
                <a:gd name="T12" fmla="*/ 2147483647 w 89"/>
                <a:gd name="T13" fmla="*/ 2147483647 h 78"/>
                <a:gd name="T14" fmla="*/ 2147483647 w 89"/>
                <a:gd name="T15" fmla="*/ 2147483647 h 78"/>
                <a:gd name="T16" fmla="*/ 2147483647 w 89"/>
                <a:gd name="T17" fmla="*/ 2147483647 h 78"/>
                <a:gd name="T18" fmla="*/ 2147483647 w 89"/>
                <a:gd name="T19" fmla="*/ 2147483647 h 78"/>
                <a:gd name="T20" fmla="*/ 2147483647 w 89"/>
                <a:gd name="T21" fmla="*/ 2147483647 h 78"/>
                <a:gd name="T22" fmla="*/ 0 w 89"/>
                <a:gd name="T23" fmla="*/ 2147483647 h 7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89" h="78">
                  <a:moveTo>
                    <a:pt x="0" y="44"/>
                  </a:moveTo>
                  <a:lnTo>
                    <a:pt x="7" y="0"/>
                  </a:lnTo>
                  <a:lnTo>
                    <a:pt x="25" y="21"/>
                  </a:lnTo>
                  <a:lnTo>
                    <a:pt x="63" y="0"/>
                  </a:lnTo>
                  <a:lnTo>
                    <a:pt x="89" y="34"/>
                  </a:lnTo>
                  <a:lnTo>
                    <a:pt x="83" y="78"/>
                  </a:lnTo>
                  <a:lnTo>
                    <a:pt x="83" y="44"/>
                  </a:lnTo>
                  <a:lnTo>
                    <a:pt x="63" y="21"/>
                  </a:lnTo>
                  <a:lnTo>
                    <a:pt x="44" y="44"/>
                  </a:lnTo>
                  <a:lnTo>
                    <a:pt x="44" y="65"/>
                  </a:lnTo>
                  <a:lnTo>
                    <a:pt x="38" y="78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47" name="Freeform 548"/>
            <p:cNvSpPr>
              <a:spLocks/>
            </p:cNvSpPr>
            <p:nvPr>
              <p:custDataLst>
                <p:tags r:id="rId455"/>
              </p:custDataLst>
            </p:nvPr>
          </p:nvSpPr>
          <p:spPr bwMode="auto">
            <a:xfrm>
              <a:off x="10080968" y="4860531"/>
              <a:ext cx="288705" cy="195263"/>
            </a:xfrm>
            <a:custGeom>
              <a:avLst/>
              <a:gdLst>
                <a:gd name="T0" fmla="*/ 0 w 156"/>
                <a:gd name="T1" fmla="*/ 0 h 245"/>
                <a:gd name="T2" fmla="*/ 0 w 156"/>
                <a:gd name="T3" fmla="*/ 2147483647 h 245"/>
                <a:gd name="T4" fmla="*/ 2147483647 w 156"/>
                <a:gd name="T5" fmla="*/ 2147483647 h 245"/>
                <a:gd name="T6" fmla="*/ 2147483647 w 156"/>
                <a:gd name="T7" fmla="*/ 2147483647 h 245"/>
                <a:gd name="T8" fmla="*/ 2147483647 w 156"/>
                <a:gd name="T9" fmla="*/ 2147483647 h 245"/>
                <a:gd name="T10" fmla="*/ 2147483647 w 156"/>
                <a:gd name="T11" fmla="*/ 2147483647 h 245"/>
                <a:gd name="T12" fmla="*/ 2147483647 w 156"/>
                <a:gd name="T13" fmla="*/ 2147483647 h 245"/>
                <a:gd name="T14" fmla="*/ 2147483647 w 156"/>
                <a:gd name="T15" fmla="*/ 2147483647 h 245"/>
                <a:gd name="T16" fmla="*/ 2147483647 w 156"/>
                <a:gd name="T17" fmla="*/ 2147483647 h 245"/>
                <a:gd name="T18" fmla="*/ 2147483647 w 156"/>
                <a:gd name="T19" fmla="*/ 2147483647 h 245"/>
                <a:gd name="T20" fmla="*/ 2147483647 w 156"/>
                <a:gd name="T21" fmla="*/ 2147483647 h 245"/>
                <a:gd name="T22" fmla="*/ 0 w 156"/>
                <a:gd name="T23" fmla="*/ 0 h 2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6" h="245">
                  <a:moveTo>
                    <a:pt x="0" y="0"/>
                  </a:moveTo>
                  <a:lnTo>
                    <a:pt x="0" y="213"/>
                  </a:lnTo>
                  <a:lnTo>
                    <a:pt x="25" y="213"/>
                  </a:lnTo>
                  <a:lnTo>
                    <a:pt x="50" y="155"/>
                  </a:lnTo>
                  <a:lnTo>
                    <a:pt x="81" y="178"/>
                  </a:lnTo>
                  <a:lnTo>
                    <a:pt x="106" y="245"/>
                  </a:lnTo>
                  <a:lnTo>
                    <a:pt x="156" y="245"/>
                  </a:lnTo>
                  <a:lnTo>
                    <a:pt x="100" y="155"/>
                  </a:lnTo>
                  <a:lnTo>
                    <a:pt x="100" y="111"/>
                  </a:lnTo>
                  <a:lnTo>
                    <a:pt x="76" y="99"/>
                  </a:lnTo>
                  <a:lnTo>
                    <a:pt x="50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48" name="Freeform 549"/>
            <p:cNvSpPr>
              <a:spLocks/>
            </p:cNvSpPr>
            <p:nvPr>
              <p:custDataLst>
                <p:tags r:id="rId456"/>
              </p:custDataLst>
            </p:nvPr>
          </p:nvSpPr>
          <p:spPr bwMode="auto">
            <a:xfrm>
              <a:off x="10080968" y="4860531"/>
              <a:ext cx="288705" cy="195263"/>
            </a:xfrm>
            <a:custGeom>
              <a:avLst/>
              <a:gdLst>
                <a:gd name="T0" fmla="*/ 0 w 156"/>
                <a:gd name="T1" fmla="*/ 0 h 245"/>
                <a:gd name="T2" fmla="*/ 0 w 156"/>
                <a:gd name="T3" fmla="*/ 2147483647 h 245"/>
                <a:gd name="T4" fmla="*/ 2147483647 w 156"/>
                <a:gd name="T5" fmla="*/ 2147483647 h 245"/>
                <a:gd name="T6" fmla="*/ 2147483647 w 156"/>
                <a:gd name="T7" fmla="*/ 2147483647 h 245"/>
                <a:gd name="T8" fmla="*/ 2147483647 w 156"/>
                <a:gd name="T9" fmla="*/ 2147483647 h 245"/>
                <a:gd name="T10" fmla="*/ 2147483647 w 156"/>
                <a:gd name="T11" fmla="*/ 2147483647 h 245"/>
                <a:gd name="T12" fmla="*/ 2147483647 w 156"/>
                <a:gd name="T13" fmla="*/ 2147483647 h 245"/>
                <a:gd name="T14" fmla="*/ 2147483647 w 156"/>
                <a:gd name="T15" fmla="*/ 2147483647 h 245"/>
                <a:gd name="T16" fmla="*/ 2147483647 w 156"/>
                <a:gd name="T17" fmla="*/ 2147483647 h 245"/>
                <a:gd name="T18" fmla="*/ 2147483647 w 156"/>
                <a:gd name="T19" fmla="*/ 2147483647 h 245"/>
                <a:gd name="T20" fmla="*/ 2147483647 w 156"/>
                <a:gd name="T21" fmla="*/ 2147483647 h 245"/>
                <a:gd name="T22" fmla="*/ 0 w 156"/>
                <a:gd name="T23" fmla="*/ 0 h 2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6" h="245">
                  <a:moveTo>
                    <a:pt x="0" y="0"/>
                  </a:moveTo>
                  <a:lnTo>
                    <a:pt x="0" y="213"/>
                  </a:lnTo>
                  <a:lnTo>
                    <a:pt x="25" y="213"/>
                  </a:lnTo>
                  <a:lnTo>
                    <a:pt x="50" y="155"/>
                  </a:lnTo>
                  <a:lnTo>
                    <a:pt x="81" y="178"/>
                  </a:lnTo>
                  <a:lnTo>
                    <a:pt x="106" y="245"/>
                  </a:lnTo>
                  <a:lnTo>
                    <a:pt x="156" y="245"/>
                  </a:lnTo>
                  <a:lnTo>
                    <a:pt x="100" y="155"/>
                  </a:lnTo>
                  <a:lnTo>
                    <a:pt x="100" y="111"/>
                  </a:lnTo>
                  <a:lnTo>
                    <a:pt x="76" y="99"/>
                  </a:lnTo>
                  <a:lnTo>
                    <a:pt x="50" y="44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49" name="Freeform 550"/>
            <p:cNvSpPr>
              <a:spLocks/>
            </p:cNvSpPr>
            <p:nvPr>
              <p:custDataLst>
                <p:tags r:id="rId457"/>
              </p:custDataLst>
            </p:nvPr>
          </p:nvSpPr>
          <p:spPr bwMode="auto">
            <a:xfrm>
              <a:off x="10080968" y="4860531"/>
              <a:ext cx="288705" cy="195263"/>
            </a:xfrm>
            <a:custGeom>
              <a:avLst/>
              <a:gdLst>
                <a:gd name="T0" fmla="*/ 0 w 156"/>
                <a:gd name="T1" fmla="*/ 0 h 245"/>
                <a:gd name="T2" fmla="*/ 0 w 156"/>
                <a:gd name="T3" fmla="*/ 2147483647 h 245"/>
                <a:gd name="T4" fmla="*/ 2147483647 w 156"/>
                <a:gd name="T5" fmla="*/ 2147483647 h 245"/>
                <a:gd name="T6" fmla="*/ 2147483647 w 156"/>
                <a:gd name="T7" fmla="*/ 2147483647 h 245"/>
                <a:gd name="T8" fmla="*/ 2147483647 w 156"/>
                <a:gd name="T9" fmla="*/ 2147483647 h 245"/>
                <a:gd name="T10" fmla="*/ 2147483647 w 156"/>
                <a:gd name="T11" fmla="*/ 2147483647 h 245"/>
                <a:gd name="T12" fmla="*/ 2147483647 w 156"/>
                <a:gd name="T13" fmla="*/ 2147483647 h 245"/>
                <a:gd name="T14" fmla="*/ 2147483647 w 156"/>
                <a:gd name="T15" fmla="*/ 2147483647 h 245"/>
                <a:gd name="T16" fmla="*/ 2147483647 w 156"/>
                <a:gd name="T17" fmla="*/ 2147483647 h 245"/>
                <a:gd name="T18" fmla="*/ 2147483647 w 156"/>
                <a:gd name="T19" fmla="*/ 2147483647 h 245"/>
                <a:gd name="T20" fmla="*/ 2147483647 w 156"/>
                <a:gd name="T21" fmla="*/ 2147483647 h 245"/>
                <a:gd name="T22" fmla="*/ 0 w 156"/>
                <a:gd name="T23" fmla="*/ 0 h 2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6" h="245">
                  <a:moveTo>
                    <a:pt x="0" y="0"/>
                  </a:moveTo>
                  <a:lnTo>
                    <a:pt x="0" y="213"/>
                  </a:lnTo>
                  <a:lnTo>
                    <a:pt x="25" y="213"/>
                  </a:lnTo>
                  <a:lnTo>
                    <a:pt x="50" y="155"/>
                  </a:lnTo>
                  <a:lnTo>
                    <a:pt x="81" y="178"/>
                  </a:lnTo>
                  <a:lnTo>
                    <a:pt x="106" y="245"/>
                  </a:lnTo>
                  <a:lnTo>
                    <a:pt x="156" y="245"/>
                  </a:lnTo>
                  <a:lnTo>
                    <a:pt x="100" y="155"/>
                  </a:lnTo>
                  <a:lnTo>
                    <a:pt x="100" y="111"/>
                  </a:lnTo>
                  <a:lnTo>
                    <a:pt x="76" y="99"/>
                  </a:lnTo>
                  <a:lnTo>
                    <a:pt x="50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50" name="Freeform 551"/>
            <p:cNvSpPr>
              <a:spLocks/>
            </p:cNvSpPr>
            <p:nvPr>
              <p:custDataLst>
                <p:tags r:id="rId458"/>
              </p:custDataLst>
            </p:nvPr>
          </p:nvSpPr>
          <p:spPr bwMode="auto">
            <a:xfrm>
              <a:off x="10080968" y="4860531"/>
              <a:ext cx="288705" cy="195263"/>
            </a:xfrm>
            <a:custGeom>
              <a:avLst/>
              <a:gdLst>
                <a:gd name="T0" fmla="*/ 0 w 156"/>
                <a:gd name="T1" fmla="*/ 0 h 245"/>
                <a:gd name="T2" fmla="*/ 0 w 156"/>
                <a:gd name="T3" fmla="*/ 2147483647 h 245"/>
                <a:gd name="T4" fmla="*/ 2147483647 w 156"/>
                <a:gd name="T5" fmla="*/ 2147483647 h 245"/>
                <a:gd name="T6" fmla="*/ 2147483647 w 156"/>
                <a:gd name="T7" fmla="*/ 2147483647 h 245"/>
                <a:gd name="T8" fmla="*/ 2147483647 w 156"/>
                <a:gd name="T9" fmla="*/ 2147483647 h 245"/>
                <a:gd name="T10" fmla="*/ 2147483647 w 156"/>
                <a:gd name="T11" fmla="*/ 2147483647 h 245"/>
                <a:gd name="T12" fmla="*/ 2147483647 w 156"/>
                <a:gd name="T13" fmla="*/ 2147483647 h 245"/>
                <a:gd name="T14" fmla="*/ 2147483647 w 156"/>
                <a:gd name="T15" fmla="*/ 2147483647 h 245"/>
                <a:gd name="T16" fmla="*/ 2147483647 w 156"/>
                <a:gd name="T17" fmla="*/ 2147483647 h 245"/>
                <a:gd name="T18" fmla="*/ 2147483647 w 156"/>
                <a:gd name="T19" fmla="*/ 2147483647 h 245"/>
                <a:gd name="T20" fmla="*/ 2147483647 w 156"/>
                <a:gd name="T21" fmla="*/ 2147483647 h 245"/>
                <a:gd name="T22" fmla="*/ 0 w 156"/>
                <a:gd name="T23" fmla="*/ 0 h 24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56" h="245">
                  <a:moveTo>
                    <a:pt x="0" y="0"/>
                  </a:moveTo>
                  <a:lnTo>
                    <a:pt x="0" y="213"/>
                  </a:lnTo>
                  <a:lnTo>
                    <a:pt x="25" y="213"/>
                  </a:lnTo>
                  <a:lnTo>
                    <a:pt x="50" y="155"/>
                  </a:lnTo>
                  <a:lnTo>
                    <a:pt x="81" y="178"/>
                  </a:lnTo>
                  <a:lnTo>
                    <a:pt x="106" y="245"/>
                  </a:lnTo>
                  <a:lnTo>
                    <a:pt x="156" y="245"/>
                  </a:lnTo>
                  <a:lnTo>
                    <a:pt x="100" y="155"/>
                  </a:lnTo>
                  <a:lnTo>
                    <a:pt x="100" y="111"/>
                  </a:lnTo>
                  <a:lnTo>
                    <a:pt x="76" y="99"/>
                  </a:lnTo>
                  <a:lnTo>
                    <a:pt x="50" y="44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51" name="Freeform 552"/>
            <p:cNvSpPr>
              <a:spLocks/>
            </p:cNvSpPr>
            <p:nvPr>
              <p:custDataLst>
                <p:tags r:id="rId459"/>
              </p:custDataLst>
            </p:nvPr>
          </p:nvSpPr>
          <p:spPr bwMode="auto">
            <a:xfrm>
              <a:off x="10291483" y="4904981"/>
              <a:ext cx="114280" cy="53975"/>
            </a:xfrm>
            <a:custGeom>
              <a:avLst/>
              <a:gdLst>
                <a:gd name="T0" fmla="*/ 0 w 62"/>
                <a:gd name="T1" fmla="*/ 2147483647 h 67"/>
                <a:gd name="T2" fmla="*/ 2147483647 w 62"/>
                <a:gd name="T3" fmla="*/ 2147483647 h 67"/>
                <a:gd name="T4" fmla="*/ 2147483647 w 62"/>
                <a:gd name="T5" fmla="*/ 2147483647 h 67"/>
                <a:gd name="T6" fmla="*/ 2147483647 w 62"/>
                <a:gd name="T7" fmla="*/ 0 h 67"/>
                <a:gd name="T8" fmla="*/ 2147483647 w 62"/>
                <a:gd name="T9" fmla="*/ 2147483647 h 67"/>
                <a:gd name="T10" fmla="*/ 0 w 62"/>
                <a:gd name="T11" fmla="*/ 2147483647 h 6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" h="67">
                  <a:moveTo>
                    <a:pt x="0" y="44"/>
                  </a:moveTo>
                  <a:lnTo>
                    <a:pt x="37" y="67"/>
                  </a:lnTo>
                  <a:lnTo>
                    <a:pt x="62" y="23"/>
                  </a:lnTo>
                  <a:lnTo>
                    <a:pt x="56" y="0"/>
                  </a:lnTo>
                  <a:lnTo>
                    <a:pt x="43" y="2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52" name="Freeform 553"/>
            <p:cNvSpPr>
              <a:spLocks/>
            </p:cNvSpPr>
            <p:nvPr>
              <p:custDataLst>
                <p:tags r:id="rId460"/>
              </p:custDataLst>
            </p:nvPr>
          </p:nvSpPr>
          <p:spPr bwMode="auto">
            <a:xfrm>
              <a:off x="10291483" y="4904981"/>
              <a:ext cx="114280" cy="53975"/>
            </a:xfrm>
            <a:custGeom>
              <a:avLst/>
              <a:gdLst>
                <a:gd name="T0" fmla="*/ 0 w 62"/>
                <a:gd name="T1" fmla="*/ 2147483647 h 67"/>
                <a:gd name="T2" fmla="*/ 2147483647 w 62"/>
                <a:gd name="T3" fmla="*/ 2147483647 h 67"/>
                <a:gd name="T4" fmla="*/ 2147483647 w 62"/>
                <a:gd name="T5" fmla="*/ 2147483647 h 67"/>
                <a:gd name="T6" fmla="*/ 2147483647 w 62"/>
                <a:gd name="T7" fmla="*/ 0 h 67"/>
                <a:gd name="T8" fmla="*/ 2147483647 w 62"/>
                <a:gd name="T9" fmla="*/ 2147483647 h 67"/>
                <a:gd name="T10" fmla="*/ 0 w 62"/>
                <a:gd name="T11" fmla="*/ 2147483647 h 6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" h="67">
                  <a:moveTo>
                    <a:pt x="0" y="44"/>
                  </a:moveTo>
                  <a:lnTo>
                    <a:pt x="37" y="67"/>
                  </a:lnTo>
                  <a:lnTo>
                    <a:pt x="62" y="23"/>
                  </a:lnTo>
                  <a:lnTo>
                    <a:pt x="56" y="0"/>
                  </a:lnTo>
                  <a:lnTo>
                    <a:pt x="43" y="23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53" name="Freeform 554"/>
            <p:cNvSpPr>
              <a:spLocks/>
            </p:cNvSpPr>
            <p:nvPr>
              <p:custDataLst>
                <p:tags r:id="rId461"/>
              </p:custDataLst>
            </p:nvPr>
          </p:nvSpPr>
          <p:spPr bwMode="auto">
            <a:xfrm>
              <a:off x="10291483" y="4904981"/>
              <a:ext cx="114280" cy="53975"/>
            </a:xfrm>
            <a:custGeom>
              <a:avLst/>
              <a:gdLst>
                <a:gd name="T0" fmla="*/ 0 w 62"/>
                <a:gd name="T1" fmla="*/ 2147483647 h 67"/>
                <a:gd name="T2" fmla="*/ 2147483647 w 62"/>
                <a:gd name="T3" fmla="*/ 2147483647 h 67"/>
                <a:gd name="T4" fmla="*/ 2147483647 w 62"/>
                <a:gd name="T5" fmla="*/ 2147483647 h 67"/>
                <a:gd name="T6" fmla="*/ 2147483647 w 62"/>
                <a:gd name="T7" fmla="*/ 0 h 67"/>
                <a:gd name="T8" fmla="*/ 2147483647 w 62"/>
                <a:gd name="T9" fmla="*/ 2147483647 h 67"/>
                <a:gd name="T10" fmla="*/ 0 w 62"/>
                <a:gd name="T11" fmla="*/ 2147483647 h 6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" h="67">
                  <a:moveTo>
                    <a:pt x="0" y="44"/>
                  </a:moveTo>
                  <a:lnTo>
                    <a:pt x="37" y="67"/>
                  </a:lnTo>
                  <a:lnTo>
                    <a:pt x="62" y="23"/>
                  </a:lnTo>
                  <a:lnTo>
                    <a:pt x="56" y="0"/>
                  </a:lnTo>
                  <a:lnTo>
                    <a:pt x="43" y="2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54" name="Freeform 555"/>
            <p:cNvSpPr>
              <a:spLocks/>
            </p:cNvSpPr>
            <p:nvPr>
              <p:custDataLst>
                <p:tags r:id="rId462"/>
              </p:custDataLst>
            </p:nvPr>
          </p:nvSpPr>
          <p:spPr bwMode="auto">
            <a:xfrm>
              <a:off x="10291483" y="4904981"/>
              <a:ext cx="114280" cy="53975"/>
            </a:xfrm>
            <a:custGeom>
              <a:avLst/>
              <a:gdLst>
                <a:gd name="T0" fmla="*/ 0 w 62"/>
                <a:gd name="T1" fmla="*/ 2147483647 h 67"/>
                <a:gd name="T2" fmla="*/ 2147483647 w 62"/>
                <a:gd name="T3" fmla="*/ 2147483647 h 67"/>
                <a:gd name="T4" fmla="*/ 2147483647 w 62"/>
                <a:gd name="T5" fmla="*/ 2147483647 h 67"/>
                <a:gd name="T6" fmla="*/ 2147483647 w 62"/>
                <a:gd name="T7" fmla="*/ 0 h 67"/>
                <a:gd name="T8" fmla="*/ 2147483647 w 62"/>
                <a:gd name="T9" fmla="*/ 2147483647 h 67"/>
                <a:gd name="T10" fmla="*/ 0 w 62"/>
                <a:gd name="T11" fmla="*/ 2147483647 h 6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2" h="67">
                  <a:moveTo>
                    <a:pt x="0" y="44"/>
                  </a:moveTo>
                  <a:lnTo>
                    <a:pt x="37" y="67"/>
                  </a:lnTo>
                  <a:lnTo>
                    <a:pt x="62" y="23"/>
                  </a:lnTo>
                  <a:lnTo>
                    <a:pt x="56" y="0"/>
                  </a:lnTo>
                  <a:lnTo>
                    <a:pt x="43" y="23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55" name="Freeform 556"/>
            <p:cNvSpPr>
              <a:spLocks/>
            </p:cNvSpPr>
            <p:nvPr>
              <p:custDataLst>
                <p:tags r:id="rId463"/>
              </p:custDataLst>
            </p:nvPr>
          </p:nvSpPr>
          <p:spPr bwMode="auto">
            <a:xfrm>
              <a:off x="10359652" y="4860531"/>
              <a:ext cx="58143" cy="53975"/>
            </a:xfrm>
            <a:custGeom>
              <a:avLst/>
              <a:gdLst>
                <a:gd name="T0" fmla="*/ 0 w 31"/>
                <a:gd name="T1" fmla="*/ 0 h 67"/>
                <a:gd name="T2" fmla="*/ 2147483647 w 31"/>
                <a:gd name="T3" fmla="*/ 2147483647 h 67"/>
                <a:gd name="T4" fmla="*/ 2147483647 w 31"/>
                <a:gd name="T5" fmla="*/ 2147483647 h 67"/>
                <a:gd name="T6" fmla="*/ 2147483647 w 31"/>
                <a:gd name="T7" fmla="*/ 2147483647 h 67"/>
                <a:gd name="T8" fmla="*/ 0 w 31"/>
                <a:gd name="T9" fmla="*/ 0 h 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67">
                  <a:moveTo>
                    <a:pt x="0" y="0"/>
                  </a:moveTo>
                  <a:lnTo>
                    <a:pt x="24" y="34"/>
                  </a:lnTo>
                  <a:lnTo>
                    <a:pt x="31" y="67"/>
                  </a:lnTo>
                  <a:lnTo>
                    <a:pt x="31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56" name="Freeform 557"/>
            <p:cNvSpPr>
              <a:spLocks/>
            </p:cNvSpPr>
            <p:nvPr>
              <p:custDataLst>
                <p:tags r:id="rId464"/>
              </p:custDataLst>
            </p:nvPr>
          </p:nvSpPr>
          <p:spPr bwMode="auto">
            <a:xfrm>
              <a:off x="10359652" y="4860531"/>
              <a:ext cx="58143" cy="53975"/>
            </a:xfrm>
            <a:custGeom>
              <a:avLst/>
              <a:gdLst>
                <a:gd name="T0" fmla="*/ 0 w 31"/>
                <a:gd name="T1" fmla="*/ 0 h 67"/>
                <a:gd name="T2" fmla="*/ 2147483647 w 31"/>
                <a:gd name="T3" fmla="*/ 2147483647 h 67"/>
                <a:gd name="T4" fmla="*/ 2147483647 w 31"/>
                <a:gd name="T5" fmla="*/ 2147483647 h 67"/>
                <a:gd name="T6" fmla="*/ 2147483647 w 31"/>
                <a:gd name="T7" fmla="*/ 2147483647 h 67"/>
                <a:gd name="T8" fmla="*/ 0 w 31"/>
                <a:gd name="T9" fmla="*/ 0 h 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67">
                  <a:moveTo>
                    <a:pt x="0" y="0"/>
                  </a:moveTo>
                  <a:lnTo>
                    <a:pt x="24" y="34"/>
                  </a:lnTo>
                  <a:lnTo>
                    <a:pt x="31" y="67"/>
                  </a:lnTo>
                  <a:lnTo>
                    <a:pt x="31" y="44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57" name="Freeform 558"/>
            <p:cNvSpPr>
              <a:spLocks/>
            </p:cNvSpPr>
            <p:nvPr>
              <p:custDataLst>
                <p:tags r:id="rId465"/>
              </p:custDataLst>
            </p:nvPr>
          </p:nvSpPr>
          <p:spPr bwMode="auto">
            <a:xfrm>
              <a:off x="10359652" y="4860531"/>
              <a:ext cx="58143" cy="53975"/>
            </a:xfrm>
            <a:custGeom>
              <a:avLst/>
              <a:gdLst>
                <a:gd name="T0" fmla="*/ 0 w 31"/>
                <a:gd name="T1" fmla="*/ 0 h 67"/>
                <a:gd name="T2" fmla="*/ 2147483647 w 31"/>
                <a:gd name="T3" fmla="*/ 2147483647 h 67"/>
                <a:gd name="T4" fmla="*/ 2147483647 w 31"/>
                <a:gd name="T5" fmla="*/ 2147483647 h 67"/>
                <a:gd name="T6" fmla="*/ 2147483647 w 31"/>
                <a:gd name="T7" fmla="*/ 2147483647 h 67"/>
                <a:gd name="T8" fmla="*/ 0 w 31"/>
                <a:gd name="T9" fmla="*/ 0 h 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67">
                  <a:moveTo>
                    <a:pt x="0" y="0"/>
                  </a:moveTo>
                  <a:lnTo>
                    <a:pt x="24" y="34"/>
                  </a:lnTo>
                  <a:lnTo>
                    <a:pt x="31" y="67"/>
                  </a:lnTo>
                  <a:lnTo>
                    <a:pt x="31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58" name="Freeform 559"/>
            <p:cNvSpPr>
              <a:spLocks/>
            </p:cNvSpPr>
            <p:nvPr>
              <p:custDataLst>
                <p:tags r:id="rId466"/>
              </p:custDataLst>
            </p:nvPr>
          </p:nvSpPr>
          <p:spPr bwMode="auto">
            <a:xfrm>
              <a:off x="10359652" y="4860531"/>
              <a:ext cx="58143" cy="53975"/>
            </a:xfrm>
            <a:custGeom>
              <a:avLst/>
              <a:gdLst>
                <a:gd name="T0" fmla="*/ 0 w 31"/>
                <a:gd name="T1" fmla="*/ 0 h 67"/>
                <a:gd name="T2" fmla="*/ 2147483647 w 31"/>
                <a:gd name="T3" fmla="*/ 2147483647 h 67"/>
                <a:gd name="T4" fmla="*/ 2147483647 w 31"/>
                <a:gd name="T5" fmla="*/ 2147483647 h 67"/>
                <a:gd name="T6" fmla="*/ 2147483647 w 31"/>
                <a:gd name="T7" fmla="*/ 2147483647 h 67"/>
                <a:gd name="T8" fmla="*/ 0 w 31"/>
                <a:gd name="T9" fmla="*/ 0 h 6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67">
                  <a:moveTo>
                    <a:pt x="0" y="0"/>
                  </a:moveTo>
                  <a:lnTo>
                    <a:pt x="24" y="34"/>
                  </a:lnTo>
                  <a:lnTo>
                    <a:pt x="31" y="67"/>
                  </a:lnTo>
                  <a:lnTo>
                    <a:pt x="31" y="44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59" name="Freeform 560"/>
            <p:cNvSpPr>
              <a:spLocks/>
            </p:cNvSpPr>
            <p:nvPr>
              <p:custDataLst>
                <p:tags r:id="rId467"/>
              </p:custDataLst>
            </p:nvPr>
          </p:nvSpPr>
          <p:spPr bwMode="auto">
            <a:xfrm>
              <a:off x="3976059" y="5284358"/>
              <a:ext cx="232568" cy="220662"/>
            </a:xfrm>
            <a:custGeom>
              <a:avLst/>
              <a:gdLst>
                <a:gd name="T0" fmla="*/ 0 w 125"/>
                <a:gd name="T1" fmla="*/ 2147483647 h 279"/>
                <a:gd name="T2" fmla="*/ 2147483647 w 125"/>
                <a:gd name="T3" fmla="*/ 2147483647 h 279"/>
                <a:gd name="T4" fmla="*/ 2147483647 w 125"/>
                <a:gd name="T5" fmla="*/ 0 h 279"/>
                <a:gd name="T6" fmla="*/ 2147483647 w 125"/>
                <a:gd name="T7" fmla="*/ 2147483647 h 279"/>
                <a:gd name="T8" fmla="*/ 2147483647 w 125"/>
                <a:gd name="T9" fmla="*/ 2147483647 h 279"/>
                <a:gd name="T10" fmla="*/ 2147483647 w 125"/>
                <a:gd name="T11" fmla="*/ 2147483647 h 279"/>
                <a:gd name="T12" fmla="*/ 2147483647 w 125"/>
                <a:gd name="T13" fmla="*/ 2147483647 h 279"/>
                <a:gd name="T14" fmla="*/ 2147483647 w 125"/>
                <a:gd name="T15" fmla="*/ 2147483647 h 279"/>
                <a:gd name="T16" fmla="*/ 2147483647 w 125"/>
                <a:gd name="T17" fmla="*/ 2147483647 h 279"/>
                <a:gd name="T18" fmla="*/ 2147483647 w 125"/>
                <a:gd name="T19" fmla="*/ 2147483647 h 279"/>
                <a:gd name="T20" fmla="*/ 2147483647 w 125"/>
                <a:gd name="T21" fmla="*/ 2147483647 h 279"/>
                <a:gd name="T22" fmla="*/ 2147483647 w 125"/>
                <a:gd name="T23" fmla="*/ 2147483647 h 279"/>
                <a:gd name="T24" fmla="*/ 0 w 125"/>
                <a:gd name="T25" fmla="*/ 2147483647 h 27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79">
                  <a:moveTo>
                    <a:pt x="0" y="112"/>
                  </a:moveTo>
                  <a:lnTo>
                    <a:pt x="8" y="24"/>
                  </a:lnTo>
                  <a:lnTo>
                    <a:pt x="58" y="0"/>
                  </a:lnTo>
                  <a:lnTo>
                    <a:pt x="69" y="35"/>
                  </a:lnTo>
                  <a:lnTo>
                    <a:pt x="76" y="102"/>
                  </a:lnTo>
                  <a:lnTo>
                    <a:pt x="107" y="112"/>
                  </a:lnTo>
                  <a:lnTo>
                    <a:pt x="114" y="156"/>
                  </a:lnTo>
                  <a:lnTo>
                    <a:pt x="125" y="156"/>
                  </a:lnTo>
                  <a:lnTo>
                    <a:pt x="125" y="223"/>
                  </a:lnTo>
                  <a:lnTo>
                    <a:pt x="107" y="279"/>
                  </a:lnTo>
                  <a:lnTo>
                    <a:pt x="69" y="269"/>
                  </a:lnTo>
                  <a:lnTo>
                    <a:pt x="76" y="2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60" name="Freeform 561"/>
            <p:cNvSpPr>
              <a:spLocks/>
            </p:cNvSpPr>
            <p:nvPr>
              <p:custDataLst>
                <p:tags r:id="rId468"/>
              </p:custDataLst>
            </p:nvPr>
          </p:nvSpPr>
          <p:spPr bwMode="auto">
            <a:xfrm>
              <a:off x="3976059" y="5284358"/>
              <a:ext cx="232568" cy="220662"/>
            </a:xfrm>
            <a:custGeom>
              <a:avLst/>
              <a:gdLst>
                <a:gd name="T0" fmla="*/ 0 w 125"/>
                <a:gd name="T1" fmla="*/ 2147483647 h 279"/>
                <a:gd name="T2" fmla="*/ 2147483647 w 125"/>
                <a:gd name="T3" fmla="*/ 2147483647 h 279"/>
                <a:gd name="T4" fmla="*/ 2147483647 w 125"/>
                <a:gd name="T5" fmla="*/ 0 h 279"/>
                <a:gd name="T6" fmla="*/ 2147483647 w 125"/>
                <a:gd name="T7" fmla="*/ 2147483647 h 279"/>
                <a:gd name="T8" fmla="*/ 2147483647 w 125"/>
                <a:gd name="T9" fmla="*/ 2147483647 h 279"/>
                <a:gd name="T10" fmla="*/ 2147483647 w 125"/>
                <a:gd name="T11" fmla="*/ 2147483647 h 279"/>
                <a:gd name="T12" fmla="*/ 2147483647 w 125"/>
                <a:gd name="T13" fmla="*/ 2147483647 h 279"/>
                <a:gd name="T14" fmla="*/ 2147483647 w 125"/>
                <a:gd name="T15" fmla="*/ 2147483647 h 279"/>
                <a:gd name="T16" fmla="*/ 2147483647 w 125"/>
                <a:gd name="T17" fmla="*/ 2147483647 h 279"/>
                <a:gd name="T18" fmla="*/ 2147483647 w 125"/>
                <a:gd name="T19" fmla="*/ 2147483647 h 279"/>
                <a:gd name="T20" fmla="*/ 2147483647 w 125"/>
                <a:gd name="T21" fmla="*/ 2147483647 h 279"/>
                <a:gd name="T22" fmla="*/ 2147483647 w 125"/>
                <a:gd name="T23" fmla="*/ 2147483647 h 279"/>
                <a:gd name="T24" fmla="*/ 0 w 125"/>
                <a:gd name="T25" fmla="*/ 2147483647 h 27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79">
                  <a:moveTo>
                    <a:pt x="0" y="112"/>
                  </a:moveTo>
                  <a:lnTo>
                    <a:pt x="8" y="24"/>
                  </a:lnTo>
                  <a:lnTo>
                    <a:pt x="58" y="0"/>
                  </a:lnTo>
                  <a:lnTo>
                    <a:pt x="69" y="35"/>
                  </a:lnTo>
                  <a:lnTo>
                    <a:pt x="76" y="102"/>
                  </a:lnTo>
                  <a:lnTo>
                    <a:pt x="107" y="112"/>
                  </a:lnTo>
                  <a:lnTo>
                    <a:pt x="114" y="156"/>
                  </a:lnTo>
                  <a:lnTo>
                    <a:pt x="125" y="156"/>
                  </a:lnTo>
                  <a:lnTo>
                    <a:pt x="125" y="223"/>
                  </a:lnTo>
                  <a:lnTo>
                    <a:pt x="107" y="279"/>
                  </a:lnTo>
                  <a:lnTo>
                    <a:pt x="69" y="269"/>
                  </a:lnTo>
                  <a:lnTo>
                    <a:pt x="76" y="212"/>
                  </a:lnTo>
                  <a:lnTo>
                    <a:pt x="0" y="1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61" name="Freeform 562"/>
            <p:cNvSpPr>
              <a:spLocks/>
            </p:cNvSpPr>
            <p:nvPr>
              <p:custDataLst>
                <p:tags r:id="rId469"/>
              </p:custDataLst>
            </p:nvPr>
          </p:nvSpPr>
          <p:spPr bwMode="auto">
            <a:xfrm>
              <a:off x="3976059" y="5284358"/>
              <a:ext cx="232568" cy="220662"/>
            </a:xfrm>
            <a:custGeom>
              <a:avLst/>
              <a:gdLst>
                <a:gd name="T0" fmla="*/ 0 w 125"/>
                <a:gd name="T1" fmla="*/ 2147483647 h 279"/>
                <a:gd name="T2" fmla="*/ 2147483647 w 125"/>
                <a:gd name="T3" fmla="*/ 2147483647 h 279"/>
                <a:gd name="T4" fmla="*/ 2147483647 w 125"/>
                <a:gd name="T5" fmla="*/ 0 h 279"/>
                <a:gd name="T6" fmla="*/ 2147483647 w 125"/>
                <a:gd name="T7" fmla="*/ 2147483647 h 279"/>
                <a:gd name="T8" fmla="*/ 2147483647 w 125"/>
                <a:gd name="T9" fmla="*/ 2147483647 h 279"/>
                <a:gd name="T10" fmla="*/ 2147483647 w 125"/>
                <a:gd name="T11" fmla="*/ 2147483647 h 279"/>
                <a:gd name="T12" fmla="*/ 2147483647 w 125"/>
                <a:gd name="T13" fmla="*/ 2147483647 h 279"/>
                <a:gd name="T14" fmla="*/ 2147483647 w 125"/>
                <a:gd name="T15" fmla="*/ 2147483647 h 279"/>
                <a:gd name="T16" fmla="*/ 2147483647 w 125"/>
                <a:gd name="T17" fmla="*/ 2147483647 h 279"/>
                <a:gd name="T18" fmla="*/ 2147483647 w 125"/>
                <a:gd name="T19" fmla="*/ 2147483647 h 279"/>
                <a:gd name="T20" fmla="*/ 2147483647 w 125"/>
                <a:gd name="T21" fmla="*/ 2147483647 h 279"/>
                <a:gd name="T22" fmla="*/ 2147483647 w 125"/>
                <a:gd name="T23" fmla="*/ 2147483647 h 279"/>
                <a:gd name="T24" fmla="*/ 0 w 125"/>
                <a:gd name="T25" fmla="*/ 2147483647 h 27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79">
                  <a:moveTo>
                    <a:pt x="0" y="112"/>
                  </a:moveTo>
                  <a:lnTo>
                    <a:pt x="8" y="24"/>
                  </a:lnTo>
                  <a:lnTo>
                    <a:pt x="58" y="0"/>
                  </a:lnTo>
                  <a:lnTo>
                    <a:pt x="69" y="35"/>
                  </a:lnTo>
                  <a:lnTo>
                    <a:pt x="76" y="102"/>
                  </a:lnTo>
                  <a:lnTo>
                    <a:pt x="107" y="112"/>
                  </a:lnTo>
                  <a:lnTo>
                    <a:pt x="114" y="156"/>
                  </a:lnTo>
                  <a:lnTo>
                    <a:pt x="125" y="156"/>
                  </a:lnTo>
                  <a:lnTo>
                    <a:pt x="125" y="223"/>
                  </a:lnTo>
                  <a:lnTo>
                    <a:pt x="107" y="279"/>
                  </a:lnTo>
                  <a:lnTo>
                    <a:pt x="69" y="269"/>
                  </a:lnTo>
                  <a:lnTo>
                    <a:pt x="76" y="212"/>
                  </a:lnTo>
                  <a:lnTo>
                    <a:pt x="0" y="1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62" name="Freeform 563"/>
            <p:cNvSpPr>
              <a:spLocks/>
            </p:cNvSpPr>
            <p:nvPr>
              <p:custDataLst>
                <p:tags r:id="rId470"/>
              </p:custDataLst>
            </p:nvPr>
          </p:nvSpPr>
          <p:spPr bwMode="auto">
            <a:xfrm>
              <a:off x="3976059" y="5284358"/>
              <a:ext cx="232568" cy="220662"/>
            </a:xfrm>
            <a:custGeom>
              <a:avLst/>
              <a:gdLst>
                <a:gd name="T0" fmla="*/ 0 w 125"/>
                <a:gd name="T1" fmla="*/ 2147483647 h 279"/>
                <a:gd name="T2" fmla="*/ 2147483647 w 125"/>
                <a:gd name="T3" fmla="*/ 2147483647 h 279"/>
                <a:gd name="T4" fmla="*/ 2147483647 w 125"/>
                <a:gd name="T5" fmla="*/ 0 h 279"/>
                <a:gd name="T6" fmla="*/ 2147483647 w 125"/>
                <a:gd name="T7" fmla="*/ 2147483647 h 279"/>
                <a:gd name="T8" fmla="*/ 2147483647 w 125"/>
                <a:gd name="T9" fmla="*/ 2147483647 h 279"/>
                <a:gd name="T10" fmla="*/ 2147483647 w 125"/>
                <a:gd name="T11" fmla="*/ 2147483647 h 279"/>
                <a:gd name="T12" fmla="*/ 2147483647 w 125"/>
                <a:gd name="T13" fmla="*/ 2147483647 h 279"/>
                <a:gd name="T14" fmla="*/ 2147483647 w 125"/>
                <a:gd name="T15" fmla="*/ 2147483647 h 279"/>
                <a:gd name="T16" fmla="*/ 2147483647 w 125"/>
                <a:gd name="T17" fmla="*/ 2147483647 h 279"/>
                <a:gd name="T18" fmla="*/ 2147483647 w 125"/>
                <a:gd name="T19" fmla="*/ 2147483647 h 279"/>
                <a:gd name="T20" fmla="*/ 2147483647 w 125"/>
                <a:gd name="T21" fmla="*/ 2147483647 h 279"/>
                <a:gd name="T22" fmla="*/ 2147483647 w 125"/>
                <a:gd name="T23" fmla="*/ 2147483647 h 279"/>
                <a:gd name="T24" fmla="*/ 0 w 125"/>
                <a:gd name="T25" fmla="*/ 2147483647 h 27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79">
                  <a:moveTo>
                    <a:pt x="0" y="112"/>
                  </a:moveTo>
                  <a:lnTo>
                    <a:pt x="8" y="24"/>
                  </a:lnTo>
                  <a:lnTo>
                    <a:pt x="58" y="0"/>
                  </a:lnTo>
                  <a:lnTo>
                    <a:pt x="69" y="35"/>
                  </a:lnTo>
                  <a:lnTo>
                    <a:pt x="76" y="102"/>
                  </a:lnTo>
                  <a:lnTo>
                    <a:pt x="107" y="112"/>
                  </a:lnTo>
                  <a:lnTo>
                    <a:pt x="114" y="156"/>
                  </a:lnTo>
                  <a:lnTo>
                    <a:pt x="125" y="156"/>
                  </a:lnTo>
                  <a:lnTo>
                    <a:pt x="125" y="223"/>
                  </a:lnTo>
                  <a:lnTo>
                    <a:pt x="107" y="279"/>
                  </a:lnTo>
                  <a:lnTo>
                    <a:pt x="69" y="269"/>
                  </a:lnTo>
                  <a:lnTo>
                    <a:pt x="76" y="212"/>
                  </a:lnTo>
                  <a:lnTo>
                    <a:pt x="0" y="1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63" name="Freeform 564"/>
            <p:cNvSpPr>
              <a:spLocks/>
            </p:cNvSpPr>
            <p:nvPr>
              <p:custDataLst>
                <p:tags r:id="rId471"/>
              </p:custDataLst>
            </p:nvPr>
          </p:nvSpPr>
          <p:spPr bwMode="auto">
            <a:xfrm>
              <a:off x="3432756" y="4800206"/>
              <a:ext cx="370905" cy="460375"/>
            </a:xfrm>
            <a:custGeom>
              <a:avLst/>
              <a:gdLst>
                <a:gd name="T0" fmla="*/ 0 w 201"/>
                <a:gd name="T1" fmla="*/ 2147483647 h 580"/>
                <a:gd name="T2" fmla="*/ 2147483647 w 201"/>
                <a:gd name="T3" fmla="*/ 2147483647 h 580"/>
                <a:gd name="T4" fmla="*/ 2147483647 w 201"/>
                <a:gd name="T5" fmla="*/ 2147483647 h 580"/>
                <a:gd name="T6" fmla="*/ 2147483647 w 201"/>
                <a:gd name="T7" fmla="*/ 2147483647 h 580"/>
                <a:gd name="T8" fmla="*/ 2147483647 w 201"/>
                <a:gd name="T9" fmla="*/ 2147483647 h 580"/>
                <a:gd name="T10" fmla="*/ 2147483647 w 201"/>
                <a:gd name="T11" fmla="*/ 2147483647 h 580"/>
                <a:gd name="T12" fmla="*/ 2147483647 w 201"/>
                <a:gd name="T13" fmla="*/ 2147483647 h 580"/>
                <a:gd name="T14" fmla="*/ 2147483647 w 201"/>
                <a:gd name="T15" fmla="*/ 2147483647 h 580"/>
                <a:gd name="T16" fmla="*/ 2147483647 w 201"/>
                <a:gd name="T17" fmla="*/ 2147483647 h 580"/>
                <a:gd name="T18" fmla="*/ 2147483647 w 201"/>
                <a:gd name="T19" fmla="*/ 2147483647 h 580"/>
                <a:gd name="T20" fmla="*/ 2147483647 w 201"/>
                <a:gd name="T21" fmla="*/ 2147483647 h 580"/>
                <a:gd name="T22" fmla="*/ 2147483647 w 201"/>
                <a:gd name="T23" fmla="*/ 2147483647 h 580"/>
                <a:gd name="T24" fmla="*/ 2147483647 w 201"/>
                <a:gd name="T25" fmla="*/ 2147483647 h 580"/>
                <a:gd name="T26" fmla="*/ 2147483647 w 201"/>
                <a:gd name="T27" fmla="*/ 2147483647 h 580"/>
                <a:gd name="T28" fmla="*/ 2147483647 w 201"/>
                <a:gd name="T29" fmla="*/ 2147483647 h 580"/>
                <a:gd name="T30" fmla="*/ 2147483647 w 201"/>
                <a:gd name="T31" fmla="*/ 2147483647 h 580"/>
                <a:gd name="T32" fmla="*/ 2147483647 w 201"/>
                <a:gd name="T33" fmla="*/ 2147483647 h 580"/>
                <a:gd name="T34" fmla="*/ 2147483647 w 201"/>
                <a:gd name="T35" fmla="*/ 2147483647 h 580"/>
                <a:gd name="T36" fmla="*/ 2147483647 w 201"/>
                <a:gd name="T37" fmla="*/ 2147483647 h 580"/>
                <a:gd name="T38" fmla="*/ 2147483647 w 201"/>
                <a:gd name="T39" fmla="*/ 2147483647 h 580"/>
                <a:gd name="T40" fmla="*/ 2147483647 w 201"/>
                <a:gd name="T41" fmla="*/ 2147483647 h 580"/>
                <a:gd name="T42" fmla="*/ 2147483647 w 201"/>
                <a:gd name="T43" fmla="*/ 0 h 580"/>
                <a:gd name="T44" fmla="*/ 2147483647 w 201"/>
                <a:gd name="T45" fmla="*/ 2147483647 h 580"/>
                <a:gd name="T46" fmla="*/ 2147483647 w 201"/>
                <a:gd name="T47" fmla="*/ 2147483647 h 580"/>
                <a:gd name="T48" fmla="*/ 2147483647 w 201"/>
                <a:gd name="T49" fmla="*/ 2147483647 h 580"/>
                <a:gd name="T50" fmla="*/ 2147483647 w 201"/>
                <a:gd name="T51" fmla="*/ 2147483647 h 580"/>
                <a:gd name="T52" fmla="*/ 2147483647 w 201"/>
                <a:gd name="T53" fmla="*/ 2147483647 h 580"/>
                <a:gd name="T54" fmla="*/ 0 w 201"/>
                <a:gd name="T55" fmla="*/ 2147483647 h 58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01" h="580">
                  <a:moveTo>
                    <a:pt x="0" y="132"/>
                  </a:moveTo>
                  <a:lnTo>
                    <a:pt x="8" y="188"/>
                  </a:lnTo>
                  <a:lnTo>
                    <a:pt x="45" y="267"/>
                  </a:lnTo>
                  <a:lnTo>
                    <a:pt x="83" y="457"/>
                  </a:lnTo>
                  <a:lnTo>
                    <a:pt x="170" y="580"/>
                  </a:lnTo>
                  <a:lnTo>
                    <a:pt x="189" y="557"/>
                  </a:lnTo>
                  <a:lnTo>
                    <a:pt x="194" y="511"/>
                  </a:lnTo>
                  <a:lnTo>
                    <a:pt x="183" y="511"/>
                  </a:lnTo>
                  <a:lnTo>
                    <a:pt x="189" y="501"/>
                  </a:lnTo>
                  <a:lnTo>
                    <a:pt x="201" y="390"/>
                  </a:lnTo>
                  <a:lnTo>
                    <a:pt x="183" y="344"/>
                  </a:lnTo>
                  <a:lnTo>
                    <a:pt x="170" y="344"/>
                  </a:lnTo>
                  <a:lnTo>
                    <a:pt x="170" y="290"/>
                  </a:lnTo>
                  <a:lnTo>
                    <a:pt x="157" y="322"/>
                  </a:lnTo>
                  <a:lnTo>
                    <a:pt x="133" y="299"/>
                  </a:lnTo>
                  <a:lnTo>
                    <a:pt x="119" y="232"/>
                  </a:lnTo>
                  <a:lnTo>
                    <a:pt x="145" y="167"/>
                  </a:lnTo>
                  <a:lnTo>
                    <a:pt x="183" y="132"/>
                  </a:lnTo>
                  <a:lnTo>
                    <a:pt x="170" y="121"/>
                  </a:lnTo>
                  <a:lnTo>
                    <a:pt x="175" y="77"/>
                  </a:lnTo>
                  <a:lnTo>
                    <a:pt x="133" y="77"/>
                  </a:lnTo>
                  <a:lnTo>
                    <a:pt x="101" y="0"/>
                  </a:lnTo>
                  <a:lnTo>
                    <a:pt x="88" y="54"/>
                  </a:lnTo>
                  <a:lnTo>
                    <a:pt x="58" y="98"/>
                  </a:lnTo>
                  <a:lnTo>
                    <a:pt x="38" y="155"/>
                  </a:lnTo>
                  <a:lnTo>
                    <a:pt x="19" y="144"/>
                  </a:lnTo>
                  <a:lnTo>
                    <a:pt x="19" y="111"/>
                  </a:lnTo>
                  <a:lnTo>
                    <a:pt x="0" y="1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64" name="Freeform 565"/>
            <p:cNvSpPr>
              <a:spLocks/>
            </p:cNvSpPr>
            <p:nvPr>
              <p:custDataLst>
                <p:tags r:id="rId472"/>
              </p:custDataLst>
            </p:nvPr>
          </p:nvSpPr>
          <p:spPr bwMode="auto">
            <a:xfrm>
              <a:off x="3432756" y="4800206"/>
              <a:ext cx="370905" cy="460375"/>
            </a:xfrm>
            <a:custGeom>
              <a:avLst/>
              <a:gdLst>
                <a:gd name="T0" fmla="*/ 0 w 201"/>
                <a:gd name="T1" fmla="*/ 2147483647 h 580"/>
                <a:gd name="T2" fmla="*/ 2147483647 w 201"/>
                <a:gd name="T3" fmla="*/ 2147483647 h 580"/>
                <a:gd name="T4" fmla="*/ 2147483647 w 201"/>
                <a:gd name="T5" fmla="*/ 2147483647 h 580"/>
                <a:gd name="T6" fmla="*/ 2147483647 w 201"/>
                <a:gd name="T7" fmla="*/ 2147483647 h 580"/>
                <a:gd name="T8" fmla="*/ 2147483647 w 201"/>
                <a:gd name="T9" fmla="*/ 2147483647 h 580"/>
                <a:gd name="T10" fmla="*/ 2147483647 w 201"/>
                <a:gd name="T11" fmla="*/ 2147483647 h 580"/>
                <a:gd name="T12" fmla="*/ 2147483647 w 201"/>
                <a:gd name="T13" fmla="*/ 2147483647 h 580"/>
                <a:gd name="T14" fmla="*/ 2147483647 w 201"/>
                <a:gd name="T15" fmla="*/ 2147483647 h 580"/>
                <a:gd name="T16" fmla="*/ 2147483647 w 201"/>
                <a:gd name="T17" fmla="*/ 2147483647 h 580"/>
                <a:gd name="T18" fmla="*/ 2147483647 w 201"/>
                <a:gd name="T19" fmla="*/ 2147483647 h 580"/>
                <a:gd name="T20" fmla="*/ 2147483647 w 201"/>
                <a:gd name="T21" fmla="*/ 2147483647 h 580"/>
                <a:gd name="T22" fmla="*/ 2147483647 w 201"/>
                <a:gd name="T23" fmla="*/ 2147483647 h 580"/>
                <a:gd name="T24" fmla="*/ 2147483647 w 201"/>
                <a:gd name="T25" fmla="*/ 2147483647 h 580"/>
                <a:gd name="T26" fmla="*/ 2147483647 w 201"/>
                <a:gd name="T27" fmla="*/ 2147483647 h 580"/>
                <a:gd name="T28" fmla="*/ 2147483647 w 201"/>
                <a:gd name="T29" fmla="*/ 2147483647 h 580"/>
                <a:gd name="T30" fmla="*/ 2147483647 w 201"/>
                <a:gd name="T31" fmla="*/ 2147483647 h 580"/>
                <a:gd name="T32" fmla="*/ 2147483647 w 201"/>
                <a:gd name="T33" fmla="*/ 2147483647 h 580"/>
                <a:gd name="T34" fmla="*/ 2147483647 w 201"/>
                <a:gd name="T35" fmla="*/ 2147483647 h 580"/>
                <a:gd name="T36" fmla="*/ 2147483647 w 201"/>
                <a:gd name="T37" fmla="*/ 2147483647 h 580"/>
                <a:gd name="T38" fmla="*/ 2147483647 w 201"/>
                <a:gd name="T39" fmla="*/ 2147483647 h 580"/>
                <a:gd name="T40" fmla="*/ 2147483647 w 201"/>
                <a:gd name="T41" fmla="*/ 2147483647 h 580"/>
                <a:gd name="T42" fmla="*/ 2147483647 w 201"/>
                <a:gd name="T43" fmla="*/ 0 h 580"/>
                <a:gd name="T44" fmla="*/ 2147483647 w 201"/>
                <a:gd name="T45" fmla="*/ 2147483647 h 580"/>
                <a:gd name="T46" fmla="*/ 2147483647 w 201"/>
                <a:gd name="T47" fmla="*/ 2147483647 h 580"/>
                <a:gd name="T48" fmla="*/ 2147483647 w 201"/>
                <a:gd name="T49" fmla="*/ 2147483647 h 580"/>
                <a:gd name="T50" fmla="*/ 2147483647 w 201"/>
                <a:gd name="T51" fmla="*/ 2147483647 h 580"/>
                <a:gd name="T52" fmla="*/ 2147483647 w 201"/>
                <a:gd name="T53" fmla="*/ 2147483647 h 580"/>
                <a:gd name="T54" fmla="*/ 0 w 201"/>
                <a:gd name="T55" fmla="*/ 2147483647 h 58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01" h="580">
                  <a:moveTo>
                    <a:pt x="0" y="132"/>
                  </a:moveTo>
                  <a:lnTo>
                    <a:pt x="8" y="188"/>
                  </a:lnTo>
                  <a:lnTo>
                    <a:pt x="45" y="267"/>
                  </a:lnTo>
                  <a:lnTo>
                    <a:pt x="83" y="457"/>
                  </a:lnTo>
                  <a:lnTo>
                    <a:pt x="170" y="580"/>
                  </a:lnTo>
                  <a:lnTo>
                    <a:pt x="189" y="557"/>
                  </a:lnTo>
                  <a:lnTo>
                    <a:pt x="194" y="511"/>
                  </a:lnTo>
                  <a:lnTo>
                    <a:pt x="183" y="511"/>
                  </a:lnTo>
                  <a:lnTo>
                    <a:pt x="189" y="501"/>
                  </a:lnTo>
                  <a:lnTo>
                    <a:pt x="201" y="390"/>
                  </a:lnTo>
                  <a:lnTo>
                    <a:pt x="183" y="344"/>
                  </a:lnTo>
                  <a:lnTo>
                    <a:pt x="170" y="344"/>
                  </a:lnTo>
                  <a:lnTo>
                    <a:pt x="170" y="290"/>
                  </a:lnTo>
                  <a:lnTo>
                    <a:pt x="157" y="322"/>
                  </a:lnTo>
                  <a:lnTo>
                    <a:pt x="133" y="299"/>
                  </a:lnTo>
                  <a:lnTo>
                    <a:pt x="119" y="232"/>
                  </a:lnTo>
                  <a:lnTo>
                    <a:pt x="145" y="167"/>
                  </a:lnTo>
                  <a:lnTo>
                    <a:pt x="183" y="132"/>
                  </a:lnTo>
                  <a:lnTo>
                    <a:pt x="170" y="121"/>
                  </a:lnTo>
                  <a:lnTo>
                    <a:pt x="175" y="77"/>
                  </a:lnTo>
                  <a:lnTo>
                    <a:pt x="133" y="77"/>
                  </a:lnTo>
                  <a:lnTo>
                    <a:pt x="101" y="0"/>
                  </a:lnTo>
                  <a:lnTo>
                    <a:pt x="88" y="54"/>
                  </a:lnTo>
                  <a:lnTo>
                    <a:pt x="58" y="98"/>
                  </a:lnTo>
                  <a:lnTo>
                    <a:pt x="38" y="155"/>
                  </a:lnTo>
                  <a:lnTo>
                    <a:pt x="19" y="144"/>
                  </a:lnTo>
                  <a:lnTo>
                    <a:pt x="19" y="111"/>
                  </a:lnTo>
                  <a:lnTo>
                    <a:pt x="0" y="13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65" name="Freeform 566"/>
            <p:cNvSpPr>
              <a:spLocks/>
            </p:cNvSpPr>
            <p:nvPr>
              <p:custDataLst>
                <p:tags r:id="rId473"/>
              </p:custDataLst>
            </p:nvPr>
          </p:nvSpPr>
          <p:spPr bwMode="auto">
            <a:xfrm>
              <a:off x="3432756" y="4800206"/>
              <a:ext cx="370905" cy="460375"/>
            </a:xfrm>
            <a:custGeom>
              <a:avLst/>
              <a:gdLst>
                <a:gd name="T0" fmla="*/ 0 w 201"/>
                <a:gd name="T1" fmla="*/ 2147483647 h 580"/>
                <a:gd name="T2" fmla="*/ 2147483647 w 201"/>
                <a:gd name="T3" fmla="*/ 2147483647 h 580"/>
                <a:gd name="T4" fmla="*/ 2147483647 w 201"/>
                <a:gd name="T5" fmla="*/ 2147483647 h 580"/>
                <a:gd name="T6" fmla="*/ 2147483647 w 201"/>
                <a:gd name="T7" fmla="*/ 2147483647 h 580"/>
                <a:gd name="T8" fmla="*/ 2147483647 w 201"/>
                <a:gd name="T9" fmla="*/ 2147483647 h 580"/>
                <a:gd name="T10" fmla="*/ 2147483647 w 201"/>
                <a:gd name="T11" fmla="*/ 2147483647 h 580"/>
                <a:gd name="T12" fmla="*/ 2147483647 w 201"/>
                <a:gd name="T13" fmla="*/ 2147483647 h 580"/>
                <a:gd name="T14" fmla="*/ 2147483647 w 201"/>
                <a:gd name="T15" fmla="*/ 2147483647 h 580"/>
                <a:gd name="T16" fmla="*/ 2147483647 w 201"/>
                <a:gd name="T17" fmla="*/ 2147483647 h 580"/>
                <a:gd name="T18" fmla="*/ 2147483647 w 201"/>
                <a:gd name="T19" fmla="*/ 2147483647 h 580"/>
                <a:gd name="T20" fmla="*/ 2147483647 w 201"/>
                <a:gd name="T21" fmla="*/ 2147483647 h 580"/>
                <a:gd name="T22" fmla="*/ 2147483647 w 201"/>
                <a:gd name="T23" fmla="*/ 2147483647 h 580"/>
                <a:gd name="T24" fmla="*/ 2147483647 w 201"/>
                <a:gd name="T25" fmla="*/ 2147483647 h 580"/>
                <a:gd name="T26" fmla="*/ 2147483647 w 201"/>
                <a:gd name="T27" fmla="*/ 2147483647 h 580"/>
                <a:gd name="T28" fmla="*/ 2147483647 w 201"/>
                <a:gd name="T29" fmla="*/ 2147483647 h 580"/>
                <a:gd name="T30" fmla="*/ 2147483647 w 201"/>
                <a:gd name="T31" fmla="*/ 2147483647 h 580"/>
                <a:gd name="T32" fmla="*/ 2147483647 w 201"/>
                <a:gd name="T33" fmla="*/ 2147483647 h 580"/>
                <a:gd name="T34" fmla="*/ 2147483647 w 201"/>
                <a:gd name="T35" fmla="*/ 2147483647 h 580"/>
                <a:gd name="T36" fmla="*/ 2147483647 w 201"/>
                <a:gd name="T37" fmla="*/ 2147483647 h 580"/>
                <a:gd name="T38" fmla="*/ 2147483647 w 201"/>
                <a:gd name="T39" fmla="*/ 2147483647 h 580"/>
                <a:gd name="T40" fmla="*/ 2147483647 w 201"/>
                <a:gd name="T41" fmla="*/ 2147483647 h 580"/>
                <a:gd name="T42" fmla="*/ 2147483647 w 201"/>
                <a:gd name="T43" fmla="*/ 0 h 580"/>
                <a:gd name="T44" fmla="*/ 2147483647 w 201"/>
                <a:gd name="T45" fmla="*/ 2147483647 h 580"/>
                <a:gd name="T46" fmla="*/ 2147483647 w 201"/>
                <a:gd name="T47" fmla="*/ 2147483647 h 580"/>
                <a:gd name="T48" fmla="*/ 2147483647 w 201"/>
                <a:gd name="T49" fmla="*/ 2147483647 h 580"/>
                <a:gd name="T50" fmla="*/ 2147483647 w 201"/>
                <a:gd name="T51" fmla="*/ 2147483647 h 580"/>
                <a:gd name="T52" fmla="*/ 2147483647 w 201"/>
                <a:gd name="T53" fmla="*/ 2147483647 h 580"/>
                <a:gd name="T54" fmla="*/ 0 w 201"/>
                <a:gd name="T55" fmla="*/ 2147483647 h 58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01" h="580">
                  <a:moveTo>
                    <a:pt x="0" y="132"/>
                  </a:moveTo>
                  <a:lnTo>
                    <a:pt x="8" y="188"/>
                  </a:lnTo>
                  <a:lnTo>
                    <a:pt x="45" y="267"/>
                  </a:lnTo>
                  <a:lnTo>
                    <a:pt x="83" y="457"/>
                  </a:lnTo>
                  <a:lnTo>
                    <a:pt x="170" y="580"/>
                  </a:lnTo>
                  <a:lnTo>
                    <a:pt x="189" y="557"/>
                  </a:lnTo>
                  <a:lnTo>
                    <a:pt x="194" y="511"/>
                  </a:lnTo>
                  <a:lnTo>
                    <a:pt x="183" y="511"/>
                  </a:lnTo>
                  <a:lnTo>
                    <a:pt x="189" y="501"/>
                  </a:lnTo>
                  <a:lnTo>
                    <a:pt x="201" y="390"/>
                  </a:lnTo>
                  <a:lnTo>
                    <a:pt x="183" y="344"/>
                  </a:lnTo>
                  <a:lnTo>
                    <a:pt x="170" y="344"/>
                  </a:lnTo>
                  <a:lnTo>
                    <a:pt x="170" y="290"/>
                  </a:lnTo>
                  <a:lnTo>
                    <a:pt x="157" y="322"/>
                  </a:lnTo>
                  <a:lnTo>
                    <a:pt x="133" y="299"/>
                  </a:lnTo>
                  <a:lnTo>
                    <a:pt x="119" y="232"/>
                  </a:lnTo>
                  <a:lnTo>
                    <a:pt x="145" y="167"/>
                  </a:lnTo>
                  <a:lnTo>
                    <a:pt x="183" y="132"/>
                  </a:lnTo>
                  <a:lnTo>
                    <a:pt x="170" y="121"/>
                  </a:lnTo>
                  <a:lnTo>
                    <a:pt x="175" y="77"/>
                  </a:lnTo>
                  <a:lnTo>
                    <a:pt x="133" y="77"/>
                  </a:lnTo>
                  <a:lnTo>
                    <a:pt x="101" y="0"/>
                  </a:lnTo>
                  <a:lnTo>
                    <a:pt x="88" y="54"/>
                  </a:lnTo>
                  <a:lnTo>
                    <a:pt x="58" y="98"/>
                  </a:lnTo>
                  <a:lnTo>
                    <a:pt x="38" y="155"/>
                  </a:lnTo>
                  <a:lnTo>
                    <a:pt x="19" y="144"/>
                  </a:lnTo>
                  <a:lnTo>
                    <a:pt x="19" y="111"/>
                  </a:lnTo>
                  <a:lnTo>
                    <a:pt x="0" y="1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66" name="Freeform 568"/>
            <p:cNvSpPr>
              <a:spLocks/>
            </p:cNvSpPr>
            <p:nvPr>
              <p:custDataLst>
                <p:tags r:id="rId474"/>
              </p:custDataLst>
            </p:nvPr>
          </p:nvSpPr>
          <p:spPr bwMode="auto">
            <a:xfrm>
              <a:off x="9387297" y="4508070"/>
              <a:ext cx="68166" cy="77788"/>
            </a:xfrm>
            <a:custGeom>
              <a:avLst/>
              <a:gdLst>
                <a:gd name="T0" fmla="*/ 0 w 36"/>
                <a:gd name="T1" fmla="*/ 2147483647 h 100"/>
                <a:gd name="T2" fmla="*/ 2147483647 w 36"/>
                <a:gd name="T3" fmla="*/ 2147483647 h 100"/>
                <a:gd name="T4" fmla="*/ 2147483647 w 36"/>
                <a:gd name="T5" fmla="*/ 0 h 100"/>
                <a:gd name="T6" fmla="*/ 0 w 36"/>
                <a:gd name="T7" fmla="*/ 2147483647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6" h="100">
                  <a:moveTo>
                    <a:pt x="0" y="100"/>
                  </a:moveTo>
                  <a:lnTo>
                    <a:pt x="24" y="46"/>
                  </a:lnTo>
                  <a:lnTo>
                    <a:pt x="36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67" name="Group 569"/>
            <p:cNvGrpSpPr>
              <a:grpSpLocks/>
            </p:cNvGrpSpPr>
            <p:nvPr>
              <p:custDataLst>
                <p:tags r:id="rId475"/>
              </p:custDataLst>
            </p:nvPr>
          </p:nvGrpSpPr>
          <p:grpSpPr bwMode="auto">
            <a:xfrm>
              <a:off x="9387297" y="4508070"/>
              <a:ext cx="68166" cy="77788"/>
              <a:chOff x="4766" y="2470"/>
              <a:chExt cx="36" cy="49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47" name="Freeform 570"/>
              <p:cNvSpPr>
                <a:spLocks/>
              </p:cNvSpPr>
              <p:nvPr/>
            </p:nvSpPr>
            <p:spPr bwMode="auto">
              <a:xfrm>
                <a:off x="4766" y="2470"/>
                <a:ext cx="36" cy="49"/>
              </a:xfrm>
              <a:custGeom>
                <a:avLst/>
                <a:gdLst>
                  <a:gd name="T0" fmla="*/ 0 w 36"/>
                  <a:gd name="T1" fmla="*/ 0 h 100"/>
                  <a:gd name="T2" fmla="*/ 24 w 36"/>
                  <a:gd name="T3" fmla="*/ 0 h 100"/>
                  <a:gd name="T4" fmla="*/ 36 w 36"/>
                  <a:gd name="T5" fmla="*/ 0 h 100"/>
                  <a:gd name="T6" fmla="*/ 0 w 36"/>
                  <a:gd name="T7" fmla="*/ 0 h 1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6" h="100">
                    <a:moveTo>
                      <a:pt x="0" y="100"/>
                    </a:moveTo>
                    <a:lnTo>
                      <a:pt x="24" y="46"/>
                    </a:lnTo>
                    <a:lnTo>
                      <a:pt x="36" y="0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48" name="Freeform 571"/>
              <p:cNvSpPr>
                <a:spLocks/>
              </p:cNvSpPr>
              <p:nvPr/>
            </p:nvSpPr>
            <p:spPr bwMode="auto">
              <a:xfrm>
                <a:off x="4766" y="2470"/>
                <a:ext cx="36" cy="49"/>
              </a:xfrm>
              <a:custGeom>
                <a:avLst/>
                <a:gdLst>
                  <a:gd name="T0" fmla="*/ 0 w 36"/>
                  <a:gd name="T1" fmla="*/ 0 h 100"/>
                  <a:gd name="T2" fmla="*/ 24 w 36"/>
                  <a:gd name="T3" fmla="*/ 0 h 100"/>
                  <a:gd name="T4" fmla="*/ 36 w 36"/>
                  <a:gd name="T5" fmla="*/ 0 h 100"/>
                  <a:gd name="T6" fmla="*/ 0 w 36"/>
                  <a:gd name="T7" fmla="*/ 0 h 1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6" h="100">
                    <a:moveTo>
                      <a:pt x="0" y="100"/>
                    </a:moveTo>
                    <a:lnTo>
                      <a:pt x="24" y="46"/>
                    </a:lnTo>
                    <a:lnTo>
                      <a:pt x="36" y="0"/>
                    </a:lnTo>
                    <a:lnTo>
                      <a:pt x="0" y="10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68" name="Freeform 572"/>
            <p:cNvSpPr>
              <a:spLocks/>
            </p:cNvSpPr>
            <p:nvPr>
              <p:custDataLst>
                <p:tags r:id="rId476"/>
              </p:custDataLst>
            </p:nvPr>
          </p:nvSpPr>
          <p:spPr bwMode="auto">
            <a:xfrm>
              <a:off x="9387297" y="4508070"/>
              <a:ext cx="68166" cy="77788"/>
            </a:xfrm>
            <a:custGeom>
              <a:avLst/>
              <a:gdLst>
                <a:gd name="T0" fmla="*/ 0 w 36"/>
                <a:gd name="T1" fmla="*/ 2147483647 h 100"/>
                <a:gd name="T2" fmla="*/ 2147483647 w 36"/>
                <a:gd name="T3" fmla="*/ 2147483647 h 100"/>
                <a:gd name="T4" fmla="*/ 2147483647 w 36"/>
                <a:gd name="T5" fmla="*/ 0 h 100"/>
                <a:gd name="T6" fmla="*/ 0 w 36"/>
                <a:gd name="T7" fmla="*/ 2147483647 h 1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6" h="100">
                  <a:moveTo>
                    <a:pt x="0" y="100"/>
                  </a:moveTo>
                  <a:lnTo>
                    <a:pt x="24" y="46"/>
                  </a:lnTo>
                  <a:lnTo>
                    <a:pt x="36" y="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69" name="Group 573"/>
            <p:cNvGrpSpPr>
              <a:grpSpLocks/>
            </p:cNvGrpSpPr>
            <p:nvPr>
              <p:custDataLst>
                <p:tags r:id="rId477"/>
              </p:custDataLst>
            </p:nvPr>
          </p:nvGrpSpPr>
          <p:grpSpPr bwMode="auto">
            <a:xfrm>
              <a:off x="9387297" y="4508070"/>
              <a:ext cx="68166" cy="77788"/>
              <a:chOff x="4766" y="2470"/>
              <a:chExt cx="36" cy="49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45" name="Freeform 574"/>
              <p:cNvSpPr>
                <a:spLocks/>
              </p:cNvSpPr>
              <p:nvPr/>
            </p:nvSpPr>
            <p:spPr bwMode="auto">
              <a:xfrm>
                <a:off x="4766" y="2470"/>
                <a:ext cx="36" cy="49"/>
              </a:xfrm>
              <a:custGeom>
                <a:avLst/>
                <a:gdLst>
                  <a:gd name="T0" fmla="*/ 0 w 36"/>
                  <a:gd name="T1" fmla="*/ 0 h 100"/>
                  <a:gd name="T2" fmla="*/ 24 w 36"/>
                  <a:gd name="T3" fmla="*/ 0 h 100"/>
                  <a:gd name="T4" fmla="*/ 36 w 36"/>
                  <a:gd name="T5" fmla="*/ 0 h 100"/>
                  <a:gd name="T6" fmla="*/ 0 w 36"/>
                  <a:gd name="T7" fmla="*/ 0 h 1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6" h="100">
                    <a:moveTo>
                      <a:pt x="0" y="100"/>
                    </a:moveTo>
                    <a:lnTo>
                      <a:pt x="24" y="46"/>
                    </a:lnTo>
                    <a:lnTo>
                      <a:pt x="36" y="0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46" name="Freeform 575"/>
              <p:cNvSpPr>
                <a:spLocks/>
              </p:cNvSpPr>
              <p:nvPr/>
            </p:nvSpPr>
            <p:spPr bwMode="auto">
              <a:xfrm>
                <a:off x="4766" y="2470"/>
                <a:ext cx="36" cy="49"/>
              </a:xfrm>
              <a:custGeom>
                <a:avLst/>
                <a:gdLst>
                  <a:gd name="T0" fmla="*/ 0 w 36"/>
                  <a:gd name="T1" fmla="*/ 0 h 100"/>
                  <a:gd name="T2" fmla="*/ 24 w 36"/>
                  <a:gd name="T3" fmla="*/ 0 h 100"/>
                  <a:gd name="T4" fmla="*/ 36 w 36"/>
                  <a:gd name="T5" fmla="*/ 0 h 100"/>
                  <a:gd name="T6" fmla="*/ 0 w 36"/>
                  <a:gd name="T7" fmla="*/ 0 h 100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36" h="100">
                    <a:moveTo>
                      <a:pt x="0" y="100"/>
                    </a:moveTo>
                    <a:lnTo>
                      <a:pt x="24" y="46"/>
                    </a:lnTo>
                    <a:lnTo>
                      <a:pt x="36" y="0"/>
                    </a:lnTo>
                    <a:lnTo>
                      <a:pt x="0" y="10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70" name="Freeform 576"/>
            <p:cNvSpPr>
              <a:spLocks/>
            </p:cNvSpPr>
            <p:nvPr>
              <p:custDataLst>
                <p:tags r:id="rId478"/>
              </p:custDataLst>
            </p:nvPr>
          </p:nvSpPr>
          <p:spPr bwMode="auto">
            <a:xfrm>
              <a:off x="9467475" y="4320745"/>
              <a:ext cx="116284" cy="160338"/>
            </a:xfrm>
            <a:custGeom>
              <a:avLst/>
              <a:gdLst>
                <a:gd name="T0" fmla="*/ 0 w 63"/>
                <a:gd name="T1" fmla="*/ 2147483647 h 201"/>
                <a:gd name="T2" fmla="*/ 2147483647 w 63"/>
                <a:gd name="T3" fmla="*/ 0 h 201"/>
                <a:gd name="T4" fmla="*/ 2147483647 w 63"/>
                <a:gd name="T5" fmla="*/ 0 h 201"/>
                <a:gd name="T6" fmla="*/ 2147483647 w 63"/>
                <a:gd name="T7" fmla="*/ 2147483647 h 201"/>
                <a:gd name="T8" fmla="*/ 2147483647 w 63"/>
                <a:gd name="T9" fmla="*/ 2147483647 h 201"/>
                <a:gd name="T10" fmla="*/ 2147483647 w 63"/>
                <a:gd name="T11" fmla="*/ 2147483647 h 201"/>
                <a:gd name="T12" fmla="*/ 2147483647 w 63"/>
                <a:gd name="T13" fmla="*/ 2147483647 h 201"/>
                <a:gd name="T14" fmla="*/ 2147483647 w 63"/>
                <a:gd name="T15" fmla="*/ 2147483647 h 201"/>
                <a:gd name="T16" fmla="*/ 2147483647 w 63"/>
                <a:gd name="T17" fmla="*/ 2147483647 h 201"/>
                <a:gd name="T18" fmla="*/ 2147483647 w 63"/>
                <a:gd name="T19" fmla="*/ 2147483647 h 201"/>
                <a:gd name="T20" fmla="*/ 2147483647 w 63"/>
                <a:gd name="T21" fmla="*/ 2147483647 h 201"/>
                <a:gd name="T22" fmla="*/ 0 w 63"/>
                <a:gd name="T23" fmla="*/ 2147483647 h 20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3" h="201">
                  <a:moveTo>
                    <a:pt x="0" y="78"/>
                  </a:moveTo>
                  <a:lnTo>
                    <a:pt x="13" y="0"/>
                  </a:lnTo>
                  <a:lnTo>
                    <a:pt x="37" y="0"/>
                  </a:lnTo>
                  <a:lnTo>
                    <a:pt x="44" y="55"/>
                  </a:lnTo>
                  <a:lnTo>
                    <a:pt x="26" y="113"/>
                  </a:lnTo>
                  <a:lnTo>
                    <a:pt x="26" y="144"/>
                  </a:lnTo>
                  <a:lnTo>
                    <a:pt x="63" y="157"/>
                  </a:lnTo>
                  <a:lnTo>
                    <a:pt x="63" y="201"/>
                  </a:lnTo>
                  <a:lnTo>
                    <a:pt x="44" y="157"/>
                  </a:lnTo>
                  <a:lnTo>
                    <a:pt x="44" y="178"/>
                  </a:lnTo>
                  <a:lnTo>
                    <a:pt x="13" y="157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71" name="Group 577"/>
            <p:cNvGrpSpPr>
              <a:grpSpLocks/>
            </p:cNvGrpSpPr>
            <p:nvPr>
              <p:custDataLst>
                <p:tags r:id="rId479"/>
              </p:custDataLst>
            </p:nvPr>
          </p:nvGrpSpPr>
          <p:grpSpPr bwMode="auto">
            <a:xfrm>
              <a:off x="9467475" y="4320745"/>
              <a:ext cx="116284" cy="160338"/>
              <a:chOff x="4809" y="2352"/>
              <a:chExt cx="63" cy="10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43" name="Freeform 578"/>
              <p:cNvSpPr>
                <a:spLocks/>
              </p:cNvSpPr>
              <p:nvPr/>
            </p:nvSpPr>
            <p:spPr bwMode="auto">
              <a:xfrm>
                <a:off x="4809" y="2352"/>
                <a:ext cx="63" cy="101"/>
              </a:xfrm>
              <a:custGeom>
                <a:avLst/>
                <a:gdLst>
                  <a:gd name="T0" fmla="*/ 0 w 63"/>
                  <a:gd name="T1" fmla="*/ 1 h 201"/>
                  <a:gd name="T2" fmla="*/ 13 w 63"/>
                  <a:gd name="T3" fmla="*/ 0 h 201"/>
                  <a:gd name="T4" fmla="*/ 37 w 63"/>
                  <a:gd name="T5" fmla="*/ 0 h 201"/>
                  <a:gd name="T6" fmla="*/ 44 w 63"/>
                  <a:gd name="T7" fmla="*/ 1 h 201"/>
                  <a:gd name="T8" fmla="*/ 26 w 63"/>
                  <a:gd name="T9" fmla="*/ 1 h 201"/>
                  <a:gd name="T10" fmla="*/ 26 w 63"/>
                  <a:gd name="T11" fmla="*/ 1 h 201"/>
                  <a:gd name="T12" fmla="*/ 63 w 63"/>
                  <a:gd name="T13" fmla="*/ 1 h 201"/>
                  <a:gd name="T14" fmla="*/ 63 w 63"/>
                  <a:gd name="T15" fmla="*/ 1 h 201"/>
                  <a:gd name="T16" fmla="*/ 44 w 63"/>
                  <a:gd name="T17" fmla="*/ 1 h 201"/>
                  <a:gd name="T18" fmla="*/ 44 w 63"/>
                  <a:gd name="T19" fmla="*/ 1 h 201"/>
                  <a:gd name="T20" fmla="*/ 13 w 63"/>
                  <a:gd name="T21" fmla="*/ 1 h 201"/>
                  <a:gd name="T22" fmla="*/ 0 w 63"/>
                  <a:gd name="T23" fmla="*/ 1 h 20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3" h="201">
                    <a:moveTo>
                      <a:pt x="0" y="78"/>
                    </a:moveTo>
                    <a:lnTo>
                      <a:pt x="13" y="0"/>
                    </a:lnTo>
                    <a:lnTo>
                      <a:pt x="37" y="0"/>
                    </a:lnTo>
                    <a:lnTo>
                      <a:pt x="44" y="55"/>
                    </a:lnTo>
                    <a:lnTo>
                      <a:pt x="26" y="113"/>
                    </a:lnTo>
                    <a:lnTo>
                      <a:pt x="26" y="144"/>
                    </a:lnTo>
                    <a:lnTo>
                      <a:pt x="63" y="157"/>
                    </a:lnTo>
                    <a:lnTo>
                      <a:pt x="63" y="201"/>
                    </a:lnTo>
                    <a:lnTo>
                      <a:pt x="44" y="157"/>
                    </a:lnTo>
                    <a:lnTo>
                      <a:pt x="44" y="178"/>
                    </a:lnTo>
                    <a:lnTo>
                      <a:pt x="13" y="157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44" name="Freeform 579"/>
              <p:cNvSpPr>
                <a:spLocks/>
              </p:cNvSpPr>
              <p:nvPr/>
            </p:nvSpPr>
            <p:spPr bwMode="auto">
              <a:xfrm>
                <a:off x="4809" y="2352"/>
                <a:ext cx="63" cy="101"/>
              </a:xfrm>
              <a:custGeom>
                <a:avLst/>
                <a:gdLst>
                  <a:gd name="T0" fmla="*/ 0 w 63"/>
                  <a:gd name="T1" fmla="*/ 1 h 201"/>
                  <a:gd name="T2" fmla="*/ 13 w 63"/>
                  <a:gd name="T3" fmla="*/ 0 h 201"/>
                  <a:gd name="T4" fmla="*/ 37 w 63"/>
                  <a:gd name="T5" fmla="*/ 0 h 201"/>
                  <a:gd name="T6" fmla="*/ 44 w 63"/>
                  <a:gd name="T7" fmla="*/ 1 h 201"/>
                  <a:gd name="T8" fmla="*/ 26 w 63"/>
                  <a:gd name="T9" fmla="*/ 1 h 201"/>
                  <a:gd name="T10" fmla="*/ 26 w 63"/>
                  <a:gd name="T11" fmla="*/ 1 h 201"/>
                  <a:gd name="T12" fmla="*/ 63 w 63"/>
                  <a:gd name="T13" fmla="*/ 1 h 201"/>
                  <a:gd name="T14" fmla="*/ 63 w 63"/>
                  <a:gd name="T15" fmla="*/ 1 h 201"/>
                  <a:gd name="T16" fmla="*/ 44 w 63"/>
                  <a:gd name="T17" fmla="*/ 1 h 201"/>
                  <a:gd name="T18" fmla="*/ 44 w 63"/>
                  <a:gd name="T19" fmla="*/ 1 h 201"/>
                  <a:gd name="T20" fmla="*/ 13 w 63"/>
                  <a:gd name="T21" fmla="*/ 1 h 201"/>
                  <a:gd name="T22" fmla="*/ 0 w 63"/>
                  <a:gd name="T23" fmla="*/ 1 h 20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3" h="201">
                    <a:moveTo>
                      <a:pt x="0" y="78"/>
                    </a:moveTo>
                    <a:lnTo>
                      <a:pt x="13" y="0"/>
                    </a:lnTo>
                    <a:lnTo>
                      <a:pt x="37" y="0"/>
                    </a:lnTo>
                    <a:lnTo>
                      <a:pt x="44" y="55"/>
                    </a:lnTo>
                    <a:lnTo>
                      <a:pt x="26" y="113"/>
                    </a:lnTo>
                    <a:lnTo>
                      <a:pt x="26" y="144"/>
                    </a:lnTo>
                    <a:lnTo>
                      <a:pt x="63" y="157"/>
                    </a:lnTo>
                    <a:lnTo>
                      <a:pt x="63" y="201"/>
                    </a:lnTo>
                    <a:lnTo>
                      <a:pt x="44" y="157"/>
                    </a:lnTo>
                    <a:lnTo>
                      <a:pt x="44" y="178"/>
                    </a:lnTo>
                    <a:lnTo>
                      <a:pt x="13" y="157"/>
                    </a:lnTo>
                    <a:lnTo>
                      <a:pt x="0" y="78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72" name="Freeform 580"/>
            <p:cNvSpPr>
              <a:spLocks/>
            </p:cNvSpPr>
            <p:nvPr>
              <p:custDataLst>
                <p:tags r:id="rId480"/>
              </p:custDataLst>
            </p:nvPr>
          </p:nvSpPr>
          <p:spPr bwMode="auto">
            <a:xfrm>
              <a:off x="9467475" y="4320745"/>
              <a:ext cx="116284" cy="160338"/>
            </a:xfrm>
            <a:custGeom>
              <a:avLst/>
              <a:gdLst>
                <a:gd name="T0" fmla="*/ 0 w 63"/>
                <a:gd name="T1" fmla="*/ 2147483647 h 201"/>
                <a:gd name="T2" fmla="*/ 2147483647 w 63"/>
                <a:gd name="T3" fmla="*/ 0 h 201"/>
                <a:gd name="T4" fmla="*/ 2147483647 w 63"/>
                <a:gd name="T5" fmla="*/ 0 h 201"/>
                <a:gd name="T6" fmla="*/ 2147483647 w 63"/>
                <a:gd name="T7" fmla="*/ 2147483647 h 201"/>
                <a:gd name="T8" fmla="*/ 2147483647 w 63"/>
                <a:gd name="T9" fmla="*/ 2147483647 h 201"/>
                <a:gd name="T10" fmla="*/ 2147483647 w 63"/>
                <a:gd name="T11" fmla="*/ 2147483647 h 201"/>
                <a:gd name="T12" fmla="*/ 2147483647 w 63"/>
                <a:gd name="T13" fmla="*/ 2147483647 h 201"/>
                <a:gd name="T14" fmla="*/ 2147483647 w 63"/>
                <a:gd name="T15" fmla="*/ 2147483647 h 201"/>
                <a:gd name="T16" fmla="*/ 2147483647 w 63"/>
                <a:gd name="T17" fmla="*/ 2147483647 h 201"/>
                <a:gd name="T18" fmla="*/ 2147483647 w 63"/>
                <a:gd name="T19" fmla="*/ 2147483647 h 201"/>
                <a:gd name="T20" fmla="*/ 2147483647 w 63"/>
                <a:gd name="T21" fmla="*/ 2147483647 h 201"/>
                <a:gd name="T22" fmla="*/ 0 w 63"/>
                <a:gd name="T23" fmla="*/ 2147483647 h 20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3" h="201">
                  <a:moveTo>
                    <a:pt x="0" y="78"/>
                  </a:moveTo>
                  <a:lnTo>
                    <a:pt x="13" y="0"/>
                  </a:lnTo>
                  <a:lnTo>
                    <a:pt x="37" y="0"/>
                  </a:lnTo>
                  <a:lnTo>
                    <a:pt x="44" y="55"/>
                  </a:lnTo>
                  <a:lnTo>
                    <a:pt x="26" y="113"/>
                  </a:lnTo>
                  <a:lnTo>
                    <a:pt x="26" y="144"/>
                  </a:lnTo>
                  <a:lnTo>
                    <a:pt x="63" y="157"/>
                  </a:lnTo>
                  <a:lnTo>
                    <a:pt x="63" y="201"/>
                  </a:lnTo>
                  <a:lnTo>
                    <a:pt x="44" y="157"/>
                  </a:lnTo>
                  <a:lnTo>
                    <a:pt x="44" y="178"/>
                  </a:lnTo>
                  <a:lnTo>
                    <a:pt x="13" y="157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73" name="Group 581"/>
            <p:cNvGrpSpPr>
              <a:grpSpLocks/>
            </p:cNvGrpSpPr>
            <p:nvPr>
              <p:custDataLst>
                <p:tags r:id="rId481"/>
              </p:custDataLst>
            </p:nvPr>
          </p:nvGrpSpPr>
          <p:grpSpPr bwMode="auto">
            <a:xfrm>
              <a:off x="9467475" y="4320745"/>
              <a:ext cx="116284" cy="160338"/>
              <a:chOff x="4809" y="2352"/>
              <a:chExt cx="63" cy="10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41" name="Freeform 582"/>
              <p:cNvSpPr>
                <a:spLocks/>
              </p:cNvSpPr>
              <p:nvPr/>
            </p:nvSpPr>
            <p:spPr bwMode="auto">
              <a:xfrm>
                <a:off x="4809" y="2352"/>
                <a:ext cx="63" cy="101"/>
              </a:xfrm>
              <a:custGeom>
                <a:avLst/>
                <a:gdLst>
                  <a:gd name="T0" fmla="*/ 0 w 63"/>
                  <a:gd name="T1" fmla="*/ 1 h 201"/>
                  <a:gd name="T2" fmla="*/ 13 w 63"/>
                  <a:gd name="T3" fmla="*/ 0 h 201"/>
                  <a:gd name="T4" fmla="*/ 37 w 63"/>
                  <a:gd name="T5" fmla="*/ 0 h 201"/>
                  <a:gd name="T6" fmla="*/ 44 w 63"/>
                  <a:gd name="T7" fmla="*/ 1 h 201"/>
                  <a:gd name="T8" fmla="*/ 26 w 63"/>
                  <a:gd name="T9" fmla="*/ 1 h 201"/>
                  <a:gd name="T10" fmla="*/ 26 w 63"/>
                  <a:gd name="T11" fmla="*/ 1 h 201"/>
                  <a:gd name="T12" fmla="*/ 63 w 63"/>
                  <a:gd name="T13" fmla="*/ 1 h 201"/>
                  <a:gd name="T14" fmla="*/ 63 w 63"/>
                  <a:gd name="T15" fmla="*/ 1 h 201"/>
                  <a:gd name="T16" fmla="*/ 44 w 63"/>
                  <a:gd name="T17" fmla="*/ 1 h 201"/>
                  <a:gd name="T18" fmla="*/ 44 w 63"/>
                  <a:gd name="T19" fmla="*/ 1 h 201"/>
                  <a:gd name="T20" fmla="*/ 13 w 63"/>
                  <a:gd name="T21" fmla="*/ 1 h 201"/>
                  <a:gd name="T22" fmla="*/ 0 w 63"/>
                  <a:gd name="T23" fmla="*/ 1 h 20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3" h="201">
                    <a:moveTo>
                      <a:pt x="0" y="78"/>
                    </a:moveTo>
                    <a:lnTo>
                      <a:pt x="13" y="0"/>
                    </a:lnTo>
                    <a:lnTo>
                      <a:pt x="37" y="0"/>
                    </a:lnTo>
                    <a:lnTo>
                      <a:pt x="44" y="55"/>
                    </a:lnTo>
                    <a:lnTo>
                      <a:pt x="26" y="113"/>
                    </a:lnTo>
                    <a:lnTo>
                      <a:pt x="26" y="144"/>
                    </a:lnTo>
                    <a:lnTo>
                      <a:pt x="63" y="157"/>
                    </a:lnTo>
                    <a:lnTo>
                      <a:pt x="63" y="201"/>
                    </a:lnTo>
                    <a:lnTo>
                      <a:pt x="44" y="157"/>
                    </a:lnTo>
                    <a:lnTo>
                      <a:pt x="44" y="178"/>
                    </a:lnTo>
                    <a:lnTo>
                      <a:pt x="13" y="157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42" name="Freeform 583"/>
              <p:cNvSpPr>
                <a:spLocks/>
              </p:cNvSpPr>
              <p:nvPr/>
            </p:nvSpPr>
            <p:spPr bwMode="auto">
              <a:xfrm>
                <a:off x="4809" y="2352"/>
                <a:ext cx="63" cy="101"/>
              </a:xfrm>
              <a:custGeom>
                <a:avLst/>
                <a:gdLst>
                  <a:gd name="T0" fmla="*/ 0 w 63"/>
                  <a:gd name="T1" fmla="*/ 1 h 201"/>
                  <a:gd name="T2" fmla="*/ 13 w 63"/>
                  <a:gd name="T3" fmla="*/ 0 h 201"/>
                  <a:gd name="T4" fmla="*/ 37 w 63"/>
                  <a:gd name="T5" fmla="*/ 0 h 201"/>
                  <a:gd name="T6" fmla="*/ 44 w 63"/>
                  <a:gd name="T7" fmla="*/ 1 h 201"/>
                  <a:gd name="T8" fmla="*/ 26 w 63"/>
                  <a:gd name="T9" fmla="*/ 1 h 201"/>
                  <a:gd name="T10" fmla="*/ 26 w 63"/>
                  <a:gd name="T11" fmla="*/ 1 h 201"/>
                  <a:gd name="T12" fmla="*/ 63 w 63"/>
                  <a:gd name="T13" fmla="*/ 1 h 201"/>
                  <a:gd name="T14" fmla="*/ 63 w 63"/>
                  <a:gd name="T15" fmla="*/ 1 h 201"/>
                  <a:gd name="T16" fmla="*/ 44 w 63"/>
                  <a:gd name="T17" fmla="*/ 1 h 201"/>
                  <a:gd name="T18" fmla="*/ 44 w 63"/>
                  <a:gd name="T19" fmla="*/ 1 h 201"/>
                  <a:gd name="T20" fmla="*/ 13 w 63"/>
                  <a:gd name="T21" fmla="*/ 1 h 201"/>
                  <a:gd name="T22" fmla="*/ 0 w 63"/>
                  <a:gd name="T23" fmla="*/ 1 h 20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3" h="201">
                    <a:moveTo>
                      <a:pt x="0" y="78"/>
                    </a:moveTo>
                    <a:lnTo>
                      <a:pt x="13" y="0"/>
                    </a:lnTo>
                    <a:lnTo>
                      <a:pt x="37" y="0"/>
                    </a:lnTo>
                    <a:lnTo>
                      <a:pt x="44" y="55"/>
                    </a:lnTo>
                    <a:lnTo>
                      <a:pt x="26" y="113"/>
                    </a:lnTo>
                    <a:lnTo>
                      <a:pt x="26" y="144"/>
                    </a:lnTo>
                    <a:lnTo>
                      <a:pt x="63" y="157"/>
                    </a:lnTo>
                    <a:lnTo>
                      <a:pt x="63" y="201"/>
                    </a:lnTo>
                    <a:lnTo>
                      <a:pt x="44" y="157"/>
                    </a:lnTo>
                    <a:lnTo>
                      <a:pt x="44" y="178"/>
                    </a:lnTo>
                    <a:lnTo>
                      <a:pt x="13" y="157"/>
                    </a:lnTo>
                    <a:lnTo>
                      <a:pt x="0" y="78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74" name="Freeform 584"/>
            <p:cNvSpPr>
              <a:spLocks/>
            </p:cNvSpPr>
            <p:nvPr>
              <p:custDataLst>
                <p:tags r:id="rId482"/>
              </p:custDataLst>
            </p:nvPr>
          </p:nvSpPr>
          <p:spPr bwMode="auto">
            <a:xfrm>
              <a:off x="9481502" y="4454128"/>
              <a:ext cx="32078" cy="36513"/>
            </a:xfrm>
            <a:custGeom>
              <a:avLst/>
              <a:gdLst>
                <a:gd name="T0" fmla="*/ 0 w 18"/>
                <a:gd name="T1" fmla="*/ 0 h 46"/>
                <a:gd name="T2" fmla="*/ 2147483647 w 18"/>
                <a:gd name="T3" fmla="*/ 0 h 46"/>
                <a:gd name="T4" fmla="*/ 2147483647 w 18"/>
                <a:gd name="T5" fmla="*/ 2147483647 h 46"/>
                <a:gd name="T6" fmla="*/ 2147483647 w 18"/>
                <a:gd name="T7" fmla="*/ 2147483647 h 46"/>
                <a:gd name="T8" fmla="*/ 0 w 18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46">
                  <a:moveTo>
                    <a:pt x="0" y="0"/>
                  </a:moveTo>
                  <a:lnTo>
                    <a:pt x="11" y="0"/>
                  </a:lnTo>
                  <a:lnTo>
                    <a:pt x="18" y="11"/>
                  </a:lnTo>
                  <a:lnTo>
                    <a:pt x="11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75" name="Freeform 585"/>
            <p:cNvSpPr>
              <a:spLocks/>
            </p:cNvSpPr>
            <p:nvPr>
              <p:custDataLst>
                <p:tags r:id="rId483"/>
              </p:custDataLst>
            </p:nvPr>
          </p:nvSpPr>
          <p:spPr bwMode="auto">
            <a:xfrm>
              <a:off x="9481502" y="4454128"/>
              <a:ext cx="32078" cy="36513"/>
            </a:xfrm>
            <a:custGeom>
              <a:avLst/>
              <a:gdLst>
                <a:gd name="T0" fmla="*/ 0 w 18"/>
                <a:gd name="T1" fmla="*/ 0 h 46"/>
                <a:gd name="T2" fmla="*/ 2147483647 w 18"/>
                <a:gd name="T3" fmla="*/ 0 h 46"/>
                <a:gd name="T4" fmla="*/ 2147483647 w 18"/>
                <a:gd name="T5" fmla="*/ 2147483647 h 46"/>
                <a:gd name="T6" fmla="*/ 2147483647 w 18"/>
                <a:gd name="T7" fmla="*/ 2147483647 h 46"/>
                <a:gd name="T8" fmla="*/ 0 w 18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46">
                  <a:moveTo>
                    <a:pt x="0" y="0"/>
                  </a:moveTo>
                  <a:lnTo>
                    <a:pt x="11" y="0"/>
                  </a:lnTo>
                  <a:lnTo>
                    <a:pt x="18" y="11"/>
                  </a:lnTo>
                  <a:lnTo>
                    <a:pt x="11" y="46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76" name="Freeform 586"/>
            <p:cNvSpPr>
              <a:spLocks/>
            </p:cNvSpPr>
            <p:nvPr>
              <p:custDataLst>
                <p:tags r:id="rId484"/>
              </p:custDataLst>
            </p:nvPr>
          </p:nvSpPr>
          <p:spPr bwMode="auto">
            <a:xfrm>
              <a:off x="9481502" y="4454128"/>
              <a:ext cx="32078" cy="36513"/>
            </a:xfrm>
            <a:custGeom>
              <a:avLst/>
              <a:gdLst>
                <a:gd name="T0" fmla="*/ 0 w 18"/>
                <a:gd name="T1" fmla="*/ 0 h 46"/>
                <a:gd name="T2" fmla="*/ 2147483647 w 18"/>
                <a:gd name="T3" fmla="*/ 0 h 46"/>
                <a:gd name="T4" fmla="*/ 2147483647 w 18"/>
                <a:gd name="T5" fmla="*/ 2147483647 h 46"/>
                <a:gd name="T6" fmla="*/ 2147483647 w 18"/>
                <a:gd name="T7" fmla="*/ 2147483647 h 46"/>
                <a:gd name="T8" fmla="*/ 0 w 18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46">
                  <a:moveTo>
                    <a:pt x="0" y="0"/>
                  </a:moveTo>
                  <a:lnTo>
                    <a:pt x="11" y="0"/>
                  </a:lnTo>
                  <a:lnTo>
                    <a:pt x="18" y="11"/>
                  </a:lnTo>
                  <a:lnTo>
                    <a:pt x="11" y="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77" name="Freeform 587"/>
            <p:cNvSpPr>
              <a:spLocks/>
            </p:cNvSpPr>
            <p:nvPr>
              <p:custDataLst>
                <p:tags r:id="rId485"/>
              </p:custDataLst>
            </p:nvPr>
          </p:nvSpPr>
          <p:spPr bwMode="auto">
            <a:xfrm>
              <a:off x="9481502" y="4454128"/>
              <a:ext cx="32078" cy="36513"/>
            </a:xfrm>
            <a:custGeom>
              <a:avLst/>
              <a:gdLst>
                <a:gd name="T0" fmla="*/ 0 w 18"/>
                <a:gd name="T1" fmla="*/ 0 h 46"/>
                <a:gd name="T2" fmla="*/ 2147483647 w 18"/>
                <a:gd name="T3" fmla="*/ 0 h 46"/>
                <a:gd name="T4" fmla="*/ 2147483647 w 18"/>
                <a:gd name="T5" fmla="*/ 2147483647 h 46"/>
                <a:gd name="T6" fmla="*/ 2147483647 w 18"/>
                <a:gd name="T7" fmla="*/ 2147483647 h 46"/>
                <a:gd name="T8" fmla="*/ 0 w 18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8" h="46">
                  <a:moveTo>
                    <a:pt x="0" y="0"/>
                  </a:moveTo>
                  <a:lnTo>
                    <a:pt x="11" y="0"/>
                  </a:lnTo>
                  <a:lnTo>
                    <a:pt x="18" y="11"/>
                  </a:lnTo>
                  <a:lnTo>
                    <a:pt x="11" y="46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78" name="Freeform 588"/>
            <p:cNvSpPr>
              <a:spLocks/>
            </p:cNvSpPr>
            <p:nvPr>
              <p:custDataLst>
                <p:tags r:id="rId486"/>
              </p:custDataLst>
            </p:nvPr>
          </p:nvSpPr>
          <p:spPr bwMode="auto">
            <a:xfrm>
              <a:off x="9527619" y="4489020"/>
              <a:ext cx="32078" cy="46038"/>
            </a:xfrm>
            <a:custGeom>
              <a:avLst/>
              <a:gdLst>
                <a:gd name="T0" fmla="*/ 0 w 18"/>
                <a:gd name="T1" fmla="*/ 0 h 58"/>
                <a:gd name="T2" fmla="*/ 0 w 18"/>
                <a:gd name="T3" fmla="*/ 2147483647 h 58"/>
                <a:gd name="T4" fmla="*/ 2147483647 w 18"/>
                <a:gd name="T5" fmla="*/ 2147483647 h 58"/>
                <a:gd name="T6" fmla="*/ 0 w 18"/>
                <a:gd name="T7" fmla="*/ 0 h 5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8">
                  <a:moveTo>
                    <a:pt x="0" y="0"/>
                  </a:moveTo>
                  <a:lnTo>
                    <a:pt x="0" y="58"/>
                  </a:lnTo>
                  <a:lnTo>
                    <a:pt x="18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79" name="Group 589"/>
            <p:cNvGrpSpPr>
              <a:grpSpLocks/>
            </p:cNvGrpSpPr>
            <p:nvPr>
              <p:custDataLst>
                <p:tags r:id="rId487"/>
              </p:custDataLst>
            </p:nvPr>
          </p:nvGrpSpPr>
          <p:grpSpPr bwMode="auto">
            <a:xfrm>
              <a:off x="9527619" y="4489020"/>
              <a:ext cx="32078" cy="46038"/>
              <a:chOff x="4841" y="2458"/>
              <a:chExt cx="18" cy="29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39" name="Freeform 590"/>
              <p:cNvSpPr>
                <a:spLocks/>
              </p:cNvSpPr>
              <p:nvPr/>
            </p:nvSpPr>
            <p:spPr bwMode="auto">
              <a:xfrm>
                <a:off x="4841" y="2458"/>
                <a:ext cx="18" cy="29"/>
              </a:xfrm>
              <a:custGeom>
                <a:avLst/>
                <a:gdLst>
                  <a:gd name="T0" fmla="*/ 0 w 18"/>
                  <a:gd name="T1" fmla="*/ 0 h 58"/>
                  <a:gd name="T2" fmla="*/ 0 w 18"/>
                  <a:gd name="T3" fmla="*/ 1 h 58"/>
                  <a:gd name="T4" fmla="*/ 18 w 18"/>
                  <a:gd name="T5" fmla="*/ 1 h 58"/>
                  <a:gd name="T6" fmla="*/ 0 w 18"/>
                  <a:gd name="T7" fmla="*/ 0 h 5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" h="58">
                    <a:moveTo>
                      <a:pt x="0" y="0"/>
                    </a:moveTo>
                    <a:lnTo>
                      <a:pt x="0" y="58"/>
                    </a:lnTo>
                    <a:lnTo>
                      <a:pt x="18" y="3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40" name="Freeform 591"/>
              <p:cNvSpPr>
                <a:spLocks/>
              </p:cNvSpPr>
              <p:nvPr/>
            </p:nvSpPr>
            <p:spPr bwMode="auto">
              <a:xfrm>
                <a:off x="4841" y="2458"/>
                <a:ext cx="18" cy="29"/>
              </a:xfrm>
              <a:custGeom>
                <a:avLst/>
                <a:gdLst>
                  <a:gd name="T0" fmla="*/ 0 w 18"/>
                  <a:gd name="T1" fmla="*/ 0 h 58"/>
                  <a:gd name="T2" fmla="*/ 0 w 18"/>
                  <a:gd name="T3" fmla="*/ 1 h 58"/>
                  <a:gd name="T4" fmla="*/ 18 w 18"/>
                  <a:gd name="T5" fmla="*/ 1 h 58"/>
                  <a:gd name="T6" fmla="*/ 0 w 18"/>
                  <a:gd name="T7" fmla="*/ 0 h 5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" h="58">
                    <a:moveTo>
                      <a:pt x="0" y="0"/>
                    </a:moveTo>
                    <a:lnTo>
                      <a:pt x="0" y="58"/>
                    </a:lnTo>
                    <a:lnTo>
                      <a:pt x="18" y="35"/>
                    </a:lnTo>
                    <a:lnTo>
                      <a:pt x="0" y="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80" name="Freeform 592"/>
            <p:cNvSpPr>
              <a:spLocks/>
            </p:cNvSpPr>
            <p:nvPr>
              <p:custDataLst>
                <p:tags r:id="rId488"/>
              </p:custDataLst>
            </p:nvPr>
          </p:nvSpPr>
          <p:spPr bwMode="auto">
            <a:xfrm>
              <a:off x="9527619" y="4489020"/>
              <a:ext cx="32078" cy="46038"/>
            </a:xfrm>
            <a:custGeom>
              <a:avLst/>
              <a:gdLst>
                <a:gd name="T0" fmla="*/ 0 w 18"/>
                <a:gd name="T1" fmla="*/ 0 h 58"/>
                <a:gd name="T2" fmla="*/ 0 w 18"/>
                <a:gd name="T3" fmla="*/ 2147483647 h 58"/>
                <a:gd name="T4" fmla="*/ 2147483647 w 18"/>
                <a:gd name="T5" fmla="*/ 2147483647 h 58"/>
                <a:gd name="T6" fmla="*/ 0 w 18"/>
                <a:gd name="T7" fmla="*/ 0 h 5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8">
                  <a:moveTo>
                    <a:pt x="0" y="0"/>
                  </a:moveTo>
                  <a:lnTo>
                    <a:pt x="0" y="58"/>
                  </a:lnTo>
                  <a:lnTo>
                    <a:pt x="18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81" name="Group 593"/>
            <p:cNvGrpSpPr>
              <a:grpSpLocks/>
            </p:cNvGrpSpPr>
            <p:nvPr>
              <p:custDataLst>
                <p:tags r:id="rId489"/>
              </p:custDataLst>
            </p:nvPr>
          </p:nvGrpSpPr>
          <p:grpSpPr bwMode="auto">
            <a:xfrm>
              <a:off x="9527619" y="4489020"/>
              <a:ext cx="32078" cy="46038"/>
              <a:chOff x="4841" y="2458"/>
              <a:chExt cx="18" cy="29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37" name="Freeform 594"/>
              <p:cNvSpPr>
                <a:spLocks/>
              </p:cNvSpPr>
              <p:nvPr/>
            </p:nvSpPr>
            <p:spPr bwMode="auto">
              <a:xfrm>
                <a:off x="4841" y="2458"/>
                <a:ext cx="18" cy="29"/>
              </a:xfrm>
              <a:custGeom>
                <a:avLst/>
                <a:gdLst>
                  <a:gd name="T0" fmla="*/ 0 w 18"/>
                  <a:gd name="T1" fmla="*/ 0 h 58"/>
                  <a:gd name="T2" fmla="*/ 0 w 18"/>
                  <a:gd name="T3" fmla="*/ 1 h 58"/>
                  <a:gd name="T4" fmla="*/ 18 w 18"/>
                  <a:gd name="T5" fmla="*/ 1 h 58"/>
                  <a:gd name="T6" fmla="*/ 0 w 18"/>
                  <a:gd name="T7" fmla="*/ 0 h 5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" h="58">
                    <a:moveTo>
                      <a:pt x="0" y="0"/>
                    </a:moveTo>
                    <a:lnTo>
                      <a:pt x="0" y="58"/>
                    </a:lnTo>
                    <a:lnTo>
                      <a:pt x="18" y="35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38" name="Freeform 595"/>
              <p:cNvSpPr>
                <a:spLocks/>
              </p:cNvSpPr>
              <p:nvPr/>
            </p:nvSpPr>
            <p:spPr bwMode="auto">
              <a:xfrm>
                <a:off x="4841" y="2458"/>
                <a:ext cx="18" cy="29"/>
              </a:xfrm>
              <a:custGeom>
                <a:avLst/>
                <a:gdLst>
                  <a:gd name="T0" fmla="*/ 0 w 18"/>
                  <a:gd name="T1" fmla="*/ 0 h 58"/>
                  <a:gd name="T2" fmla="*/ 0 w 18"/>
                  <a:gd name="T3" fmla="*/ 1 h 58"/>
                  <a:gd name="T4" fmla="*/ 18 w 18"/>
                  <a:gd name="T5" fmla="*/ 1 h 58"/>
                  <a:gd name="T6" fmla="*/ 0 w 18"/>
                  <a:gd name="T7" fmla="*/ 0 h 5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8" h="58">
                    <a:moveTo>
                      <a:pt x="0" y="0"/>
                    </a:moveTo>
                    <a:lnTo>
                      <a:pt x="0" y="58"/>
                    </a:lnTo>
                    <a:lnTo>
                      <a:pt x="18" y="35"/>
                    </a:lnTo>
                    <a:lnTo>
                      <a:pt x="0" y="0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82" name="Freeform 596"/>
            <p:cNvSpPr>
              <a:spLocks/>
            </p:cNvSpPr>
            <p:nvPr>
              <p:custDataLst>
                <p:tags r:id="rId490"/>
              </p:custDataLst>
            </p:nvPr>
          </p:nvSpPr>
          <p:spPr bwMode="auto">
            <a:xfrm>
              <a:off x="9527638" y="4550933"/>
              <a:ext cx="124304" cy="107950"/>
            </a:xfrm>
            <a:custGeom>
              <a:avLst/>
              <a:gdLst>
                <a:gd name="T0" fmla="*/ 0 w 68"/>
                <a:gd name="T1" fmla="*/ 2147483647 h 134"/>
                <a:gd name="T2" fmla="*/ 2147483647 w 68"/>
                <a:gd name="T3" fmla="*/ 2147483647 h 134"/>
                <a:gd name="T4" fmla="*/ 2147483647 w 68"/>
                <a:gd name="T5" fmla="*/ 2147483647 h 134"/>
                <a:gd name="T6" fmla="*/ 2147483647 w 68"/>
                <a:gd name="T7" fmla="*/ 0 h 134"/>
                <a:gd name="T8" fmla="*/ 2147483647 w 68"/>
                <a:gd name="T9" fmla="*/ 2147483647 h 134"/>
                <a:gd name="T10" fmla="*/ 2147483647 w 68"/>
                <a:gd name="T11" fmla="*/ 2147483647 h 134"/>
                <a:gd name="T12" fmla="*/ 2147483647 w 68"/>
                <a:gd name="T13" fmla="*/ 2147483647 h 134"/>
                <a:gd name="T14" fmla="*/ 2147483647 w 68"/>
                <a:gd name="T15" fmla="*/ 2147483647 h 134"/>
                <a:gd name="T16" fmla="*/ 2147483647 w 68"/>
                <a:gd name="T17" fmla="*/ 2147483647 h 134"/>
                <a:gd name="T18" fmla="*/ 2147483647 w 68"/>
                <a:gd name="T19" fmla="*/ 2147483647 h 134"/>
                <a:gd name="T20" fmla="*/ 0 w 68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8" h="134">
                  <a:moveTo>
                    <a:pt x="0" y="90"/>
                  </a:moveTo>
                  <a:lnTo>
                    <a:pt x="18" y="44"/>
                  </a:lnTo>
                  <a:lnTo>
                    <a:pt x="31" y="44"/>
                  </a:lnTo>
                  <a:lnTo>
                    <a:pt x="55" y="0"/>
                  </a:lnTo>
                  <a:lnTo>
                    <a:pt x="68" y="34"/>
                  </a:lnTo>
                  <a:lnTo>
                    <a:pt x="68" y="111"/>
                  </a:lnTo>
                  <a:lnTo>
                    <a:pt x="62" y="78"/>
                  </a:lnTo>
                  <a:lnTo>
                    <a:pt x="55" y="134"/>
                  </a:lnTo>
                  <a:lnTo>
                    <a:pt x="36" y="123"/>
                  </a:lnTo>
                  <a:lnTo>
                    <a:pt x="24" y="55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83" name="Group 597"/>
            <p:cNvGrpSpPr>
              <a:grpSpLocks/>
            </p:cNvGrpSpPr>
            <p:nvPr>
              <p:custDataLst>
                <p:tags r:id="rId491"/>
              </p:custDataLst>
            </p:nvPr>
          </p:nvGrpSpPr>
          <p:grpSpPr bwMode="auto">
            <a:xfrm>
              <a:off x="9527638" y="4550933"/>
              <a:ext cx="124304" cy="107950"/>
              <a:chOff x="4841" y="2497"/>
              <a:chExt cx="68" cy="68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35" name="Freeform 598"/>
              <p:cNvSpPr>
                <a:spLocks/>
              </p:cNvSpPr>
              <p:nvPr/>
            </p:nvSpPr>
            <p:spPr bwMode="auto">
              <a:xfrm>
                <a:off x="4841" y="2497"/>
                <a:ext cx="68" cy="68"/>
              </a:xfrm>
              <a:custGeom>
                <a:avLst/>
                <a:gdLst>
                  <a:gd name="T0" fmla="*/ 0 w 68"/>
                  <a:gd name="T1" fmla="*/ 1 h 134"/>
                  <a:gd name="T2" fmla="*/ 18 w 68"/>
                  <a:gd name="T3" fmla="*/ 1 h 134"/>
                  <a:gd name="T4" fmla="*/ 31 w 68"/>
                  <a:gd name="T5" fmla="*/ 1 h 134"/>
                  <a:gd name="T6" fmla="*/ 55 w 68"/>
                  <a:gd name="T7" fmla="*/ 0 h 134"/>
                  <a:gd name="T8" fmla="*/ 68 w 68"/>
                  <a:gd name="T9" fmla="*/ 1 h 134"/>
                  <a:gd name="T10" fmla="*/ 68 w 68"/>
                  <a:gd name="T11" fmla="*/ 1 h 134"/>
                  <a:gd name="T12" fmla="*/ 62 w 68"/>
                  <a:gd name="T13" fmla="*/ 1 h 134"/>
                  <a:gd name="T14" fmla="*/ 55 w 68"/>
                  <a:gd name="T15" fmla="*/ 1 h 134"/>
                  <a:gd name="T16" fmla="*/ 36 w 68"/>
                  <a:gd name="T17" fmla="*/ 1 h 134"/>
                  <a:gd name="T18" fmla="*/ 24 w 68"/>
                  <a:gd name="T19" fmla="*/ 1 h 134"/>
                  <a:gd name="T20" fmla="*/ 0 w 68"/>
                  <a:gd name="T21" fmla="*/ 1 h 13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8" h="134">
                    <a:moveTo>
                      <a:pt x="0" y="90"/>
                    </a:moveTo>
                    <a:lnTo>
                      <a:pt x="18" y="44"/>
                    </a:lnTo>
                    <a:lnTo>
                      <a:pt x="31" y="44"/>
                    </a:lnTo>
                    <a:lnTo>
                      <a:pt x="55" y="0"/>
                    </a:lnTo>
                    <a:lnTo>
                      <a:pt x="68" y="34"/>
                    </a:lnTo>
                    <a:lnTo>
                      <a:pt x="68" y="111"/>
                    </a:lnTo>
                    <a:lnTo>
                      <a:pt x="62" y="78"/>
                    </a:lnTo>
                    <a:lnTo>
                      <a:pt x="55" y="134"/>
                    </a:lnTo>
                    <a:lnTo>
                      <a:pt x="36" y="123"/>
                    </a:lnTo>
                    <a:lnTo>
                      <a:pt x="24" y="55"/>
                    </a:lnTo>
                    <a:lnTo>
                      <a:pt x="0" y="9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36" name="Freeform 599"/>
              <p:cNvSpPr>
                <a:spLocks/>
              </p:cNvSpPr>
              <p:nvPr/>
            </p:nvSpPr>
            <p:spPr bwMode="auto">
              <a:xfrm>
                <a:off x="4841" y="2497"/>
                <a:ext cx="68" cy="68"/>
              </a:xfrm>
              <a:custGeom>
                <a:avLst/>
                <a:gdLst>
                  <a:gd name="T0" fmla="*/ 0 w 68"/>
                  <a:gd name="T1" fmla="*/ 1 h 134"/>
                  <a:gd name="T2" fmla="*/ 18 w 68"/>
                  <a:gd name="T3" fmla="*/ 1 h 134"/>
                  <a:gd name="T4" fmla="*/ 31 w 68"/>
                  <a:gd name="T5" fmla="*/ 1 h 134"/>
                  <a:gd name="T6" fmla="*/ 55 w 68"/>
                  <a:gd name="T7" fmla="*/ 0 h 134"/>
                  <a:gd name="T8" fmla="*/ 68 w 68"/>
                  <a:gd name="T9" fmla="*/ 1 h 134"/>
                  <a:gd name="T10" fmla="*/ 68 w 68"/>
                  <a:gd name="T11" fmla="*/ 1 h 134"/>
                  <a:gd name="T12" fmla="*/ 62 w 68"/>
                  <a:gd name="T13" fmla="*/ 1 h 134"/>
                  <a:gd name="T14" fmla="*/ 55 w 68"/>
                  <a:gd name="T15" fmla="*/ 1 h 134"/>
                  <a:gd name="T16" fmla="*/ 36 w 68"/>
                  <a:gd name="T17" fmla="*/ 1 h 134"/>
                  <a:gd name="T18" fmla="*/ 24 w 68"/>
                  <a:gd name="T19" fmla="*/ 1 h 134"/>
                  <a:gd name="T20" fmla="*/ 0 w 68"/>
                  <a:gd name="T21" fmla="*/ 1 h 13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8" h="134">
                    <a:moveTo>
                      <a:pt x="0" y="90"/>
                    </a:moveTo>
                    <a:lnTo>
                      <a:pt x="18" y="44"/>
                    </a:lnTo>
                    <a:lnTo>
                      <a:pt x="31" y="44"/>
                    </a:lnTo>
                    <a:lnTo>
                      <a:pt x="55" y="0"/>
                    </a:lnTo>
                    <a:lnTo>
                      <a:pt x="68" y="34"/>
                    </a:lnTo>
                    <a:lnTo>
                      <a:pt x="68" y="111"/>
                    </a:lnTo>
                    <a:lnTo>
                      <a:pt x="62" y="78"/>
                    </a:lnTo>
                    <a:lnTo>
                      <a:pt x="55" y="134"/>
                    </a:lnTo>
                    <a:lnTo>
                      <a:pt x="36" y="123"/>
                    </a:lnTo>
                    <a:lnTo>
                      <a:pt x="24" y="55"/>
                    </a:lnTo>
                    <a:lnTo>
                      <a:pt x="0" y="9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84" name="Freeform 600"/>
            <p:cNvSpPr>
              <a:spLocks/>
            </p:cNvSpPr>
            <p:nvPr>
              <p:custDataLst>
                <p:tags r:id="rId492"/>
              </p:custDataLst>
            </p:nvPr>
          </p:nvSpPr>
          <p:spPr bwMode="auto">
            <a:xfrm>
              <a:off x="9527638" y="4550933"/>
              <a:ext cx="124304" cy="107950"/>
            </a:xfrm>
            <a:custGeom>
              <a:avLst/>
              <a:gdLst>
                <a:gd name="T0" fmla="*/ 0 w 68"/>
                <a:gd name="T1" fmla="*/ 2147483647 h 134"/>
                <a:gd name="T2" fmla="*/ 2147483647 w 68"/>
                <a:gd name="T3" fmla="*/ 2147483647 h 134"/>
                <a:gd name="T4" fmla="*/ 2147483647 w 68"/>
                <a:gd name="T5" fmla="*/ 2147483647 h 134"/>
                <a:gd name="T6" fmla="*/ 2147483647 w 68"/>
                <a:gd name="T7" fmla="*/ 0 h 134"/>
                <a:gd name="T8" fmla="*/ 2147483647 w 68"/>
                <a:gd name="T9" fmla="*/ 2147483647 h 134"/>
                <a:gd name="T10" fmla="*/ 2147483647 w 68"/>
                <a:gd name="T11" fmla="*/ 2147483647 h 134"/>
                <a:gd name="T12" fmla="*/ 2147483647 w 68"/>
                <a:gd name="T13" fmla="*/ 2147483647 h 134"/>
                <a:gd name="T14" fmla="*/ 2147483647 w 68"/>
                <a:gd name="T15" fmla="*/ 2147483647 h 134"/>
                <a:gd name="T16" fmla="*/ 2147483647 w 68"/>
                <a:gd name="T17" fmla="*/ 2147483647 h 134"/>
                <a:gd name="T18" fmla="*/ 2147483647 w 68"/>
                <a:gd name="T19" fmla="*/ 2147483647 h 134"/>
                <a:gd name="T20" fmla="*/ 0 w 68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8" h="134">
                  <a:moveTo>
                    <a:pt x="0" y="90"/>
                  </a:moveTo>
                  <a:lnTo>
                    <a:pt x="18" y="44"/>
                  </a:lnTo>
                  <a:lnTo>
                    <a:pt x="31" y="44"/>
                  </a:lnTo>
                  <a:lnTo>
                    <a:pt x="55" y="0"/>
                  </a:lnTo>
                  <a:lnTo>
                    <a:pt x="68" y="34"/>
                  </a:lnTo>
                  <a:lnTo>
                    <a:pt x="68" y="111"/>
                  </a:lnTo>
                  <a:lnTo>
                    <a:pt x="62" y="78"/>
                  </a:lnTo>
                  <a:lnTo>
                    <a:pt x="55" y="134"/>
                  </a:lnTo>
                  <a:lnTo>
                    <a:pt x="36" y="123"/>
                  </a:lnTo>
                  <a:lnTo>
                    <a:pt x="24" y="55"/>
                  </a:lnTo>
                  <a:lnTo>
                    <a:pt x="0" y="9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85" name="Group 601"/>
            <p:cNvGrpSpPr>
              <a:grpSpLocks/>
            </p:cNvGrpSpPr>
            <p:nvPr>
              <p:custDataLst>
                <p:tags r:id="rId493"/>
              </p:custDataLst>
            </p:nvPr>
          </p:nvGrpSpPr>
          <p:grpSpPr bwMode="auto">
            <a:xfrm>
              <a:off x="9527638" y="4550933"/>
              <a:ext cx="124304" cy="107950"/>
              <a:chOff x="4841" y="2497"/>
              <a:chExt cx="68" cy="68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33" name="Freeform 602"/>
              <p:cNvSpPr>
                <a:spLocks/>
              </p:cNvSpPr>
              <p:nvPr/>
            </p:nvSpPr>
            <p:spPr bwMode="auto">
              <a:xfrm>
                <a:off x="4841" y="2497"/>
                <a:ext cx="68" cy="68"/>
              </a:xfrm>
              <a:custGeom>
                <a:avLst/>
                <a:gdLst>
                  <a:gd name="T0" fmla="*/ 0 w 68"/>
                  <a:gd name="T1" fmla="*/ 1 h 134"/>
                  <a:gd name="T2" fmla="*/ 18 w 68"/>
                  <a:gd name="T3" fmla="*/ 1 h 134"/>
                  <a:gd name="T4" fmla="*/ 31 w 68"/>
                  <a:gd name="T5" fmla="*/ 1 h 134"/>
                  <a:gd name="T6" fmla="*/ 55 w 68"/>
                  <a:gd name="T7" fmla="*/ 0 h 134"/>
                  <a:gd name="T8" fmla="*/ 68 w 68"/>
                  <a:gd name="T9" fmla="*/ 1 h 134"/>
                  <a:gd name="T10" fmla="*/ 68 w 68"/>
                  <a:gd name="T11" fmla="*/ 1 h 134"/>
                  <a:gd name="T12" fmla="*/ 62 w 68"/>
                  <a:gd name="T13" fmla="*/ 1 h 134"/>
                  <a:gd name="T14" fmla="*/ 55 w 68"/>
                  <a:gd name="T15" fmla="*/ 1 h 134"/>
                  <a:gd name="T16" fmla="*/ 36 w 68"/>
                  <a:gd name="T17" fmla="*/ 1 h 134"/>
                  <a:gd name="T18" fmla="*/ 24 w 68"/>
                  <a:gd name="T19" fmla="*/ 1 h 134"/>
                  <a:gd name="T20" fmla="*/ 0 w 68"/>
                  <a:gd name="T21" fmla="*/ 1 h 13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8" h="134">
                    <a:moveTo>
                      <a:pt x="0" y="90"/>
                    </a:moveTo>
                    <a:lnTo>
                      <a:pt x="18" y="44"/>
                    </a:lnTo>
                    <a:lnTo>
                      <a:pt x="31" y="44"/>
                    </a:lnTo>
                    <a:lnTo>
                      <a:pt x="55" y="0"/>
                    </a:lnTo>
                    <a:lnTo>
                      <a:pt x="68" y="34"/>
                    </a:lnTo>
                    <a:lnTo>
                      <a:pt x="68" y="111"/>
                    </a:lnTo>
                    <a:lnTo>
                      <a:pt x="62" y="78"/>
                    </a:lnTo>
                    <a:lnTo>
                      <a:pt x="55" y="134"/>
                    </a:lnTo>
                    <a:lnTo>
                      <a:pt x="36" y="123"/>
                    </a:lnTo>
                    <a:lnTo>
                      <a:pt x="24" y="55"/>
                    </a:lnTo>
                    <a:lnTo>
                      <a:pt x="0" y="90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34" name="Freeform 603"/>
              <p:cNvSpPr>
                <a:spLocks/>
              </p:cNvSpPr>
              <p:nvPr/>
            </p:nvSpPr>
            <p:spPr bwMode="auto">
              <a:xfrm>
                <a:off x="4841" y="2497"/>
                <a:ext cx="68" cy="68"/>
              </a:xfrm>
              <a:custGeom>
                <a:avLst/>
                <a:gdLst>
                  <a:gd name="T0" fmla="*/ 0 w 68"/>
                  <a:gd name="T1" fmla="*/ 1 h 134"/>
                  <a:gd name="T2" fmla="*/ 18 w 68"/>
                  <a:gd name="T3" fmla="*/ 1 h 134"/>
                  <a:gd name="T4" fmla="*/ 31 w 68"/>
                  <a:gd name="T5" fmla="*/ 1 h 134"/>
                  <a:gd name="T6" fmla="*/ 55 w 68"/>
                  <a:gd name="T7" fmla="*/ 0 h 134"/>
                  <a:gd name="T8" fmla="*/ 68 w 68"/>
                  <a:gd name="T9" fmla="*/ 1 h 134"/>
                  <a:gd name="T10" fmla="*/ 68 w 68"/>
                  <a:gd name="T11" fmla="*/ 1 h 134"/>
                  <a:gd name="T12" fmla="*/ 62 w 68"/>
                  <a:gd name="T13" fmla="*/ 1 h 134"/>
                  <a:gd name="T14" fmla="*/ 55 w 68"/>
                  <a:gd name="T15" fmla="*/ 1 h 134"/>
                  <a:gd name="T16" fmla="*/ 36 w 68"/>
                  <a:gd name="T17" fmla="*/ 1 h 134"/>
                  <a:gd name="T18" fmla="*/ 24 w 68"/>
                  <a:gd name="T19" fmla="*/ 1 h 134"/>
                  <a:gd name="T20" fmla="*/ 0 w 68"/>
                  <a:gd name="T21" fmla="*/ 1 h 13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68" h="134">
                    <a:moveTo>
                      <a:pt x="0" y="90"/>
                    </a:moveTo>
                    <a:lnTo>
                      <a:pt x="18" y="44"/>
                    </a:lnTo>
                    <a:lnTo>
                      <a:pt x="31" y="44"/>
                    </a:lnTo>
                    <a:lnTo>
                      <a:pt x="55" y="0"/>
                    </a:lnTo>
                    <a:lnTo>
                      <a:pt x="68" y="34"/>
                    </a:lnTo>
                    <a:lnTo>
                      <a:pt x="68" y="111"/>
                    </a:lnTo>
                    <a:lnTo>
                      <a:pt x="62" y="78"/>
                    </a:lnTo>
                    <a:lnTo>
                      <a:pt x="55" y="134"/>
                    </a:lnTo>
                    <a:lnTo>
                      <a:pt x="36" y="123"/>
                    </a:lnTo>
                    <a:lnTo>
                      <a:pt x="24" y="55"/>
                    </a:lnTo>
                    <a:lnTo>
                      <a:pt x="0" y="90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86" name="Freeform 604"/>
            <p:cNvSpPr>
              <a:spLocks/>
            </p:cNvSpPr>
            <p:nvPr>
              <p:custDataLst>
                <p:tags r:id="rId494"/>
              </p:custDataLst>
            </p:nvPr>
          </p:nvSpPr>
          <p:spPr bwMode="auto">
            <a:xfrm>
              <a:off x="9535640" y="4523945"/>
              <a:ext cx="36088" cy="46038"/>
            </a:xfrm>
            <a:custGeom>
              <a:avLst/>
              <a:gdLst>
                <a:gd name="T0" fmla="*/ 0 w 19"/>
                <a:gd name="T1" fmla="*/ 2147483647 h 58"/>
                <a:gd name="T2" fmla="*/ 2147483647 w 19"/>
                <a:gd name="T3" fmla="*/ 2147483647 h 58"/>
                <a:gd name="T4" fmla="*/ 2147483647 w 19"/>
                <a:gd name="T5" fmla="*/ 0 h 58"/>
                <a:gd name="T6" fmla="*/ 2147483647 w 19"/>
                <a:gd name="T7" fmla="*/ 2147483647 h 58"/>
                <a:gd name="T8" fmla="*/ 0 w 19"/>
                <a:gd name="T9" fmla="*/ 2147483647 h 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8">
                  <a:moveTo>
                    <a:pt x="0" y="35"/>
                  </a:moveTo>
                  <a:lnTo>
                    <a:pt x="6" y="25"/>
                  </a:lnTo>
                  <a:lnTo>
                    <a:pt x="19" y="0"/>
                  </a:lnTo>
                  <a:lnTo>
                    <a:pt x="13" y="58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87" name="Group 605"/>
            <p:cNvGrpSpPr>
              <a:grpSpLocks/>
            </p:cNvGrpSpPr>
            <p:nvPr>
              <p:custDataLst>
                <p:tags r:id="rId495"/>
              </p:custDataLst>
            </p:nvPr>
          </p:nvGrpSpPr>
          <p:grpSpPr bwMode="auto">
            <a:xfrm>
              <a:off x="9535640" y="4523945"/>
              <a:ext cx="36088" cy="46038"/>
              <a:chOff x="4846" y="2480"/>
              <a:chExt cx="19" cy="29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31" name="Freeform 606"/>
              <p:cNvSpPr>
                <a:spLocks/>
              </p:cNvSpPr>
              <p:nvPr/>
            </p:nvSpPr>
            <p:spPr bwMode="auto">
              <a:xfrm>
                <a:off x="4846" y="2480"/>
                <a:ext cx="19" cy="29"/>
              </a:xfrm>
              <a:custGeom>
                <a:avLst/>
                <a:gdLst>
                  <a:gd name="T0" fmla="*/ 0 w 19"/>
                  <a:gd name="T1" fmla="*/ 1 h 58"/>
                  <a:gd name="T2" fmla="*/ 6 w 19"/>
                  <a:gd name="T3" fmla="*/ 1 h 58"/>
                  <a:gd name="T4" fmla="*/ 19 w 19"/>
                  <a:gd name="T5" fmla="*/ 0 h 58"/>
                  <a:gd name="T6" fmla="*/ 13 w 19"/>
                  <a:gd name="T7" fmla="*/ 1 h 58"/>
                  <a:gd name="T8" fmla="*/ 0 w 19"/>
                  <a:gd name="T9" fmla="*/ 1 h 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58">
                    <a:moveTo>
                      <a:pt x="0" y="35"/>
                    </a:moveTo>
                    <a:lnTo>
                      <a:pt x="6" y="25"/>
                    </a:lnTo>
                    <a:lnTo>
                      <a:pt x="19" y="0"/>
                    </a:lnTo>
                    <a:lnTo>
                      <a:pt x="13" y="58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32" name="Freeform 607"/>
              <p:cNvSpPr>
                <a:spLocks/>
              </p:cNvSpPr>
              <p:nvPr/>
            </p:nvSpPr>
            <p:spPr bwMode="auto">
              <a:xfrm>
                <a:off x="4846" y="2480"/>
                <a:ext cx="19" cy="29"/>
              </a:xfrm>
              <a:custGeom>
                <a:avLst/>
                <a:gdLst>
                  <a:gd name="T0" fmla="*/ 0 w 19"/>
                  <a:gd name="T1" fmla="*/ 1 h 58"/>
                  <a:gd name="T2" fmla="*/ 6 w 19"/>
                  <a:gd name="T3" fmla="*/ 1 h 58"/>
                  <a:gd name="T4" fmla="*/ 19 w 19"/>
                  <a:gd name="T5" fmla="*/ 0 h 58"/>
                  <a:gd name="T6" fmla="*/ 13 w 19"/>
                  <a:gd name="T7" fmla="*/ 1 h 58"/>
                  <a:gd name="T8" fmla="*/ 0 w 19"/>
                  <a:gd name="T9" fmla="*/ 1 h 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58">
                    <a:moveTo>
                      <a:pt x="0" y="35"/>
                    </a:moveTo>
                    <a:lnTo>
                      <a:pt x="6" y="25"/>
                    </a:lnTo>
                    <a:lnTo>
                      <a:pt x="19" y="0"/>
                    </a:lnTo>
                    <a:lnTo>
                      <a:pt x="13" y="58"/>
                    </a:lnTo>
                    <a:lnTo>
                      <a:pt x="0" y="3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88" name="Freeform 608"/>
            <p:cNvSpPr>
              <a:spLocks/>
            </p:cNvSpPr>
            <p:nvPr>
              <p:custDataLst>
                <p:tags r:id="rId496"/>
              </p:custDataLst>
            </p:nvPr>
          </p:nvSpPr>
          <p:spPr bwMode="auto">
            <a:xfrm>
              <a:off x="9535640" y="4523945"/>
              <a:ext cx="36088" cy="46038"/>
            </a:xfrm>
            <a:custGeom>
              <a:avLst/>
              <a:gdLst>
                <a:gd name="T0" fmla="*/ 0 w 19"/>
                <a:gd name="T1" fmla="*/ 2147483647 h 58"/>
                <a:gd name="T2" fmla="*/ 2147483647 w 19"/>
                <a:gd name="T3" fmla="*/ 2147483647 h 58"/>
                <a:gd name="T4" fmla="*/ 2147483647 w 19"/>
                <a:gd name="T5" fmla="*/ 0 h 58"/>
                <a:gd name="T6" fmla="*/ 2147483647 w 19"/>
                <a:gd name="T7" fmla="*/ 2147483647 h 58"/>
                <a:gd name="T8" fmla="*/ 0 w 19"/>
                <a:gd name="T9" fmla="*/ 2147483647 h 5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8">
                  <a:moveTo>
                    <a:pt x="0" y="35"/>
                  </a:moveTo>
                  <a:lnTo>
                    <a:pt x="6" y="25"/>
                  </a:lnTo>
                  <a:lnTo>
                    <a:pt x="19" y="0"/>
                  </a:lnTo>
                  <a:lnTo>
                    <a:pt x="13" y="58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89" name="Group 609"/>
            <p:cNvGrpSpPr>
              <a:grpSpLocks/>
            </p:cNvGrpSpPr>
            <p:nvPr>
              <p:custDataLst>
                <p:tags r:id="rId497"/>
              </p:custDataLst>
            </p:nvPr>
          </p:nvGrpSpPr>
          <p:grpSpPr bwMode="auto">
            <a:xfrm>
              <a:off x="9535640" y="4523945"/>
              <a:ext cx="36088" cy="46038"/>
              <a:chOff x="4846" y="2480"/>
              <a:chExt cx="19" cy="29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29" name="Freeform 610"/>
              <p:cNvSpPr>
                <a:spLocks/>
              </p:cNvSpPr>
              <p:nvPr/>
            </p:nvSpPr>
            <p:spPr bwMode="auto">
              <a:xfrm>
                <a:off x="4846" y="2480"/>
                <a:ext cx="19" cy="29"/>
              </a:xfrm>
              <a:custGeom>
                <a:avLst/>
                <a:gdLst>
                  <a:gd name="T0" fmla="*/ 0 w 19"/>
                  <a:gd name="T1" fmla="*/ 1 h 58"/>
                  <a:gd name="T2" fmla="*/ 6 w 19"/>
                  <a:gd name="T3" fmla="*/ 1 h 58"/>
                  <a:gd name="T4" fmla="*/ 19 w 19"/>
                  <a:gd name="T5" fmla="*/ 0 h 58"/>
                  <a:gd name="T6" fmla="*/ 13 w 19"/>
                  <a:gd name="T7" fmla="*/ 1 h 58"/>
                  <a:gd name="T8" fmla="*/ 0 w 19"/>
                  <a:gd name="T9" fmla="*/ 1 h 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58">
                    <a:moveTo>
                      <a:pt x="0" y="35"/>
                    </a:moveTo>
                    <a:lnTo>
                      <a:pt x="6" y="25"/>
                    </a:lnTo>
                    <a:lnTo>
                      <a:pt x="19" y="0"/>
                    </a:lnTo>
                    <a:lnTo>
                      <a:pt x="13" y="58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30" name="Freeform 611"/>
              <p:cNvSpPr>
                <a:spLocks/>
              </p:cNvSpPr>
              <p:nvPr/>
            </p:nvSpPr>
            <p:spPr bwMode="auto">
              <a:xfrm>
                <a:off x="4846" y="2480"/>
                <a:ext cx="19" cy="29"/>
              </a:xfrm>
              <a:custGeom>
                <a:avLst/>
                <a:gdLst>
                  <a:gd name="T0" fmla="*/ 0 w 19"/>
                  <a:gd name="T1" fmla="*/ 1 h 58"/>
                  <a:gd name="T2" fmla="*/ 6 w 19"/>
                  <a:gd name="T3" fmla="*/ 1 h 58"/>
                  <a:gd name="T4" fmla="*/ 19 w 19"/>
                  <a:gd name="T5" fmla="*/ 0 h 58"/>
                  <a:gd name="T6" fmla="*/ 13 w 19"/>
                  <a:gd name="T7" fmla="*/ 1 h 58"/>
                  <a:gd name="T8" fmla="*/ 0 w 19"/>
                  <a:gd name="T9" fmla="*/ 1 h 5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58">
                    <a:moveTo>
                      <a:pt x="0" y="35"/>
                    </a:moveTo>
                    <a:lnTo>
                      <a:pt x="6" y="25"/>
                    </a:lnTo>
                    <a:lnTo>
                      <a:pt x="19" y="0"/>
                    </a:lnTo>
                    <a:lnTo>
                      <a:pt x="13" y="58"/>
                    </a:lnTo>
                    <a:lnTo>
                      <a:pt x="0" y="35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90" name="Freeform 612"/>
            <p:cNvSpPr>
              <a:spLocks/>
            </p:cNvSpPr>
            <p:nvPr>
              <p:custDataLst>
                <p:tags r:id="rId498"/>
              </p:custDataLst>
            </p:nvPr>
          </p:nvSpPr>
          <p:spPr bwMode="auto">
            <a:xfrm>
              <a:off x="6422041" y="3252387"/>
              <a:ext cx="278681" cy="193675"/>
            </a:xfrm>
            <a:custGeom>
              <a:avLst/>
              <a:gdLst>
                <a:gd name="T0" fmla="*/ 0 w 151"/>
                <a:gd name="T1" fmla="*/ 2147483647 h 244"/>
                <a:gd name="T2" fmla="*/ 2147483647 w 151"/>
                <a:gd name="T3" fmla="*/ 2147483647 h 244"/>
                <a:gd name="T4" fmla="*/ 2147483647 w 151"/>
                <a:gd name="T5" fmla="*/ 2147483647 h 244"/>
                <a:gd name="T6" fmla="*/ 2147483647 w 151"/>
                <a:gd name="T7" fmla="*/ 2147483647 h 244"/>
                <a:gd name="T8" fmla="*/ 2147483647 w 151"/>
                <a:gd name="T9" fmla="*/ 2147483647 h 244"/>
                <a:gd name="T10" fmla="*/ 2147483647 w 151"/>
                <a:gd name="T11" fmla="*/ 2147483647 h 244"/>
                <a:gd name="T12" fmla="*/ 2147483647 w 151"/>
                <a:gd name="T13" fmla="*/ 2147483647 h 244"/>
                <a:gd name="T14" fmla="*/ 2147483647 w 151"/>
                <a:gd name="T15" fmla="*/ 2147483647 h 244"/>
                <a:gd name="T16" fmla="*/ 2147483647 w 151"/>
                <a:gd name="T17" fmla="*/ 2147483647 h 244"/>
                <a:gd name="T18" fmla="*/ 2147483647 w 151"/>
                <a:gd name="T19" fmla="*/ 0 h 244"/>
                <a:gd name="T20" fmla="*/ 0 w 151"/>
                <a:gd name="T21" fmla="*/ 2147483647 h 2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1" h="244">
                  <a:moveTo>
                    <a:pt x="0" y="45"/>
                  </a:moveTo>
                  <a:lnTo>
                    <a:pt x="7" y="179"/>
                  </a:lnTo>
                  <a:lnTo>
                    <a:pt x="88" y="235"/>
                  </a:lnTo>
                  <a:lnTo>
                    <a:pt x="125" y="244"/>
                  </a:lnTo>
                  <a:lnTo>
                    <a:pt x="151" y="179"/>
                  </a:lnTo>
                  <a:lnTo>
                    <a:pt x="138" y="110"/>
                  </a:lnTo>
                  <a:lnTo>
                    <a:pt x="151" y="89"/>
                  </a:lnTo>
                  <a:lnTo>
                    <a:pt x="145" y="33"/>
                  </a:lnTo>
                  <a:lnTo>
                    <a:pt x="88" y="10"/>
                  </a:lnTo>
                  <a:lnTo>
                    <a:pt x="51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91" name="Freeform 613"/>
            <p:cNvSpPr>
              <a:spLocks/>
            </p:cNvSpPr>
            <p:nvPr>
              <p:custDataLst>
                <p:tags r:id="rId499"/>
              </p:custDataLst>
            </p:nvPr>
          </p:nvSpPr>
          <p:spPr bwMode="auto">
            <a:xfrm>
              <a:off x="6422041" y="3252387"/>
              <a:ext cx="278681" cy="193675"/>
            </a:xfrm>
            <a:custGeom>
              <a:avLst/>
              <a:gdLst>
                <a:gd name="T0" fmla="*/ 0 w 151"/>
                <a:gd name="T1" fmla="*/ 2147483647 h 244"/>
                <a:gd name="T2" fmla="*/ 2147483647 w 151"/>
                <a:gd name="T3" fmla="*/ 2147483647 h 244"/>
                <a:gd name="T4" fmla="*/ 2147483647 w 151"/>
                <a:gd name="T5" fmla="*/ 2147483647 h 244"/>
                <a:gd name="T6" fmla="*/ 2147483647 w 151"/>
                <a:gd name="T7" fmla="*/ 2147483647 h 244"/>
                <a:gd name="T8" fmla="*/ 2147483647 w 151"/>
                <a:gd name="T9" fmla="*/ 2147483647 h 244"/>
                <a:gd name="T10" fmla="*/ 2147483647 w 151"/>
                <a:gd name="T11" fmla="*/ 2147483647 h 244"/>
                <a:gd name="T12" fmla="*/ 2147483647 w 151"/>
                <a:gd name="T13" fmla="*/ 2147483647 h 244"/>
                <a:gd name="T14" fmla="*/ 2147483647 w 151"/>
                <a:gd name="T15" fmla="*/ 2147483647 h 244"/>
                <a:gd name="T16" fmla="*/ 2147483647 w 151"/>
                <a:gd name="T17" fmla="*/ 2147483647 h 244"/>
                <a:gd name="T18" fmla="*/ 2147483647 w 151"/>
                <a:gd name="T19" fmla="*/ 0 h 244"/>
                <a:gd name="T20" fmla="*/ 0 w 151"/>
                <a:gd name="T21" fmla="*/ 2147483647 h 2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1" h="244">
                  <a:moveTo>
                    <a:pt x="0" y="45"/>
                  </a:moveTo>
                  <a:lnTo>
                    <a:pt x="7" y="179"/>
                  </a:lnTo>
                  <a:lnTo>
                    <a:pt x="88" y="235"/>
                  </a:lnTo>
                  <a:lnTo>
                    <a:pt x="125" y="244"/>
                  </a:lnTo>
                  <a:lnTo>
                    <a:pt x="151" y="179"/>
                  </a:lnTo>
                  <a:lnTo>
                    <a:pt x="138" y="110"/>
                  </a:lnTo>
                  <a:lnTo>
                    <a:pt x="151" y="89"/>
                  </a:lnTo>
                  <a:lnTo>
                    <a:pt x="145" y="33"/>
                  </a:lnTo>
                  <a:lnTo>
                    <a:pt x="88" y="10"/>
                  </a:lnTo>
                  <a:lnTo>
                    <a:pt x="51" y="0"/>
                  </a:lnTo>
                  <a:lnTo>
                    <a:pt x="0" y="4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92" name="Freeform 614"/>
            <p:cNvSpPr>
              <a:spLocks/>
            </p:cNvSpPr>
            <p:nvPr>
              <p:custDataLst>
                <p:tags r:id="rId500"/>
              </p:custDataLst>
            </p:nvPr>
          </p:nvSpPr>
          <p:spPr bwMode="auto">
            <a:xfrm>
              <a:off x="6422041" y="3252387"/>
              <a:ext cx="278681" cy="193675"/>
            </a:xfrm>
            <a:custGeom>
              <a:avLst/>
              <a:gdLst>
                <a:gd name="T0" fmla="*/ 0 w 151"/>
                <a:gd name="T1" fmla="*/ 2147483647 h 244"/>
                <a:gd name="T2" fmla="*/ 2147483647 w 151"/>
                <a:gd name="T3" fmla="*/ 2147483647 h 244"/>
                <a:gd name="T4" fmla="*/ 2147483647 w 151"/>
                <a:gd name="T5" fmla="*/ 2147483647 h 244"/>
                <a:gd name="T6" fmla="*/ 2147483647 w 151"/>
                <a:gd name="T7" fmla="*/ 2147483647 h 244"/>
                <a:gd name="T8" fmla="*/ 2147483647 w 151"/>
                <a:gd name="T9" fmla="*/ 2147483647 h 244"/>
                <a:gd name="T10" fmla="*/ 2147483647 w 151"/>
                <a:gd name="T11" fmla="*/ 2147483647 h 244"/>
                <a:gd name="T12" fmla="*/ 2147483647 w 151"/>
                <a:gd name="T13" fmla="*/ 2147483647 h 244"/>
                <a:gd name="T14" fmla="*/ 2147483647 w 151"/>
                <a:gd name="T15" fmla="*/ 2147483647 h 244"/>
                <a:gd name="T16" fmla="*/ 2147483647 w 151"/>
                <a:gd name="T17" fmla="*/ 2147483647 h 244"/>
                <a:gd name="T18" fmla="*/ 2147483647 w 151"/>
                <a:gd name="T19" fmla="*/ 0 h 244"/>
                <a:gd name="T20" fmla="*/ 0 w 151"/>
                <a:gd name="T21" fmla="*/ 2147483647 h 2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1" h="244">
                  <a:moveTo>
                    <a:pt x="0" y="45"/>
                  </a:moveTo>
                  <a:lnTo>
                    <a:pt x="7" y="179"/>
                  </a:lnTo>
                  <a:lnTo>
                    <a:pt x="88" y="235"/>
                  </a:lnTo>
                  <a:lnTo>
                    <a:pt x="125" y="244"/>
                  </a:lnTo>
                  <a:lnTo>
                    <a:pt x="151" y="179"/>
                  </a:lnTo>
                  <a:lnTo>
                    <a:pt x="138" y="110"/>
                  </a:lnTo>
                  <a:lnTo>
                    <a:pt x="151" y="89"/>
                  </a:lnTo>
                  <a:lnTo>
                    <a:pt x="145" y="33"/>
                  </a:lnTo>
                  <a:lnTo>
                    <a:pt x="88" y="10"/>
                  </a:lnTo>
                  <a:lnTo>
                    <a:pt x="51" y="0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93" name="Freeform 615"/>
            <p:cNvSpPr>
              <a:spLocks/>
            </p:cNvSpPr>
            <p:nvPr>
              <p:custDataLst>
                <p:tags r:id="rId501"/>
              </p:custDataLst>
            </p:nvPr>
          </p:nvSpPr>
          <p:spPr bwMode="auto">
            <a:xfrm>
              <a:off x="6422041" y="3252387"/>
              <a:ext cx="278681" cy="193675"/>
            </a:xfrm>
            <a:custGeom>
              <a:avLst/>
              <a:gdLst>
                <a:gd name="T0" fmla="*/ 0 w 151"/>
                <a:gd name="T1" fmla="*/ 2147483647 h 244"/>
                <a:gd name="T2" fmla="*/ 2147483647 w 151"/>
                <a:gd name="T3" fmla="*/ 2147483647 h 244"/>
                <a:gd name="T4" fmla="*/ 2147483647 w 151"/>
                <a:gd name="T5" fmla="*/ 2147483647 h 244"/>
                <a:gd name="T6" fmla="*/ 2147483647 w 151"/>
                <a:gd name="T7" fmla="*/ 2147483647 h 244"/>
                <a:gd name="T8" fmla="*/ 2147483647 w 151"/>
                <a:gd name="T9" fmla="*/ 2147483647 h 244"/>
                <a:gd name="T10" fmla="*/ 2147483647 w 151"/>
                <a:gd name="T11" fmla="*/ 2147483647 h 244"/>
                <a:gd name="T12" fmla="*/ 2147483647 w 151"/>
                <a:gd name="T13" fmla="*/ 2147483647 h 244"/>
                <a:gd name="T14" fmla="*/ 2147483647 w 151"/>
                <a:gd name="T15" fmla="*/ 2147483647 h 244"/>
                <a:gd name="T16" fmla="*/ 2147483647 w 151"/>
                <a:gd name="T17" fmla="*/ 2147483647 h 244"/>
                <a:gd name="T18" fmla="*/ 2147483647 w 151"/>
                <a:gd name="T19" fmla="*/ 0 h 244"/>
                <a:gd name="T20" fmla="*/ 0 w 151"/>
                <a:gd name="T21" fmla="*/ 2147483647 h 2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51" h="244">
                  <a:moveTo>
                    <a:pt x="0" y="45"/>
                  </a:moveTo>
                  <a:lnTo>
                    <a:pt x="7" y="179"/>
                  </a:lnTo>
                  <a:lnTo>
                    <a:pt x="88" y="235"/>
                  </a:lnTo>
                  <a:lnTo>
                    <a:pt x="125" y="244"/>
                  </a:lnTo>
                  <a:lnTo>
                    <a:pt x="151" y="179"/>
                  </a:lnTo>
                  <a:lnTo>
                    <a:pt x="138" y="110"/>
                  </a:lnTo>
                  <a:lnTo>
                    <a:pt x="151" y="89"/>
                  </a:lnTo>
                  <a:lnTo>
                    <a:pt x="145" y="33"/>
                  </a:lnTo>
                  <a:lnTo>
                    <a:pt x="88" y="10"/>
                  </a:lnTo>
                  <a:lnTo>
                    <a:pt x="51" y="0"/>
                  </a:lnTo>
                  <a:lnTo>
                    <a:pt x="0" y="4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94" name="Group 617"/>
            <p:cNvGrpSpPr>
              <a:grpSpLocks/>
            </p:cNvGrpSpPr>
            <p:nvPr>
              <p:custDataLst>
                <p:tags r:id="rId502"/>
              </p:custDataLst>
            </p:nvPr>
          </p:nvGrpSpPr>
          <p:grpSpPr bwMode="auto">
            <a:xfrm>
              <a:off x="5752396" y="3676220"/>
              <a:ext cx="80196" cy="141288"/>
              <a:chOff x="2801" y="1946"/>
              <a:chExt cx="44" cy="89"/>
            </a:xfrm>
            <a:solidFill>
              <a:srgbClr val="CCFFCC"/>
            </a:solidFill>
          </p:grpSpPr>
          <p:sp>
            <p:nvSpPr>
              <p:cNvPr id="3227" name="Freeform 618"/>
              <p:cNvSpPr>
                <a:spLocks/>
              </p:cNvSpPr>
              <p:nvPr/>
            </p:nvSpPr>
            <p:spPr bwMode="auto">
              <a:xfrm>
                <a:off x="2801" y="1946"/>
                <a:ext cx="44" cy="89"/>
              </a:xfrm>
              <a:custGeom>
                <a:avLst/>
                <a:gdLst>
                  <a:gd name="T0" fmla="*/ 0 w 44"/>
                  <a:gd name="T1" fmla="*/ 0 h 179"/>
                  <a:gd name="T2" fmla="*/ 6 w 44"/>
                  <a:gd name="T3" fmla="*/ 0 h 179"/>
                  <a:gd name="T4" fmla="*/ 44 w 44"/>
                  <a:gd name="T5" fmla="*/ 0 h 179"/>
                  <a:gd name="T6" fmla="*/ 31 w 44"/>
                  <a:gd name="T7" fmla="*/ 0 h 179"/>
                  <a:gd name="T8" fmla="*/ 31 w 44"/>
                  <a:gd name="T9" fmla="*/ 0 h 179"/>
                  <a:gd name="T10" fmla="*/ 6 w 44"/>
                  <a:gd name="T11" fmla="*/ 0 h 179"/>
                  <a:gd name="T12" fmla="*/ 13 w 44"/>
                  <a:gd name="T13" fmla="*/ 0 h 179"/>
                  <a:gd name="T14" fmla="*/ 0 w 44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179">
                    <a:moveTo>
                      <a:pt x="0" y="114"/>
                    </a:moveTo>
                    <a:lnTo>
                      <a:pt x="6" y="0"/>
                    </a:lnTo>
                    <a:lnTo>
                      <a:pt x="44" y="12"/>
                    </a:lnTo>
                    <a:lnTo>
                      <a:pt x="31" y="79"/>
                    </a:lnTo>
                    <a:lnTo>
                      <a:pt x="31" y="167"/>
                    </a:lnTo>
                    <a:lnTo>
                      <a:pt x="6" y="179"/>
                    </a:lnTo>
                    <a:lnTo>
                      <a:pt x="13" y="123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28" name="Freeform 619"/>
              <p:cNvSpPr>
                <a:spLocks/>
              </p:cNvSpPr>
              <p:nvPr/>
            </p:nvSpPr>
            <p:spPr bwMode="auto">
              <a:xfrm>
                <a:off x="2801" y="1946"/>
                <a:ext cx="44" cy="89"/>
              </a:xfrm>
              <a:custGeom>
                <a:avLst/>
                <a:gdLst>
                  <a:gd name="T0" fmla="*/ 0 w 44"/>
                  <a:gd name="T1" fmla="*/ 0 h 179"/>
                  <a:gd name="T2" fmla="*/ 6 w 44"/>
                  <a:gd name="T3" fmla="*/ 0 h 179"/>
                  <a:gd name="T4" fmla="*/ 44 w 44"/>
                  <a:gd name="T5" fmla="*/ 0 h 179"/>
                  <a:gd name="T6" fmla="*/ 31 w 44"/>
                  <a:gd name="T7" fmla="*/ 0 h 179"/>
                  <a:gd name="T8" fmla="*/ 31 w 44"/>
                  <a:gd name="T9" fmla="*/ 0 h 179"/>
                  <a:gd name="T10" fmla="*/ 6 w 44"/>
                  <a:gd name="T11" fmla="*/ 0 h 179"/>
                  <a:gd name="T12" fmla="*/ 13 w 44"/>
                  <a:gd name="T13" fmla="*/ 0 h 179"/>
                  <a:gd name="T14" fmla="*/ 0 w 44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179">
                    <a:moveTo>
                      <a:pt x="0" y="114"/>
                    </a:moveTo>
                    <a:lnTo>
                      <a:pt x="6" y="0"/>
                    </a:lnTo>
                    <a:lnTo>
                      <a:pt x="44" y="12"/>
                    </a:lnTo>
                    <a:lnTo>
                      <a:pt x="31" y="79"/>
                    </a:lnTo>
                    <a:lnTo>
                      <a:pt x="31" y="167"/>
                    </a:lnTo>
                    <a:lnTo>
                      <a:pt x="6" y="179"/>
                    </a:lnTo>
                    <a:lnTo>
                      <a:pt x="13" y="123"/>
                    </a:lnTo>
                    <a:lnTo>
                      <a:pt x="0" y="11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95" name="Freeform 620"/>
            <p:cNvSpPr>
              <a:spLocks/>
            </p:cNvSpPr>
            <p:nvPr>
              <p:custDataLst>
                <p:tags r:id="rId503"/>
              </p:custDataLst>
            </p:nvPr>
          </p:nvSpPr>
          <p:spPr bwMode="auto">
            <a:xfrm>
              <a:off x="5752396" y="3676220"/>
              <a:ext cx="80196" cy="141288"/>
            </a:xfrm>
            <a:custGeom>
              <a:avLst/>
              <a:gdLst>
                <a:gd name="T0" fmla="*/ 0 w 44"/>
                <a:gd name="T1" fmla="*/ 2147483647 h 179"/>
                <a:gd name="T2" fmla="*/ 2147483647 w 44"/>
                <a:gd name="T3" fmla="*/ 0 h 179"/>
                <a:gd name="T4" fmla="*/ 2147483647 w 44"/>
                <a:gd name="T5" fmla="*/ 2147483647 h 179"/>
                <a:gd name="T6" fmla="*/ 2147483647 w 44"/>
                <a:gd name="T7" fmla="*/ 2147483647 h 179"/>
                <a:gd name="T8" fmla="*/ 2147483647 w 44"/>
                <a:gd name="T9" fmla="*/ 2147483647 h 179"/>
                <a:gd name="T10" fmla="*/ 2147483647 w 44"/>
                <a:gd name="T11" fmla="*/ 2147483647 h 179"/>
                <a:gd name="T12" fmla="*/ 2147483647 w 44"/>
                <a:gd name="T13" fmla="*/ 2147483647 h 179"/>
                <a:gd name="T14" fmla="*/ 0 w 44"/>
                <a:gd name="T15" fmla="*/ 2147483647 h 1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4" h="179">
                  <a:moveTo>
                    <a:pt x="0" y="114"/>
                  </a:moveTo>
                  <a:lnTo>
                    <a:pt x="6" y="0"/>
                  </a:lnTo>
                  <a:lnTo>
                    <a:pt x="44" y="12"/>
                  </a:lnTo>
                  <a:lnTo>
                    <a:pt x="31" y="79"/>
                  </a:lnTo>
                  <a:lnTo>
                    <a:pt x="31" y="167"/>
                  </a:lnTo>
                  <a:lnTo>
                    <a:pt x="6" y="179"/>
                  </a:lnTo>
                  <a:lnTo>
                    <a:pt x="13" y="123"/>
                  </a:lnTo>
                  <a:lnTo>
                    <a:pt x="0" y="11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696" name="Group 621"/>
            <p:cNvGrpSpPr>
              <a:grpSpLocks/>
            </p:cNvGrpSpPr>
            <p:nvPr>
              <p:custDataLst>
                <p:tags r:id="rId504"/>
              </p:custDataLst>
            </p:nvPr>
          </p:nvGrpSpPr>
          <p:grpSpPr bwMode="auto">
            <a:xfrm>
              <a:off x="5752396" y="3676220"/>
              <a:ext cx="80196" cy="141288"/>
              <a:chOff x="2801" y="1946"/>
              <a:chExt cx="44" cy="89"/>
            </a:xfrm>
            <a:solidFill>
              <a:srgbClr val="CCFFCC"/>
            </a:solidFill>
          </p:grpSpPr>
          <p:sp>
            <p:nvSpPr>
              <p:cNvPr id="3225" name="Freeform 622"/>
              <p:cNvSpPr>
                <a:spLocks/>
              </p:cNvSpPr>
              <p:nvPr/>
            </p:nvSpPr>
            <p:spPr bwMode="auto">
              <a:xfrm>
                <a:off x="2801" y="1946"/>
                <a:ext cx="44" cy="89"/>
              </a:xfrm>
              <a:custGeom>
                <a:avLst/>
                <a:gdLst>
                  <a:gd name="T0" fmla="*/ 0 w 44"/>
                  <a:gd name="T1" fmla="*/ 0 h 179"/>
                  <a:gd name="T2" fmla="*/ 6 w 44"/>
                  <a:gd name="T3" fmla="*/ 0 h 179"/>
                  <a:gd name="T4" fmla="*/ 44 w 44"/>
                  <a:gd name="T5" fmla="*/ 0 h 179"/>
                  <a:gd name="T6" fmla="*/ 31 w 44"/>
                  <a:gd name="T7" fmla="*/ 0 h 179"/>
                  <a:gd name="T8" fmla="*/ 31 w 44"/>
                  <a:gd name="T9" fmla="*/ 0 h 179"/>
                  <a:gd name="T10" fmla="*/ 6 w 44"/>
                  <a:gd name="T11" fmla="*/ 0 h 179"/>
                  <a:gd name="T12" fmla="*/ 13 w 44"/>
                  <a:gd name="T13" fmla="*/ 0 h 179"/>
                  <a:gd name="T14" fmla="*/ 0 w 44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179">
                    <a:moveTo>
                      <a:pt x="0" y="114"/>
                    </a:moveTo>
                    <a:lnTo>
                      <a:pt x="6" y="0"/>
                    </a:lnTo>
                    <a:lnTo>
                      <a:pt x="44" y="12"/>
                    </a:lnTo>
                    <a:lnTo>
                      <a:pt x="31" y="79"/>
                    </a:lnTo>
                    <a:lnTo>
                      <a:pt x="31" y="167"/>
                    </a:lnTo>
                    <a:lnTo>
                      <a:pt x="6" y="179"/>
                    </a:lnTo>
                    <a:lnTo>
                      <a:pt x="13" y="123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26" name="Freeform 623"/>
              <p:cNvSpPr>
                <a:spLocks/>
              </p:cNvSpPr>
              <p:nvPr/>
            </p:nvSpPr>
            <p:spPr bwMode="auto">
              <a:xfrm>
                <a:off x="2801" y="1946"/>
                <a:ext cx="44" cy="89"/>
              </a:xfrm>
              <a:custGeom>
                <a:avLst/>
                <a:gdLst>
                  <a:gd name="T0" fmla="*/ 0 w 44"/>
                  <a:gd name="T1" fmla="*/ 0 h 179"/>
                  <a:gd name="T2" fmla="*/ 6 w 44"/>
                  <a:gd name="T3" fmla="*/ 0 h 179"/>
                  <a:gd name="T4" fmla="*/ 44 w 44"/>
                  <a:gd name="T5" fmla="*/ 0 h 179"/>
                  <a:gd name="T6" fmla="*/ 31 w 44"/>
                  <a:gd name="T7" fmla="*/ 0 h 179"/>
                  <a:gd name="T8" fmla="*/ 31 w 44"/>
                  <a:gd name="T9" fmla="*/ 0 h 179"/>
                  <a:gd name="T10" fmla="*/ 6 w 44"/>
                  <a:gd name="T11" fmla="*/ 0 h 179"/>
                  <a:gd name="T12" fmla="*/ 13 w 44"/>
                  <a:gd name="T13" fmla="*/ 0 h 179"/>
                  <a:gd name="T14" fmla="*/ 0 w 44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179">
                    <a:moveTo>
                      <a:pt x="0" y="114"/>
                    </a:moveTo>
                    <a:lnTo>
                      <a:pt x="6" y="0"/>
                    </a:lnTo>
                    <a:lnTo>
                      <a:pt x="44" y="12"/>
                    </a:lnTo>
                    <a:lnTo>
                      <a:pt x="31" y="79"/>
                    </a:lnTo>
                    <a:lnTo>
                      <a:pt x="31" y="167"/>
                    </a:lnTo>
                    <a:lnTo>
                      <a:pt x="6" y="179"/>
                    </a:lnTo>
                    <a:lnTo>
                      <a:pt x="13" y="123"/>
                    </a:lnTo>
                    <a:lnTo>
                      <a:pt x="0" y="11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697" name="Freeform 624"/>
            <p:cNvSpPr>
              <a:spLocks/>
            </p:cNvSpPr>
            <p:nvPr>
              <p:custDataLst>
                <p:tags r:id="rId505"/>
              </p:custDataLst>
            </p:nvPr>
          </p:nvSpPr>
          <p:spPr bwMode="auto">
            <a:xfrm>
              <a:off x="6596469" y="3473040"/>
              <a:ext cx="278680" cy="142875"/>
            </a:xfrm>
            <a:custGeom>
              <a:avLst/>
              <a:gdLst>
                <a:gd name="T0" fmla="*/ 0 w 150"/>
                <a:gd name="T1" fmla="*/ 2147483647 h 178"/>
                <a:gd name="T2" fmla="*/ 2147483647 w 150"/>
                <a:gd name="T3" fmla="*/ 2147483647 h 178"/>
                <a:gd name="T4" fmla="*/ 2147483647 w 150"/>
                <a:gd name="T5" fmla="*/ 2147483647 h 178"/>
                <a:gd name="T6" fmla="*/ 2147483647 w 150"/>
                <a:gd name="T7" fmla="*/ 2147483647 h 178"/>
                <a:gd name="T8" fmla="*/ 2147483647 w 150"/>
                <a:gd name="T9" fmla="*/ 2147483647 h 178"/>
                <a:gd name="T10" fmla="*/ 2147483647 w 150"/>
                <a:gd name="T11" fmla="*/ 2147483647 h 178"/>
                <a:gd name="T12" fmla="*/ 2147483647 w 150"/>
                <a:gd name="T13" fmla="*/ 0 h 178"/>
                <a:gd name="T14" fmla="*/ 2147483647 w 150"/>
                <a:gd name="T15" fmla="*/ 2147483647 h 178"/>
                <a:gd name="T16" fmla="*/ 0 w 150"/>
                <a:gd name="T17" fmla="*/ 2147483647 h 17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0" h="178">
                  <a:moveTo>
                    <a:pt x="0" y="88"/>
                  </a:moveTo>
                  <a:lnTo>
                    <a:pt x="37" y="155"/>
                  </a:lnTo>
                  <a:lnTo>
                    <a:pt x="131" y="178"/>
                  </a:lnTo>
                  <a:lnTo>
                    <a:pt x="150" y="123"/>
                  </a:lnTo>
                  <a:lnTo>
                    <a:pt x="125" y="111"/>
                  </a:lnTo>
                  <a:lnTo>
                    <a:pt x="117" y="54"/>
                  </a:lnTo>
                  <a:lnTo>
                    <a:pt x="99" y="0"/>
                  </a:lnTo>
                  <a:lnTo>
                    <a:pt x="37" y="9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98" name="Freeform 625"/>
            <p:cNvSpPr>
              <a:spLocks/>
            </p:cNvSpPr>
            <p:nvPr>
              <p:custDataLst>
                <p:tags r:id="rId506"/>
              </p:custDataLst>
            </p:nvPr>
          </p:nvSpPr>
          <p:spPr bwMode="auto">
            <a:xfrm>
              <a:off x="6596469" y="3473040"/>
              <a:ext cx="278680" cy="142875"/>
            </a:xfrm>
            <a:custGeom>
              <a:avLst/>
              <a:gdLst>
                <a:gd name="T0" fmla="*/ 0 w 150"/>
                <a:gd name="T1" fmla="*/ 2147483647 h 178"/>
                <a:gd name="T2" fmla="*/ 2147483647 w 150"/>
                <a:gd name="T3" fmla="*/ 2147483647 h 178"/>
                <a:gd name="T4" fmla="*/ 2147483647 w 150"/>
                <a:gd name="T5" fmla="*/ 2147483647 h 178"/>
                <a:gd name="T6" fmla="*/ 2147483647 w 150"/>
                <a:gd name="T7" fmla="*/ 2147483647 h 178"/>
                <a:gd name="T8" fmla="*/ 2147483647 w 150"/>
                <a:gd name="T9" fmla="*/ 2147483647 h 178"/>
                <a:gd name="T10" fmla="*/ 2147483647 w 150"/>
                <a:gd name="T11" fmla="*/ 2147483647 h 178"/>
                <a:gd name="T12" fmla="*/ 2147483647 w 150"/>
                <a:gd name="T13" fmla="*/ 0 h 178"/>
                <a:gd name="T14" fmla="*/ 2147483647 w 150"/>
                <a:gd name="T15" fmla="*/ 2147483647 h 178"/>
                <a:gd name="T16" fmla="*/ 0 w 150"/>
                <a:gd name="T17" fmla="*/ 2147483647 h 17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0" h="178">
                  <a:moveTo>
                    <a:pt x="0" y="88"/>
                  </a:moveTo>
                  <a:lnTo>
                    <a:pt x="37" y="155"/>
                  </a:lnTo>
                  <a:lnTo>
                    <a:pt x="131" y="178"/>
                  </a:lnTo>
                  <a:lnTo>
                    <a:pt x="150" y="123"/>
                  </a:lnTo>
                  <a:lnTo>
                    <a:pt x="125" y="111"/>
                  </a:lnTo>
                  <a:lnTo>
                    <a:pt x="117" y="54"/>
                  </a:lnTo>
                  <a:lnTo>
                    <a:pt x="99" y="0"/>
                  </a:lnTo>
                  <a:lnTo>
                    <a:pt x="37" y="9"/>
                  </a:lnTo>
                  <a:lnTo>
                    <a:pt x="0" y="88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699" name="Freeform 626"/>
            <p:cNvSpPr>
              <a:spLocks/>
            </p:cNvSpPr>
            <p:nvPr>
              <p:custDataLst>
                <p:tags r:id="rId507"/>
              </p:custDataLst>
            </p:nvPr>
          </p:nvSpPr>
          <p:spPr bwMode="auto">
            <a:xfrm>
              <a:off x="6596469" y="3473040"/>
              <a:ext cx="278680" cy="142875"/>
            </a:xfrm>
            <a:custGeom>
              <a:avLst/>
              <a:gdLst>
                <a:gd name="T0" fmla="*/ 0 w 150"/>
                <a:gd name="T1" fmla="*/ 2147483647 h 178"/>
                <a:gd name="T2" fmla="*/ 2147483647 w 150"/>
                <a:gd name="T3" fmla="*/ 2147483647 h 178"/>
                <a:gd name="T4" fmla="*/ 2147483647 w 150"/>
                <a:gd name="T5" fmla="*/ 2147483647 h 178"/>
                <a:gd name="T6" fmla="*/ 2147483647 w 150"/>
                <a:gd name="T7" fmla="*/ 2147483647 h 178"/>
                <a:gd name="T8" fmla="*/ 2147483647 w 150"/>
                <a:gd name="T9" fmla="*/ 2147483647 h 178"/>
                <a:gd name="T10" fmla="*/ 2147483647 w 150"/>
                <a:gd name="T11" fmla="*/ 2147483647 h 178"/>
                <a:gd name="T12" fmla="*/ 2147483647 w 150"/>
                <a:gd name="T13" fmla="*/ 0 h 178"/>
                <a:gd name="T14" fmla="*/ 2147483647 w 150"/>
                <a:gd name="T15" fmla="*/ 2147483647 h 178"/>
                <a:gd name="T16" fmla="*/ 0 w 150"/>
                <a:gd name="T17" fmla="*/ 2147483647 h 17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0" h="178">
                  <a:moveTo>
                    <a:pt x="0" y="88"/>
                  </a:moveTo>
                  <a:lnTo>
                    <a:pt x="37" y="155"/>
                  </a:lnTo>
                  <a:lnTo>
                    <a:pt x="131" y="178"/>
                  </a:lnTo>
                  <a:lnTo>
                    <a:pt x="150" y="123"/>
                  </a:lnTo>
                  <a:lnTo>
                    <a:pt x="125" y="111"/>
                  </a:lnTo>
                  <a:lnTo>
                    <a:pt x="117" y="54"/>
                  </a:lnTo>
                  <a:lnTo>
                    <a:pt x="99" y="0"/>
                  </a:lnTo>
                  <a:lnTo>
                    <a:pt x="37" y="9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00" name="Freeform 627"/>
            <p:cNvSpPr>
              <a:spLocks/>
            </p:cNvSpPr>
            <p:nvPr>
              <p:custDataLst>
                <p:tags r:id="rId508"/>
              </p:custDataLst>
            </p:nvPr>
          </p:nvSpPr>
          <p:spPr bwMode="auto">
            <a:xfrm>
              <a:off x="6596469" y="3473040"/>
              <a:ext cx="278680" cy="142875"/>
            </a:xfrm>
            <a:custGeom>
              <a:avLst/>
              <a:gdLst>
                <a:gd name="T0" fmla="*/ 0 w 150"/>
                <a:gd name="T1" fmla="*/ 2147483647 h 178"/>
                <a:gd name="T2" fmla="*/ 2147483647 w 150"/>
                <a:gd name="T3" fmla="*/ 2147483647 h 178"/>
                <a:gd name="T4" fmla="*/ 2147483647 w 150"/>
                <a:gd name="T5" fmla="*/ 2147483647 h 178"/>
                <a:gd name="T6" fmla="*/ 2147483647 w 150"/>
                <a:gd name="T7" fmla="*/ 2147483647 h 178"/>
                <a:gd name="T8" fmla="*/ 2147483647 w 150"/>
                <a:gd name="T9" fmla="*/ 2147483647 h 178"/>
                <a:gd name="T10" fmla="*/ 2147483647 w 150"/>
                <a:gd name="T11" fmla="*/ 2147483647 h 178"/>
                <a:gd name="T12" fmla="*/ 2147483647 w 150"/>
                <a:gd name="T13" fmla="*/ 0 h 178"/>
                <a:gd name="T14" fmla="*/ 2147483647 w 150"/>
                <a:gd name="T15" fmla="*/ 2147483647 h 178"/>
                <a:gd name="T16" fmla="*/ 0 w 150"/>
                <a:gd name="T17" fmla="*/ 2147483647 h 17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0" h="178">
                  <a:moveTo>
                    <a:pt x="0" y="88"/>
                  </a:moveTo>
                  <a:lnTo>
                    <a:pt x="37" y="155"/>
                  </a:lnTo>
                  <a:lnTo>
                    <a:pt x="131" y="178"/>
                  </a:lnTo>
                  <a:lnTo>
                    <a:pt x="150" y="123"/>
                  </a:lnTo>
                  <a:lnTo>
                    <a:pt x="125" y="111"/>
                  </a:lnTo>
                  <a:lnTo>
                    <a:pt x="117" y="54"/>
                  </a:lnTo>
                  <a:lnTo>
                    <a:pt x="99" y="0"/>
                  </a:lnTo>
                  <a:lnTo>
                    <a:pt x="37" y="9"/>
                  </a:lnTo>
                  <a:lnTo>
                    <a:pt x="0" y="88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01" name="Freeform 628"/>
            <p:cNvSpPr>
              <a:spLocks/>
            </p:cNvSpPr>
            <p:nvPr>
              <p:custDataLst>
                <p:tags r:id="rId509"/>
              </p:custDataLst>
            </p:nvPr>
          </p:nvSpPr>
          <p:spPr bwMode="auto">
            <a:xfrm>
              <a:off x="7013476" y="3950858"/>
              <a:ext cx="601469" cy="449262"/>
            </a:xfrm>
            <a:custGeom>
              <a:avLst/>
              <a:gdLst>
                <a:gd name="T0" fmla="*/ 0 w 325"/>
                <a:gd name="T1" fmla="*/ 2147483647 h 567"/>
                <a:gd name="T2" fmla="*/ 2147483647 w 325"/>
                <a:gd name="T3" fmla="*/ 2147483647 h 567"/>
                <a:gd name="T4" fmla="*/ 2147483647 w 325"/>
                <a:gd name="T5" fmla="*/ 2147483647 h 567"/>
                <a:gd name="T6" fmla="*/ 2147483647 w 325"/>
                <a:gd name="T7" fmla="*/ 2147483647 h 567"/>
                <a:gd name="T8" fmla="*/ 2147483647 w 325"/>
                <a:gd name="T9" fmla="*/ 2147483647 h 567"/>
                <a:gd name="T10" fmla="*/ 2147483647 w 325"/>
                <a:gd name="T11" fmla="*/ 2147483647 h 567"/>
                <a:gd name="T12" fmla="*/ 2147483647 w 325"/>
                <a:gd name="T13" fmla="*/ 0 h 567"/>
                <a:gd name="T14" fmla="*/ 2147483647 w 325"/>
                <a:gd name="T15" fmla="*/ 2147483647 h 567"/>
                <a:gd name="T16" fmla="*/ 2147483647 w 325"/>
                <a:gd name="T17" fmla="*/ 2147483647 h 567"/>
                <a:gd name="T18" fmla="*/ 2147483647 w 325"/>
                <a:gd name="T19" fmla="*/ 2147483647 h 567"/>
                <a:gd name="T20" fmla="*/ 2147483647 w 325"/>
                <a:gd name="T21" fmla="*/ 2147483647 h 567"/>
                <a:gd name="T22" fmla="*/ 2147483647 w 325"/>
                <a:gd name="T23" fmla="*/ 2147483647 h 567"/>
                <a:gd name="T24" fmla="*/ 2147483647 w 325"/>
                <a:gd name="T25" fmla="*/ 2147483647 h 567"/>
                <a:gd name="T26" fmla="*/ 2147483647 w 325"/>
                <a:gd name="T27" fmla="*/ 2147483647 h 567"/>
                <a:gd name="T28" fmla="*/ 2147483647 w 325"/>
                <a:gd name="T29" fmla="*/ 2147483647 h 567"/>
                <a:gd name="T30" fmla="*/ 2147483647 w 325"/>
                <a:gd name="T31" fmla="*/ 2147483647 h 567"/>
                <a:gd name="T32" fmla="*/ 2147483647 w 325"/>
                <a:gd name="T33" fmla="*/ 2147483647 h 567"/>
                <a:gd name="T34" fmla="*/ 2147483647 w 325"/>
                <a:gd name="T35" fmla="*/ 2147483647 h 567"/>
                <a:gd name="T36" fmla="*/ 2147483647 w 325"/>
                <a:gd name="T37" fmla="*/ 2147483647 h 567"/>
                <a:gd name="T38" fmla="*/ 2147483647 w 325"/>
                <a:gd name="T39" fmla="*/ 2147483647 h 567"/>
                <a:gd name="T40" fmla="*/ 2147483647 w 325"/>
                <a:gd name="T41" fmla="*/ 2147483647 h 567"/>
                <a:gd name="T42" fmla="*/ 2147483647 w 325"/>
                <a:gd name="T43" fmla="*/ 2147483647 h 567"/>
                <a:gd name="T44" fmla="*/ 2147483647 w 325"/>
                <a:gd name="T45" fmla="*/ 2147483647 h 567"/>
                <a:gd name="T46" fmla="*/ 2147483647 w 325"/>
                <a:gd name="T47" fmla="*/ 2147483647 h 567"/>
                <a:gd name="T48" fmla="*/ 2147483647 w 325"/>
                <a:gd name="T49" fmla="*/ 2147483647 h 567"/>
                <a:gd name="T50" fmla="*/ 2147483647 w 325"/>
                <a:gd name="T51" fmla="*/ 2147483647 h 567"/>
                <a:gd name="T52" fmla="*/ 2147483647 w 325"/>
                <a:gd name="T53" fmla="*/ 2147483647 h 567"/>
                <a:gd name="T54" fmla="*/ 2147483647 w 325"/>
                <a:gd name="T55" fmla="*/ 2147483647 h 567"/>
                <a:gd name="T56" fmla="*/ 0 w 325"/>
                <a:gd name="T57" fmla="*/ 2147483647 h 56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25" h="567">
                  <a:moveTo>
                    <a:pt x="0" y="157"/>
                  </a:moveTo>
                  <a:lnTo>
                    <a:pt x="6" y="100"/>
                  </a:lnTo>
                  <a:lnTo>
                    <a:pt x="25" y="113"/>
                  </a:lnTo>
                  <a:lnTo>
                    <a:pt x="43" y="79"/>
                  </a:lnTo>
                  <a:lnTo>
                    <a:pt x="51" y="67"/>
                  </a:lnTo>
                  <a:lnTo>
                    <a:pt x="37" y="23"/>
                  </a:lnTo>
                  <a:lnTo>
                    <a:pt x="69" y="0"/>
                  </a:lnTo>
                  <a:lnTo>
                    <a:pt x="138" y="67"/>
                  </a:lnTo>
                  <a:lnTo>
                    <a:pt x="138" y="88"/>
                  </a:lnTo>
                  <a:lnTo>
                    <a:pt x="156" y="113"/>
                  </a:lnTo>
                  <a:lnTo>
                    <a:pt x="169" y="123"/>
                  </a:lnTo>
                  <a:lnTo>
                    <a:pt x="187" y="113"/>
                  </a:lnTo>
                  <a:lnTo>
                    <a:pt x="212" y="134"/>
                  </a:lnTo>
                  <a:lnTo>
                    <a:pt x="250" y="255"/>
                  </a:lnTo>
                  <a:lnTo>
                    <a:pt x="256" y="267"/>
                  </a:lnTo>
                  <a:lnTo>
                    <a:pt x="269" y="325"/>
                  </a:lnTo>
                  <a:lnTo>
                    <a:pt x="319" y="334"/>
                  </a:lnTo>
                  <a:lnTo>
                    <a:pt x="325" y="355"/>
                  </a:lnTo>
                  <a:lnTo>
                    <a:pt x="312" y="423"/>
                  </a:lnTo>
                  <a:lnTo>
                    <a:pt x="269" y="457"/>
                  </a:lnTo>
                  <a:lnTo>
                    <a:pt x="219" y="478"/>
                  </a:lnTo>
                  <a:lnTo>
                    <a:pt x="181" y="567"/>
                  </a:lnTo>
                  <a:lnTo>
                    <a:pt x="181" y="536"/>
                  </a:lnTo>
                  <a:lnTo>
                    <a:pt x="150" y="513"/>
                  </a:lnTo>
                  <a:lnTo>
                    <a:pt x="125" y="536"/>
                  </a:lnTo>
                  <a:lnTo>
                    <a:pt x="94" y="434"/>
                  </a:lnTo>
                  <a:lnTo>
                    <a:pt x="75" y="399"/>
                  </a:lnTo>
                  <a:lnTo>
                    <a:pt x="56" y="290"/>
                  </a:lnTo>
                  <a:lnTo>
                    <a:pt x="0" y="15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02" name="Freeform 629"/>
            <p:cNvSpPr>
              <a:spLocks/>
            </p:cNvSpPr>
            <p:nvPr>
              <p:custDataLst>
                <p:tags r:id="rId510"/>
              </p:custDataLst>
            </p:nvPr>
          </p:nvSpPr>
          <p:spPr bwMode="auto">
            <a:xfrm>
              <a:off x="7013476" y="3950858"/>
              <a:ext cx="601469" cy="449262"/>
            </a:xfrm>
            <a:custGeom>
              <a:avLst/>
              <a:gdLst>
                <a:gd name="T0" fmla="*/ 0 w 325"/>
                <a:gd name="T1" fmla="*/ 2147483647 h 567"/>
                <a:gd name="T2" fmla="*/ 2147483647 w 325"/>
                <a:gd name="T3" fmla="*/ 2147483647 h 567"/>
                <a:gd name="T4" fmla="*/ 2147483647 w 325"/>
                <a:gd name="T5" fmla="*/ 2147483647 h 567"/>
                <a:gd name="T6" fmla="*/ 2147483647 w 325"/>
                <a:gd name="T7" fmla="*/ 2147483647 h 567"/>
                <a:gd name="T8" fmla="*/ 2147483647 w 325"/>
                <a:gd name="T9" fmla="*/ 2147483647 h 567"/>
                <a:gd name="T10" fmla="*/ 2147483647 w 325"/>
                <a:gd name="T11" fmla="*/ 2147483647 h 567"/>
                <a:gd name="T12" fmla="*/ 2147483647 w 325"/>
                <a:gd name="T13" fmla="*/ 0 h 567"/>
                <a:gd name="T14" fmla="*/ 2147483647 w 325"/>
                <a:gd name="T15" fmla="*/ 2147483647 h 567"/>
                <a:gd name="T16" fmla="*/ 2147483647 w 325"/>
                <a:gd name="T17" fmla="*/ 2147483647 h 567"/>
                <a:gd name="T18" fmla="*/ 2147483647 w 325"/>
                <a:gd name="T19" fmla="*/ 2147483647 h 567"/>
                <a:gd name="T20" fmla="*/ 2147483647 w 325"/>
                <a:gd name="T21" fmla="*/ 2147483647 h 567"/>
                <a:gd name="T22" fmla="*/ 2147483647 w 325"/>
                <a:gd name="T23" fmla="*/ 2147483647 h 567"/>
                <a:gd name="T24" fmla="*/ 2147483647 w 325"/>
                <a:gd name="T25" fmla="*/ 2147483647 h 567"/>
                <a:gd name="T26" fmla="*/ 2147483647 w 325"/>
                <a:gd name="T27" fmla="*/ 2147483647 h 567"/>
                <a:gd name="T28" fmla="*/ 2147483647 w 325"/>
                <a:gd name="T29" fmla="*/ 2147483647 h 567"/>
                <a:gd name="T30" fmla="*/ 2147483647 w 325"/>
                <a:gd name="T31" fmla="*/ 2147483647 h 567"/>
                <a:gd name="T32" fmla="*/ 2147483647 w 325"/>
                <a:gd name="T33" fmla="*/ 2147483647 h 567"/>
                <a:gd name="T34" fmla="*/ 2147483647 w 325"/>
                <a:gd name="T35" fmla="*/ 2147483647 h 567"/>
                <a:gd name="T36" fmla="*/ 2147483647 w 325"/>
                <a:gd name="T37" fmla="*/ 2147483647 h 567"/>
                <a:gd name="T38" fmla="*/ 2147483647 w 325"/>
                <a:gd name="T39" fmla="*/ 2147483647 h 567"/>
                <a:gd name="T40" fmla="*/ 2147483647 w 325"/>
                <a:gd name="T41" fmla="*/ 2147483647 h 567"/>
                <a:gd name="T42" fmla="*/ 2147483647 w 325"/>
                <a:gd name="T43" fmla="*/ 2147483647 h 567"/>
                <a:gd name="T44" fmla="*/ 2147483647 w 325"/>
                <a:gd name="T45" fmla="*/ 2147483647 h 567"/>
                <a:gd name="T46" fmla="*/ 2147483647 w 325"/>
                <a:gd name="T47" fmla="*/ 2147483647 h 567"/>
                <a:gd name="T48" fmla="*/ 2147483647 w 325"/>
                <a:gd name="T49" fmla="*/ 2147483647 h 567"/>
                <a:gd name="T50" fmla="*/ 2147483647 w 325"/>
                <a:gd name="T51" fmla="*/ 2147483647 h 567"/>
                <a:gd name="T52" fmla="*/ 2147483647 w 325"/>
                <a:gd name="T53" fmla="*/ 2147483647 h 567"/>
                <a:gd name="T54" fmla="*/ 2147483647 w 325"/>
                <a:gd name="T55" fmla="*/ 2147483647 h 567"/>
                <a:gd name="T56" fmla="*/ 0 w 325"/>
                <a:gd name="T57" fmla="*/ 2147483647 h 56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25" h="567">
                  <a:moveTo>
                    <a:pt x="0" y="157"/>
                  </a:moveTo>
                  <a:lnTo>
                    <a:pt x="6" y="100"/>
                  </a:lnTo>
                  <a:lnTo>
                    <a:pt x="25" y="113"/>
                  </a:lnTo>
                  <a:lnTo>
                    <a:pt x="43" y="79"/>
                  </a:lnTo>
                  <a:lnTo>
                    <a:pt x="51" y="67"/>
                  </a:lnTo>
                  <a:lnTo>
                    <a:pt x="37" y="23"/>
                  </a:lnTo>
                  <a:lnTo>
                    <a:pt x="69" y="0"/>
                  </a:lnTo>
                  <a:lnTo>
                    <a:pt x="138" y="67"/>
                  </a:lnTo>
                  <a:lnTo>
                    <a:pt x="138" y="88"/>
                  </a:lnTo>
                  <a:lnTo>
                    <a:pt x="156" y="113"/>
                  </a:lnTo>
                  <a:lnTo>
                    <a:pt x="169" y="123"/>
                  </a:lnTo>
                  <a:lnTo>
                    <a:pt x="187" y="113"/>
                  </a:lnTo>
                  <a:lnTo>
                    <a:pt x="212" y="134"/>
                  </a:lnTo>
                  <a:lnTo>
                    <a:pt x="250" y="255"/>
                  </a:lnTo>
                  <a:lnTo>
                    <a:pt x="256" y="267"/>
                  </a:lnTo>
                  <a:lnTo>
                    <a:pt x="269" y="325"/>
                  </a:lnTo>
                  <a:lnTo>
                    <a:pt x="319" y="334"/>
                  </a:lnTo>
                  <a:lnTo>
                    <a:pt x="325" y="355"/>
                  </a:lnTo>
                  <a:lnTo>
                    <a:pt x="312" y="423"/>
                  </a:lnTo>
                  <a:lnTo>
                    <a:pt x="269" y="457"/>
                  </a:lnTo>
                  <a:lnTo>
                    <a:pt x="219" y="478"/>
                  </a:lnTo>
                  <a:lnTo>
                    <a:pt x="181" y="567"/>
                  </a:lnTo>
                  <a:lnTo>
                    <a:pt x="181" y="536"/>
                  </a:lnTo>
                  <a:lnTo>
                    <a:pt x="150" y="513"/>
                  </a:lnTo>
                  <a:lnTo>
                    <a:pt x="125" y="536"/>
                  </a:lnTo>
                  <a:lnTo>
                    <a:pt x="94" y="434"/>
                  </a:lnTo>
                  <a:lnTo>
                    <a:pt x="75" y="399"/>
                  </a:lnTo>
                  <a:lnTo>
                    <a:pt x="56" y="290"/>
                  </a:lnTo>
                  <a:lnTo>
                    <a:pt x="0" y="15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03" name="Freeform 630"/>
            <p:cNvSpPr>
              <a:spLocks/>
            </p:cNvSpPr>
            <p:nvPr>
              <p:custDataLst>
                <p:tags r:id="rId511"/>
              </p:custDataLst>
            </p:nvPr>
          </p:nvSpPr>
          <p:spPr bwMode="auto">
            <a:xfrm>
              <a:off x="7013476" y="3950858"/>
              <a:ext cx="601469" cy="449262"/>
            </a:xfrm>
            <a:custGeom>
              <a:avLst/>
              <a:gdLst>
                <a:gd name="T0" fmla="*/ 0 w 325"/>
                <a:gd name="T1" fmla="*/ 2147483647 h 567"/>
                <a:gd name="T2" fmla="*/ 2147483647 w 325"/>
                <a:gd name="T3" fmla="*/ 2147483647 h 567"/>
                <a:gd name="T4" fmla="*/ 2147483647 w 325"/>
                <a:gd name="T5" fmla="*/ 2147483647 h 567"/>
                <a:gd name="T6" fmla="*/ 2147483647 w 325"/>
                <a:gd name="T7" fmla="*/ 2147483647 h 567"/>
                <a:gd name="T8" fmla="*/ 2147483647 w 325"/>
                <a:gd name="T9" fmla="*/ 2147483647 h 567"/>
                <a:gd name="T10" fmla="*/ 2147483647 w 325"/>
                <a:gd name="T11" fmla="*/ 2147483647 h 567"/>
                <a:gd name="T12" fmla="*/ 2147483647 w 325"/>
                <a:gd name="T13" fmla="*/ 0 h 567"/>
                <a:gd name="T14" fmla="*/ 2147483647 w 325"/>
                <a:gd name="T15" fmla="*/ 2147483647 h 567"/>
                <a:gd name="T16" fmla="*/ 2147483647 w 325"/>
                <a:gd name="T17" fmla="*/ 2147483647 h 567"/>
                <a:gd name="T18" fmla="*/ 2147483647 w 325"/>
                <a:gd name="T19" fmla="*/ 2147483647 h 567"/>
                <a:gd name="T20" fmla="*/ 2147483647 w 325"/>
                <a:gd name="T21" fmla="*/ 2147483647 h 567"/>
                <a:gd name="T22" fmla="*/ 2147483647 w 325"/>
                <a:gd name="T23" fmla="*/ 2147483647 h 567"/>
                <a:gd name="T24" fmla="*/ 2147483647 w 325"/>
                <a:gd name="T25" fmla="*/ 2147483647 h 567"/>
                <a:gd name="T26" fmla="*/ 2147483647 w 325"/>
                <a:gd name="T27" fmla="*/ 2147483647 h 567"/>
                <a:gd name="T28" fmla="*/ 2147483647 w 325"/>
                <a:gd name="T29" fmla="*/ 2147483647 h 567"/>
                <a:gd name="T30" fmla="*/ 2147483647 w 325"/>
                <a:gd name="T31" fmla="*/ 2147483647 h 567"/>
                <a:gd name="T32" fmla="*/ 2147483647 w 325"/>
                <a:gd name="T33" fmla="*/ 2147483647 h 567"/>
                <a:gd name="T34" fmla="*/ 2147483647 w 325"/>
                <a:gd name="T35" fmla="*/ 2147483647 h 567"/>
                <a:gd name="T36" fmla="*/ 2147483647 w 325"/>
                <a:gd name="T37" fmla="*/ 2147483647 h 567"/>
                <a:gd name="T38" fmla="*/ 2147483647 w 325"/>
                <a:gd name="T39" fmla="*/ 2147483647 h 567"/>
                <a:gd name="T40" fmla="*/ 2147483647 w 325"/>
                <a:gd name="T41" fmla="*/ 2147483647 h 567"/>
                <a:gd name="T42" fmla="*/ 2147483647 w 325"/>
                <a:gd name="T43" fmla="*/ 2147483647 h 567"/>
                <a:gd name="T44" fmla="*/ 2147483647 w 325"/>
                <a:gd name="T45" fmla="*/ 2147483647 h 567"/>
                <a:gd name="T46" fmla="*/ 2147483647 w 325"/>
                <a:gd name="T47" fmla="*/ 2147483647 h 567"/>
                <a:gd name="T48" fmla="*/ 2147483647 w 325"/>
                <a:gd name="T49" fmla="*/ 2147483647 h 567"/>
                <a:gd name="T50" fmla="*/ 2147483647 w 325"/>
                <a:gd name="T51" fmla="*/ 2147483647 h 567"/>
                <a:gd name="T52" fmla="*/ 2147483647 w 325"/>
                <a:gd name="T53" fmla="*/ 2147483647 h 567"/>
                <a:gd name="T54" fmla="*/ 2147483647 w 325"/>
                <a:gd name="T55" fmla="*/ 2147483647 h 567"/>
                <a:gd name="T56" fmla="*/ 0 w 325"/>
                <a:gd name="T57" fmla="*/ 2147483647 h 56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25" h="567">
                  <a:moveTo>
                    <a:pt x="0" y="157"/>
                  </a:moveTo>
                  <a:lnTo>
                    <a:pt x="6" y="100"/>
                  </a:lnTo>
                  <a:lnTo>
                    <a:pt x="25" y="113"/>
                  </a:lnTo>
                  <a:lnTo>
                    <a:pt x="43" y="79"/>
                  </a:lnTo>
                  <a:lnTo>
                    <a:pt x="51" y="67"/>
                  </a:lnTo>
                  <a:lnTo>
                    <a:pt x="37" y="23"/>
                  </a:lnTo>
                  <a:lnTo>
                    <a:pt x="69" y="0"/>
                  </a:lnTo>
                  <a:lnTo>
                    <a:pt x="138" y="67"/>
                  </a:lnTo>
                  <a:lnTo>
                    <a:pt x="138" y="88"/>
                  </a:lnTo>
                  <a:lnTo>
                    <a:pt x="156" y="113"/>
                  </a:lnTo>
                  <a:lnTo>
                    <a:pt x="169" y="123"/>
                  </a:lnTo>
                  <a:lnTo>
                    <a:pt x="187" y="113"/>
                  </a:lnTo>
                  <a:lnTo>
                    <a:pt x="212" y="134"/>
                  </a:lnTo>
                  <a:lnTo>
                    <a:pt x="250" y="255"/>
                  </a:lnTo>
                  <a:lnTo>
                    <a:pt x="256" y="267"/>
                  </a:lnTo>
                  <a:lnTo>
                    <a:pt x="269" y="325"/>
                  </a:lnTo>
                  <a:lnTo>
                    <a:pt x="319" y="334"/>
                  </a:lnTo>
                  <a:lnTo>
                    <a:pt x="325" y="355"/>
                  </a:lnTo>
                  <a:lnTo>
                    <a:pt x="312" y="423"/>
                  </a:lnTo>
                  <a:lnTo>
                    <a:pt x="269" y="457"/>
                  </a:lnTo>
                  <a:lnTo>
                    <a:pt x="219" y="478"/>
                  </a:lnTo>
                  <a:lnTo>
                    <a:pt x="181" y="567"/>
                  </a:lnTo>
                  <a:lnTo>
                    <a:pt x="181" y="536"/>
                  </a:lnTo>
                  <a:lnTo>
                    <a:pt x="150" y="513"/>
                  </a:lnTo>
                  <a:lnTo>
                    <a:pt x="125" y="536"/>
                  </a:lnTo>
                  <a:lnTo>
                    <a:pt x="94" y="434"/>
                  </a:lnTo>
                  <a:lnTo>
                    <a:pt x="75" y="399"/>
                  </a:lnTo>
                  <a:lnTo>
                    <a:pt x="56" y="290"/>
                  </a:lnTo>
                  <a:lnTo>
                    <a:pt x="0" y="15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04" name="Freeform 631"/>
            <p:cNvSpPr>
              <a:spLocks/>
            </p:cNvSpPr>
            <p:nvPr>
              <p:custDataLst>
                <p:tags r:id="rId512"/>
              </p:custDataLst>
            </p:nvPr>
          </p:nvSpPr>
          <p:spPr bwMode="auto">
            <a:xfrm>
              <a:off x="7013476" y="3950858"/>
              <a:ext cx="601469" cy="449262"/>
            </a:xfrm>
            <a:custGeom>
              <a:avLst/>
              <a:gdLst>
                <a:gd name="T0" fmla="*/ 0 w 325"/>
                <a:gd name="T1" fmla="*/ 2147483647 h 567"/>
                <a:gd name="T2" fmla="*/ 2147483647 w 325"/>
                <a:gd name="T3" fmla="*/ 2147483647 h 567"/>
                <a:gd name="T4" fmla="*/ 2147483647 w 325"/>
                <a:gd name="T5" fmla="*/ 2147483647 h 567"/>
                <a:gd name="T6" fmla="*/ 2147483647 w 325"/>
                <a:gd name="T7" fmla="*/ 2147483647 h 567"/>
                <a:gd name="T8" fmla="*/ 2147483647 w 325"/>
                <a:gd name="T9" fmla="*/ 2147483647 h 567"/>
                <a:gd name="T10" fmla="*/ 2147483647 w 325"/>
                <a:gd name="T11" fmla="*/ 2147483647 h 567"/>
                <a:gd name="T12" fmla="*/ 2147483647 w 325"/>
                <a:gd name="T13" fmla="*/ 0 h 567"/>
                <a:gd name="T14" fmla="*/ 2147483647 w 325"/>
                <a:gd name="T15" fmla="*/ 2147483647 h 567"/>
                <a:gd name="T16" fmla="*/ 2147483647 w 325"/>
                <a:gd name="T17" fmla="*/ 2147483647 h 567"/>
                <a:gd name="T18" fmla="*/ 2147483647 w 325"/>
                <a:gd name="T19" fmla="*/ 2147483647 h 567"/>
                <a:gd name="T20" fmla="*/ 2147483647 w 325"/>
                <a:gd name="T21" fmla="*/ 2147483647 h 567"/>
                <a:gd name="T22" fmla="*/ 2147483647 w 325"/>
                <a:gd name="T23" fmla="*/ 2147483647 h 567"/>
                <a:gd name="T24" fmla="*/ 2147483647 w 325"/>
                <a:gd name="T25" fmla="*/ 2147483647 h 567"/>
                <a:gd name="T26" fmla="*/ 2147483647 w 325"/>
                <a:gd name="T27" fmla="*/ 2147483647 h 567"/>
                <a:gd name="T28" fmla="*/ 2147483647 w 325"/>
                <a:gd name="T29" fmla="*/ 2147483647 h 567"/>
                <a:gd name="T30" fmla="*/ 2147483647 w 325"/>
                <a:gd name="T31" fmla="*/ 2147483647 h 567"/>
                <a:gd name="T32" fmla="*/ 2147483647 w 325"/>
                <a:gd name="T33" fmla="*/ 2147483647 h 567"/>
                <a:gd name="T34" fmla="*/ 2147483647 w 325"/>
                <a:gd name="T35" fmla="*/ 2147483647 h 567"/>
                <a:gd name="T36" fmla="*/ 2147483647 w 325"/>
                <a:gd name="T37" fmla="*/ 2147483647 h 567"/>
                <a:gd name="T38" fmla="*/ 2147483647 w 325"/>
                <a:gd name="T39" fmla="*/ 2147483647 h 567"/>
                <a:gd name="T40" fmla="*/ 2147483647 w 325"/>
                <a:gd name="T41" fmla="*/ 2147483647 h 567"/>
                <a:gd name="T42" fmla="*/ 2147483647 w 325"/>
                <a:gd name="T43" fmla="*/ 2147483647 h 567"/>
                <a:gd name="T44" fmla="*/ 2147483647 w 325"/>
                <a:gd name="T45" fmla="*/ 2147483647 h 567"/>
                <a:gd name="T46" fmla="*/ 2147483647 w 325"/>
                <a:gd name="T47" fmla="*/ 2147483647 h 567"/>
                <a:gd name="T48" fmla="*/ 2147483647 w 325"/>
                <a:gd name="T49" fmla="*/ 2147483647 h 567"/>
                <a:gd name="T50" fmla="*/ 2147483647 w 325"/>
                <a:gd name="T51" fmla="*/ 2147483647 h 567"/>
                <a:gd name="T52" fmla="*/ 2147483647 w 325"/>
                <a:gd name="T53" fmla="*/ 2147483647 h 567"/>
                <a:gd name="T54" fmla="*/ 2147483647 w 325"/>
                <a:gd name="T55" fmla="*/ 2147483647 h 567"/>
                <a:gd name="T56" fmla="*/ 0 w 325"/>
                <a:gd name="T57" fmla="*/ 2147483647 h 56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325" h="567">
                  <a:moveTo>
                    <a:pt x="0" y="157"/>
                  </a:moveTo>
                  <a:lnTo>
                    <a:pt x="6" y="100"/>
                  </a:lnTo>
                  <a:lnTo>
                    <a:pt x="25" y="113"/>
                  </a:lnTo>
                  <a:lnTo>
                    <a:pt x="43" y="79"/>
                  </a:lnTo>
                  <a:lnTo>
                    <a:pt x="51" y="67"/>
                  </a:lnTo>
                  <a:lnTo>
                    <a:pt x="37" y="23"/>
                  </a:lnTo>
                  <a:lnTo>
                    <a:pt x="69" y="0"/>
                  </a:lnTo>
                  <a:lnTo>
                    <a:pt x="138" y="67"/>
                  </a:lnTo>
                  <a:lnTo>
                    <a:pt x="138" y="88"/>
                  </a:lnTo>
                  <a:lnTo>
                    <a:pt x="156" y="113"/>
                  </a:lnTo>
                  <a:lnTo>
                    <a:pt x="169" y="123"/>
                  </a:lnTo>
                  <a:lnTo>
                    <a:pt x="187" y="113"/>
                  </a:lnTo>
                  <a:lnTo>
                    <a:pt x="212" y="134"/>
                  </a:lnTo>
                  <a:lnTo>
                    <a:pt x="250" y="255"/>
                  </a:lnTo>
                  <a:lnTo>
                    <a:pt x="256" y="267"/>
                  </a:lnTo>
                  <a:lnTo>
                    <a:pt x="269" y="325"/>
                  </a:lnTo>
                  <a:lnTo>
                    <a:pt x="319" y="334"/>
                  </a:lnTo>
                  <a:lnTo>
                    <a:pt x="325" y="355"/>
                  </a:lnTo>
                  <a:lnTo>
                    <a:pt x="312" y="423"/>
                  </a:lnTo>
                  <a:lnTo>
                    <a:pt x="269" y="457"/>
                  </a:lnTo>
                  <a:lnTo>
                    <a:pt x="219" y="478"/>
                  </a:lnTo>
                  <a:lnTo>
                    <a:pt x="181" y="567"/>
                  </a:lnTo>
                  <a:lnTo>
                    <a:pt x="181" y="536"/>
                  </a:lnTo>
                  <a:lnTo>
                    <a:pt x="150" y="513"/>
                  </a:lnTo>
                  <a:lnTo>
                    <a:pt x="125" y="536"/>
                  </a:lnTo>
                  <a:lnTo>
                    <a:pt x="94" y="434"/>
                  </a:lnTo>
                  <a:lnTo>
                    <a:pt x="75" y="399"/>
                  </a:lnTo>
                  <a:lnTo>
                    <a:pt x="56" y="290"/>
                  </a:lnTo>
                  <a:lnTo>
                    <a:pt x="0" y="15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05" name="Freeform 632"/>
            <p:cNvSpPr>
              <a:spLocks/>
            </p:cNvSpPr>
            <p:nvPr>
              <p:custDataLst>
                <p:tags r:id="rId513"/>
              </p:custDataLst>
            </p:nvPr>
          </p:nvSpPr>
          <p:spPr bwMode="auto">
            <a:xfrm>
              <a:off x="6572399" y="2271283"/>
              <a:ext cx="4922019" cy="1397000"/>
            </a:xfrm>
            <a:custGeom>
              <a:avLst/>
              <a:gdLst>
                <a:gd name="T0" fmla="*/ 2147483647 w 2659"/>
                <a:gd name="T1" fmla="*/ 2147483647 h 1761"/>
                <a:gd name="T2" fmla="*/ 2147483647 w 2659"/>
                <a:gd name="T3" fmla="*/ 2147483647 h 1761"/>
                <a:gd name="T4" fmla="*/ 2147483647 w 2659"/>
                <a:gd name="T5" fmla="*/ 2147483647 h 1761"/>
                <a:gd name="T6" fmla="*/ 2147483647 w 2659"/>
                <a:gd name="T7" fmla="*/ 2147483647 h 1761"/>
                <a:gd name="T8" fmla="*/ 2147483647 w 2659"/>
                <a:gd name="T9" fmla="*/ 2147483647 h 1761"/>
                <a:gd name="T10" fmla="*/ 2147483647 w 2659"/>
                <a:gd name="T11" fmla="*/ 2147483647 h 1761"/>
                <a:gd name="T12" fmla="*/ 2147483647 w 2659"/>
                <a:gd name="T13" fmla="*/ 2147483647 h 1761"/>
                <a:gd name="T14" fmla="*/ 2147483647 w 2659"/>
                <a:gd name="T15" fmla="*/ 2147483647 h 1761"/>
                <a:gd name="T16" fmla="*/ 2147483647 w 2659"/>
                <a:gd name="T17" fmla="*/ 2147483647 h 1761"/>
                <a:gd name="T18" fmla="*/ 2147483647 w 2659"/>
                <a:gd name="T19" fmla="*/ 2147483647 h 1761"/>
                <a:gd name="T20" fmla="*/ 2147483647 w 2659"/>
                <a:gd name="T21" fmla="*/ 2147483647 h 1761"/>
                <a:gd name="T22" fmla="*/ 2147483647 w 2659"/>
                <a:gd name="T23" fmla="*/ 2147483647 h 1761"/>
                <a:gd name="T24" fmla="*/ 2147483647 w 2659"/>
                <a:gd name="T25" fmla="*/ 2147483647 h 1761"/>
                <a:gd name="T26" fmla="*/ 2147483647 w 2659"/>
                <a:gd name="T27" fmla="*/ 2147483647 h 1761"/>
                <a:gd name="T28" fmla="*/ 2147483647 w 2659"/>
                <a:gd name="T29" fmla="*/ 2147483647 h 1761"/>
                <a:gd name="T30" fmla="*/ 2147483647 w 2659"/>
                <a:gd name="T31" fmla="*/ 2147483647 h 1761"/>
                <a:gd name="T32" fmla="*/ 2147483647 w 2659"/>
                <a:gd name="T33" fmla="*/ 2147483647 h 1761"/>
                <a:gd name="T34" fmla="*/ 2147483647 w 2659"/>
                <a:gd name="T35" fmla="*/ 2147483647 h 1761"/>
                <a:gd name="T36" fmla="*/ 2147483647 w 2659"/>
                <a:gd name="T37" fmla="*/ 2147483647 h 1761"/>
                <a:gd name="T38" fmla="*/ 2147483647 w 2659"/>
                <a:gd name="T39" fmla="*/ 2147483647 h 1761"/>
                <a:gd name="T40" fmla="*/ 2147483647 w 2659"/>
                <a:gd name="T41" fmla="*/ 2147483647 h 1761"/>
                <a:gd name="T42" fmla="*/ 2147483647 w 2659"/>
                <a:gd name="T43" fmla="*/ 2147483647 h 1761"/>
                <a:gd name="T44" fmla="*/ 2147483647 w 2659"/>
                <a:gd name="T45" fmla="*/ 2147483647 h 1761"/>
                <a:gd name="T46" fmla="*/ 2147483647 w 2659"/>
                <a:gd name="T47" fmla="*/ 2147483647 h 1761"/>
                <a:gd name="T48" fmla="*/ 2147483647 w 2659"/>
                <a:gd name="T49" fmla="*/ 2147483647 h 1761"/>
                <a:gd name="T50" fmla="*/ 2147483647 w 2659"/>
                <a:gd name="T51" fmla="*/ 2147483647 h 1761"/>
                <a:gd name="T52" fmla="*/ 2147483647 w 2659"/>
                <a:gd name="T53" fmla="*/ 2147483647 h 1761"/>
                <a:gd name="T54" fmla="*/ 2147483647 w 2659"/>
                <a:gd name="T55" fmla="*/ 2147483647 h 1761"/>
                <a:gd name="T56" fmla="*/ 2147483647 w 2659"/>
                <a:gd name="T57" fmla="*/ 2147483647 h 1761"/>
                <a:gd name="T58" fmla="*/ 2147483647 w 2659"/>
                <a:gd name="T59" fmla="*/ 2147483647 h 1761"/>
                <a:gd name="T60" fmla="*/ 2147483647 w 2659"/>
                <a:gd name="T61" fmla="*/ 2147483647 h 1761"/>
                <a:gd name="T62" fmla="*/ 2147483647 w 2659"/>
                <a:gd name="T63" fmla="*/ 2147483647 h 1761"/>
                <a:gd name="T64" fmla="*/ 2147483647 w 2659"/>
                <a:gd name="T65" fmla="*/ 2147483647 h 1761"/>
                <a:gd name="T66" fmla="*/ 2147483647 w 2659"/>
                <a:gd name="T67" fmla="*/ 2147483647 h 1761"/>
                <a:gd name="T68" fmla="*/ 2147483647 w 2659"/>
                <a:gd name="T69" fmla="*/ 2147483647 h 1761"/>
                <a:gd name="T70" fmla="*/ 2147483647 w 2659"/>
                <a:gd name="T71" fmla="*/ 2147483647 h 1761"/>
                <a:gd name="T72" fmla="*/ 2147483647 w 2659"/>
                <a:gd name="T73" fmla="*/ 2147483647 h 1761"/>
                <a:gd name="T74" fmla="*/ 2147483647 w 2659"/>
                <a:gd name="T75" fmla="*/ 2147483647 h 1761"/>
                <a:gd name="T76" fmla="*/ 2147483647 w 2659"/>
                <a:gd name="T77" fmla="*/ 2147483647 h 1761"/>
                <a:gd name="T78" fmla="*/ 2147483647 w 2659"/>
                <a:gd name="T79" fmla="*/ 2147483647 h 1761"/>
                <a:gd name="T80" fmla="*/ 2147483647 w 2659"/>
                <a:gd name="T81" fmla="*/ 2147483647 h 1761"/>
                <a:gd name="T82" fmla="*/ 2147483647 w 2659"/>
                <a:gd name="T83" fmla="*/ 2147483647 h 1761"/>
                <a:gd name="T84" fmla="*/ 2147483647 w 2659"/>
                <a:gd name="T85" fmla="*/ 2147483647 h 1761"/>
                <a:gd name="T86" fmla="*/ 2147483647 w 2659"/>
                <a:gd name="T87" fmla="*/ 2147483647 h 1761"/>
                <a:gd name="T88" fmla="*/ 2147483647 w 2659"/>
                <a:gd name="T89" fmla="*/ 2147483647 h 1761"/>
                <a:gd name="T90" fmla="*/ 2147483647 w 2659"/>
                <a:gd name="T91" fmla="*/ 2147483647 h 1761"/>
                <a:gd name="T92" fmla="*/ 2147483647 w 2659"/>
                <a:gd name="T93" fmla="*/ 2147483647 h 1761"/>
                <a:gd name="T94" fmla="*/ 2147483647 w 2659"/>
                <a:gd name="T95" fmla="*/ 2147483647 h 1761"/>
                <a:gd name="T96" fmla="*/ 2147483647 w 2659"/>
                <a:gd name="T97" fmla="*/ 2147483647 h 1761"/>
                <a:gd name="T98" fmla="*/ 2147483647 w 2659"/>
                <a:gd name="T99" fmla="*/ 2147483647 h 1761"/>
                <a:gd name="T100" fmla="*/ 2147483647 w 2659"/>
                <a:gd name="T101" fmla="*/ 2147483647 h 1761"/>
                <a:gd name="T102" fmla="*/ 2147483647 w 2659"/>
                <a:gd name="T103" fmla="*/ 2147483647 h 1761"/>
                <a:gd name="T104" fmla="*/ 2147483647 w 2659"/>
                <a:gd name="T105" fmla="*/ 2147483647 h 1761"/>
                <a:gd name="T106" fmla="*/ 2147483647 w 2659"/>
                <a:gd name="T107" fmla="*/ 2147483647 h 1761"/>
                <a:gd name="T108" fmla="*/ 2147483647 w 2659"/>
                <a:gd name="T109" fmla="*/ 2147483647 h 1761"/>
                <a:gd name="T110" fmla="*/ 2147483647 w 2659"/>
                <a:gd name="T111" fmla="*/ 2147483647 h 1761"/>
                <a:gd name="T112" fmla="*/ 2147483647 w 2659"/>
                <a:gd name="T113" fmla="*/ 2147483647 h 1761"/>
                <a:gd name="T114" fmla="*/ 2147483647 w 2659"/>
                <a:gd name="T115" fmla="*/ 2147483647 h 17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659" h="1761">
                  <a:moveTo>
                    <a:pt x="0" y="1248"/>
                  </a:moveTo>
                  <a:lnTo>
                    <a:pt x="25" y="1213"/>
                  </a:lnTo>
                  <a:lnTo>
                    <a:pt x="19" y="1225"/>
                  </a:lnTo>
                  <a:lnTo>
                    <a:pt x="25" y="1236"/>
                  </a:lnTo>
                  <a:lnTo>
                    <a:pt x="25" y="1148"/>
                  </a:lnTo>
                  <a:lnTo>
                    <a:pt x="32" y="1113"/>
                  </a:lnTo>
                  <a:lnTo>
                    <a:pt x="44" y="1104"/>
                  </a:lnTo>
                  <a:lnTo>
                    <a:pt x="75" y="1137"/>
                  </a:lnTo>
                  <a:lnTo>
                    <a:pt x="75" y="1069"/>
                  </a:lnTo>
                  <a:lnTo>
                    <a:pt x="69" y="1069"/>
                  </a:lnTo>
                  <a:lnTo>
                    <a:pt x="64" y="1037"/>
                  </a:lnTo>
                  <a:lnTo>
                    <a:pt x="170" y="992"/>
                  </a:lnTo>
                  <a:lnTo>
                    <a:pt x="144" y="981"/>
                  </a:lnTo>
                  <a:lnTo>
                    <a:pt x="144" y="967"/>
                  </a:lnTo>
                  <a:lnTo>
                    <a:pt x="125" y="967"/>
                  </a:lnTo>
                  <a:lnTo>
                    <a:pt x="189" y="870"/>
                  </a:lnTo>
                  <a:lnTo>
                    <a:pt x="163" y="758"/>
                  </a:lnTo>
                  <a:lnTo>
                    <a:pt x="170" y="701"/>
                  </a:lnTo>
                  <a:lnTo>
                    <a:pt x="151" y="647"/>
                  </a:lnTo>
                  <a:lnTo>
                    <a:pt x="163" y="612"/>
                  </a:lnTo>
                  <a:lnTo>
                    <a:pt x="144" y="568"/>
                  </a:lnTo>
                  <a:lnTo>
                    <a:pt x="151" y="533"/>
                  </a:lnTo>
                  <a:lnTo>
                    <a:pt x="175" y="489"/>
                  </a:lnTo>
                  <a:lnTo>
                    <a:pt x="194" y="489"/>
                  </a:lnTo>
                  <a:lnTo>
                    <a:pt x="213" y="503"/>
                  </a:lnTo>
                  <a:lnTo>
                    <a:pt x="194" y="503"/>
                  </a:lnTo>
                  <a:lnTo>
                    <a:pt x="213" y="524"/>
                  </a:lnTo>
                  <a:lnTo>
                    <a:pt x="257" y="524"/>
                  </a:lnTo>
                  <a:lnTo>
                    <a:pt x="338" y="612"/>
                  </a:lnTo>
                  <a:lnTo>
                    <a:pt x="338" y="656"/>
                  </a:lnTo>
                  <a:lnTo>
                    <a:pt x="308" y="691"/>
                  </a:lnTo>
                  <a:lnTo>
                    <a:pt x="194" y="647"/>
                  </a:lnTo>
                  <a:lnTo>
                    <a:pt x="239" y="701"/>
                  </a:lnTo>
                  <a:lnTo>
                    <a:pt x="239" y="779"/>
                  </a:lnTo>
                  <a:lnTo>
                    <a:pt x="281" y="814"/>
                  </a:lnTo>
                  <a:lnTo>
                    <a:pt x="295" y="802"/>
                  </a:lnTo>
                  <a:lnTo>
                    <a:pt x="289" y="779"/>
                  </a:lnTo>
                  <a:lnTo>
                    <a:pt x="269" y="770"/>
                  </a:lnTo>
                  <a:lnTo>
                    <a:pt x="276" y="747"/>
                  </a:lnTo>
                  <a:lnTo>
                    <a:pt x="295" y="770"/>
                  </a:lnTo>
                  <a:lnTo>
                    <a:pt x="338" y="779"/>
                  </a:lnTo>
                  <a:lnTo>
                    <a:pt x="313" y="724"/>
                  </a:lnTo>
                  <a:lnTo>
                    <a:pt x="358" y="668"/>
                  </a:lnTo>
                  <a:lnTo>
                    <a:pt x="388" y="701"/>
                  </a:lnTo>
                  <a:lnTo>
                    <a:pt x="382" y="578"/>
                  </a:lnTo>
                  <a:lnTo>
                    <a:pt x="376" y="556"/>
                  </a:lnTo>
                  <a:lnTo>
                    <a:pt x="419" y="578"/>
                  </a:lnTo>
                  <a:lnTo>
                    <a:pt x="425" y="601"/>
                  </a:lnTo>
                  <a:lnTo>
                    <a:pt x="395" y="624"/>
                  </a:lnTo>
                  <a:lnTo>
                    <a:pt x="425" y="656"/>
                  </a:lnTo>
                  <a:lnTo>
                    <a:pt x="445" y="612"/>
                  </a:lnTo>
                  <a:lnTo>
                    <a:pt x="539" y="533"/>
                  </a:lnTo>
                  <a:lnTo>
                    <a:pt x="551" y="533"/>
                  </a:lnTo>
                  <a:lnTo>
                    <a:pt x="539" y="547"/>
                  </a:lnTo>
                  <a:lnTo>
                    <a:pt x="551" y="578"/>
                  </a:lnTo>
                  <a:lnTo>
                    <a:pt x="613" y="533"/>
                  </a:lnTo>
                  <a:lnTo>
                    <a:pt x="632" y="568"/>
                  </a:lnTo>
                  <a:lnTo>
                    <a:pt x="644" y="547"/>
                  </a:lnTo>
                  <a:lnTo>
                    <a:pt x="639" y="503"/>
                  </a:lnTo>
                  <a:lnTo>
                    <a:pt x="644" y="489"/>
                  </a:lnTo>
                  <a:lnTo>
                    <a:pt x="695" y="512"/>
                  </a:lnTo>
                  <a:lnTo>
                    <a:pt x="764" y="578"/>
                  </a:lnTo>
                  <a:lnTo>
                    <a:pt x="777" y="547"/>
                  </a:lnTo>
                  <a:lnTo>
                    <a:pt x="758" y="512"/>
                  </a:lnTo>
                  <a:lnTo>
                    <a:pt x="739" y="503"/>
                  </a:lnTo>
                  <a:lnTo>
                    <a:pt x="745" y="445"/>
                  </a:lnTo>
                  <a:lnTo>
                    <a:pt x="732" y="434"/>
                  </a:lnTo>
                  <a:lnTo>
                    <a:pt x="739" y="411"/>
                  </a:lnTo>
                  <a:lnTo>
                    <a:pt x="764" y="380"/>
                  </a:lnTo>
                  <a:lnTo>
                    <a:pt x="777" y="311"/>
                  </a:lnTo>
                  <a:lnTo>
                    <a:pt x="814" y="311"/>
                  </a:lnTo>
                  <a:lnTo>
                    <a:pt x="827" y="311"/>
                  </a:lnTo>
                  <a:lnTo>
                    <a:pt x="814" y="389"/>
                  </a:lnTo>
                  <a:lnTo>
                    <a:pt x="827" y="424"/>
                  </a:lnTo>
                  <a:lnTo>
                    <a:pt x="827" y="533"/>
                  </a:lnTo>
                  <a:lnTo>
                    <a:pt x="838" y="568"/>
                  </a:lnTo>
                  <a:lnTo>
                    <a:pt x="838" y="612"/>
                  </a:lnTo>
                  <a:lnTo>
                    <a:pt x="807" y="635"/>
                  </a:lnTo>
                  <a:lnTo>
                    <a:pt x="819" y="647"/>
                  </a:lnTo>
                  <a:lnTo>
                    <a:pt x="783" y="656"/>
                  </a:lnTo>
                  <a:lnTo>
                    <a:pt x="819" y="691"/>
                  </a:lnTo>
                  <a:lnTo>
                    <a:pt x="857" y="612"/>
                  </a:lnTo>
                  <a:lnTo>
                    <a:pt x="857" y="556"/>
                  </a:lnTo>
                  <a:lnTo>
                    <a:pt x="870" y="547"/>
                  </a:lnTo>
                  <a:lnTo>
                    <a:pt x="888" y="533"/>
                  </a:lnTo>
                  <a:lnTo>
                    <a:pt x="902" y="568"/>
                  </a:lnTo>
                  <a:lnTo>
                    <a:pt x="902" y="601"/>
                  </a:lnTo>
                  <a:lnTo>
                    <a:pt x="926" y="612"/>
                  </a:lnTo>
                  <a:lnTo>
                    <a:pt x="907" y="601"/>
                  </a:lnTo>
                  <a:lnTo>
                    <a:pt x="914" y="578"/>
                  </a:lnTo>
                  <a:lnTo>
                    <a:pt x="907" y="547"/>
                  </a:lnTo>
                  <a:lnTo>
                    <a:pt x="845" y="524"/>
                  </a:lnTo>
                  <a:lnTo>
                    <a:pt x="857" y="445"/>
                  </a:lnTo>
                  <a:lnTo>
                    <a:pt x="838" y="389"/>
                  </a:lnTo>
                  <a:lnTo>
                    <a:pt x="864" y="345"/>
                  </a:lnTo>
                  <a:lnTo>
                    <a:pt x="864" y="311"/>
                  </a:lnTo>
                  <a:lnTo>
                    <a:pt x="876" y="334"/>
                  </a:lnTo>
                  <a:lnTo>
                    <a:pt x="870" y="401"/>
                  </a:lnTo>
                  <a:lnTo>
                    <a:pt x="876" y="411"/>
                  </a:lnTo>
                  <a:lnTo>
                    <a:pt x="920" y="424"/>
                  </a:lnTo>
                  <a:lnTo>
                    <a:pt x="883" y="366"/>
                  </a:lnTo>
                  <a:lnTo>
                    <a:pt x="907" y="380"/>
                  </a:lnTo>
                  <a:lnTo>
                    <a:pt x="902" y="357"/>
                  </a:lnTo>
                  <a:lnTo>
                    <a:pt x="920" y="345"/>
                  </a:lnTo>
                  <a:lnTo>
                    <a:pt x="994" y="389"/>
                  </a:lnTo>
                  <a:lnTo>
                    <a:pt x="983" y="411"/>
                  </a:lnTo>
                  <a:lnTo>
                    <a:pt x="976" y="457"/>
                  </a:lnTo>
                  <a:lnTo>
                    <a:pt x="994" y="480"/>
                  </a:lnTo>
                  <a:lnTo>
                    <a:pt x="1002" y="389"/>
                  </a:lnTo>
                  <a:lnTo>
                    <a:pt x="957" y="334"/>
                  </a:lnTo>
                  <a:lnTo>
                    <a:pt x="952" y="278"/>
                  </a:lnTo>
                  <a:lnTo>
                    <a:pt x="1044" y="245"/>
                  </a:lnTo>
                  <a:lnTo>
                    <a:pt x="1032" y="188"/>
                  </a:lnTo>
                  <a:lnTo>
                    <a:pt x="1044" y="201"/>
                  </a:lnTo>
                  <a:lnTo>
                    <a:pt x="1063" y="178"/>
                  </a:lnTo>
                  <a:lnTo>
                    <a:pt x="1052" y="178"/>
                  </a:lnTo>
                  <a:lnTo>
                    <a:pt x="1151" y="122"/>
                  </a:lnTo>
                  <a:lnTo>
                    <a:pt x="1146" y="111"/>
                  </a:lnTo>
                  <a:lnTo>
                    <a:pt x="1188" y="99"/>
                  </a:lnTo>
                  <a:lnTo>
                    <a:pt x="1188" y="122"/>
                  </a:lnTo>
                  <a:lnTo>
                    <a:pt x="1201" y="122"/>
                  </a:lnTo>
                  <a:lnTo>
                    <a:pt x="1233" y="99"/>
                  </a:lnTo>
                  <a:lnTo>
                    <a:pt x="1252" y="111"/>
                  </a:lnTo>
                  <a:lnTo>
                    <a:pt x="1233" y="90"/>
                  </a:lnTo>
                  <a:lnTo>
                    <a:pt x="1270" y="78"/>
                  </a:lnTo>
                  <a:lnTo>
                    <a:pt x="1277" y="44"/>
                  </a:lnTo>
                  <a:lnTo>
                    <a:pt x="1314" y="0"/>
                  </a:lnTo>
                  <a:lnTo>
                    <a:pt x="1352" y="34"/>
                  </a:lnTo>
                  <a:lnTo>
                    <a:pt x="1321" y="55"/>
                  </a:lnTo>
                  <a:lnTo>
                    <a:pt x="1371" y="55"/>
                  </a:lnTo>
                  <a:lnTo>
                    <a:pt x="1352" y="90"/>
                  </a:lnTo>
                  <a:lnTo>
                    <a:pt x="1427" y="65"/>
                  </a:lnTo>
                  <a:lnTo>
                    <a:pt x="1471" y="122"/>
                  </a:lnTo>
                  <a:lnTo>
                    <a:pt x="1463" y="144"/>
                  </a:lnTo>
                  <a:lnTo>
                    <a:pt x="1452" y="122"/>
                  </a:lnTo>
                  <a:lnTo>
                    <a:pt x="1471" y="144"/>
                  </a:lnTo>
                  <a:lnTo>
                    <a:pt x="1458" y="178"/>
                  </a:lnTo>
                  <a:lnTo>
                    <a:pt x="1314" y="334"/>
                  </a:lnTo>
                  <a:lnTo>
                    <a:pt x="1364" y="311"/>
                  </a:lnTo>
                  <a:lnTo>
                    <a:pt x="1352" y="290"/>
                  </a:lnTo>
                  <a:lnTo>
                    <a:pt x="1427" y="266"/>
                  </a:lnTo>
                  <a:lnTo>
                    <a:pt x="1402" y="266"/>
                  </a:lnTo>
                  <a:lnTo>
                    <a:pt x="1408" y="245"/>
                  </a:lnTo>
                  <a:lnTo>
                    <a:pt x="1452" y="266"/>
                  </a:lnTo>
                  <a:lnTo>
                    <a:pt x="1452" y="245"/>
                  </a:lnTo>
                  <a:lnTo>
                    <a:pt x="1463" y="290"/>
                  </a:lnTo>
                  <a:lnTo>
                    <a:pt x="1482" y="290"/>
                  </a:lnTo>
                  <a:lnTo>
                    <a:pt x="1463" y="278"/>
                  </a:lnTo>
                  <a:lnTo>
                    <a:pt x="1502" y="266"/>
                  </a:lnTo>
                  <a:lnTo>
                    <a:pt x="1546" y="278"/>
                  </a:lnTo>
                  <a:lnTo>
                    <a:pt x="1546" y="290"/>
                  </a:lnTo>
                  <a:lnTo>
                    <a:pt x="1583" y="311"/>
                  </a:lnTo>
                  <a:lnTo>
                    <a:pt x="1615" y="301"/>
                  </a:lnTo>
                  <a:lnTo>
                    <a:pt x="1615" y="257"/>
                  </a:lnTo>
                  <a:lnTo>
                    <a:pt x="1627" y="257"/>
                  </a:lnTo>
                  <a:lnTo>
                    <a:pt x="1715" y="301"/>
                  </a:lnTo>
                  <a:lnTo>
                    <a:pt x="1702" y="389"/>
                  </a:lnTo>
                  <a:lnTo>
                    <a:pt x="1740" y="445"/>
                  </a:lnTo>
                  <a:lnTo>
                    <a:pt x="1765" y="366"/>
                  </a:lnTo>
                  <a:lnTo>
                    <a:pt x="1776" y="401"/>
                  </a:lnTo>
                  <a:lnTo>
                    <a:pt x="1808" y="389"/>
                  </a:lnTo>
                  <a:lnTo>
                    <a:pt x="1845" y="411"/>
                  </a:lnTo>
                  <a:lnTo>
                    <a:pt x="1877" y="401"/>
                  </a:lnTo>
                  <a:lnTo>
                    <a:pt x="1877" y="366"/>
                  </a:lnTo>
                  <a:lnTo>
                    <a:pt x="1896" y="311"/>
                  </a:lnTo>
                  <a:lnTo>
                    <a:pt x="2027" y="357"/>
                  </a:lnTo>
                  <a:lnTo>
                    <a:pt x="2034" y="380"/>
                  </a:lnTo>
                  <a:lnTo>
                    <a:pt x="2015" y="389"/>
                  </a:lnTo>
                  <a:lnTo>
                    <a:pt x="2059" y="401"/>
                  </a:lnTo>
                  <a:lnTo>
                    <a:pt x="2071" y="434"/>
                  </a:lnTo>
                  <a:lnTo>
                    <a:pt x="2171" y="424"/>
                  </a:lnTo>
                  <a:lnTo>
                    <a:pt x="2190" y="457"/>
                  </a:lnTo>
                  <a:lnTo>
                    <a:pt x="2184" y="489"/>
                  </a:lnTo>
                  <a:lnTo>
                    <a:pt x="2209" y="512"/>
                  </a:lnTo>
                  <a:lnTo>
                    <a:pt x="2227" y="503"/>
                  </a:lnTo>
                  <a:lnTo>
                    <a:pt x="2296" y="512"/>
                  </a:lnTo>
                  <a:lnTo>
                    <a:pt x="2309" y="489"/>
                  </a:lnTo>
                  <a:lnTo>
                    <a:pt x="2321" y="524"/>
                  </a:lnTo>
                  <a:lnTo>
                    <a:pt x="2346" y="547"/>
                  </a:lnTo>
                  <a:lnTo>
                    <a:pt x="2359" y="533"/>
                  </a:lnTo>
                  <a:lnTo>
                    <a:pt x="2346" y="503"/>
                  </a:lnTo>
                  <a:lnTo>
                    <a:pt x="2353" y="480"/>
                  </a:lnTo>
                  <a:lnTo>
                    <a:pt x="2472" y="512"/>
                  </a:lnTo>
                  <a:lnTo>
                    <a:pt x="2553" y="612"/>
                  </a:lnTo>
                  <a:lnTo>
                    <a:pt x="2571" y="612"/>
                  </a:lnTo>
                  <a:lnTo>
                    <a:pt x="2590" y="679"/>
                  </a:lnTo>
                  <a:lnTo>
                    <a:pt x="2584" y="647"/>
                  </a:lnTo>
                  <a:lnTo>
                    <a:pt x="2596" y="635"/>
                  </a:lnTo>
                  <a:lnTo>
                    <a:pt x="2603" y="656"/>
                  </a:lnTo>
                  <a:lnTo>
                    <a:pt x="2629" y="647"/>
                  </a:lnTo>
                  <a:lnTo>
                    <a:pt x="2659" y="691"/>
                  </a:lnTo>
                  <a:lnTo>
                    <a:pt x="2615" y="735"/>
                  </a:lnTo>
                  <a:lnTo>
                    <a:pt x="2621" y="758"/>
                  </a:lnTo>
                  <a:lnTo>
                    <a:pt x="2609" y="770"/>
                  </a:lnTo>
                  <a:lnTo>
                    <a:pt x="2621" y="779"/>
                  </a:lnTo>
                  <a:lnTo>
                    <a:pt x="2590" y="779"/>
                  </a:lnTo>
                  <a:lnTo>
                    <a:pt x="2584" y="758"/>
                  </a:lnTo>
                  <a:lnTo>
                    <a:pt x="2571" y="770"/>
                  </a:lnTo>
                  <a:lnTo>
                    <a:pt x="2553" y="724"/>
                  </a:lnTo>
                  <a:lnTo>
                    <a:pt x="2521" y="724"/>
                  </a:lnTo>
                  <a:lnTo>
                    <a:pt x="2515" y="691"/>
                  </a:lnTo>
                  <a:lnTo>
                    <a:pt x="2521" y="679"/>
                  </a:lnTo>
                  <a:lnTo>
                    <a:pt x="2509" y="679"/>
                  </a:lnTo>
                  <a:lnTo>
                    <a:pt x="2503" y="691"/>
                  </a:lnTo>
                  <a:lnTo>
                    <a:pt x="2509" y="724"/>
                  </a:lnTo>
                  <a:lnTo>
                    <a:pt x="2503" y="747"/>
                  </a:lnTo>
                  <a:lnTo>
                    <a:pt x="2478" y="770"/>
                  </a:lnTo>
                  <a:lnTo>
                    <a:pt x="2459" y="770"/>
                  </a:lnTo>
                  <a:lnTo>
                    <a:pt x="2490" y="846"/>
                  </a:lnTo>
                  <a:lnTo>
                    <a:pt x="2484" y="879"/>
                  </a:lnTo>
                  <a:lnTo>
                    <a:pt x="2453" y="858"/>
                  </a:lnTo>
                  <a:lnTo>
                    <a:pt x="2453" y="870"/>
                  </a:lnTo>
                  <a:lnTo>
                    <a:pt x="2396" y="914"/>
                  </a:lnTo>
                  <a:lnTo>
                    <a:pt x="2346" y="1002"/>
                  </a:lnTo>
                  <a:lnTo>
                    <a:pt x="2314" y="967"/>
                  </a:lnTo>
                  <a:lnTo>
                    <a:pt x="2284" y="1002"/>
                  </a:lnTo>
                  <a:lnTo>
                    <a:pt x="2284" y="967"/>
                  </a:lnTo>
                  <a:lnTo>
                    <a:pt x="2265" y="1002"/>
                  </a:lnTo>
                  <a:lnTo>
                    <a:pt x="2245" y="1002"/>
                  </a:lnTo>
                  <a:lnTo>
                    <a:pt x="2221" y="1090"/>
                  </a:lnTo>
                  <a:lnTo>
                    <a:pt x="2240" y="1104"/>
                  </a:lnTo>
                  <a:lnTo>
                    <a:pt x="2234" y="1137"/>
                  </a:lnTo>
                  <a:lnTo>
                    <a:pt x="2240" y="1181"/>
                  </a:lnTo>
                  <a:lnTo>
                    <a:pt x="2221" y="1169"/>
                  </a:lnTo>
                  <a:lnTo>
                    <a:pt x="2215" y="1204"/>
                  </a:lnTo>
                  <a:lnTo>
                    <a:pt x="2221" y="1236"/>
                  </a:lnTo>
                  <a:lnTo>
                    <a:pt x="2184" y="1269"/>
                  </a:lnTo>
                  <a:lnTo>
                    <a:pt x="2190" y="1313"/>
                  </a:lnTo>
                  <a:lnTo>
                    <a:pt x="2165" y="1313"/>
                  </a:lnTo>
                  <a:lnTo>
                    <a:pt x="2158" y="1359"/>
                  </a:lnTo>
                  <a:lnTo>
                    <a:pt x="2140" y="1405"/>
                  </a:lnTo>
                  <a:lnTo>
                    <a:pt x="2121" y="1236"/>
                  </a:lnTo>
                  <a:lnTo>
                    <a:pt x="2121" y="1148"/>
                  </a:lnTo>
                  <a:lnTo>
                    <a:pt x="2140" y="1104"/>
                  </a:lnTo>
                  <a:lnTo>
                    <a:pt x="2165" y="1090"/>
                  </a:lnTo>
                  <a:lnTo>
                    <a:pt x="2221" y="981"/>
                  </a:lnTo>
                  <a:lnTo>
                    <a:pt x="2245" y="958"/>
                  </a:lnTo>
                  <a:lnTo>
                    <a:pt x="2252" y="893"/>
                  </a:lnTo>
                  <a:lnTo>
                    <a:pt x="2265" y="879"/>
                  </a:lnTo>
                  <a:lnTo>
                    <a:pt x="2245" y="870"/>
                  </a:lnTo>
                  <a:lnTo>
                    <a:pt x="2240" y="923"/>
                  </a:lnTo>
                  <a:lnTo>
                    <a:pt x="2190" y="967"/>
                  </a:lnTo>
                  <a:lnTo>
                    <a:pt x="2196" y="902"/>
                  </a:lnTo>
                  <a:lnTo>
                    <a:pt x="2146" y="914"/>
                  </a:lnTo>
                  <a:lnTo>
                    <a:pt x="2096" y="1002"/>
                  </a:lnTo>
                  <a:lnTo>
                    <a:pt x="2109" y="1037"/>
                  </a:lnTo>
                  <a:lnTo>
                    <a:pt x="2059" y="1046"/>
                  </a:lnTo>
                  <a:lnTo>
                    <a:pt x="2052" y="1037"/>
                  </a:lnTo>
                  <a:lnTo>
                    <a:pt x="2065" y="1037"/>
                  </a:lnTo>
                  <a:lnTo>
                    <a:pt x="2027" y="1014"/>
                  </a:lnTo>
                  <a:lnTo>
                    <a:pt x="2015" y="1037"/>
                  </a:lnTo>
                  <a:lnTo>
                    <a:pt x="1921" y="1037"/>
                  </a:lnTo>
                  <a:lnTo>
                    <a:pt x="1802" y="1236"/>
                  </a:lnTo>
                  <a:lnTo>
                    <a:pt x="1827" y="1248"/>
                  </a:lnTo>
                  <a:lnTo>
                    <a:pt x="1827" y="1282"/>
                  </a:lnTo>
                  <a:lnTo>
                    <a:pt x="1840" y="1259"/>
                  </a:lnTo>
                  <a:lnTo>
                    <a:pt x="1840" y="1292"/>
                  </a:lnTo>
                  <a:lnTo>
                    <a:pt x="1852" y="1269"/>
                  </a:lnTo>
                  <a:lnTo>
                    <a:pt x="1852" y="1292"/>
                  </a:lnTo>
                  <a:lnTo>
                    <a:pt x="1858" y="1259"/>
                  </a:lnTo>
                  <a:lnTo>
                    <a:pt x="1877" y="1259"/>
                  </a:lnTo>
                  <a:lnTo>
                    <a:pt x="1896" y="1304"/>
                  </a:lnTo>
                  <a:lnTo>
                    <a:pt x="1877" y="1304"/>
                  </a:lnTo>
                  <a:lnTo>
                    <a:pt x="1896" y="1327"/>
                  </a:lnTo>
                  <a:lnTo>
                    <a:pt x="1902" y="1348"/>
                  </a:lnTo>
                  <a:lnTo>
                    <a:pt x="1883" y="1415"/>
                  </a:lnTo>
                  <a:lnTo>
                    <a:pt x="1883" y="1503"/>
                  </a:lnTo>
                  <a:lnTo>
                    <a:pt x="1802" y="1705"/>
                  </a:lnTo>
                  <a:lnTo>
                    <a:pt x="1776" y="1738"/>
                  </a:lnTo>
                  <a:lnTo>
                    <a:pt x="1752" y="1705"/>
                  </a:lnTo>
                  <a:lnTo>
                    <a:pt x="1733" y="1749"/>
                  </a:lnTo>
                  <a:lnTo>
                    <a:pt x="1733" y="1738"/>
                  </a:lnTo>
                  <a:lnTo>
                    <a:pt x="1740" y="1705"/>
                  </a:lnTo>
                  <a:lnTo>
                    <a:pt x="1740" y="1661"/>
                  </a:lnTo>
                  <a:lnTo>
                    <a:pt x="1771" y="1638"/>
                  </a:lnTo>
                  <a:lnTo>
                    <a:pt x="1796" y="1503"/>
                  </a:lnTo>
                  <a:lnTo>
                    <a:pt x="1740" y="1538"/>
                  </a:lnTo>
                  <a:lnTo>
                    <a:pt x="1733" y="1480"/>
                  </a:lnTo>
                  <a:lnTo>
                    <a:pt x="1683" y="1459"/>
                  </a:lnTo>
                  <a:lnTo>
                    <a:pt x="1652" y="1313"/>
                  </a:lnTo>
                  <a:lnTo>
                    <a:pt x="1620" y="1292"/>
                  </a:lnTo>
                  <a:lnTo>
                    <a:pt x="1565" y="1327"/>
                  </a:lnTo>
                  <a:lnTo>
                    <a:pt x="1577" y="1359"/>
                  </a:lnTo>
                  <a:lnTo>
                    <a:pt x="1551" y="1436"/>
                  </a:lnTo>
                  <a:lnTo>
                    <a:pt x="1532" y="1459"/>
                  </a:lnTo>
                  <a:lnTo>
                    <a:pt x="1508" y="1450"/>
                  </a:lnTo>
                  <a:lnTo>
                    <a:pt x="1482" y="1436"/>
                  </a:lnTo>
                  <a:lnTo>
                    <a:pt x="1408" y="1471"/>
                  </a:lnTo>
                  <a:lnTo>
                    <a:pt x="1339" y="1415"/>
                  </a:lnTo>
                  <a:lnTo>
                    <a:pt x="1302" y="1427"/>
                  </a:lnTo>
                  <a:lnTo>
                    <a:pt x="1283" y="1382"/>
                  </a:lnTo>
                  <a:lnTo>
                    <a:pt x="1246" y="1348"/>
                  </a:lnTo>
                  <a:lnTo>
                    <a:pt x="1220" y="1382"/>
                  </a:lnTo>
                  <a:lnTo>
                    <a:pt x="1220" y="1436"/>
                  </a:lnTo>
                  <a:lnTo>
                    <a:pt x="1127" y="1415"/>
                  </a:lnTo>
                  <a:lnTo>
                    <a:pt x="1077" y="1471"/>
                  </a:lnTo>
                  <a:lnTo>
                    <a:pt x="1052" y="1494"/>
                  </a:lnTo>
                  <a:lnTo>
                    <a:pt x="1020" y="1450"/>
                  </a:lnTo>
                  <a:lnTo>
                    <a:pt x="994" y="1471"/>
                  </a:lnTo>
                  <a:lnTo>
                    <a:pt x="957" y="1450"/>
                  </a:lnTo>
                  <a:lnTo>
                    <a:pt x="944" y="1436"/>
                  </a:lnTo>
                  <a:lnTo>
                    <a:pt x="933" y="1392"/>
                  </a:lnTo>
                  <a:lnTo>
                    <a:pt x="907" y="1392"/>
                  </a:lnTo>
                  <a:lnTo>
                    <a:pt x="902" y="1405"/>
                  </a:lnTo>
                  <a:lnTo>
                    <a:pt x="883" y="1371"/>
                  </a:lnTo>
                  <a:lnTo>
                    <a:pt x="870" y="1371"/>
                  </a:lnTo>
                  <a:lnTo>
                    <a:pt x="864" y="1382"/>
                  </a:lnTo>
                  <a:lnTo>
                    <a:pt x="819" y="1313"/>
                  </a:lnTo>
                  <a:lnTo>
                    <a:pt x="807" y="1304"/>
                  </a:lnTo>
                  <a:lnTo>
                    <a:pt x="777" y="1248"/>
                  </a:lnTo>
                  <a:lnTo>
                    <a:pt x="751" y="1282"/>
                  </a:lnTo>
                  <a:lnTo>
                    <a:pt x="745" y="1259"/>
                  </a:lnTo>
                  <a:lnTo>
                    <a:pt x="701" y="1259"/>
                  </a:lnTo>
                  <a:lnTo>
                    <a:pt x="689" y="1213"/>
                  </a:lnTo>
                  <a:lnTo>
                    <a:pt x="663" y="1213"/>
                  </a:lnTo>
                  <a:lnTo>
                    <a:pt x="658" y="1236"/>
                  </a:lnTo>
                  <a:lnTo>
                    <a:pt x="632" y="1248"/>
                  </a:lnTo>
                  <a:lnTo>
                    <a:pt x="620" y="1236"/>
                  </a:lnTo>
                  <a:lnTo>
                    <a:pt x="613" y="1269"/>
                  </a:lnTo>
                  <a:lnTo>
                    <a:pt x="601" y="1259"/>
                  </a:lnTo>
                  <a:lnTo>
                    <a:pt x="570" y="1269"/>
                  </a:lnTo>
                  <a:lnTo>
                    <a:pt x="557" y="1259"/>
                  </a:lnTo>
                  <a:lnTo>
                    <a:pt x="557" y="1269"/>
                  </a:lnTo>
                  <a:lnTo>
                    <a:pt x="570" y="1304"/>
                  </a:lnTo>
                  <a:lnTo>
                    <a:pt x="563" y="1327"/>
                  </a:lnTo>
                  <a:lnTo>
                    <a:pt x="563" y="1359"/>
                  </a:lnTo>
                  <a:lnTo>
                    <a:pt x="583" y="1359"/>
                  </a:lnTo>
                  <a:lnTo>
                    <a:pt x="589" y="1382"/>
                  </a:lnTo>
                  <a:lnTo>
                    <a:pt x="583" y="1405"/>
                  </a:lnTo>
                  <a:lnTo>
                    <a:pt x="570" y="1392"/>
                  </a:lnTo>
                  <a:lnTo>
                    <a:pt x="557" y="1405"/>
                  </a:lnTo>
                  <a:lnTo>
                    <a:pt x="551" y="1392"/>
                  </a:lnTo>
                  <a:lnTo>
                    <a:pt x="544" y="1371"/>
                  </a:lnTo>
                  <a:lnTo>
                    <a:pt x="533" y="1382"/>
                  </a:lnTo>
                  <a:lnTo>
                    <a:pt x="520" y="1371"/>
                  </a:lnTo>
                  <a:lnTo>
                    <a:pt x="514" y="1392"/>
                  </a:lnTo>
                  <a:lnTo>
                    <a:pt x="494" y="1392"/>
                  </a:lnTo>
                  <a:lnTo>
                    <a:pt x="488" y="1371"/>
                  </a:lnTo>
                  <a:lnTo>
                    <a:pt x="438" y="1371"/>
                  </a:lnTo>
                  <a:lnTo>
                    <a:pt x="433" y="1382"/>
                  </a:lnTo>
                  <a:lnTo>
                    <a:pt x="425" y="1382"/>
                  </a:lnTo>
                  <a:lnTo>
                    <a:pt x="419" y="1405"/>
                  </a:lnTo>
                  <a:lnTo>
                    <a:pt x="419" y="1427"/>
                  </a:lnTo>
                  <a:lnTo>
                    <a:pt x="414" y="1427"/>
                  </a:lnTo>
                  <a:lnTo>
                    <a:pt x="407" y="1405"/>
                  </a:lnTo>
                  <a:lnTo>
                    <a:pt x="400" y="1480"/>
                  </a:lnTo>
                  <a:lnTo>
                    <a:pt x="407" y="1503"/>
                  </a:lnTo>
                  <a:lnTo>
                    <a:pt x="407" y="1515"/>
                  </a:lnTo>
                  <a:lnTo>
                    <a:pt x="419" y="1515"/>
                  </a:lnTo>
                  <a:lnTo>
                    <a:pt x="425" y="1503"/>
                  </a:lnTo>
                  <a:lnTo>
                    <a:pt x="438" y="1538"/>
                  </a:lnTo>
                  <a:lnTo>
                    <a:pt x="445" y="1559"/>
                  </a:lnTo>
                  <a:lnTo>
                    <a:pt x="451" y="1582"/>
                  </a:lnTo>
                  <a:lnTo>
                    <a:pt x="464" y="1582"/>
                  </a:lnTo>
                  <a:lnTo>
                    <a:pt x="445" y="1603"/>
                  </a:lnTo>
                  <a:lnTo>
                    <a:pt x="438" y="1594"/>
                  </a:lnTo>
                  <a:lnTo>
                    <a:pt x="425" y="1672"/>
                  </a:lnTo>
                  <a:lnTo>
                    <a:pt x="438" y="1682"/>
                  </a:lnTo>
                  <a:lnTo>
                    <a:pt x="451" y="1761"/>
                  </a:lnTo>
                  <a:lnTo>
                    <a:pt x="438" y="1749"/>
                  </a:lnTo>
                  <a:lnTo>
                    <a:pt x="433" y="1738"/>
                  </a:lnTo>
                  <a:lnTo>
                    <a:pt x="419" y="1738"/>
                  </a:lnTo>
                  <a:lnTo>
                    <a:pt x="407" y="1726"/>
                  </a:lnTo>
                  <a:lnTo>
                    <a:pt x="400" y="1726"/>
                  </a:lnTo>
                  <a:lnTo>
                    <a:pt x="395" y="1693"/>
                  </a:lnTo>
                  <a:lnTo>
                    <a:pt x="376" y="1717"/>
                  </a:lnTo>
                  <a:lnTo>
                    <a:pt x="364" y="1705"/>
                  </a:lnTo>
                  <a:lnTo>
                    <a:pt x="350" y="1693"/>
                  </a:lnTo>
                  <a:lnTo>
                    <a:pt x="326" y="1672"/>
                  </a:lnTo>
                  <a:lnTo>
                    <a:pt x="300" y="1672"/>
                  </a:lnTo>
                  <a:lnTo>
                    <a:pt x="276" y="1638"/>
                  </a:lnTo>
                  <a:lnTo>
                    <a:pt x="295" y="1594"/>
                  </a:lnTo>
                  <a:lnTo>
                    <a:pt x="300" y="1571"/>
                  </a:lnTo>
                  <a:lnTo>
                    <a:pt x="300" y="1538"/>
                  </a:lnTo>
                  <a:lnTo>
                    <a:pt x="300" y="1515"/>
                  </a:lnTo>
                  <a:lnTo>
                    <a:pt x="313" y="1515"/>
                  </a:lnTo>
                  <a:lnTo>
                    <a:pt x="308" y="1471"/>
                  </a:lnTo>
                  <a:lnTo>
                    <a:pt x="295" y="1459"/>
                  </a:lnTo>
                  <a:lnTo>
                    <a:pt x="281" y="1450"/>
                  </a:lnTo>
                  <a:lnTo>
                    <a:pt x="276" y="1450"/>
                  </a:lnTo>
                  <a:lnTo>
                    <a:pt x="250" y="1436"/>
                  </a:lnTo>
                  <a:lnTo>
                    <a:pt x="231" y="1405"/>
                  </a:lnTo>
                  <a:lnTo>
                    <a:pt x="220" y="1382"/>
                  </a:lnTo>
                  <a:lnTo>
                    <a:pt x="213" y="1348"/>
                  </a:lnTo>
                  <a:lnTo>
                    <a:pt x="194" y="1336"/>
                  </a:lnTo>
                  <a:lnTo>
                    <a:pt x="181" y="1348"/>
                  </a:lnTo>
                  <a:lnTo>
                    <a:pt x="175" y="1359"/>
                  </a:lnTo>
                  <a:lnTo>
                    <a:pt x="175" y="1348"/>
                  </a:lnTo>
                  <a:lnTo>
                    <a:pt x="163" y="1327"/>
                  </a:lnTo>
                  <a:lnTo>
                    <a:pt x="181" y="1327"/>
                  </a:lnTo>
                  <a:lnTo>
                    <a:pt x="181" y="1313"/>
                  </a:lnTo>
                  <a:lnTo>
                    <a:pt x="175" y="1304"/>
                  </a:lnTo>
                  <a:lnTo>
                    <a:pt x="175" y="1292"/>
                  </a:lnTo>
                  <a:lnTo>
                    <a:pt x="163" y="1248"/>
                  </a:lnTo>
                  <a:lnTo>
                    <a:pt x="151" y="1213"/>
                  </a:lnTo>
                  <a:lnTo>
                    <a:pt x="138" y="1213"/>
                  </a:lnTo>
                  <a:lnTo>
                    <a:pt x="120" y="1213"/>
                  </a:lnTo>
                  <a:lnTo>
                    <a:pt x="113" y="1204"/>
                  </a:lnTo>
                  <a:lnTo>
                    <a:pt x="101" y="1204"/>
                  </a:lnTo>
                  <a:lnTo>
                    <a:pt x="94" y="1204"/>
                  </a:lnTo>
                  <a:lnTo>
                    <a:pt x="88" y="1213"/>
                  </a:lnTo>
                  <a:lnTo>
                    <a:pt x="82" y="1236"/>
                  </a:lnTo>
                  <a:lnTo>
                    <a:pt x="75" y="1259"/>
                  </a:lnTo>
                  <a:lnTo>
                    <a:pt x="69" y="1292"/>
                  </a:lnTo>
                  <a:lnTo>
                    <a:pt x="64" y="1282"/>
                  </a:lnTo>
                  <a:lnTo>
                    <a:pt x="64" y="1269"/>
                  </a:lnTo>
                  <a:lnTo>
                    <a:pt x="0" y="124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06" name="Freeform 633"/>
            <p:cNvSpPr>
              <a:spLocks/>
            </p:cNvSpPr>
            <p:nvPr>
              <p:custDataLst>
                <p:tags r:id="rId514"/>
              </p:custDataLst>
            </p:nvPr>
          </p:nvSpPr>
          <p:spPr bwMode="auto">
            <a:xfrm>
              <a:off x="6572399" y="2271283"/>
              <a:ext cx="4922019" cy="1397000"/>
            </a:xfrm>
            <a:custGeom>
              <a:avLst/>
              <a:gdLst>
                <a:gd name="T0" fmla="*/ 2147483647 w 2659"/>
                <a:gd name="T1" fmla="*/ 2147483647 h 1761"/>
                <a:gd name="T2" fmla="*/ 2147483647 w 2659"/>
                <a:gd name="T3" fmla="*/ 2147483647 h 1761"/>
                <a:gd name="T4" fmla="*/ 2147483647 w 2659"/>
                <a:gd name="T5" fmla="*/ 2147483647 h 1761"/>
                <a:gd name="T6" fmla="*/ 2147483647 w 2659"/>
                <a:gd name="T7" fmla="*/ 2147483647 h 1761"/>
                <a:gd name="T8" fmla="*/ 2147483647 w 2659"/>
                <a:gd name="T9" fmla="*/ 2147483647 h 1761"/>
                <a:gd name="T10" fmla="*/ 2147483647 w 2659"/>
                <a:gd name="T11" fmla="*/ 2147483647 h 1761"/>
                <a:gd name="T12" fmla="*/ 2147483647 w 2659"/>
                <a:gd name="T13" fmla="*/ 2147483647 h 1761"/>
                <a:gd name="T14" fmla="*/ 2147483647 w 2659"/>
                <a:gd name="T15" fmla="*/ 2147483647 h 1761"/>
                <a:gd name="T16" fmla="*/ 2147483647 w 2659"/>
                <a:gd name="T17" fmla="*/ 2147483647 h 1761"/>
                <a:gd name="T18" fmla="*/ 2147483647 w 2659"/>
                <a:gd name="T19" fmla="*/ 2147483647 h 1761"/>
                <a:gd name="T20" fmla="*/ 2147483647 w 2659"/>
                <a:gd name="T21" fmla="*/ 2147483647 h 1761"/>
                <a:gd name="T22" fmla="*/ 2147483647 w 2659"/>
                <a:gd name="T23" fmla="*/ 2147483647 h 1761"/>
                <a:gd name="T24" fmla="*/ 2147483647 w 2659"/>
                <a:gd name="T25" fmla="*/ 2147483647 h 1761"/>
                <a:gd name="T26" fmla="*/ 2147483647 w 2659"/>
                <a:gd name="T27" fmla="*/ 2147483647 h 1761"/>
                <a:gd name="T28" fmla="*/ 2147483647 w 2659"/>
                <a:gd name="T29" fmla="*/ 2147483647 h 1761"/>
                <a:gd name="T30" fmla="*/ 2147483647 w 2659"/>
                <a:gd name="T31" fmla="*/ 2147483647 h 1761"/>
                <a:gd name="T32" fmla="*/ 2147483647 w 2659"/>
                <a:gd name="T33" fmla="*/ 2147483647 h 1761"/>
                <a:gd name="T34" fmla="*/ 2147483647 w 2659"/>
                <a:gd name="T35" fmla="*/ 2147483647 h 1761"/>
                <a:gd name="T36" fmla="*/ 2147483647 w 2659"/>
                <a:gd name="T37" fmla="*/ 2147483647 h 1761"/>
                <a:gd name="T38" fmla="*/ 2147483647 w 2659"/>
                <a:gd name="T39" fmla="*/ 2147483647 h 1761"/>
                <a:gd name="T40" fmla="*/ 2147483647 w 2659"/>
                <a:gd name="T41" fmla="*/ 2147483647 h 1761"/>
                <a:gd name="T42" fmla="*/ 2147483647 w 2659"/>
                <a:gd name="T43" fmla="*/ 2147483647 h 1761"/>
                <a:gd name="T44" fmla="*/ 2147483647 w 2659"/>
                <a:gd name="T45" fmla="*/ 2147483647 h 1761"/>
                <a:gd name="T46" fmla="*/ 2147483647 w 2659"/>
                <a:gd name="T47" fmla="*/ 2147483647 h 1761"/>
                <a:gd name="T48" fmla="*/ 2147483647 w 2659"/>
                <a:gd name="T49" fmla="*/ 2147483647 h 1761"/>
                <a:gd name="T50" fmla="*/ 2147483647 w 2659"/>
                <a:gd name="T51" fmla="*/ 2147483647 h 1761"/>
                <a:gd name="T52" fmla="*/ 2147483647 w 2659"/>
                <a:gd name="T53" fmla="*/ 2147483647 h 1761"/>
                <a:gd name="T54" fmla="*/ 2147483647 w 2659"/>
                <a:gd name="T55" fmla="*/ 2147483647 h 1761"/>
                <a:gd name="T56" fmla="*/ 2147483647 w 2659"/>
                <a:gd name="T57" fmla="*/ 2147483647 h 1761"/>
                <a:gd name="T58" fmla="*/ 2147483647 w 2659"/>
                <a:gd name="T59" fmla="*/ 2147483647 h 1761"/>
                <a:gd name="T60" fmla="*/ 2147483647 w 2659"/>
                <a:gd name="T61" fmla="*/ 2147483647 h 1761"/>
                <a:gd name="T62" fmla="*/ 2147483647 w 2659"/>
                <a:gd name="T63" fmla="*/ 2147483647 h 1761"/>
                <a:gd name="T64" fmla="*/ 2147483647 w 2659"/>
                <a:gd name="T65" fmla="*/ 2147483647 h 1761"/>
                <a:gd name="T66" fmla="*/ 2147483647 w 2659"/>
                <a:gd name="T67" fmla="*/ 2147483647 h 1761"/>
                <a:gd name="T68" fmla="*/ 2147483647 w 2659"/>
                <a:gd name="T69" fmla="*/ 2147483647 h 1761"/>
                <a:gd name="T70" fmla="*/ 2147483647 w 2659"/>
                <a:gd name="T71" fmla="*/ 2147483647 h 1761"/>
                <a:gd name="T72" fmla="*/ 2147483647 w 2659"/>
                <a:gd name="T73" fmla="*/ 2147483647 h 1761"/>
                <a:gd name="T74" fmla="*/ 2147483647 w 2659"/>
                <a:gd name="T75" fmla="*/ 2147483647 h 1761"/>
                <a:gd name="T76" fmla="*/ 2147483647 w 2659"/>
                <a:gd name="T77" fmla="*/ 2147483647 h 1761"/>
                <a:gd name="T78" fmla="*/ 2147483647 w 2659"/>
                <a:gd name="T79" fmla="*/ 2147483647 h 1761"/>
                <a:gd name="T80" fmla="*/ 2147483647 w 2659"/>
                <a:gd name="T81" fmla="*/ 2147483647 h 1761"/>
                <a:gd name="T82" fmla="*/ 2147483647 w 2659"/>
                <a:gd name="T83" fmla="*/ 2147483647 h 1761"/>
                <a:gd name="T84" fmla="*/ 2147483647 w 2659"/>
                <a:gd name="T85" fmla="*/ 2147483647 h 1761"/>
                <a:gd name="T86" fmla="*/ 2147483647 w 2659"/>
                <a:gd name="T87" fmla="*/ 2147483647 h 1761"/>
                <a:gd name="T88" fmla="*/ 2147483647 w 2659"/>
                <a:gd name="T89" fmla="*/ 2147483647 h 1761"/>
                <a:gd name="T90" fmla="*/ 2147483647 w 2659"/>
                <a:gd name="T91" fmla="*/ 2147483647 h 1761"/>
                <a:gd name="T92" fmla="*/ 2147483647 w 2659"/>
                <a:gd name="T93" fmla="*/ 2147483647 h 1761"/>
                <a:gd name="T94" fmla="*/ 2147483647 w 2659"/>
                <a:gd name="T95" fmla="*/ 2147483647 h 1761"/>
                <a:gd name="T96" fmla="*/ 2147483647 w 2659"/>
                <a:gd name="T97" fmla="*/ 2147483647 h 1761"/>
                <a:gd name="T98" fmla="*/ 2147483647 w 2659"/>
                <a:gd name="T99" fmla="*/ 2147483647 h 1761"/>
                <a:gd name="T100" fmla="*/ 2147483647 w 2659"/>
                <a:gd name="T101" fmla="*/ 2147483647 h 1761"/>
                <a:gd name="T102" fmla="*/ 2147483647 w 2659"/>
                <a:gd name="T103" fmla="*/ 2147483647 h 1761"/>
                <a:gd name="T104" fmla="*/ 2147483647 w 2659"/>
                <a:gd name="T105" fmla="*/ 2147483647 h 1761"/>
                <a:gd name="T106" fmla="*/ 2147483647 w 2659"/>
                <a:gd name="T107" fmla="*/ 2147483647 h 1761"/>
                <a:gd name="T108" fmla="*/ 2147483647 w 2659"/>
                <a:gd name="T109" fmla="*/ 2147483647 h 1761"/>
                <a:gd name="T110" fmla="*/ 2147483647 w 2659"/>
                <a:gd name="T111" fmla="*/ 2147483647 h 1761"/>
                <a:gd name="T112" fmla="*/ 2147483647 w 2659"/>
                <a:gd name="T113" fmla="*/ 2147483647 h 1761"/>
                <a:gd name="T114" fmla="*/ 2147483647 w 2659"/>
                <a:gd name="T115" fmla="*/ 2147483647 h 17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659" h="1761">
                  <a:moveTo>
                    <a:pt x="0" y="1248"/>
                  </a:moveTo>
                  <a:lnTo>
                    <a:pt x="25" y="1213"/>
                  </a:lnTo>
                  <a:lnTo>
                    <a:pt x="19" y="1225"/>
                  </a:lnTo>
                  <a:lnTo>
                    <a:pt x="25" y="1236"/>
                  </a:lnTo>
                  <a:lnTo>
                    <a:pt x="25" y="1148"/>
                  </a:lnTo>
                  <a:lnTo>
                    <a:pt x="32" y="1113"/>
                  </a:lnTo>
                  <a:lnTo>
                    <a:pt x="44" y="1104"/>
                  </a:lnTo>
                  <a:lnTo>
                    <a:pt x="75" y="1137"/>
                  </a:lnTo>
                  <a:lnTo>
                    <a:pt x="75" y="1069"/>
                  </a:lnTo>
                  <a:lnTo>
                    <a:pt x="69" y="1069"/>
                  </a:lnTo>
                  <a:lnTo>
                    <a:pt x="64" y="1037"/>
                  </a:lnTo>
                  <a:lnTo>
                    <a:pt x="170" y="992"/>
                  </a:lnTo>
                  <a:lnTo>
                    <a:pt x="144" y="981"/>
                  </a:lnTo>
                  <a:lnTo>
                    <a:pt x="144" y="967"/>
                  </a:lnTo>
                  <a:lnTo>
                    <a:pt x="125" y="967"/>
                  </a:lnTo>
                  <a:lnTo>
                    <a:pt x="189" y="870"/>
                  </a:lnTo>
                  <a:lnTo>
                    <a:pt x="163" y="758"/>
                  </a:lnTo>
                  <a:lnTo>
                    <a:pt x="170" y="701"/>
                  </a:lnTo>
                  <a:lnTo>
                    <a:pt x="151" y="647"/>
                  </a:lnTo>
                  <a:lnTo>
                    <a:pt x="163" y="612"/>
                  </a:lnTo>
                  <a:lnTo>
                    <a:pt x="144" y="568"/>
                  </a:lnTo>
                  <a:lnTo>
                    <a:pt x="151" y="533"/>
                  </a:lnTo>
                  <a:lnTo>
                    <a:pt x="175" y="489"/>
                  </a:lnTo>
                  <a:lnTo>
                    <a:pt x="194" y="489"/>
                  </a:lnTo>
                  <a:lnTo>
                    <a:pt x="213" y="503"/>
                  </a:lnTo>
                  <a:lnTo>
                    <a:pt x="194" y="503"/>
                  </a:lnTo>
                  <a:lnTo>
                    <a:pt x="213" y="524"/>
                  </a:lnTo>
                  <a:lnTo>
                    <a:pt x="257" y="524"/>
                  </a:lnTo>
                  <a:lnTo>
                    <a:pt x="338" y="612"/>
                  </a:lnTo>
                  <a:lnTo>
                    <a:pt x="338" y="656"/>
                  </a:lnTo>
                  <a:lnTo>
                    <a:pt x="308" y="691"/>
                  </a:lnTo>
                  <a:lnTo>
                    <a:pt x="194" y="647"/>
                  </a:lnTo>
                  <a:lnTo>
                    <a:pt x="239" y="701"/>
                  </a:lnTo>
                  <a:lnTo>
                    <a:pt x="239" y="779"/>
                  </a:lnTo>
                  <a:lnTo>
                    <a:pt x="281" y="814"/>
                  </a:lnTo>
                  <a:lnTo>
                    <a:pt x="295" y="802"/>
                  </a:lnTo>
                  <a:lnTo>
                    <a:pt x="289" y="779"/>
                  </a:lnTo>
                  <a:lnTo>
                    <a:pt x="269" y="770"/>
                  </a:lnTo>
                  <a:lnTo>
                    <a:pt x="276" y="747"/>
                  </a:lnTo>
                  <a:lnTo>
                    <a:pt x="295" y="770"/>
                  </a:lnTo>
                  <a:lnTo>
                    <a:pt x="338" y="779"/>
                  </a:lnTo>
                  <a:lnTo>
                    <a:pt x="313" y="724"/>
                  </a:lnTo>
                  <a:lnTo>
                    <a:pt x="358" y="668"/>
                  </a:lnTo>
                  <a:lnTo>
                    <a:pt x="388" y="701"/>
                  </a:lnTo>
                  <a:lnTo>
                    <a:pt x="382" y="578"/>
                  </a:lnTo>
                  <a:lnTo>
                    <a:pt x="376" y="556"/>
                  </a:lnTo>
                  <a:lnTo>
                    <a:pt x="419" y="578"/>
                  </a:lnTo>
                  <a:lnTo>
                    <a:pt x="425" y="601"/>
                  </a:lnTo>
                  <a:lnTo>
                    <a:pt x="395" y="624"/>
                  </a:lnTo>
                  <a:lnTo>
                    <a:pt x="425" y="656"/>
                  </a:lnTo>
                  <a:lnTo>
                    <a:pt x="445" y="612"/>
                  </a:lnTo>
                  <a:lnTo>
                    <a:pt x="539" y="533"/>
                  </a:lnTo>
                  <a:lnTo>
                    <a:pt x="551" y="533"/>
                  </a:lnTo>
                  <a:lnTo>
                    <a:pt x="539" y="547"/>
                  </a:lnTo>
                  <a:lnTo>
                    <a:pt x="551" y="578"/>
                  </a:lnTo>
                  <a:lnTo>
                    <a:pt x="613" y="533"/>
                  </a:lnTo>
                  <a:lnTo>
                    <a:pt x="632" y="568"/>
                  </a:lnTo>
                  <a:lnTo>
                    <a:pt x="644" y="547"/>
                  </a:lnTo>
                  <a:lnTo>
                    <a:pt x="639" y="503"/>
                  </a:lnTo>
                  <a:lnTo>
                    <a:pt x="644" y="489"/>
                  </a:lnTo>
                  <a:lnTo>
                    <a:pt x="695" y="512"/>
                  </a:lnTo>
                  <a:lnTo>
                    <a:pt x="764" y="578"/>
                  </a:lnTo>
                  <a:lnTo>
                    <a:pt x="777" y="547"/>
                  </a:lnTo>
                  <a:lnTo>
                    <a:pt x="758" y="512"/>
                  </a:lnTo>
                  <a:lnTo>
                    <a:pt x="739" y="503"/>
                  </a:lnTo>
                  <a:lnTo>
                    <a:pt x="745" y="445"/>
                  </a:lnTo>
                  <a:lnTo>
                    <a:pt x="732" y="434"/>
                  </a:lnTo>
                  <a:lnTo>
                    <a:pt x="739" y="411"/>
                  </a:lnTo>
                  <a:lnTo>
                    <a:pt x="764" y="380"/>
                  </a:lnTo>
                  <a:lnTo>
                    <a:pt x="777" y="311"/>
                  </a:lnTo>
                  <a:lnTo>
                    <a:pt x="814" y="311"/>
                  </a:lnTo>
                  <a:lnTo>
                    <a:pt x="827" y="311"/>
                  </a:lnTo>
                  <a:lnTo>
                    <a:pt x="814" y="389"/>
                  </a:lnTo>
                  <a:lnTo>
                    <a:pt x="827" y="424"/>
                  </a:lnTo>
                  <a:lnTo>
                    <a:pt x="827" y="533"/>
                  </a:lnTo>
                  <a:lnTo>
                    <a:pt x="838" y="568"/>
                  </a:lnTo>
                  <a:lnTo>
                    <a:pt x="838" y="612"/>
                  </a:lnTo>
                  <a:lnTo>
                    <a:pt x="807" y="635"/>
                  </a:lnTo>
                  <a:lnTo>
                    <a:pt x="819" y="647"/>
                  </a:lnTo>
                  <a:lnTo>
                    <a:pt x="783" y="656"/>
                  </a:lnTo>
                  <a:lnTo>
                    <a:pt x="819" y="691"/>
                  </a:lnTo>
                  <a:lnTo>
                    <a:pt x="857" y="612"/>
                  </a:lnTo>
                  <a:lnTo>
                    <a:pt x="857" y="556"/>
                  </a:lnTo>
                  <a:lnTo>
                    <a:pt x="870" y="547"/>
                  </a:lnTo>
                  <a:lnTo>
                    <a:pt x="888" y="533"/>
                  </a:lnTo>
                  <a:lnTo>
                    <a:pt x="902" y="568"/>
                  </a:lnTo>
                  <a:lnTo>
                    <a:pt x="902" y="601"/>
                  </a:lnTo>
                  <a:lnTo>
                    <a:pt x="926" y="612"/>
                  </a:lnTo>
                  <a:lnTo>
                    <a:pt x="907" y="601"/>
                  </a:lnTo>
                  <a:lnTo>
                    <a:pt x="914" y="578"/>
                  </a:lnTo>
                  <a:lnTo>
                    <a:pt x="907" y="547"/>
                  </a:lnTo>
                  <a:lnTo>
                    <a:pt x="845" y="524"/>
                  </a:lnTo>
                  <a:lnTo>
                    <a:pt x="857" y="445"/>
                  </a:lnTo>
                  <a:lnTo>
                    <a:pt x="838" y="389"/>
                  </a:lnTo>
                  <a:lnTo>
                    <a:pt x="864" y="345"/>
                  </a:lnTo>
                  <a:lnTo>
                    <a:pt x="864" y="311"/>
                  </a:lnTo>
                  <a:lnTo>
                    <a:pt x="876" y="334"/>
                  </a:lnTo>
                  <a:lnTo>
                    <a:pt x="870" y="401"/>
                  </a:lnTo>
                  <a:lnTo>
                    <a:pt x="876" y="411"/>
                  </a:lnTo>
                  <a:lnTo>
                    <a:pt x="920" y="424"/>
                  </a:lnTo>
                  <a:lnTo>
                    <a:pt x="883" y="366"/>
                  </a:lnTo>
                  <a:lnTo>
                    <a:pt x="907" y="380"/>
                  </a:lnTo>
                  <a:lnTo>
                    <a:pt x="902" y="357"/>
                  </a:lnTo>
                  <a:lnTo>
                    <a:pt x="920" y="345"/>
                  </a:lnTo>
                  <a:lnTo>
                    <a:pt x="994" y="389"/>
                  </a:lnTo>
                  <a:lnTo>
                    <a:pt x="983" y="411"/>
                  </a:lnTo>
                  <a:lnTo>
                    <a:pt x="976" y="457"/>
                  </a:lnTo>
                  <a:lnTo>
                    <a:pt x="994" y="480"/>
                  </a:lnTo>
                  <a:lnTo>
                    <a:pt x="1002" y="389"/>
                  </a:lnTo>
                  <a:lnTo>
                    <a:pt x="957" y="334"/>
                  </a:lnTo>
                  <a:lnTo>
                    <a:pt x="952" y="278"/>
                  </a:lnTo>
                  <a:lnTo>
                    <a:pt x="1044" y="245"/>
                  </a:lnTo>
                  <a:lnTo>
                    <a:pt x="1032" y="188"/>
                  </a:lnTo>
                  <a:lnTo>
                    <a:pt x="1044" y="201"/>
                  </a:lnTo>
                  <a:lnTo>
                    <a:pt x="1063" y="178"/>
                  </a:lnTo>
                  <a:lnTo>
                    <a:pt x="1052" y="178"/>
                  </a:lnTo>
                  <a:lnTo>
                    <a:pt x="1151" y="122"/>
                  </a:lnTo>
                  <a:lnTo>
                    <a:pt x="1146" y="111"/>
                  </a:lnTo>
                  <a:lnTo>
                    <a:pt x="1188" y="99"/>
                  </a:lnTo>
                  <a:lnTo>
                    <a:pt x="1188" y="122"/>
                  </a:lnTo>
                  <a:lnTo>
                    <a:pt x="1201" y="122"/>
                  </a:lnTo>
                  <a:lnTo>
                    <a:pt x="1233" y="99"/>
                  </a:lnTo>
                  <a:lnTo>
                    <a:pt x="1252" y="111"/>
                  </a:lnTo>
                  <a:lnTo>
                    <a:pt x="1233" y="90"/>
                  </a:lnTo>
                  <a:lnTo>
                    <a:pt x="1270" y="78"/>
                  </a:lnTo>
                  <a:lnTo>
                    <a:pt x="1277" y="44"/>
                  </a:lnTo>
                  <a:lnTo>
                    <a:pt x="1314" y="0"/>
                  </a:lnTo>
                  <a:lnTo>
                    <a:pt x="1352" y="34"/>
                  </a:lnTo>
                  <a:lnTo>
                    <a:pt x="1321" y="55"/>
                  </a:lnTo>
                  <a:lnTo>
                    <a:pt x="1371" y="55"/>
                  </a:lnTo>
                  <a:lnTo>
                    <a:pt x="1352" y="90"/>
                  </a:lnTo>
                  <a:lnTo>
                    <a:pt x="1427" y="65"/>
                  </a:lnTo>
                  <a:lnTo>
                    <a:pt x="1471" y="122"/>
                  </a:lnTo>
                  <a:lnTo>
                    <a:pt x="1463" y="144"/>
                  </a:lnTo>
                  <a:lnTo>
                    <a:pt x="1452" y="122"/>
                  </a:lnTo>
                  <a:lnTo>
                    <a:pt x="1471" y="144"/>
                  </a:lnTo>
                  <a:lnTo>
                    <a:pt x="1458" y="178"/>
                  </a:lnTo>
                  <a:lnTo>
                    <a:pt x="1314" y="334"/>
                  </a:lnTo>
                  <a:lnTo>
                    <a:pt x="1364" y="311"/>
                  </a:lnTo>
                  <a:lnTo>
                    <a:pt x="1352" y="290"/>
                  </a:lnTo>
                  <a:lnTo>
                    <a:pt x="1427" y="266"/>
                  </a:lnTo>
                  <a:lnTo>
                    <a:pt x="1402" y="266"/>
                  </a:lnTo>
                  <a:lnTo>
                    <a:pt x="1408" y="245"/>
                  </a:lnTo>
                  <a:lnTo>
                    <a:pt x="1452" y="266"/>
                  </a:lnTo>
                  <a:lnTo>
                    <a:pt x="1452" y="245"/>
                  </a:lnTo>
                  <a:lnTo>
                    <a:pt x="1463" y="290"/>
                  </a:lnTo>
                  <a:lnTo>
                    <a:pt x="1482" y="290"/>
                  </a:lnTo>
                  <a:lnTo>
                    <a:pt x="1463" y="278"/>
                  </a:lnTo>
                  <a:lnTo>
                    <a:pt x="1502" y="266"/>
                  </a:lnTo>
                  <a:lnTo>
                    <a:pt x="1546" y="278"/>
                  </a:lnTo>
                  <a:lnTo>
                    <a:pt x="1546" y="290"/>
                  </a:lnTo>
                  <a:lnTo>
                    <a:pt x="1583" y="311"/>
                  </a:lnTo>
                  <a:lnTo>
                    <a:pt x="1615" y="301"/>
                  </a:lnTo>
                  <a:lnTo>
                    <a:pt x="1615" y="257"/>
                  </a:lnTo>
                  <a:lnTo>
                    <a:pt x="1627" y="257"/>
                  </a:lnTo>
                  <a:lnTo>
                    <a:pt x="1715" y="301"/>
                  </a:lnTo>
                  <a:lnTo>
                    <a:pt x="1702" y="389"/>
                  </a:lnTo>
                  <a:lnTo>
                    <a:pt x="1740" y="445"/>
                  </a:lnTo>
                  <a:lnTo>
                    <a:pt x="1765" y="366"/>
                  </a:lnTo>
                  <a:lnTo>
                    <a:pt x="1776" y="401"/>
                  </a:lnTo>
                  <a:lnTo>
                    <a:pt x="1808" y="389"/>
                  </a:lnTo>
                  <a:lnTo>
                    <a:pt x="1845" y="411"/>
                  </a:lnTo>
                  <a:lnTo>
                    <a:pt x="1877" y="401"/>
                  </a:lnTo>
                  <a:lnTo>
                    <a:pt x="1877" y="366"/>
                  </a:lnTo>
                  <a:lnTo>
                    <a:pt x="1896" y="311"/>
                  </a:lnTo>
                  <a:lnTo>
                    <a:pt x="2027" y="357"/>
                  </a:lnTo>
                  <a:lnTo>
                    <a:pt x="2034" y="380"/>
                  </a:lnTo>
                  <a:lnTo>
                    <a:pt x="2015" y="389"/>
                  </a:lnTo>
                  <a:lnTo>
                    <a:pt x="2059" y="401"/>
                  </a:lnTo>
                  <a:lnTo>
                    <a:pt x="2071" y="434"/>
                  </a:lnTo>
                  <a:lnTo>
                    <a:pt x="2171" y="424"/>
                  </a:lnTo>
                  <a:lnTo>
                    <a:pt x="2190" y="457"/>
                  </a:lnTo>
                  <a:lnTo>
                    <a:pt x="2184" y="489"/>
                  </a:lnTo>
                  <a:lnTo>
                    <a:pt x="2209" y="512"/>
                  </a:lnTo>
                  <a:lnTo>
                    <a:pt x="2227" y="503"/>
                  </a:lnTo>
                  <a:lnTo>
                    <a:pt x="2296" y="512"/>
                  </a:lnTo>
                  <a:lnTo>
                    <a:pt x="2309" y="489"/>
                  </a:lnTo>
                  <a:lnTo>
                    <a:pt x="2321" y="524"/>
                  </a:lnTo>
                  <a:lnTo>
                    <a:pt x="2346" y="547"/>
                  </a:lnTo>
                  <a:lnTo>
                    <a:pt x="2359" y="533"/>
                  </a:lnTo>
                  <a:lnTo>
                    <a:pt x="2346" y="503"/>
                  </a:lnTo>
                  <a:lnTo>
                    <a:pt x="2353" y="480"/>
                  </a:lnTo>
                  <a:lnTo>
                    <a:pt x="2472" y="512"/>
                  </a:lnTo>
                  <a:lnTo>
                    <a:pt x="2553" y="612"/>
                  </a:lnTo>
                  <a:lnTo>
                    <a:pt x="2571" y="612"/>
                  </a:lnTo>
                  <a:lnTo>
                    <a:pt x="2590" y="679"/>
                  </a:lnTo>
                  <a:lnTo>
                    <a:pt x="2584" y="647"/>
                  </a:lnTo>
                  <a:lnTo>
                    <a:pt x="2596" y="635"/>
                  </a:lnTo>
                  <a:lnTo>
                    <a:pt x="2603" y="656"/>
                  </a:lnTo>
                  <a:lnTo>
                    <a:pt x="2629" y="647"/>
                  </a:lnTo>
                  <a:lnTo>
                    <a:pt x="2659" y="691"/>
                  </a:lnTo>
                  <a:lnTo>
                    <a:pt x="2615" y="735"/>
                  </a:lnTo>
                  <a:lnTo>
                    <a:pt x="2621" y="758"/>
                  </a:lnTo>
                  <a:lnTo>
                    <a:pt x="2609" y="770"/>
                  </a:lnTo>
                  <a:lnTo>
                    <a:pt x="2621" y="779"/>
                  </a:lnTo>
                  <a:lnTo>
                    <a:pt x="2590" y="779"/>
                  </a:lnTo>
                  <a:lnTo>
                    <a:pt x="2584" y="758"/>
                  </a:lnTo>
                  <a:lnTo>
                    <a:pt x="2571" y="770"/>
                  </a:lnTo>
                  <a:lnTo>
                    <a:pt x="2553" y="724"/>
                  </a:lnTo>
                  <a:lnTo>
                    <a:pt x="2521" y="724"/>
                  </a:lnTo>
                  <a:lnTo>
                    <a:pt x="2515" y="691"/>
                  </a:lnTo>
                  <a:lnTo>
                    <a:pt x="2521" y="679"/>
                  </a:lnTo>
                  <a:lnTo>
                    <a:pt x="2509" y="679"/>
                  </a:lnTo>
                  <a:lnTo>
                    <a:pt x="2503" y="691"/>
                  </a:lnTo>
                  <a:lnTo>
                    <a:pt x="2509" y="724"/>
                  </a:lnTo>
                  <a:lnTo>
                    <a:pt x="2503" y="747"/>
                  </a:lnTo>
                  <a:lnTo>
                    <a:pt x="2478" y="770"/>
                  </a:lnTo>
                  <a:lnTo>
                    <a:pt x="2459" y="770"/>
                  </a:lnTo>
                  <a:lnTo>
                    <a:pt x="2490" y="846"/>
                  </a:lnTo>
                  <a:lnTo>
                    <a:pt x="2484" y="879"/>
                  </a:lnTo>
                  <a:lnTo>
                    <a:pt x="2453" y="858"/>
                  </a:lnTo>
                  <a:lnTo>
                    <a:pt x="2453" y="870"/>
                  </a:lnTo>
                  <a:lnTo>
                    <a:pt x="2396" y="914"/>
                  </a:lnTo>
                  <a:lnTo>
                    <a:pt x="2346" y="1002"/>
                  </a:lnTo>
                  <a:lnTo>
                    <a:pt x="2314" y="967"/>
                  </a:lnTo>
                  <a:lnTo>
                    <a:pt x="2284" y="1002"/>
                  </a:lnTo>
                  <a:lnTo>
                    <a:pt x="2284" y="967"/>
                  </a:lnTo>
                  <a:lnTo>
                    <a:pt x="2265" y="1002"/>
                  </a:lnTo>
                  <a:lnTo>
                    <a:pt x="2245" y="1002"/>
                  </a:lnTo>
                  <a:lnTo>
                    <a:pt x="2221" y="1090"/>
                  </a:lnTo>
                  <a:lnTo>
                    <a:pt x="2240" y="1104"/>
                  </a:lnTo>
                  <a:lnTo>
                    <a:pt x="2234" y="1137"/>
                  </a:lnTo>
                  <a:lnTo>
                    <a:pt x="2240" y="1181"/>
                  </a:lnTo>
                  <a:lnTo>
                    <a:pt x="2221" y="1169"/>
                  </a:lnTo>
                  <a:lnTo>
                    <a:pt x="2215" y="1204"/>
                  </a:lnTo>
                  <a:lnTo>
                    <a:pt x="2221" y="1236"/>
                  </a:lnTo>
                  <a:lnTo>
                    <a:pt x="2184" y="1269"/>
                  </a:lnTo>
                  <a:lnTo>
                    <a:pt x="2190" y="1313"/>
                  </a:lnTo>
                  <a:lnTo>
                    <a:pt x="2165" y="1313"/>
                  </a:lnTo>
                  <a:lnTo>
                    <a:pt x="2158" y="1359"/>
                  </a:lnTo>
                  <a:lnTo>
                    <a:pt x="2140" y="1405"/>
                  </a:lnTo>
                  <a:lnTo>
                    <a:pt x="2121" y="1236"/>
                  </a:lnTo>
                  <a:lnTo>
                    <a:pt x="2121" y="1148"/>
                  </a:lnTo>
                  <a:lnTo>
                    <a:pt x="2140" y="1104"/>
                  </a:lnTo>
                  <a:lnTo>
                    <a:pt x="2165" y="1090"/>
                  </a:lnTo>
                  <a:lnTo>
                    <a:pt x="2221" y="981"/>
                  </a:lnTo>
                  <a:lnTo>
                    <a:pt x="2245" y="958"/>
                  </a:lnTo>
                  <a:lnTo>
                    <a:pt x="2252" y="893"/>
                  </a:lnTo>
                  <a:lnTo>
                    <a:pt x="2265" y="879"/>
                  </a:lnTo>
                  <a:lnTo>
                    <a:pt x="2245" y="870"/>
                  </a:lnTo>
                  <a:lnTo>
                    <a:pt x="2240" y="923"/>
                  </a:lnTo>
                  <a:lnTo>
                    <a:pt x="2190" y="967"/>
                  </a:lnTo>
                  <a:lnTo>
                    <a:pt x="2196" y="902"/>
                  </a:lnTo>
                  <a:lnTo>
                    <a:pt x="2146" y="914"/>
                  </a:lnTo>
                  <a:lnTo>
                    <a:pt x="2096" y="1002"/>
                  </a:lnTo>
                  <a:lnTo>
                    <a:pt x="2109" y="1037"/>
                  </a:lnTo>
                  <a:lnTo>
                    <a:pt x="2059" y="1046"/>
                  </a:lnTo>
                  <a:lnTo>
                    <a:pt x="2052" y="1037"/>
                  </a:lnTo>
                  <a:lnTo>
                    <a:pt x="2065" y="1037"/>
                  </a:lnTo>
                  <a:lnTo>
                    <a:pt x="2027" y="1014"/>
                  </a:lnTo>
                  <a:lnTo>
                    <a:pt x="2015" y="1037"/>
                  </a:lnTo>
                  <a:lnTo>
                    <a:pt x="1921" y="1037"/>
                  </a:lnTo>
                  <a:lnTo>
                    <a:pt x="1802" y="1236"/>
                  </a:lnTo>
                  <a:lnTo>
                    <a:pt x="1827" y="1248"/>
                  </a:lnTo>
                  <a:lnTo>
                    <a:pt x="1827" y="1282"/>
                  </a:lnTo>
                  <a:lnTo>
                    <a:pt x="1840" y="1259"/>
                  </a:lnTo>
                  <a:lnTo>
                    <a:pt x="1840" y="1292"/>
                  </a:lnTo>
                  <a:lnTo>
                    <a:pt x="1852" y="1269"/>
                  </a:lnTo>
                  <a:lnTo>
                    <a:pt x="1852" y="1292"/>
                  </a:lnTo>
                  <a:lnTo>
                    <a:pt x="1858" y="1259"/>
                  </a:lnTo>
                  <a:lnTo>
                    <a:pt x="1877" y="1259"/>
                  </a:lnTo>
                  <a:lnTo>
                    <a:pt x="1896" y="1304"/>
                  </a:lnTo>
                  <a:lnTo>
                    <a:pt x="1877" y="1304"/>
                  </a:lnTo>
                  <a:lnTo>
                    <a:pt x="1896" y="1327"/>
                  </a:lnTo>
                  <a:lnTo>
                    <a:pt x="1902" y="1348"/>
                  </a:lnTo>
                  <a:lnTo>
                    <a:pt x="1883" y="1415"/>
                  </a:lnTo>
                  <a:lnTo>
                    <a:pt x="1883" y="1503"/>
                  </a:lnTo>
                  <a:lnTo>
                    <a:pt x="1802" y="1705"/>
                  </a:lnTo>
                  <a:lnTo>
                    <a:pt x="1776" y="1738"/>
                  </a:lnTo>
                  <a:lnTo>
                    <a:pt x="1752" y="1705"/>
                  </a:lnTo>
                  <a:lnTo>
                    <a:pt x="1733" y="1749"/>
                  </a:lnTo>
                  <a:lnTo>
                    <a:pt x="1733" y="1738"/>
                  </a:lnTo>
                  <a:lnTo>
                    <a:pt x="1740" y="1705"/>
                  </a:lnTo>
                  <a:lnTo>
                    <a:pt x="1740" y="1661"/>
                  </a:lnTo>
                  <a:lnTo>
                    <a:pt x="1771" y="1638"/>
                  </a:lnTo>
                  <a:lnTo>
                    <a:pt x="1796" y="1503"/>
                  </a:lnTo>
                  <a:lnTo>
                    <a:pt x="1740" y="1538"/>
                  </a:lnTo>
                  <a:lnTo>
                    <a:pt x="1733" y="1480"/>
                  </a:lnTo>
                  <a:lnTo>
                    <a:pt x="1683" y="1459"/>
                  </a:lnTo>
                  <a:lnTo>
                    <a:pt x="1652" y="1313"/>
                  </a:lnTo>
                  <a:lnTo>
                    <a:pt x="1620" y="1292"/>
                  </a:lnTo>
                  <a:lnTo>
                    <a:pt x="1565" y="1327"/>
                  </a:lnTo>
                  <a:lnTo>
                    <a:pt x="1577" y="1359"/>
                  </a:lnTo>
                  <a:lnTo>
                    <a:pt x="1551" y="1436"/>
                  </a:lnTo>
                  <a:lnTo>
                    <a:pt x="1532" y="1459"/>
                  </a:lnTo>
                  <a:lnTo>
                    <a:pt x="1508" y="1450"/>
                  </a:lnTo>
                  <a:lnTo>
                    <a:pt x="1482" y="1436"/>
                  </a:lnTo>
                  <a:lnTo>
                    <a:pt x="1408" y="1471"/>
                  </a:lnTo>
                  <a:lnTo>
                    <a:pt x="1339" y="1415"/>
                  </a:lnTo>
                  <a:lnTo>
                    <a:pt x="1302" y="1427"/>
                  </a:lnTo>
                  <a:lnTo>
                    <a:pt x="1283" y="1382"/>
                  </a:lnTo>
                  <a:lnTo>
                    <a:pt x="1246" y="1348"/>
                  </a:lnTo>
                  <a:lnTo>
                    <a:pt x="1220" y="1382"/>
                  </a:lnTo>
                  <a:lnTo>
                    <a:pt x="1220" y="1436"/>
                  </a:lnTo>
                  <a:lnTo>
                    <a:pt x="1127" y="1415"/>
                  </a:lnTo>
                  <a:lnTo>
                    <a:pt x="1077" y="1471"/>
                  </a:lnTo>
                  <a:lnTo>
                    <a:pt x="1052" y="1494"/>
                  </a:lnTo>
                  <a:lnTo>
                    <a:pt x="1020" y="1450"/>
                  </a:lnTo>
                  <a:lnTo>
                    <a:pt x="994" y="1471"/>
                  </a:lnTo>
                  <a:lnTo>
                    <a:pt x="957" y="1450"/>
                  </a:lnTo>
                  <a:lnTo>
                    <a:pt x="944" y="1436"/>
                  </a:lnTo>
                  <a:lnTo>
                    <a:pt x="933" y="1392"/>
                  </a:lnTo>
                  <a:lnTo>
                    <a:pt x="907" y="1392"/>
                  </a:lnTo>
                  <a:lnTo>
                    <a:pt x="902" y="1405"/>
                  </a:lnTo>
                  <a:lnTo>
                    <a:pt x="883" y="1371"/>
                  </a:lnTo>
                  <a:lnTo>
                    <a:pt x="870" y="1371"/>
                  </a:lnTo>
                  <a:lnTo>
                    <a:pt x="864" y="1382"/>
                  </a:lnTo>
                  <a:lnTo>
                    <a:pt x="819" y="1313"/>
                  </a:lnTo>
                  <a:lnTo>
                    <a:pt x="807" y="1304"/>
                  </a:lnTo>
                  <a:lnTo>
                    <a:pt x="777" y="1248"/>
                  </a:lnTo>
                  <a:lnTo>
                    <a:pt x="751" y="1282"/>
                  </a:lnTo>
                  <a:lnTo>
                    <a:pt x="745" y="1259"/>
                  </a:lnTo>
                  <a:lnTo>
                    <a:pt x="701" y="1259"/>
                  </a:lnTo>
                  <a:lnTo>
                    <a:pt x="689" y="1213"/>
                  </a:lnTo>
                  <a:lnTo>
                    <a:pt x="663" y="1213"/>
                  </a:lnTo>
                  <a:lnTo>
                    <a:pt x="658" y="1236"/>
                  </a:lnTo>
                  <a:lnTo>
                    <a:pt x="632" y="1248"/>
                  </a:lnTo>
                  <a:lnTo>
                    <a:pt x="620" y="1236"/>
                  </a:lnTo>
                  <a:lnTo>
                    <a:pt x="613" y="1269"/>
                  </a:lnTo>
                  <a:lnTo>
                    <a:pt x="601" y="1259"/>
                  </a:lnTo>
                  <a:lnTo>
                    <a:pt x="570" y="1269"/>
                  </a:lnTo>
                  <a:lnTo>
                    <a:pt x="557" y="1259"/>
                  </a:lnTo>
                  <a:lnTo>
                    <a:pt x="557" y="1269"/>
                  </a:lnTo>
                  <a:lnTo>
                    <a:pt x="570" y="1304"/>
                  </a:lnTo>
                  <a:lnTo>
                    <a:pt x="563" y="1327"/>
                  </a:lnTo>
                  <a:lnTo>
                    <a:pt x="563" y="1359"/>
                  </a:lnTo>
                  <a:lnTo>
                    <a:pt x="583" y="1359"/>
                  </a:lnTo>
                  <a:lnTo>
                    <a:pt x="589" y="1382"/>
                  </a:lnTo>
                  <a:lnTo>
                    <a:pt x="583" y="1405"/>
                  </a:lnTo>
                  <a:lnTo>
                    <a:pt x="570" y="1392"/>
                  </a:lnTo>
                  <a:lnTo>
                    <a:pt x="557" y="1405"/>
                  </a:lnTo>
                  <a:lnTo>
                    <a:pt x="551" y="1392"/>
                  </a:lnTo>
                  <a:lnTo>
                    <a:pt x="544" y="1371"/>
                  </a:lnTo>
                  <a:lnTo>
                    <a:pt x="533" y="1382"/>
                  </a:lnTo>
                  <a:lnTo>
                    <a:pt x="520" y="1371"/>
                  </a:lnTo>
                  <a:lnTo>
                    <a:pt x="514" y="1392"/>
                  </a:lnTo>
                  <a:lnTo>
                    <a:pt x="494" y="1392"/>
                  </a:lnTo>
                  <a:lnTo>
                    <a:pt x="488" y="1371"/>
                  </a:lnTo>
                  <a:lnTo>
                    <a:pt x="438" y="1371"/>
                  </a:lnTo>
                  <a:lnTo>
                    <a:pt x="433" y="1382"/>
                  </a:lnTo>
                  <a:lnTo>
                    <a:pt x="425" y="1382"/>
                  </a:lnTo>
                  <a:lnTo>
                    <a:pt x="419" y="1405"/>
                  </a:lnTo>
                  <a:lnTo>
                    <a:pt x="419" y="1427"/>
                  </a:lnTo>
                  <a:lnTo>
                    <a:pt x="414" y="1427"/>
                  </a:lnTo>
                  <a:lnTo>
                    <a:pt x="407" y="1405"/>
                  </a:lnTo>
                  <a:lnTo>
                    <a:pt x="400" y="1480"/>
                  </a:lnTo>
                  <a:lnTo>
                    <a:pt x="407" y="1503"/>
                  </a:lnTo>
                  <a:lnTo>
                    <a:pt x="407" y="1515"/>
                  </a:lnTo>
                  <a:lnTo>
                    <a:pt x="419" y="1515"/>
                  </a:lnTo>
                  <a:lnTo>
                    <a:pt x="425" y="1503"/>
                  </a:lnTo>
                  <a:lnTo>
                    <a:pt x="438" y="1538"/>
                  </a:lnTo>
                  <a:lnTo>
                    <a:pt x="445" y="1559"/>
                  </a:lnTo>
                  <a:lnTo>
                    <a:pt x="451" y="1582"/>
                  </a:lnTo>
                  <a:lnTo>
                    <a:pt x="464" y="1582"/>
                  </a:lnTo>
                  <a:lnTo>
                    <a:pt x="445" y="1603"/>
                  </a:lnTo>
                  <a:lnTo>
                    <a:pt x="438" y="1594"/>
                  </a:lnTo>
                  <a:lnTo>
                    <a:pt x="425" y="1672"/>
                  </a:lnTo>
                  <a:lnTo>
                    <a:pt x="438" y="1682"/>
                  </a:lnTo>
                  <a:lnTo>
                    <a:pt x="451" y="1761"/>
                  </a:lnTo>
                  <a:lnTo>
                    <a:pt x="438" y="1749"/>
                  </a:lnTo>
                  <a:lnTo>
                    <a:pt x="433" y="1738"/>
                  </a:lnTo>
                  <a:lnTo>
                    <a:pt x="419" y="1738"/>
                  </a:lnTo>
                  <a:lnTo>
                    <a:pt x="407" y="1726"/>
                  </a:lnTo>
                  <a:lnTo>
                    <a:pt x="400" y="1726"/>
                  </a:lnTo>
                  <a:lnTo>
                    <a:pt x="395" y="1693"/>
                  </a:lnTo>
                  <a:lnTo>
                    <a:pt x="376" y="1717"/>
                  </a:lnTo>
                  <a:lnTo>
                    <a:pt x="364" y="1705"/>
                  </a:lnTo>
                  <a:lnTo>
                    <a:pt x="350" y="1693"/>
                  </a:lnTo>
                  <a:lnTo>
                    <a:pt x="326" y="1672"/>
                  </a:lnTo>
                  <a:lnTo>
                    <a:pt x="300" y="1672"/>
                  </a:lnTo>
                  <a:lnTo>
                    <a:pt x="276" y="1638"/>
                  </a:lnTo>
                  <a:lnTo>
                    <a:pt x="295" y="1594"/>
                  </a:lnTo>
                  <a:lnTo>
                    <a:pt x="300" y="1571"/>
                  </a:lnTo>
                  <a:lnTo>
                    <a:pt x="300" y="1538"/>
                  </a:lnTo>
                  <a:lnTo>
                    <a:pt x="300" y="1515"/>
                  </a:lnTo>
                  <a:lnTo>
                    <a:pt x="313" y="1515"/>
                  </a:lnTo>
                  <a:lnTo>
                    <a:pt x="308" y="1471"/>
                  </a:lnTo>
                  <a:lnTo>
                    <a:pt x="295" y="1459"/>
                  </a:lnTo>
                  <a:lnTo>
                    <a:pt x="281" y="1450"/>
                  </a:lnTo>
                  <a:lnTo>
                    <a:pt x="276" y="1450"/>
                  </a:lnTo>
                  <a:lnTo>
                    <a:pt x="250" y="1436"/>
                  </a:lnTo>
                  <a:lnTo>
                    <a:pt x="231" y="1405"/>
                  </a:lnTo>
                  <a:lnTo>
                    <a:pt x="220" y="1382"/>
                  </a:lnTo>
                  <a:lnTo>
                    <a:pt x="213" y="1348"/>
                  </a:lnTo>
                  <a:lnTo>
                    <a:pt x="194" y="1336"/>
                  </a:lnTo>
                  <a:lnTo>
                    <a:pt x="181" y="1348"/>
                  </a:lnTo>
                  <a:lnTo>
                    <a:pt x="175" y="1359"/>
                  </a:lnTo>
                  <a:lnTo>
                    <a:pt x="175" y="1348"/>
                  </a:lnTo>
                  <a:lnTo>
                    <a:pt x="163" y="1327"/>
                  </a:lnTo>
                  <a:lnTo>
                    <a:pt x="181" y="1327"/>
                  </a:lnTo>
                  <a:lnTo>
                    <a:pt x="181" y="1313"/>
                  </a:lnTo>
                  <a:lnTo>
                    <a:pt x="175" y="1304"/>
                  </a:lnTo>
                  <a:lnTo>
                    <a:pt x="175" y="1292"/>
                  </a:lnTo>
                  <a:lnTo>
                    <a:pt x="163" y="1248"/>
                  </a:lnTo>
                  <a:lnTo>
                    <a:pt x="151" y="1213"/>
                  </a:lnTo>
                  <a:lnTo>
                    <a:pt x="138" y="1213"/>
                  </a:lnTo>
                  <a:lnTo>
                    <a:pt x="120" y="1213"/>
                  </a:lnTo>
                  <a:lnTo>
                    <a:pt x="113" y="1204"/>
                  </a:lnTo>
                  <a:lnTo>
                    <a:pt x="101" y="1204"/>
                  </a:lnTo>
                  <a:lnTo>
                    <a:pt x="94" y="1204"/>
                  </a:lnTo>
                  <a:lnTo>
                    <a:pt x="88" y="1213"/>
                  </a:lnTo>
                  <a:lnTo>
                    <a:pt x="82" y="1236"/>
                  </a:lnTo>
                  <a:lnTo>
                    <a:pt x="75" y="1259"/>
                  </a:lnTo>
                  <a:lnTo>
                    <a:pt x="69" y="1292"/>
                  </a:lnTo>
                  <a:lnTo>
                    <a:pt x="64" y="1282"/>
                  </a:lnTo>
                  <a:lnTo>
                    <a:pt x="64" y="1269"/>
                  </a:lnTo>
                  <a:lnTo>
                    <a:pt x="0" y="1248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07" name="Freeform 634"/>
            <p:cNvSpPr>
              <a:spLocks/>
            </p:cNvSpPr>
            <p:nvPr>
              <p:custDataLst>
                <p:tags r:id="rId515"/>
              </p:custDataLst>
            </p:nvPr>
          </p:nvSpPr>
          <p:spPr bwMode="auto">
            <a:xfrm>
              <a:off x="6572399" y="2271283"/>
              <a:ext cx="4922019" cy="1397000"/>
            </a:xfrm>
            <a:custGeom>
              <a:avLst/>
              <a:gdLst>
                <a:gd name="T0" fmla="*/ 2147483647 w 2659"/>
                <a:gd name="T1" fmla="*/ 2147483647 h 1761"/>
                <a:gd name="T2" fmla="*/ 2147483647 w 2659"/>
                <a:gd name="T3" fmla="*/ 2147483647 h 1761"/>
                <a:gd name="T4" fmla="*/ 2147483647 w 2659"/>
                <a:gd name="T5" fmla="*/ 2147483647 h 1761"/>
                <a:gd name="T6" fmla="*/ 2147483647 w 2659"/>
                <a:gd name="T7" fmla="*/ 2147483647 h 1761"/>
                <a:gd name="T8" fmla="*/ 2147483647 w 2659"/>
                <a:gd name="T9" fmla="*/ 2147483647 h 1761"/>
                <a:gd name="T10" fmla="*/ 2147483647 w 2659"/>
                <a:gd name="T11" fmla="*/ 2147483647 h 1761"/>
                <a:gd name="T12" fmla="*/ 2147483647 w 2659"/>
                <a:gd name="T13" fmla="*/ 2147483647 h 1761"/>
                <a:gd name="T14" fmla="*/ 2147483647 w 2659"/>
                <a:gd name="T15" fmla="*/ 2147483647 h 1761"/>
                <a:gd name="T16" fmla="*/ 2147483647 w 2659"/>
                <a:gd name="T17" fmla="*/ 2147483647 h 1761"/>
                <a:gd name="T18" fmla="*/ 2147483647 w 2659"/>
                <a:gd name="T19" fmla="*/ 2147483647 h 1761"/>
                <a:gd name="T20" fmla="*/ 2147483647 w 2659"/>
                <a:gd name="T21" fmla="*/ 2147483647 h 1761"/>
                <a:gd name="T22" fmla="*/ 2147483647 w 2659"/>
                <a:gd name="T23" fmla="*/ 2147483647 h 1761"/>
                <a:gd name="T24" fmla="*/ 2147483647 w 2659"/>
                <a:gd name="T25" fmla="*/ 2147483647 h 1761"/>
                <a:gd name="T26" fmla="*/ 2147483647 w 2659"/>
                <a:gd name="T27" fmla="*/ 2147483647 h 1761"/>
                <a:gd name="T28" fmla="*/ 2147483647 w 2659"/>
                <a:gd name="T29" fmla="*/ 2147483647 h 1761"/>
                <a:gd name="T30" fmla="*/ 2147483647 w 2659"/>
                <a:gd name="T31" fmla="*/ 2147483647 h 1761"/>
                <a:gd name="T32" fmla="*/ 2147483647 w 2659"/>
                <a:gd name="T33" fmla="*/ 2147483647 h 1761"/>
                <a:gd name="T34" fmla="*/ 2147483647 w 2659"/>
                <a:gd name="T35" fmla="*/ 2147483647 h 1761"/>
                <a:gd name="T36" fmla="*/ 2147483647 w 2659"/>
                <a:gd name="T37" fmla="*/ 2147483647 h 1761"/>
                <a:gd name="T38" fmla="*/ 2147483647 w 2659"/>
                <a:gd name="T39" fmla="*/ 2147483647 h 1761"/>
                <a:gd name="T40" fmla="*/ 2147483647 w 2659"/>
                <a:gd name="T41" fmla="*/ 2147483647 h 1761"/>
                <a:gd name="T42" fmla="*/ 2147483647 w 2659"/>
                <a:gd name="T43" fmla="*/ 2147483647 h 1761"/>
                <a:gd name="T44" fmla="*/ 2147483647 w 2659"/>
                <a:gd name="T45" fmla="*/ 2147483647 h 1761"/>
                <a:gd name="T46" fmla="*/ 2147483647 w 2659"/>
                <a:gd name="T47" fmla="*/ 2147483647 h 1761"/>
                <a:gd name="T48" fmla="*/ 2147483647 w 2659"/>
                <a:gd name="T49" fmla="*/ 2147483647 h 1761"/>
                <a:gd name="T50" fmla="*/ 2147483647 w 2659"/>
                <a:gd name="T51" fmla="*/ 2147483647 h 1761"/>
                <a:gd name="T52" fmla="*/ 2147483647 w 2659"/>
                <a:gd name="T53" fmla="*/ 2147483647 h 1761"/>
                <a:gd name="T54" fmla="*/ 2147483647 w 2659"/>
                <a:gd name="T55" fmla="*/ 2147483647 h 1761"/>
                <a:gd name="T56" fmla="*/ 2147483647 w 2659"/>
                <a:gd name="T57" fmla="*/ 2147483647 h 1761"/>
                <a:gd name="T58" fmla="*/ 2147483647 w 2659"/>
                <a:gd name="T59" fmla="*/ 2147483647 h 1761"/>
                <a:gd name="T60" fmla="*/ 2147483647 w 2659"/>
                <a:gd name="T61" fmla="*/ 2147483647 h 1761"/>
                <a:gd name="T62" fmla="*/ 2147483647 w 2659"/>
                <a:gd name="T63" fmla="*/ 2147483647 h 1761"/>
                <a:gd name="T64" fmla="*/ 2147483647 w 2659"/>
                <a:gd name="T65" fmla="*/ 2147483647 h 1761"/>
                <a:gd name="T66" fmla="*/ 2147483647 w 2659"/>
                <a:gd name="T67" fmla="*/ 2147483647 h 1761"/>
                <a:gd name="T68" fmla="*/ 2147483647 w 2659"/>
                <a:gd name="T69" fmla="*/ 2147483647 h 1761"/>
                <a:gd name="T70" fmla="*/ 2147483647 w 2659"/>
                <a:gd name="T71" fmla="*/ 2147483647 h 1761"/>
                <a:gd name="T72" fmla="*/ 2147483647 w 2659"/>
                <a:gd name="T73" fmla="*/ 2147483647 h 1761"/>
                <a:gd name="T74" fmla="*/ 2147483647 w 2659"/>
                <a:gd name="T75" fmla="*/ 2147483647 h 1761"/>
                <a:gd name="T76" fmla="*/ 2147483647 w 2659"/>
                <a:gd name="T77" fmla="*/ 2147483647 h 1761"/>
                <a:gd name="T78" fmla="*/ 2147483647 w 2659"/>
                <a:gd name="T79" fmla="*/ 2147483647 h 1761"/>
                <a:gd name="T80" fmla="*/ 2147483647 w 2659"/>
                <a:gd name="T81" fmla="*/ 2147483647 h 1761"/>
                <a:gd name="T82" fmla="*/ 2147483647 w 2659"/>
                <a:gd name="T83" fmla="*/ 2147483647 h 1761"/>
                <a:gd name="T84" fmla="*/ 2147483647 w 2659"/>
                <a:gd name="T85" fmla="*/ 2147483647 h 1761"/>
                <a:gd name="T86" fmla="*/ 2147483647 w 2659"/>
                <a:gd name="T87" fmla="*/ 2147483647 h 1761"/>
                <a:gd name="T88" fmla="*/ 2147483647 w 2659"/>
                <a:gd name="T89" fmla="*/ 2147483647 h 1761"/>
                <a:gd name="T90" fmla="*/ 2147483647 w 2659"/>
                <a:gd name="T91" fmla="*/ 2147483647 h 1761"/>
                <a:gd name="T92" fmla="*/ 2147483647 w 2659"/>
                <a:gd name="T93" fmla="*/ 2147483647 h 1761"/>
                <a:gd name="T94" fmla="*/ 2147483647 w 2659"/>
                <a:gd name="T95" fmla="*/ 2147483647 h 1761"/>
                <a:gd name="T96" fmla="*/ 2147483647 w 2659"/>
                <a:gd name="T97" fmla="*/ 2147483647 h 1761"/>
                <a:gd name="T98" fmla="*/ 2147483647 w 2659"/>
                <a:gd name="T99" fmla="*/ 2147483647 h 1761"/>
                <a:gd name="T100" fmla="*/ 2147483647 w 2659"/>
                <a:gd name="T101" fmla="*/ 2147483647 h 1761"/>
                <a:gd name="T102" fmla="*/ 2147483647 w 2659"/>
                <a:gd name="T103" fmla="*/ 2147483647 h 1761"/>
                <a:gd name="T104" fmla="*/ 2147483647 w 2659"/>
                <a:gd name="T105" fmla="*/ 2147483647 h 1761"/>
                <a:gd name="T106" fmla="*/ 2147483647 w 2659"/>
                <a:gd name="T107" fmla="*/ 2147483647 h 1761"/>
                <a:gd name="T108" fmla="*/ 2147483647 w 2659"/>
                <a:gd name="T109" fmla="*/ 2147483647 h 1761"/>
                <a:gd name="T110" fmla="*/ 2147483647 w 2659"/>
                <a:gd name="T111" fmla="*/ 2147483647 h 1761"/>
                <a:gd name="T112" fmla="*/ 2147483647 w 2659"/>
                <a:gd name="T113" fmla="*/ 2147483647 h 1761"/>
                <a:gd name="T114" fmla="*/ 2147483647 w 2659"/>
                <a:gd name="T115" fmla="*/ 2147483647 h 17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659" h="1761">
                  <a:moveTo>
                    <a:pt x="0" y="1248"/>
                  </a:moveTo>
                  <a:lnTo>
                    <a:pt x="25" y="1213"/>
                  </a:lnTo>
                  <a:lnTo>
                    <a:pt x="19" y="1225"/>
                  </a:lnTo>
                  <a:lnTo>
                    <a:pt x="25" y="1236"/>
                  </a:lnTo>
                  <a:lnTo>
                    <a:pt x="25" y="1148"/>
                  </a:lnTo>
                  <a:lnTo>
                    <a:pt x="32" y="1113"/>
                  </a:lnTo>
                  <a:lnTo>
                    <a:pt x="44" y="1104"/>
                  </a:lnTo>
                  <a:lnTo>
                    <a:pt x="75" y="1137"/>
                  </a:lnTo>
                  <a:lnTo>
                    <a:pt x="75" y="1069"/>
                  </a:lnTo>
                  <a:lnTo>
                    <a:pt x="69" y="1069"/>
                  </a:lnTo>
                  <a:lnTo>
                    <a:pt x="64" y="1037"/>
                  </a:lnTo>
                  <a:lnTo>
                    <a:pt x="170" y="992"/>
                  </a:lnTo>
                  <a:lnTo>
                    <a:pt x="144" y="981"/>
                  </a:lnTo>
                  <a:lnTo>
                    <a:pt x="144" y="967"/>
                  </a:lnTo>
                  <a:lnTo>
                    <a:pt x="125" y="967"/>
                  </a:lnTo>
                  <a:lnTo>
                    <a:pt x="189" y="870"/>
                  </a:lnTo>
                  <a:lnTo>
                    <a:pt x="163" y="758"/>
                  </a:lnTo>
                  <a:lnTo>
                    <a:pt x="170" y="701"/>
                  </a:lnTo>
                  <a:lnTo>
                    <a:pt x="151" y="647"/>
                  </a:lnTo>
                  <a:lnTo>
                    <a:pt x="163" y="612"/>
                  </a:lnTo>
                  <a:lnTo>
                    <a:pt x="144" y="568"/>
                  </a:lnTo>
                  <a:lnTo>
                    <a:pt x="151" y="533"/>
                  </a:lnTo>
                  <a:lnTo>
                    <a:pt x="175" y="489"/>
                  </a:lnTo>
                  <a:lnTo>
                    <a:pt x="194" y="489"/>
                  </a:lnTo>
                  <a:lnTo>
                    <a:pt x="213" y="503"/>
                  </a:lnTo>
                  <a:lnTo>
                    <a:pt x="194" y="503"/>
                  </a:lnTo>
                  <a:lnTo>
                    <a:pt x="213" y="524"/>
                  </a:lnTo>
                  <a:lnTo>
                    <a:pt x="257" y="524"/>
                  </a:lnTo>
                  <a:lnTo>
                    <a:pt x="338" y="612"/>
                  </a:lnTo>
                  <a:lnTo>
                    <a:pt x="338" y="656"/>
                  </a:lnTo>
                  <a:lnTo>
                    <a:pt x="308" y="691"/>
                  </a:lnTo>
                  <a:lnTo>
                    <a:pt x="194" y="647"/>
                  </a:lnTo>
                  <a:lnTo>
                    <a:pt x="239" y="701"/>
                  </a:lnTo>
                  <a:lnTo>
                    <a:pt x="239" y="779"/>
                  </a:lnTo>
                  <a:lnTo>
                    <a:pt x="281" y="814"/>
                  </a:lnTo>
                  <a:lnTo>
                    <a:pt x="295" y="802"/>
                  </a:lnTo>
                  <a:lnTo>
                    <a:pt x="289" y="779"/>
                  </a:lnTo>
                  <a:lnTo>
                    <a:pt x="269" y="770"/>
                  </a:lnTo>
                  <a:lnTo>
                    <a:pt x="276" y="747"/>
                  </a:lnTo>
                  <a:lnTo>
                    <a:pt x="295" y="770"/>
                  </a:lnTo>
                  <a:lnTo>
                    <a:pt x="338" y="779"/>
                  </a:lnTo>
                  <a:lnTo>
                    <a:pt x="313" y="724"/>
                  </a:lnTo>
                  <a:lnTo>
                    <a:pt x="358" y="668"/>
                  </a:lnTo>
                  <a:lnTo>
                    <a:pt x="388" y="701"/>
                  </a:lnTo>
                  <a:lnTo>
                    <a:pt x="382" y="578"/>
                  </a:lnTo>
                  <a:lnTo>
                    <a:pt x="376" y="556"/>
                  </a:lnTo>
                  <a:lnTo>
                    <a:pt x="419" y="578"/>
                  </a:lnTo>
                  <a:lnTo>
                    <a:pt x="425" y="601"/>
                  </a:lnTo>
                  <a:lnTo>
                    <a:pt x="395" y="624"/>
                  </a:lnTo>
                  <a:lnTo>
                    <a:pt x="425" y="656"/>
                  </a:lnTo>
                  <a:lnTo>
                    <a:pt x="445" y="612"/>
                  </a:lnTo>
                  <a:lnTo>
                    <a:pt x="539" y="533"/>
                  </a:lnTo>
                  <a:lnTo>
                    <a:pt x="551" y="533"/>
                  </a:lnTo>
                  <a:lnTo>
                    <a:pt x="539" y="547"/>
                  </a:lnTo>
                  <a:lnTo>
                    <a:pt x="551" y="578"/>
                  </a:lnTo>
                  <a:lnTo>
                    <a:pt x="613" y="533"/>
                  </a:lnTo>
                  <a:lnTo>
                    <a:pt x="632" y="568"/>
                  </a:lnTo>
                  <a:lnTo>
                    <a:pt x="644" y="547"/>
                  </a:lnTo>
                  <a:lnTo>
                    <a:pt x="639" y="503"/>
                  </a:lnTo>
                  <a:lnTo>
                    <a:pt x="644" y="489"/>
                  </a:lnTo>
                  <a:lnTo>
                    <a:pt x="695" y="512"/>
                  </a:lnTo>
                  <a:lnTo>
                    <a:pt x="764" y="578"/>
                  </a:lnTo>
                  <a:lnTo>
                    <a:pt x="777" y="547"/>
                  </a:lnTo>
                  <a:lnTo>
                    <a:pt x="758" y="512"/>
                  </a:lnTo>
                  <a:lnTo>
                    <a:pt x="739" y="503"/>
                  </a:lnTo>
                  <a:lnTo>
                    <a:pt x="745" y="445"/>
                  </a:lnTo>
                  <a:lnTo>
                    <a:pt x="732" y="434"/>
                  </a:lnTo>
                  <a:lnTo>
                    <a:pt x="739" y="411"/>
                  </a:lnTo>
                  <a:lnTo>
                    <a:pt x="764" y="380"/>
                  </a:lnTo>
                  <a:lnTo>
                    <a:pt x="777" y="311"/>
                  </a:lnTo>
                  <a:lnTo>
                    <a:pt x="814" y="311"/>
                  </a:lnTo>
                  <a:lnTo>
                    <a:pt x="827" y="311"/>
                  </a:lnTo>
                  <a:lnTo>
                    <a:pt x="814" y="389"/>
                  </a:lnTo>
                  <a:lnTo>
                    <a:pt x="827" y="424"/>
                  </a:lnTo>
                  <a:lnTo>
                    <a:pt x="827" y="533"/>
                  </a:lnTo>
                  <a:lnTo>
                    <a:pt x="838" y="568"/>
                  </a:lnTo>
                  <a:lnTo>
                    <a:pt x="838" y="612"/>
                  </a:lnTo>
                  <a:lnTo>
                    <a:pt x="807" y="635"/>
                  </a:lnTo>
                  <a:lnTo>
                    <a:pt x="819" y="647"/>
                  </a:lnTo>
                  <a:lnTo>
                    <a:pt x="783" y="656"/>
                  </a:lnTo>
                  <a:lnTo>
                    <a:pt x="819" y="691"/>
                  </a:lnTo>
                  <a:lnTo>
                    <a:pt x="857" y="612"/>
                  </a:lnTo>
                  <a:lnTo>
                    <a:pt x="857" y="556"/>
                  </a:lnTo>
                  <a:lnTo>
                    <a:pt x="870" y="547"/>
                  </a:lnTo>
                  <a:lnTo>
                    <a:pt x="888" y="533"/>
                  </a:lnTo>
                  <a:lnTo>
                    <a:pt x="902" y="568"/>
                  </a:lnTo>
                  <a:lnTo>
                    <a:pt x="902" y="601"/>
                  </a:lnTo>
                  <a:lnTo>
                    <a:pt x="926" y="612"/>
                  </a:lnTo>
                  <a:lnTo>
                    <a:pt x="907" y="601"/>
                  </a:lnTo>
                  <a:lnTo>
                    <a:pt x="914" y="578"/>
                  </a:lnTo>
                  <a:lnTo>
                    <a:pt x="907" y="547"/>
                  </a:lnTo>
                  <a:lnTo>
                    <a:pt x="845" y="524"/>
                  </a:lnTo>
                  <a:lnTo>
                    <a:pt x="857" y="445"/>
                  </a:lnTo>
                  <a:lnTo>
                    <a:pt x="838" y="389"/>
                  </a:lnTo>
                  <a:lnTo>
                    <a:pt x="864" y="345"/>
                  </a:lnTo>
                  <a:lnTo>
                    <a:pt x="864" y="311"/>
                  </a:lnTo>
                  <a:lnTo>
                    <a:pt x="876" y="334"/>
                  </a:lnTo>
                  <a:lnTo>
                    <a:pt x="870" y="401"/>
                  </a:lnTo>
                  <a:lnTo>
                    <a:pt x="876" y="411"/>
                  </a:lnTo>
                  <a:lnTo>
                    <a:pt x="920" y="424"/>
                  </a:lnTo>
                  <a:lnTo>
                    <a:pt x="883" y="366"/>
                  </a:lnTo>
                  <a:lnTo>
                    <a:pt x="907" y="380"/>
                  </a:lnTo>
                  <a:lnTo>
                    <a:pt x="902" y="357"/>
                  </a:lnTo>
                  <a:lnTo>
                    <a:pt x="920" y="345"/>
                  </a:lnTo>
                  <a:lnTo>
                    <a:pt x="994" y="389"/>
                  </a:lnTo>
                  <a:lnTo>
                    <a:pt x="983" y="411"/>
                  </a:lnTo>
                  <a:lnTo>
                    <a:pt x="976" y="457"/>
                  </a:lnTo>
                  <a:lnTo>
                    <a:pt x="994" y="480"/>
                  </a:lnTo>
                  <a:lnTo>
                    <a:pt x="1002" y="389"/>
                  </a:lnTo>
                  <a:lnTo>
                    <a:pt x="957" y="334"/>
                  </a:lnTo>
                  <a:lnTo>
                    <a:pt x="952" y="278"/>
                  </a:lnTo>
                  <a:lnTo>
                    <a:pt x="1044" y="245"/>
                  </a:lnTo>
                  <a:lnTo>
                    <a:pt x="1032" y="188"/>
                  </a:lnTo>
                  <a:lnTo>
                    <a:pt x="1044" y="201"/>
                  </a:lnTo>
                  <a:lnTo>
                    <a:pt x="1063" y="178"/>
                  </a:lnTo>
                  <a:lnTo>
                    <a:pt x="1052" y="178"/>
                  </a:lnTo>
                  <a:lnTo>
                    <a:pt x="1151" y="122"/>
                  </a:lnTo>
                  <a:lnTo>
                    <a:pt x="1146" y="111"/>
                  </a:lnTo>
                  <a:lnTo>
                    <a:pt x="1188" y="99"/>
                  </a:lnTo>
                  <a:lnTo>
                    <a:pt x="1188" y="122"/>
                  </a:lnTo>
                  <a:lnTo>
                    <a:pt x="1201" y="122"/>
                  </a:lnTo>
                  <a:lnTo>
                    <a:pt x="1233" y="99"/>
                  </a:lnTo>
                  <a:lnTo>
                    <a:pt x="1252" y="111"/>
                  </a:lnTo>
                  <a:lnTo>
                    <a:pt x="1233" y="90"/>
                  </a:lnTo>
                  <a:lnTo>
                    <a:pt x="1270" y="78"/>
                  </a:lnTo>
                  <a:lnTo>
                    <a:pt x="1277" y="44"/>
                  </a:lnTo>
                  <a:lnTo>
                    <a:pt x="1314" y="0"/>
                  </a:lnTo>
                  <a:lnTo>
                    <a:pt x="1352" y="34"/>
                  </a:lnTo>
                  <a:lnTo>
                    <a:pt x="1321" y="55"/>
                  </a:lnTo>
                  <a:lnTo>
                    <a:pt x="1371" y="55"/>
                  </a:lnTo>
                  <a:lnTo>
                    <a:pt x="1352" y="90"/>
                  </a:lnTo>
                  <a:lnTo>
                    <a:pt x="1427" y="65"/>
                  </a:lnTo>
                  <a:lnTo>
                    <a:pt x="1471" y="122"/>
                  </a:lnTo>
                  <a:lnTo>
                    <a:pt x="1463" y="144"/>
                  </a:lnTo>
                  <a:lnTo>
                    <a:pt x="1452" y="122"/>
                  </a:lnTo>
                  <a:lnTo>
                    <a:pt x="1471" y="144"/>
                  </a:lnTo>
                  <a:lnTo>
                    <a:pt x="1458" y="178"/>
                  </a:lnTo>
                  <a:lnTo>
                    <a:pt x="1314" y="334"/>
                  </a:lnTo>
                  <a:lnTo>
                    <a:pt x="1364" y="311"/>
                  </a:lnTo>
                  <a:lnTo>
                    <a:pt x="1352" y="290"/>
                  </a:lnTo>
                  <a:lnTo>
                    <a:pt x="1427" y="266"/>
                  </a:lnTo>
                  <a:lnTo>
                    <a:pt x="1402" y="266"/>
                  </a:lnTo>
                  <a:lnTo>
                    <a:pt x="1408" y="245"/>
                  </a:lnTo>
                  <a:lnTo>
                    <a:pt x="1452" y="266"/>
                  </a:lnTo>
                  <a:lnTo>
                    <a:pt x="1452" y="245"/>
                  </a:lnTo>
                  <a:lnTo>
                    <a:pt x="1463" y="290"/>
                  </a:lnTo>
                  <a:lnTo>
                    <a:pt x="1482" y="290"/>
                  </a:lnTo>
                  <a:lnTo>
                    <a:pt x="1463" y="278"/>
                  </a:lnTo>
                  <a:lnTo>
                    <a:pt x="1502" y="266"/>
                  </a:lnTo>
                  <a:lnTo>
                    <a:pt x="1546" y="278"/>
                  </a:lnTo>
                  <a:lnTo>
                    <a:pt x="1546" y="290"/>
                  </a:lnTo>
                  <a:lnTo>
                    <a:pt x="1583" y="311"/>
                  </a:lnTo>
                  <a:lnTo>
                    <a:pt x="1615" y="301"/>
                  </a:lnTo>
                  <a:lnTo>
                    <a:pt x="1615" y="257"/>
                  </a:lnTo>
                  <a:lnTo>
                    <a:pt x="1627" y="257"/>
                  </a:lnTo>
                  <a:lnTo>
                    <a:pt x="1715" y="301"/>
                  </a:lnTo>
                  <a:lnTo>
                    <a:pt x="1702" y="389"/>
                  </a:lnTo>
                  <a:lnTo>
                    <a:pt x="1740" y="445"/>
                  </a:lnTo>
                  <a:lnTo>
                    <a:pt x="1765" y="366"/>
                  </a:lnTo>
                  <a:lnTo>
                    <a:pt x="1776" y="401"/>
                  </a:lnTo>
                  <a:lnTo>
                    <a:pt x="1808" y="389"/>
                  </a:lnTo>
                  <a:lnTo>
                    <a:pt x="1845" y="411"/>
                  </a:lnTo>
                  <a:lnTo>
                    <a:pt x="1877" y="401"/>
                  </a:lnTo>
                  <a:lnTo>
                    <a:pt x="1877" y="366"/>
                  </a:lnTo>
                  <a:lnTo>
                    <a:pt x="1896" y="311"/>
                  </a:lnTo>
                  <a:lnTo>
                    <a:pt x="2027" y="357"/>
                  </a:lnTo>
                  <a:lnTo>
                    <a:pt x="2034" y="380"/>
                  </a:lnTo>
                  <a:lnTo>
                    <a:pt x="2015" y="389"/>
                  </a:lnTo>
                  <a:lnTo>
                    <a:pt x="2059" y="401"/>
                  </a:lnTo>
                  <a:lnTo>
                    <a:pt x="2071" y="434"/>
                  </a:lnTo>
                  <a:lnTo>
                    <a:pt x="2171" y="424"/>
                  </a:lnTo>
                  <a:lnTo>
                    <a:pt x="2190" y="457"/>
                  </a:lnTo>
                  <a:lnTo>
                    <a:pt x="2184" y="489"/>
                  </a:lnTo>
                  <a:lnTo>
                    <a:pt x="2209" y="512"/>
                  </a:lnTo>
                  <a:lnTo>
                    <a:pt x="2227" y="503"/>
                  </a:lnTo>
                  <a:lnTo>
                    <a:pt x="2296" y="512"/>
                  </a:lnTo>
                  <a:lnTo>
                    <a:pt x="2309" y="489"/>
                  </a:lnTo>
                  <a:lnTo>
                    <a:pt x="2321" y="524"/>
                  </a:lnTo>
                  <a:lnTo>
                    <a:pt x="2346" y="547"/>
                  </a:lnTo>
                  <a:lnTo>
                    <a:pt x="2359" y="533"/>
                  </a:lnTo>
                  <a:lnTo>
                    <a:pt x="2346" y="503"/>
                  </a:lnTo>
                  <a:lnTo>
                    <a:pt x="2353" y="480"/>
                  </a:lnTo>
                  <a:lnTo>
                    <a:pt x="2472" y="512"/>
                  </a:lnTo>
                  <a:lnTo>
                    <a:pt x="2553" y="612"/>
                  </a:lnTo>
                  <a:lnTo>
                    <a:pt x="2571" y="612"/>
                  </a:lnTo>
                  <a:lnTo>
                    <a:pt x="2590" y="679"/>
                  </a:lnTo>
                  <a:lnTo>
                    <a:pt x="2584" y="647"/>
                  </a:lnTo>
                  <a:lnTo>
                    <a:pt x="2596" y="635"/>
                  </a:lnTo>
                  <a:lnTo>
                    <a:pt x="2603" y="656"/>
                  </a:lnTo>
                  <a:lnTo>
                    <a:pt x="2629" y="647"/>
                  </a:lnTo>
                  <a:lnTo>
                    <a:pt x="2659" y="691"/>
                  </a:lnTo>
                  <a:lnTo>
                    <a:pt x="2615" y="735"/>
                  </a:lnTo>
                  <a:lnTo>
                    <a:pt x="2621" y="758"/>
                  </a:lnTo>
                  <a:lnTo>
                    <a:pt x="2609" y="770"/>
                  </a:lnTo>
                  <a:lnTo>
                    <a:pt x="2621" y="779"/>
                  </a:lnTo>
                  <a:lnTo>
                    <a:pt x="2590" y="779"/>
                  </a:lnTo>
                  <a:lnTo>
                    <a:pt x="2584" y="758"/>
                  </a:lnTo>
                  <a:lnTo>
                    <a:pt x="2571" y="770"/>
                  </a:lnTo>
                  <a:lnTo>
                    <a:pt x="2553" y="724"/>
                  </a:lnTo>
                  <a:lnTo>
                    <a:pt x="2521" y="724"/>
                  </a:lnTo>
                  <a:lnTo>
                    <a:pt x="2515" y="691"/>
                  </a:lnTo>
                  <a:lnTo>
                    <a:pt x="2521" y="679"/>
                  </a:lnTo>
                  <a:lnTo>
                    <a:pt x="2509" y="679"/>
                  </a:lnTo>
                  <a:lnTo>
                    <a:pt x="2503" y="691"/>
                  </a:lnTo>
                  <a:lnTo>
                    <a:pt x="2509" y="724"/>
                  </a:lnTo>
                  <a:lnTo>
                    <a:pt x="2503" y="747"/>
                  </a:lnTo>
                  <a:lnTo>
                    <a:pt x="2478" y="770"/>
                  </a:lnTo>
                  <a:lnTo>
                    <a:pt x="2459" y="770"/>
                  </a:lnTo>
                  <a:lnTo>
                    <a:pt x="2490" y="846"/>
                  </a:lnTo>
                  <a:lnTo>
                    <a:pt x="2484" y="879"/>
                  </a:lnTo>
                  <a:lnTo>
                    <a:pt x="2453" y="858"/>
                  </a:lnTo>
                  <a:lnTo>
                    <a:pt x="2453" y="870"/>
                  </a:lnTo>
                  <a:lnTo>
                    <a:pt x="2396" y="914"/>
                  </a:lnTo>
                  <a:lnTo>
                    <a:pt x="2346" y="1002"/>
                  </a:lnTo>
                  <a:lnTo>
                    <a:pt x="2314" y="967"/>
                  </a:lnTo>
                  <a:lnTo>
                    <a:pt x="2284" y="1002"/>
                  </a:lnTo>
                  <a:lnTo>
                    <a:pt x="2284" y="967"/>
                  </a:lnTo>
                  <a:lnTo>
                    <a:pt x="2265" y="1002"/>
                  </a:lnTo>
                  <a:lnTo>
                    <a:pt x="2245" y="1002"/>
                  </a:lnTo>
                  <a:lnTo>
                    <a:pt x="2221" y="1090"/>
                  </a:lnTo>
                  <a:lnTo>
                    <a:pt x="2240" y="1104"/>
                  </a:lnTo>
                  <a:lnTo>
                    <a:pt x="2234" y="1137"/>
                  </a:lnTo>
                  <a:lnTo>
                    <a:pt x="2240" y="1181"/>
                  </a:lnTo>
                  <a:lnTo>
                    <a:pt x="2221" y="1169"/>
                  </a:lnTo>
                  <a:lnTo>
                    <a:pt x="2215" y="1204"/>
                  </a:lnTo>
                  <a:lnTo>
                    <a:pt x="2221" y="1236"/>
                  </a:lnTo>
                  <a:lnTo>
                    <a:pt x="2184" y="1269"/>
                  </a:lnTo>
                  <a:lnTo>
                    <a:pt x="2190" y="1313"/>
                  </a:lnTo>
                  <a:lnTo>
                    <a:pt x="2165" y="1313"/>
                  </a:lnTo>
                  <a:lnTo>
                    <a:pt x="2158" y="1359"/>
                  </a:lnTo>
                  <a:lnTo>
                    <a:pt x="2140" y="1405"/>
                  </a:lnTo>
                  <a:lnTo>
                    <a:pt x="2121" y="1236"/>
                  </a:lnTo>
                  <a:lnTo>
                    <a:pt x="2121" y="1148"/>
                  </a:lnTo>
                  <a:lnTo>
                    <a:pt x="2140" y="1104"/>
                  </a:lnTo>
                  <a:lnTo>
                    <a:pt x="2165" y="1090"/>
                  </a:lnTo>
                  <a:lnTo>
                    <a:pt x="2221" y="981"/>
                  </a:lnTo>
                  <a:lnTo>
                    <a:pt x="2245" y="958"/>
                  </a:lnTo>
                  <a:lnTo>
                    <a:pt x="2252" y="893"/>
                  </a:lnTo>
                  <a:lnTo>
                    <a:pt x="2265" y="879"/>
                  </a:lnTo>
                  <a:lnTo>
                    <a:pt x="2245" y="870"/>
                  </a:lnTo>
                  <a:lnTo>
                    <a:pt x="2240" y="923"/>
                  </a:lnTo>
                  <a:lnTo>
                    <a:pt x="2190" y="967"/>
                  </a:lnTo>
                  <a:lnTo>
                    <a:pt x="2196" y="902"/>
                  </a:lnTo>
                  <a:lnTo>
                    <a:pt x="2146" y="914"/>
                  </a:lnTo>
                  <a:lnTo>
                    <a:pt x="2096" y="1002"/>
                  </a:lnTo>
                  <a:lnTo>
                    <a:pt x="2109" y="1037"/>
                  </a:lnTo>
                  <a:lnTo>
                    <a:pt x="2059" y="1046"/>
                  </a:lnTo>
                  <a:lnTo>
                    <a:pt x="2052" y="1037"/>
                  </a:lnTo>
                  <a:lnTo>
                    <a:pt x="2065" y="1037"/>
                  </a:lnTo>
                  <a:lnTo>
                    <a:pt x="2027" y="1014"/>
                  </a:lnTo>
                  <a:lnTo>
                    <a:pt x="2015" y="1037"/>
                  </a:lnTo>
                  <a:lnTo>
                    <a:pt x="1921" y="1037"/>
                  </a:lnTo>
                  <a:lnTo>
                    <a:pt x="1802" y="1236"/>
                  </a:lnTo>
                  <a:lnTo>
                    <a:pt x="1827" y="1248"/>
                  </a:lnTo>
                  <a:lnTo>
                    <a:pt x="1827" y="1282"/>
                  </a:lnTo>
                  <a:lnTo>
                    <a:pt x="1840" y="1259"/>
                  </a:lnTo>
                  <a:lnTo>
                    <a:pt x="1840" y="1292"/>
                  </a:lnTo>
                  <a:lnTo>
                    <a:pt x="1852" y="1269"/>
                  </a:lnTo>
                  <a:lnTo>
                    <a:pt x="1852" y="1292"/>
                  </a:lnTo>
                  <a:lnTo>
                    <a:pt x="1858" y="1259"/>
                  </a:lnTo>
                  <a:lnTo>
                    <a:pt x="1877" y="1259"/>
                  </a:lnTo>
                  <a:lnTo>
                    <a:pt x="1896" y="1304"/>
                  </a:lnTo>
                  <a:lnTo>
                    <a:pt x="1877" y="1304"/>
                  </a:lnTo>
                  <a:lnTo>
                    <a:pt x="1896" y="1327"/>
                  </a:lnTo>
                  <a:lnTo>
                    <a:pt x="1902" y="1348"/>
                  </a:lnTo>
                  <a:lnTo>
                    <a:pt x="1883" y="1415"/>
                  </a:lnTo>
                  <a:lnTo>
                    <a:pt x="1883" y="1503"/>
                  </a:lnTo>
                  <a:lnTo>
                    <a:pt x="1802" y="1705"/>
                  </a:lnTo>
                  <a:lnTo>
                    <a:pt x="1776" y="1738"/>
                  </a:lnTo>
                  <a:lnTo>
                    <a:pt x="1752" y="1705"/>
                  </a:lnTo>
                  <a:lnTo>
                    <a:pt x="1733" y="1749"/>
                  </a:lnTo>
                  <a:lnTo>
                    <a:pt x="1733" y="1738"/>
                  </a:lnTo>
                  <a:lnTo>
                    <a:pt x="1740" y="1705"/>
                  </a:lnTo>
                  <a:lnTo>
                    <a:pt x="1740" y="1661"/>
                  </a:lnTo>
                  <a:lnTo>
                    <a:pt x="1771" y="1638"/>
                  </a:lnTo>
                  <a:lnTo>
                    <a:pt x="1796" y="1503"/>
                  </a:lnTo>
                  <a:lnTo>
                    <a:pt x="1740" y="1538"/>
                  </a:lnTo>
                  <a:lnTo>
                    <a:pt x="1733" y="1480"/>
                  </a:lnTo>
                  <a:lnTo>
                    <a:pt x="1683" y="1459"/>
                  </a:lnTo>
                  <a:lnTo>
                    <a:pt x="1652" y="1313"/>
                  </a:lnTo>
                  <a:lnTo>
                    <a:pt x="1620" y="1292"/>
                  </a:lnTo>
                  <a:lnTo>
                    <a:pt x="1565" y="1327"/>
                  </a:lnTo>
                  <a:lnTo>
                    <a:pt x="1577" y="1359"/>
                  </a:lnTo>
                  <a:lnTo>
                    <a:pt x="1551" y="1436"/>
                  </a:lnTo>
                  <a:lnTo>
                    <a:pt x="1532" y="1459"/>
                  </a:lnTo>
                  <a:lnTo>
                    <a:pt x="1508" y="1450"/>
                  </a:lnTo>
                  <a:lnTo>
                    <a:pt x="1482" y="1436"/>
                  </a:lnTo>
                  <a:lnTo>
                    <a:pt x="1408" y="1471"/>
                  </a:lnTo>
                  <a:lnTo>
                    <a:pt x="1339" y="1415"/>
                  </a:lnTo>
                  <a:lnTo>
                    <a:pt x="1302" y="1427"/>
                  </a:lnTo>
                  <a:lnTo>
                    <a:pt x="1283" y="1382"/>
                  </a:lnTo>
                  <a:lnTo>
                    <a:pt x="1246" y="1348"/>
                  </a:lnTo>
                  <a:lnTo>
                    <a:pt x="1220" y="1382"/>
                  </a:lnTo>
                  <a:lnTo>
                    <a:pt x="1220" y="1436"/>
                  </a:lnTo>
                  <a:lnTo>
                    <a:pt x="1127" y="1415"/>
                  </a:lnTo>
                  <a:lnTo>
                    <a:pt x="1077" y="1471"/>
                  </a:lnTo>
                  <a:lnTo>
                    <a:pt x="1052" y="1494"/>
                  </a:lnTo>
                  <a:lnTo>
                    <a:pt x="1020" y="1450"/>
                  </a:lnTo>
                  <a:lnTo>
                    <a:pt x="994" y="1471"/>
                  </a:lnTo>
                  <a:lnTo>
                    <a:pt x="957" y="1450"/>
                  </a:lnTo>
                  <a:lnTo>
                    <a:pt x="944" y="1436"/>
                  </a:lnTo>
                  <a:lnTo>
                    <a:pt x="933" y="1392"/>
                  </a:lnTo>
                  <a:lnTo>
                    <a:pt x="907" y="1392"/>
                  </a:lnTo>
                  <a:lnTo>
                    <a:pt x="902" y="1405"/>
                  </a:lnTo>
                  <a:lnTo>
                    <a:pt x="883" y="1371"/>
                  </a:lnTo>
                  <a:lnTo>
                    <a:pt x="870" y="1371"/>
                  </a:lnTo>
                  <a:lnTo>
                    <a:pt x="864" y="1382"/>
                  </a:lnTo>
                  <a:lnTo>
                    <a:pt x="819" y="1313"/>
                  </a:lnTo>
                  <a:lnTo>
                    <a:pt x="807" y="1304"/>
                  </a:lnTo>
                  <a:lnTo>
                    <a:pt x="777" y="1248"/>
                  </a:lnTo>
                  <a:lnTo>
                    <a:pt x="751" y="1282"/>
                  </a:lnTo>
                  <a:lnTo>
                    <a:pt x="745" y="1259"/>
                  </a:lnTo>
                  <a:lnTo>
                    <a:pt x="701" y="1259"/>
                  </a:lnTo>
                  <a:lnTo>
                    <a:pt x="689" y="1213"/>
                  </a:lnTo>
                  <a:lnTo>
                    <a:pt x="663" y="1213"/>
                  </a:lnTo>
                  <a:lnTo>
                    <a:pt x="658" y="1236"/>
                  </a:lnTo>
                  <a:lnTo>
                    <a:pt x="632" y="1248"/>
                  </a:lnTo>
                  <a:lnTo>
                    <a:pt x="620" y="1236"/>
                  </a:lnTo>
                  <a:lnTo>
                    <a:pt x="613" y="1269"/>
                  </a:lnTo>
                  <a:lnTo>
                    <a:pt x="601" y="1259"/>
                  </a:lnTo>
                  <a:lnTo>
                    <a:pt x="570" y="1269"/>
                  </a:lnTo>
                  <a:lnTo>
                    <a:pt x="557" y="1259"/>
                  </a:lnTo>
                  <a:lnTo>
                    <a:pt x="557" y="1269"/>
                  </a:lnTo>
                  <a:lnTo>
                    <a:pt x="570" y="1304"/>
                  </a:lnTo>
                  <a:lnTo>
                    <a:pt x="563" y="1327"/>
                  </a:lnTo>
                  <a:lnTo>
                    <a:pt x="563" y="1359"/>
                  </a:lnTo>
                  <a:lnTo>
                    <a:pt x="583" y="1359"/>
                  </a:lnTo>
                  <a:lnTo>
                    <a:pt x="589" y="1382"/>
                  </a:lnTo>
                  <a:lnTo>
                    <a:pt x="583" y="1405"/>
                  </a:lnTo>
                  <a:lnTo>
                    <a:pt x="570" y="1392"/>
                  </a:lnTo>
                  <a:lnTo>
                    <a:pt x="557" y="1405"/>
                  </a:lnTo>
                  <a:lnTo>
                    <a:pt x="551" y="1392"/>
                  </a:lnTo>
                  <a:lnTo>
                    <a:pt x="544" y="1371"/>
                  </a:lnTo>
                  <a:lnTo>
                    <a:pt x="533" y="1382"/>
                  </a:lnTo>
                  <a:lnTo>
                    <a:pt x="520" y="1371"/>
                  </a:lnTo>
                  <a:lnTo>
                    <a:pt x="514" y="1392"/>
                  </a:lnTo>
                  <a:lnTo>
                    <a:pt x="494" y="1392"/>
                  </a:lnTo>
                  <a:lnTo>
                    <a:pt x="488" y="1371"/>
                  </a:lnTo>
                  <a:lnTo>
                    <a:pt x="438" y="1371"/>
                  </a:lnTo>
                  <a:lnTo>
                    <a:pt x="433" y="1382"/>
                  </a:lnTo>
                  <a:lnTo>
                    <a:pt x="425" y="1382"/>
                  </a:lnTo>
                  <a:lnTo>
                    <a:pt x="419" y="1405"/>
                  </a:lnTo>
                  <a:lnTo>
                    <a:pt x="419" y="1427"/>
                  </a:lnTo>
                  <a:lnTo>
                    <a:pt x="414" y="1427"/>
                  </a:lnTo>
                  <a:lnTo>
                    <a:pt x="407" y="1405"/>
                  </a:lnTo>
                  <a:lnTo>
                    <a:pt x="400" y="1480"/>
                  </a:lnTo>
                  <a:lnTo>
                    <a:pt x="407" y="1503"/>
                  </a:lnTo>
                  <a:lnTo>
                    <a:pt x="407" y="1515"/>
                  </a:lnTo>
                  <a:lnTo>
                    <a:pt x="419" y="1515"/>
                  </a:lnTo>
                  <a:lnTo>
                    <a:pt x="425" y="1503"/>
                  </a:lnTo>
                  <a:lnTo>
                    <a:pt x="438" y="1538"/>
                  </a:lnTo>
                  <a:lnTo>
                    <a:pt x="445" y="1559"/>
                  </a:lnTo>
                  <a:lnTo>
                    <a:pt x="451" y="1582"/>
                  </a:lnTo>
                  <a:lnTo>
                    <a:pt x="464" y="1582"/>
                  </a:lnTo>
                  <a:lnTo>
                    <a:pt x="445" y="1603"/>
                  </a:lnTo>
                  <a:lnTo>
                    <a:pt x="438" y="1594"/>
                  </a:lnTo>
                  <a:lnTo>
                    <a:pt x="425" y="1672"/>
                  </a:lnTo>
                  <a:lnTo>
                    <a:pt x="438" y="1682"/>
                  </a:lnTo>
                  <a:lnTo>
                    <a:pt x="451" y="1761"/>
                  </a:lnTo>
                  <a:lnTo>
                    <a:pt x="438" y="1749"/>
                  </a:lnTo>
                  <a:lnTo>
                    <a:pt x="433" y="1738"/>
                  </a:lnTo>
                  <a:lnTo>
                    <a:pt x="419" y="1738"/>
                  </a:lnTo>
                  <a:lnTo>
                    <a:pt x="407" y="1726"/>
                  </a:lnTo>
                  <a:lnTo>
                    <a:pt x="400" y="1726"/>
                  </a:lnTo>
                  <a:lnTo>
                    <a:pt x="395" y="1693"/>
                  </a:lnTo>
                  <a:lnTo>
                    <a:pt x="376" y="1717"/>
                  </a:lnTo>
                  <a:lnTo>
                    <a:pt x="364" y="1705"/>
                  </a:lnTo>
                  <a:lnTo>
                    <a:pt x="350" y="1693"/>
                  </a:lnTo>
                  <a:lnTo>
                    <a:pt x="326" y="1672"/>
                  </a:lnTo>
                  <a:lnTo>
                    <a:pt x="300" y="1672"/>
                  </a:lnTo>
                  <a:lnTo>
                    <a:pt x="276" y="1638"/>
                  </a:lnTo>
                  <a:lnTo>
                    <a:pt x="295" y="1594"/>
                  </a:lnTo>
                  <a:lnTo>
                    <a:pt x="300" y="1571"/>
                  </a:lnTo>
                  <a:lnTo>
                    <a:pt x="300" y="1538"/>
                  </a:lnTo>
                  <a:lnTo>
                    <a:pt x="300" y="1515"/>
                  </a:lnTo>
                  <a:lnTo>
                    <a:pt x="313" y="1515"/>
                  </a:lnTo>
                  <a:lnTo>
                    <a:pt x="308" y="1471"/>
                  </a:lnTo>
                  <a:lnTo>
                    <a:pt x="295" y="1459"/>
                  </a:lnTo>
                  <a:lnTo>
                    <a:pt x="281" y="1450"/>
                  </a:lnTo>
                  <a:lnTo>
                    <a:pt x="276" y="1450"/>
                  </a:lnTo>
                  <a:lnTo>
                    <a:pt x="250" y="1436"/>
                  </a:lnTo>
                  <a:lnTo>
                    <a:pt x="231" y="1405"/>
                  </a:lnTo>
                  <a:lnTo>
                    <a:pt x="220" y="1382"/>
                  </a:lnTo>
                  <a:lnTo>
                    <a:pt x="213" y="1348"/>
                  </a:lnTo>
                  <a:lnTo>
                    <a:pt x="194" y="1336"/>
                  </a:lnTo>
                  <a:lnTo>
                    <a:pt x="181" y="1348"/>
                  </a:lnTo>
                  <a:lnTo>
                    <a:pt x="175" y="1359"/>
                  </a:lnTo>
                  <a:lnTo>
                    <a:pt x="175" y="1348"/>
                  </a:lnTo>
                  <a:lnTo>
                    <a:pt x="163" y="1327"/>
                  </a:lnTo>
                  <a:lnTo>
                    <a:pt x="181" y="1327"/>
                  </a:lnTo>
                  <a:lnTo>
                    <a:pt x="181" y="1313"/>
                  </a:lnTo>
                  <a:lnTo>
                    <a:pt x="175" y="1304"/>
                  </a:lnTo>
                  <a:lnTo>
                    <a:pt x="175" y="1292"/>
                  </a:lnTo>
                  <a:lnTo>
                    <a:pt x="163" y="1248"/>
                  </a:lnTo>
                  <a:lnTo>
                    <a:pt x="151" y="1213"/>
                  </a:lnTo>
                  <a:lnTo>
                    <a:pt x="138" y="1213"/>
                  </a:lnTo>
                  <a:lnTo>
                    <a:pt x="120" y="1213"/>
                  </a:lnTo>
                  <a:lnTo>
                    <a:pt x="113" y="1204"/>
                  </a:lnTo>
                  <a:lnTo>
                    <a:pt x="101" y="1204"/>
                  </a:lnTo>
                  <a:lnTo>
                    <a:pt x="94" y="1204"/>
                  </a:lnTo>
                  <a:lnTo>
                    <a:pt x="88" y="1213"/>
                  </a:lnTo>
                  <a:lnTo>
                    <a:pt x="82" y="1236"/>
                  </a:lnTo>
                  <a:lnTo>
                    <a:pt x="75" y="1259"/>
                  </a:lnTo>
                  <a:lnTo>
                    <a:pt x="69" y="1292"/>
                  </a:lnTo>
                  <a:lnTo>
                    <a:pt x="64" y="1282"/>
                  </a:lnTo>
                  <a:lnTo>
                    <a:pt x="64" y="1269"/>
                  </a:lnTo>
                  <a:lnTo>
                    <a:pt x="0" y="124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08" name="Freeform 635"/>
            <p:cNvSpPr>
              <a:spLocks/>
            </p:cNvSpPr>
            <p:nvPr>
              <p:custDataLst>
                <p:tags r:id="rId516"/>
              </p:custDataLst>
            </p:nvPr>
          </p:nvSpPr>
          <p:spPr bwMode="auto">
            <a:xfrm>
              <a:off x="6572399" y="2271283"/>
              <a:ext cx="4922019" cy="1397000"/>
            </a:xfrm>
            <a:custGeom>
              <a:avLst/>
              <a:gdLst>
                <a:gd name="T0" fmla="*/ 2147483647 w 2659"/>
                <a:gd name="T1" fmla="*/ 2147483647 h 1761"/>
                <a:gd name="T2" fmla="*/ 2147483647 w 2659"/>
                <a:gd name="T3" fmla="*/ 2147483647 h 1761"/>
                <a:gd name="T4" fmla="*/ 2147483647 w 2659"/>
                <a:gd name="T5" fmla="*/ 2147483647 h 1761"/>
                <a:gd name="T6" fmla="*/ 2147483647 w 2659"/>
                <a:gd name="T7" fmla="*/ 2147483647 h 1761"/>
                <a:gd name="T8" fmla="*/ 2147483647 w 2659"/>
                <a:gd name="T9" fmla="*/ 2147483647 h 1761"/>
                <a:gd name="T10" fmla="*/ 2147483647 w 2659"/>
                <a:gd name="T11" fmla="*/ 2147483647 h 1761"/>
                <a:gd name="T12" fmla="*/ 2147483647 w 2659"/>
                <a:gd name="T13" fmla="*/ 2147483647 h 1761"/>
                <a:gd name="T14" fmla="*/ 2147483647 w 2659"/>
                <a:gd name="T15" fmla="*/ 2147483647 h 1761"/>
                <a:gd name="T16" fmla="*/ 2147483647 w 2659"/>
                <a:gd name="T17" fmla="*/ 2147483647 h 1761"/>
                <a:gd name="T18" fmla="*/ 2147483647 w 2659"/>
                <a:gd name="T19" fmla="*/ 2147483647 h 1761"/>
                <a:gd name="T20" fmla="*/ 2147483647 w 2659"/>
                <a:gd name="T21" fmla="*/ 2147483647 h 1761"/>
                <a:gd name="T22" fmla="*/ 2147483647 w 2659"/>
                <a:gd name="T23" fmla="*/ 2147483647 h 1761"/>
                <a:gd name="T24" fmla="*/ 2147483647 w 2659"/>
                <a:gd name="T25" fmla="*/ 2147483647 h 1761"/>
                <a:gd name="T26" fmla="*/ 2147483647 w 2659"/>
                <a:gd name="T27" fmla="*/ 2147483647 h 1761"/>
                <a:gd name="T28" fmla="*/ 2147483647 w 2659"/>
                <a:gd name="T29" fmla="*/ 2147483647 h 1761"/>
                <a:gd name="T30" fmla="*/ 2147483647 w 2659"/>
                <a:gd name="T31" fmla="*/ 2147483647 h 1761"/>
                <a:gd name="T32" fmla="*/ 2147483647 w 2659"/>
                <a:gd name="T33" fmla="*/ 2147483647 h 1761"/>
                <a:gd name="T34" fmla="*/ 2147483647 w 2659"/>
                <a:gd name="T35" fmla="*/ 2147483647 h 1761"/>
                <a:gd name="T36" fmla="*/ 2147483647 w 2659"/>
                <a:gd name="T37" fmla="*/ 2147483647 h 1761"/>
                <a:gd name="T38" fmla="*/ 2147483647 w 2659"/>
                <a:gd name="T39" fmla="*/ 2147483647 h 1761"/>
                <a:gd name="T40" fmla="*/ 2147483647 w 2659"/>
                <a:gd name="T41" fmla="*/ 2147483647 h 1761"/>
                <a:gd name="T42" fmla="*/ 2147483647 w 2659"/>
                <a:gd name="T43" fmla="*/ 2147483647 h 1761"/>
                <a:gd name="T44" fmla="*/ 2147483647 w 2659"/>
                <a:gd name="T45" fmla="*/ 2147483647 h 1761"/>
                <a:gd name="T46" fmla="*/ 2147483647 w 2659"/>
                <a:gd name="T47" fmla="*/ 2147483647 h 1761"/>
                <a:gd name="T48" fmla="*/ 2147483647 w 2659"/>
                <a:gd name="T49" fmla="*/ 2147483647 h 1761"/>
                <a:gd name="T50" fmla="*/ 2147483647 w 2659"/>
                <a:gd name="T51" fmla="*/ 2147483647 h 1761"/>
                <a:gd name="T52" fmla="*/ 2147483647 w 2659"/>
                <a:gd name="T53" fmla="*/ 2147483647 h 1761"/>
                <a:gd name="T54" fmla="*/ 2147483647 w 2659"/>
                <a:gd name="T55" fmla="*/ 2147483647 h 1761"/>
                <a:gd name="T56" fmla="*/ 2147483647 w 2659"/>
                <a:gd name="T57" fmla="*/ 2147483647 h 1761"/>
                <a:gd name="T58" fmla="*/ 2147483647 w 2659"/>
                <a:gd name="T59" fmla="*/ 2147483647 h 1761"/>
                <a:gd name="T60" fmla="*/ 2147483647 w 2659"/>
                <a:gd name="T61" fmla="*/ 2147483647 h 1761"/>
                <a:gd name="T62" fmla="*/ 2147483647 w 2659"/>
                <a:gd name="T63" fmla="*/ 2147483647 h 1761"/>
                <a:gd name="T64" fmla="*/ 2147483647 w 2659"/>
                <a:gd name="T65" fmla="*/ 2147483647 h 1761"/>
                <a:gd name="T66" fmla="*/ 2147483647 w 2659"/>
                <a:gd name="T67" fmla="*/ 2147483647 h 1761"/>
                <a:gd name="T68" fmla="*/ 2147483647 w 2659"/>
                <a:gd name="T69" fmla="*/ 2147483647 h 1761"/>
                <a:gd name="T70" fmla="*/ 2147483647 w 2659"/>
                <a:gd name="T71" fmla="*/ 2147483647 h 1761"/>
                <a:gd name="T72" fmla="*/ 2147483647 w 2659"/>
                <a:gd name="T73" fmla="*/ 2147483647 h 1761"/>
                <a:gd name="T74" fmla="*/ 2147483647 w 2659"/>
                <a:gd name="T75" fmla="*/ 2147483647 h 1761"/>
                <a:gd name="T76" fmla="*/ 2147483647 w 2659"/>
                <a:gd name="T77" fmla="*/ 2147483647 h 1761"/>
                <a:gd name="T78" fmla="*/ 2147483647 w 2659"/>
                <a:gd name="T79" fmla="*/ 2147483647 h 1761"/>
                <a:gd name="T80" fmla="*/ 2147483647 w 2659"/>
                <a:gd name="T81" fmla="*/ 2147483647 h 1761"/>
                <a:gd name="T82" fmla="*/ 2147483647 w 2659"/>
                <a:gd name="T83" fmla="*/ 2147483647 h 1761"/>
                <a:gd name="T84" fmla="*/ 2147483647 w 2659"/>
                <a:gd name="T85" fmla="*/ 2147483647 h 1761"/>
                <a:gd name="T86" fmla="*/ 2147483647 w 2659"/>
                <a:gd name="T87" fmla="*/ 2147483647 h 1761"/>
                <a:gd name="T88" fmla="*/ 2147483647 w 2659"/>
                <a:gd name="T89" fmla="*/ 2147483647 h 1761"/>
                <a:gd name="T90" fmla="*/ 2147483647 w 2659"/>
                <a:gd name="T91" fmla="*/ 2147483647 h 1761"/>
                <a:gd name="T92" fmla="*/ 2147483647 w 2659"/>
                <a:gd name="T93" fmla="*/ 2147483647 h 1761"/>
                <a:gd name="T94" fmla="*/ 2147483647 w 2659"/>
                <a:gd name="T95" fmla="*/ 2147483647 h 1761"/>
                <a:gd name="T96" fmla="*/ 2147483647 w 2659"/>
                <a:gd name="T97" fmla="*/ 2147483647 h 1761"/>
                <a:gd name="T98" fmla="*/ 2147483647 w 2659"/>
                <a:gd name="T99" fmla="*/ 2147483647 h 1761"/>
                <a:gd name="T100" fmla="*/ 2147483647 w 2659"/>
                <a:gd name="T101" fmla="*/ 2147483647 h 1761"/>
                <a:gd name="T102" fmla="*/ 2147483647 w 2659"/>
                <a:gd name="T103" fmla="*/ 2147483647 h 1761"/>
                <a:gd name="T104" fmla="*/ 2147483647 w 2659"/>
                <a:gd name="T105" fmla="*/ 2147483647 h 1761"/>
                <a:gd name="T106" fmla="*/ 2147483647 w 2659"/>
                <a:gd name="T107" fmla="*/ 2147483647 h 1761"/>
                <a:gd name="T108" fmla="*/ 2147483647 w 2659"/>
                <a:gd name="T109" fmla="*/ 2147483647 h 1761"/>
                <a:gd name="T110" fmla="*/ 2147483647 w 2659"/>
                <a:gd name="T111" fmla="*/ 2147483647 h 1761"/>
                <a:gd name="T112" fmla="*/ 2147483647 w 2659"/>
                <a:gd name="T113" fmla="*/ 2147483647 h 1761"/>
                <a:gd name="T114" fmla="*/ 2147483647 w 2659"/>
                <a:gd name="T115" fmla="*/ 2147483647 h 176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659" h="1761">
                  <a:moveTo>
                    <a:pt x="0" y="1248"/>
                  </a:moveTo>
                  <a:lnTo>
                    <a:pt x="25" y="1213"/>
                  </a:lnTo>
                  <a:lnTo>
                    <a:pt x="19" y="1225"/>
                  </a:lnTo>
                  <a:lnTo>
                    <a:pt x="25" y="1236"/>
                  </a:lnTo>
                  <a:lnTo>
                    <a:pt x="25" y="1148"/>
                  </a:lnTo>
                  <a:lnTo>
                    <a:pt x="32" y="1113"/>
                  </a:lnTo>
                  <a:lnTo>
                    <a:pt x="44" y="1104"/>
                  </a:lnTo>
                  <a:lnTo>
                    <a:pt x="75" y="1137"/>
                  </a:lnTo>
                  <a:lnTo>
                    <a:pt x="75" y="1069"/>
                  </a:lnTo>
                  <a:lnTo>
                    <a:pt x="69" y="1069"/>
                  </a:lnTo>
                  <a:lnTo>
                    <a:pt x="64" y="1037"/>
                  </a:lnTo>
                  <a:lnTo>
                    <a:pt x="170" y="992"/>
                  </a:lnTo>
                  <a:lnTo>
                    <a:pt x="144" y="981"/>
                  </a:lnTo>
                  <a:lnTo>
                    <a:pt x="144" y="967"/>
                  </a:lnTo>
                  <a:lnTo>
                    <a:pt x="125" y="967"/>
                  </a:lnTo>
                  <a:lnTo>
                    <a:pt x="189" y="870"/>
                  </a:lnTo>
                  <a:lnTo>
                    <a:pt x="163" y="758"/>
                  </a:lnTo>
                  <a:lnTo>
                    <a:pt x="170" y="701"/>
                  </a:lnTo>
                  <a:lnTo>
                    <a:pt x="151" y="647"/>
                  </a:lnTo>
                  <a:lnTo>
                    <a:pt x="163" y="612"/>
                  </a:lnTo>
                  <a:lnTo>
                    <a:pt x="144" y="568"/>
                  </a:lnTo>
                  <a:lnTo>
                    <a:pt x="151" y="533"/>
                  </a:lnTo>
                  <a:lnTo>
                    <a:pt x="175" y="489"/>
                  </a:lnTo>
                  <a:lnTo>
                    <a:pt x="194" y="489"/>
                  </a:lnTo>
                  <a:lnTo>
                    <a:pt x="213" y="503"/>
                  </a:lnTo>
                  <a:lnTo>
                    <a:pt x="194" y="503"/>
                  </a:lnTo>
                  <a:lnTo>
                    <a:pt x="213" y="524"/>
                  </a:lnTo>
                  <a:lnTo>
                    <a:pt x="257" y="524"/>
                  </a:lnTo>
                  <a:lnTo>
                    <a:pt x="338" y="612"/>
                  </a:lnTo>
                  <a:lnTo>
                    <a:pt x="338" y="656"/>
                  </a:lnTo>
                  <a:lnTo>
                    <a:pt x="308" y="691"/>
                  </a:lnTo>
                  <a:lnTo>
                    <a:pt x="194" y="647"/>
                  </a:lnTo>
                  <a:lnTo>
                    <a:pt x="239" y="701"/>
                  </a:lnTo>
                  <a:lnTo>
                    <a:pt x="239" y="779"/>
                  </a:lnTo>
                  <a:lnTo>
                    <a:pt x="281" y="814"/>
                  </a:lnTo>
                  <a:lnTo>
                    <a:pt x="295" y="802"/>
                  </a:lnTo>
                  <a:lnTo>
                    <a:pt x="289" y="779"/>
                  </a:lnTo>
                  <a:lnTo>
                    <a:pt x="269" y="770"/>
                  </a:lnTo>
                  <a:lnTo>
                    <a:pt x="276" y="747"/>
                  </a:lnTo>
                  <a:lnTo>
                    <a:pt x="295" y="770"/>
                  </a:lnTo>
                  <a:lnTo>
                    <a:pt x="338" y="779"/>
                  </a:lnTo>
                  <a:lnTo>
                    <a:pt x="313" y="724"/>
                  </a:lnTo>
                  <a:lnTo>
                    <a:pt x="358" y="668"/>
                  </a:lnTo>
                  <a:lnTo>
                    <a:pt x="388" y="701"/>
                  </a:lnTo>
                  <a:lnTo>
                    <a:pt x="382" y="578"/>
                  </a:lnTo>
                  <a:lnTo>
                    <a:pt x="376" y="556"/>
                  </a:lnTo>
                  <a:lnTo>
                    <a:pt x="419" y="578"/>
                  </a:lnTo>
                  <a:lnTo>
                    <a:pt x="425" y="601"/>
                  </a:lnTo>
                  <a:lnTo>
                    <a:pt x="395" y="624"/>
                  </a:lnTo>
                  <a:lnTo>
                    <a:pt x="425" y="656"/>
                  </a:lnTo>
                  <a:lnTo>
                    <a:pt x="445" y="612"/>
                  </a:lnTo>
                  <a:lnTo>
                    <a:pt x="539" y="533"/>
                  </a:lnTo>
                  <a:lnTo>
                    <a:pt x="551" y="533"/>
                  </a:lnTo>
                  <a:lnTo>
                    <a:pt x="539" y="547"/>
                  </a:lnTo>
                  <a:lnTo>
                    <a:pt x="551" y="578"/>
                  </a:lnTo>
                  <a:lnTo>
                    <a:pt x="613" y="533"/>
                  </a:lnTo>
                  <a:lnTo>
                    <a:pt x="632" y="568"/>
                  </a:lnTo>
                  <a:lnTo>
                    <a:pt x="644" y="547"/>
                  </a:lnTo>
                  <a:lnTo>
                    <a:pt x="639" y="503"/>
                  </a:lnTo>
                  <a:lnTo>
                    <a:pt x="644" y="489"/>
                  </a:lnTo>
                  <a:lnTo>
                    <a:pt x="695" y="512"/>
                  </a:lnTo>
                  <a:lnTo>
                    <a:pt x="764" y="578"/>
                  </a:lnTo>
                  <a:lnTo>
                    <a:pt x="777" y="547"/>
                  </a:lnTo>
                  <a:lnTo>
                    <a:pt x="758" y="512"/>
                  </a:lnTo>
                  <a:lnTo>
                    <a:pt x="739" y="503"/>
                  </a:lnTo>
                  <a:lnTo>
                    <a:pt x="745" y="445"/>
                  </a:lnTo>
                  <a:lnTo>
                    <a:pt x="732" y="434"/>
                  </a:lnTo>
                  <a:lnTo>
                    <a:pt x="739" y="411"/>
                  </a:lnTo>
                  <a:lnTo>
                    <a:pt x="764" y="380"/>
                  </a:lnTo>
                  <a:lnTo>
                    <a:pt x="777" y="311"/>
                  </a:lnTo>
                  <a:lnTo>
                    <a:pt x="814" y="311"/>
                  </a:lnTo>
                  <a:lnTo>
                    <a:pt x="827" y="311"/>
                  </a:lnTo>
                  <a:lnTo>
                    <a:pt x="814" y="389"/>
                  </a:lnTo>
                  <a:lnTo>
                    <a:pt x="827" y="424"/>
                  </a:lnTo>
                  <a:lnTo>
                    <a:pt x="827" y="533"/>
                  </a:lnTo>
                  <a:lnTo>
                    <a:pt x="838" y="568"/>
                  </a:lnTo>
                  <a:lnTo>
                    <a:pt x="838" y="612"/>
                  </a:lnTo>
                  <a:lnTo>
                    <a:pt x="807" y="635"/>
                  </a:lnTo>
                  <a:lnTo>
                    <a:pt x="819" y="647"/>
                  </a:lnTo>
                  <a:lnTo>
                    <a:pt x="783" y="656"/>
                  </a:lnTo>
                  <a:lnTo>
                    <a:pt x="819" y="691"/>
                  </a:lnTo>
                  <a:lnTo>
                    <a:pt x="857" y="612"/>
                  </a:lnTo>
                  <a:lnTo>
                    <a:pt x="857" y="556"/>
                  </a:lnTo>
                  <a:lnTo>
                    <a:pt x="870" y="547"/>
                  </a:lnTo>
                  <a:lnTo>
                    <a:pt x="888" y="533"/>
                  </a:lnTo>
                  <a:lnTo>
                    <a:pt x="902" y="568"/>
                  </a:lnTo>
                  <a:lnTo>
                    <a:pt x="902" y="601"/>
                  </a:lnTo>
                  <a:lnTo>
                    <a:pt x="926" y="612"/>
                  </a:lnTo>
                  <a:lnTo>
                    <a:pt x="907" y="601"/>
                  </a:lnTo>
                  <a:lnTo>
                    <a:pt x="914" y="578"/>
                  </a:lnTo>
                  <a:lnTo>
                    <a:pt x="907" y="547"/>
                  </a:lnTo>
                  <a:lnTo>
                    <a:pt x="845" y="524"/>
                  </a:lnTo>
                  <a:lnTo>
                    <a:pt x="857" y="445"/>
                  </a:lnTo>
                  <a:lnTo>
                    <a:pt x="838" y="389"/>
                  </a:lnTo>
                  <a:lnTo>
                    <a:pt x="864" y="345"/>
                  </a:lnTo>
                  <a:lnTo>
                    <a:pt x="864" y="311"/>
                  </a:lnTo>
                  <a:lnTo>
                    <a:pt x="876" y="334"/>
                  </a:lnTo>
                  <a:lnTo>
                    <a:pt x="870" y="401"/>
                  </a:lnTo>
                  <a:lnTo>
                    <a:pt x="876" y="411"/>
                  </a:lnTo>
                  <a:lnTo>
                    <a:pt x="920" y="424"/>
                  </a:lnTo>
                  <a:lnTo>
                    <a:pt x="883" y="366"/>
                  </a:lnTo>
                  <a:lnTo>
                    <a:pt x="907" y="380"/>
                  </a:lnTo>
                  <a:lnTo>
                    <a:pt x="902" y="357"/>
                  </a:lnTo>
                  <a:lnTo>
                    <a:pt x="920" y="345"/>
                  </a:lnTo>
                  <a:lnTo>
                    <a:pt x="994" y="389"/>
                  </a:lnTo>
                  <a:lnTo>
                    <a:pt x="983" y="411"/>
                  </a:lnTo>
                  <a:lnTo>
                    <a:pt x="976" y="457"/>
                  </a:lnTo>
                  <a:lnTo>
                    <a:pt x="994" y="480"/>
                  </a:lnTo>
                  <a:lnTo>
                    <a:pt x="1002" y="389"/>
                  </a:lnTo>
                  <a:lnTo>
                    <a:pt x="957" y="334"/>
                  </a:lnTo>
                  <a:lnTo>
                    <a:pt x="952" y="278"/>
                  </a:lnTo>
                  <a:lnTo>
                    <a:pt x="1044" y="245"/>
                  </a:lnTo>
                  <a:lnTo>
                    <a:pt x="1032" y="188"/>
                  </a:lnTo>
                  <a:lnTo>
                    <a:pt x="1044" y="201"/>
                  </a:lnTo>
                  <a:lnTo>
                    <a:pt x="1063" y="178"/>
                  </a:lnTo>
                  <a:lnTo>
                    <a:pt x="1052" y="178"/>
                  </a:lnTo>
                  <a:lnTo>
                    <a:pt x="1151" y="122"/>
                  </a:lnTo>
                  <a:lnTo>
                    <a:pt x="1146" y="111"/>
                  </a:lnTo>
                  <a:lnTo>
                    <a:pt x="1188" y="99"/>
                  </a:lnTo>
                  <a:lnTo>
                    <a:pt x="1188" y="122"/>
                  </a:lnTo>
                  <a:lnTo>
                    <a:pt x="1201" y="122"/>
                  </a:lnTo>
                  <a:lnTo>
                    <a:pt x="1233" y="99"/>
                  </a:lnTo>
                  <a:lnTo>
                    <a:pt x="1252" y="111"/>
                  </a:lnTo>
                  <a:lnTo>
                    <a:pt x="1233" y="90"/>
                  </a:lnTo>
                  <a:lnTo>
                    <a:pt x="1270" y="78"/>
                  </a:lnTo>
                  <a:lnTo>
                    <a:pt x="1277" y="44"/>
                  </a:lnTo>
                  <a:lnTo>
                    <a:pt x="1314" y="0"/>
                  </a:lnTo>
                  <a:lnTo>
                    <a:pt x="1352" y="34"/>
                  </a:lnTo>
                  <a:lnTo>
                    <a:pt x="1321" y="55"/>
                  </a:lnTo>
                  <a:lnTo>
                    <a:pt x="1371" y="55"/>
                  </a:lnTo>
                  <a:lnTo>
                    <a:pt x="1352" y="90"/>
                  </a:lnTo>
                  <a:lnTo>
                    <a:pt x="1427" y="65"/>
                  </a:lnTo>
                  <a:lnTo>
                    <a:pt x="1471" y="122"/>
                  </a:lnTo>
                  <a:lnTo>
                    <a:pt x="1463" y="144"/>
                  </a:lnTo>
                  <a:lnTo>
                    <a:pt x="1452" y="122"/>
                  </a:lnTo>
                  <a:lnTo>
                    <a:pt x="1471" y="144"/>
                  </a:lnTo>
                  <a:lnTo>
                    <a:pt x="1458" y="178"/>
                  </a:lnTo>
                  <a:lnTo>
                    <a:pt x="1314" y="334"/>
                  </a:lnTo>
                  <a:lnTo>
                    <a:pt x="1364" y="311"/>
                  </a:lnTo>
                  <a:lnTo>
                    <a:pt x="1352" y="290"/>
                  </a:lnTo>
                  <a:lnTo>
                    <a:pt x="1427" y="266"/>
                  </a:lnTo>
                  <a:lnTo>
                    <a:pt x="1402" y="266"/>
                  </a:lnTo>
                  <a:lnTo>
                    <a:pt x="1408" y="245"/>
                  </a:lnTo>
                  <a:lnTo>
                    <a:pt x="1452" y="266"/>
                  </a:lnTo>
                  <a:lnTo>
                    <a:pt x="1452" y="245"/>
                  </a:lnTo>
                  <a:lnTo>
                    <a:pt x="1463" y="290"/>
                  </a:lnTo>
                  <a:lnTo>
                    <a:pt x="1482" y="290"/>
                  </a:lnTo>
                  <a:lnTo>
                    <a:pt x="1463" y="278"/>
                  </a:lnTo>
                  <a:lnTo>
                    <a:pt x="1502" y="266"/>
                  </a:lnTo>
                  <a:lnTo>
                    <a:pt x="1546" y="278"/>
                  </a:lnTo>
                  <a:lnTo>
                    <a:pt x="1546" y="290"/>
                  </a:lnTo>
                  <a:lnTo>
                    <a:pt x="1583" y="311"/>
                  </a:lnTo>
                  <a:lnTo>
                    <a:pt x="1615" y="301"/>
                  </a:lnTo>
                  <a:lnTo>
                    <a:pt x="1615" y="257"/>
                  </a:lnTo>
                  <a:lnTo>
                    <a:pt x="1627" y="257"/>
                  </a:lnTo>
                  <a:lnTo>
                    <a:pt x="1715" y="301"/>
                  </a:lnTo>
                  <a:lnTo>
                    <a:pt x="1702" y="389"/>
                  </a:lnTo>
                  <a:lnTo>
                    <a:pt x="1740" y="445"/>
                  </a:lnTo>
                  <a:lnTo>
                    <a:pt x="1765" y="366"/>
                  </a:lnTo>
                  <a:lnTo>
                    <a:pt x="1776" y="401"/>
                  </a:lnTo>
                  <a:lnTo>
                    <a:pt x="1808" y="389"/>
                  </a:lnTo>
                  <a:lnTo>
                    <a:pt x="1845" y="411"/>
                  </a:lnTo>
                  <a:lnTo>
                    <a:pt x="1877" y="401"/>
                  </a:lnTo>
                  <a:lnTo>
                    <a:pt x="1877" y="366"/>
                  </a:lnTo>
                  <a:lnTo>
                    <a:pt x="1896" y="311"/>
                  </a:lnTo>
                  <a:lnTo>
                    <a:pt x="2027" y="357"/>
                  </a:lnTo>
                  <a:lnTo>
                    <a:pt x="2034" y="380"/>
                  </a:lnTo>
                  <a:lnTo>
                    <a:pt x="2015" y="389"/>
                  </a:lnTo>
                  <a:lnTo>
                    <a:pt x="2059" y="401"/>
                  </a:lnTo>
                  <a:lnTo>
                    <a:pt x="2071" y="434"/>
                  </a:lnTo>
                  <a:lnTo>
                    <a:pt x="2171" y="424"/>
                  </a:lnTo>
                  <a:lnTo>
                    <a:pt x="2190" y="457"/>
                  </a:lnTo>
                  <a:lnTo>
                    <a:pt x="2184" y="489"/>
                  </a:lnTo>
                  <a:lnTo>
                    <a:pt x="2209" y="512"/>
                  </a:lnTo>
                  <a:lnTo>
                    <a:pt x="2227" y="503"/>
                  </a:lnTo>
                  <a:lnTo>
                    <a:pt x="2296" y="512"/>
                  </a:lnTo>
                  <a:lnTo>
                    <a:pt x="2309" y="489"/>
                  </a:lnTo>
                  <a:lnTo>
                    <a:pt x="2321" y="524"/>
                  </a:lnTo>
                  <a:lnTo>
                    <a:pt x="2346" y="547"/>
                  </a:lnTo>
                  <a:lnTo>
                    <a:pt x="2359" y="533"/>
                  </a:lnTo>
                  <a:lnTo>
                    <a:pt x="2346" y="503"/>
                  </a:lnTo>
                  <a:lnTo>
                    <a:pt x="2353" y="480"/>
                  </a:lnTo>
                  <a:lnTo>
                    <a:pt x="2472" y="512"/>
                  </a:lnTo>
                  <a:lnTo>
                    <a:pt x="2553" y="612"/>
                  </a:lnTo>
                  <a:lnTo>
                    <a:pt x="2571" y="612"/>
                  </a:lnTo>
                  <a:lnTo>
                    <a:pt x="2590" y="679"/>
                  </a:lnTo>
                  <a:lnTo>
                    <a:pt x="2584" y="647"/>
                  </a:lnTo>
                  <a:lnTo>
                    <a:pt x="2596" y="635"/>
                  </a:lnTo>
                  <a:lnTo>
                    <a:pt x="2603" y="656"/>
                  </a:lnTo>
                  <a:lnTo>
                    <a:pt x="2629" y="647"/>
                  </a:lnTo>
                  <a:lnTo>
                    <a:pt x="2659" y="691"/>
                  </a:lnTo>
                  <a:lnTo>
                    <a:pt x="2615" y="735"/>
                  </a:lnTo>
                  <a:lnTo>
                    <a:pt x="2621" y="758"/>
                  </a:lnTo>
                  <a:lnTo>
                    <a:pt x="2609" y="770"/>
                  </a:lnTo>
                  <a:lnTo>
                    <a:pt x="2621" y="779"/>
                  </a:lnTo>
                  <a:lnTo>
                    <a:pt x="2590" y="779"/>
                  </a:lnTo>
                  <a:lnTo>
                    <a:pt x="2584" y="758"/>
                  </a:lnTo>
                  <a:lnTo>
                    <a:pt x="2571" y="770"/>
                  </a:lnTo>
                  <a:lnTo>
                    <a:pt x="2553" y="724"/>
                  </a:lnTo>
                  <a:lnTo>
                    <a:pt x="2521" y="724"/>
                  </a:lnTo>
                  <a:lnTo>
                    <a:pt x="2515" y="691"/>
                  </a:lnTo>
                  <a:lnTo>
                    <a:pt x="2521" y="679"/>
                  </a:lnTo>
                  <a:lnTo>
                    <a:pt x="2509" y="679"/>
                  </a:lnTo>
                  <a:lnTo>
                    <a:pt x="2503" y="691"/>
                  </a:lnTo>
                  <a:lnTo>
                    <a:pt x="2509" y="724"/>
                  </a:lnTo>
                  <a:lnTo>
                    <a:pt x="2503" y="747"/>
                  </a:lnTo>
                  <a:lnTo>
                    <a:pt x="2478" y="770"/>
                  </a:lnTo>
                  <a:lnTo>
                    <a:pt x="2459" y="770"/>
                  </a:lnTo>
                  <a:lnTo>
                    <a:pt x="2490" y="846"/>
                  </a:lnTo>
                  <a:lnTo>
                    <a:pt x="2484" y="879"/>
                  </a:lnTo>
                  <a:lnTo>
                    <a:pt x="2453" y="858"/>
                  </a:lnTo>
                  <a:lnTo>
                    <a:pt x="2453" y="870"/>
                  </a:lnTo>
                  <a:lnTo>
                    <a:pt x="2396" y="914"/>
                  </a:lnTo>
                  <a:lnTo>
                    <a:pt x="2346" y="1002"/>
                  </a:lnTo>
                  <a:lnTo>
                    <a:pt x="2314" y="967"/>
                  </a:lnTo>
                  <a:lnTo>
                    <a:pt x="2284" y="1002"/>
                  </a:lnTo>
                  <a:lnTo>
                    <a:pt x="2284" y="967"/>
                  </a:lnTo>
                  <a:lnTo>
                    <a:pt x="2265" y="1002"/>
                  </a:lnTo>
                  <a:lnTo>
                    <a:pt x="2245" y="1002"/>
                  </a:lnTo>
                  <a:lnTo>
                    <a:pt x="2221" y="1090"/>
                  </a:lnTo>
                  <a:lnTo>
                    <a:pt x="2240" y="1104"/>
                  </a:lnTo>
                  <a:lnTo>
                    <a:pt x="2234" y="1137"/>
                  </a:lnTo>
                  <a:lnTo>
                    <a:pt x="2240" y="1181"/>
                  </a:lnTo>
                  <a:lnTo>
                    <a:pt x="2221" y="1169"/>
                  </a:lnTo>
                  <a:lnTo>
                    <a:pt x="2215" y="1204"/>
                  </a:lnTo>
                  <a:lnTo>
                    <a:pt x="2221" y="1236"/>
                  </a:lnTo>
                  <a:lnTo>
                    <a:pt x="2184" y="1269"/>
                  </a:lnTo>
                  <a:lnTo>
                    <a:pt x="2190" y="1313"/>
                  </a:lnTo>
                  <a:lnTo>
                    <a:pt x="2165" y="1313"/>
                  </a:lnTo>
                  <a:lnTo>
                    <a:pt x="2158" y="1359"/>
                  </a:lnTo>
                  <a:lnTo>
                    <a:pt x="2140" y="1405"/>
                  </a:lnTo>
                  <a:lnTo>
                    <a:pt x="2121" y="1236"/>
                  </a:lnTo>
                  <a:lnTo>
                    <a:pt x="2121" y="1148"/>
                  </a:lnTo>
                  <a:lnTo>
                    <a:pt x="2140" y="1104"/>
                  </a:lnTo>
                  <a:lnTo>
                    <a:pt x="2165" y="1090"/>
                  </a:lnTo>
                  <a:lnTo>
                    <a:pt x="2221" y="981"/>
                  </a:lnTo>
                  <a:lnTo>
                    <a:pt x="2245" y="958"/>
                  </a:lnTo>
                  <a:lnTo>
                    <a:pt x="2252" y="893"/>
                  </a:lnTo>
                  <a:lnTo>
                    <a:pt x="2265" y="879"/>
                  </a:lnTo>
                  <a:lnTo>
                    <a:pt x="2245" y="870"/>
                  </a:lnTo>
                  <a:lnTo>
                    <a:pt x="2240" y="923"/>
                  </a:lnTo>
                  <a:lnTo>
                    <a:pt x="2190" y="967"/>
                  </a:lnTo>
                  <a:lnTo>
                    <a:pt x="2196" y="902"/>
                  </a:lnTo>
                  <a:lnTo>
                    <a:pt x="2146" y="914"/>
                  </a:lnTo>
                  <a:lnTo>
                    <a:pt x="2096" y="1002"/>
                  </a:lnTo>
                  <a:lnTo>
                    <a:pt x="2109" y="1037"/>
                  </a:lnTo>
                  <a:lnTo>
                    <a:pt x="2059" y="1046"/>
                  </a:lnTo>
                  <a:lnTo>
                    <a:pt x="2052" y="1037"/>
                  </a:lnTo>
                  <a:lnTo>
                    <a:pt x="2065" y="1037"/>
                  </a:lnTo>
                  <a:lnTo>
                    <a:pt x="2027" y="1014"/>
                  </a:lnTo>
                  <a:lnTo>
                    <a:pt x="2015" y="1037"/>
                  </a:lnTo>
                  <a:lnTo>
                    <a:pt x="1921" y="1037"/>
                  </a:lnTo>
                  <a:lnTo>
                    <a:pt x="1802" y="1236"/>
                  </a:lnTo>
                  <a:lnTo>
                    <a:pt x="1827" y="1248"/>
                  </a:lnTo>
                  <a:lnTo>
                    <a:pt x="1827" y="1282"/>
                  </a:lnTo>
                  <a:lnTo>
                    <a:pt x="1840" y="1259"/>
                  </a:lnTo>
                  <a:lnTo>
                    <a:pt x="1840" y="1292"/>
                  </a:lnTo>
                  <a:lnTo>
                    <a:pt x="1852" y="1269"/>
                  </a:lnTo>
                  <a:lnTo>
                    <a:pt x="1852" y="1292"/>
                  </a:lnTo>
                  <a:lnTo>
                    <a:pt x="1858" y="1259"/>
                  </a:lnTo>
                  <a:lnTo>
                    <a:pt x="1877" y="1259"/>
                  </a:lnTo>
                  <a:lnTo>
                    <a:pt x="1896" y="1304"/>
                  </a:lnTo>
                  <a:lnTo>
                    <a:pt x="1877" y="1304"/>
                  </a:lnTo>
                  <a:lnTo>
                    <a:pt x="1896" y="1327"/>
                  </a:lnTo>
                  <a:lnTo>
                    <a:pt x="1902" y="1348"/>
                  </a:lnTo>
                  <a:lnTo>
                    <a:pt x="1883" y="1415"/>
                  </a:lnTo>
                  <a:lnTo>
                    <a:pt x="1883" y="1503"/>
                  </a:lnTo>
                  <a:lnTo>
                    <a:pt x="1802" y="1705"/>
                  </a:lnTo>
                  <a:lnTo>
                    <a:pt x="1776" y="1738"/>
                  </a:lnTo>
                  <a:lnTo>
                    <a:pt x="1752" y="1705"/>
                  </a:lnTo>
                  <a:lnTo>
                    <a:pt x="1733" y="1749"/>
                  </a:lnTo>
                  <a:lnTo>
                    <a:pt x="1733" y="1738"/>
                  </a:lnTo>
                  <a:lnTo>
                    <a:pt x="1740" y="1705"/>
                  </a:lnTo>
                  <a:lnTo>
                    <a:pt x="1740" y="1661"/>
                  </a:lnTo>
                  <a:lnTo>
                    <a:pt x="1771" y="1638"/>
                  </a:lnTo>
                  <a:lnTo>
                    <a:pt x="1796" y="1503"/>
                  </a:lnTo>
                  <a:lnTo>
                    <a:pt x="1740" y="1538"/>
                  </a:lnTo>
                  <a:lnTo>
                    <a:pt x="1733" y="1480"/>
                  </a:lnTo>
                  <a:lnTo>
                    <a:pt x="1683" y="1459"/>
                  </a:lnTo>
                  <a:lnTo>
                    <a:pt x="1652" y="1313"/>
                  </a:lnTo>
                  <a:lnTo>
                    <a:pt x="1620" y="1292"/>
                  </a:lnTo>
                  <a:lnTo>
                    <a:pt x="1565" y="1327"/>
                  </a:lnTo>
                  <a:lnTo>
                    <a:pt x="1577" y="1359"/>
                  </a:lnTo>
                  <a:lnTo>
                    <a:pt x="1551" y="1436"/>
                  </a:lnTo>
                  <a:lnTo>
                    <a:pt x="1532" y="1459"/>
                  </a:lnTo>
                  <a:lnTo>
                    <a:pt x="1508" y="1450"/>
                  </a:lnTo>
                  <a:lnTo>
                    <a:pt x="1482" y="1436"/>
                  </a:lnTo>
                  <a:lnTo>
                    <a:pt x="1408" y="1471"/>
                  </a:lnTo>
                  <a:lnTo>
                    <a:pt x="1339" y="1415"/>
                  </a:lnTo>
                  <a:lnTo>
                    <a:pt x="1302" y="1427"/>
                  </a:lnTo>
                  <a:lnTo>
                    <a:pt x="1283" y="1382"/>
                  </a:lnTo>
                  <a:lnTo>
                    <a:pt x="1246" y="1348"/>
                  </a:lnTo>
                  <a:lnTo>
                    <a:pt x="1220" y="1382"/>
                  </a:lnTo>
                  <a:lnTo>
                    <a:pt x="1220" y="1436"/>
                  </a:lnTo>
                  <a:lnTo>
                    <a:pt x="1127" y="1415"/>
                  </a:lnTo>
                  <a:lnTo>
                    <a:pt x="1077" y="1471"/>
                  </a:lnTo>
                  <a:lnTo>
                    <a:pt x="1052" y="1494"/>
                  </a:lnTo>
                  <a:lnTo>
                    <a:pt x="1020" y="1450"/>
                  </a:lnTo>
                  <a:lnTo>
                    <a:pt x="994" y="1471"/>
                  </a:lnTo>
                  <a:lnTo>
                    <a:pt x="957" y="1450"/>
                  </a:lnTo>
                  <a:lnTo>
                    <a:pt x="944" y="1436"/>
                  </a:lnTo>
                  <a:lnTo>
                    <a:pt x="933" y="1392"/>
                  </a:lnTo>
                  <a:lnTo>
                    <a:pt x="907" y="1392"/>
                  </a:lnTo>
                  <a:lnTo>
                    <a:pt x="902" y="1405"/>
                  </a:lnTo>
                  <a:lnTo>
                    <a:pt x="883" y="1371"/>
                  </a:lnTo>
                  <a:lnTo>
                    <a:pt x="870" y="1371"/>
                  </a:lnTo>
                  <a:lnTo>
                    <a:pt x="864" y="1382"/>
                  </a:lnTo>
                  <a:lnTo>
                    <a:pt x="819" y="1313"/>
                  </a:lnTo>
                  <a:lnTo>
                    <a:pt x="807" y="1304"/>
                  </a:lnTo>
                  <a:lnTo>
                    <a:pt x="777" y="1248"/>
                  </a:lnTo>
                  <a:lnTo>
                    <a:pt x="751" y="1282"/>
                  </a:lnTo>
                  <a:lnTo>
                    <a:pt x="745" y="1259"/>
                  </a:lnTo>
                  <a:lnTo>
                    <a:pt x="701" y="1259"/>
                  </a:lnTo>
                  <a:lnTo>
                    <a:pt x="689" y="1213"/>
                  </a:lnTo>
                  <a:lnTo>
                    <a:pt x="663" y="1213"/>
                  </a:lnTo>
                  <a:lnTo>
                    <a:pt x="658" y="1236"/>
                  </a:lnTo>
                  <a:lnTo>
                    <a:pt x="632" y="1248"/>
                  </a:lnTo>
                  <a:lnTo>
                    <a:pt x="620" y="1236"/>
                  </a:lnTo>
                  <a:lnTo>
                    <a:pt x="613" y="1269"/>
                  </a:lnTo>
                  <a:lnTo>
                    <a:pt x="601" y="1259"/>
                  </a:lnTo>
                  <a:lnTo>
                    <a:pt x="570" y="1269"/>
                  </a:lnTo>
                  <a:lnTo>
                    <a:pt x="557" y="1259"/>
                  </a:lnTo>
                  <a:lnTo>
                    <a:pt x="557" y="1269"/>
                  </a:lnTo>
                  <a:lnTo>
                    <a:pt x="570" y="1304"/>
                  </a:lnTo>
                  <a:lnTo>
                    <a:pt x="563" y="1327"/>
                  </a:lnTo>
                  <a:lnTo>
                    <a:pt x="563" y="1359"/>
                  </a:lnTo>
                  <a:lnTo>
                    <a:pt x="583" y="1359"/>
                  </a:lnTo>
                  <a:lnTo>
                    <a:pt x="589" y="1382"/>
                  </a:lnTo>
                  <a:lnTo>
                    <a:pt x="583" y="1405"/>
                  </a:lnTo>
                  <a:lnTo>
                    <a:pt x="570" y="1392"/>
                  </a:lnTo>
                  <a:lnTo>
                    <a:pt x="557" y="1405"/>
                  </a:lnTo>
                  <a:lnTo>
                    <a:pt x="551" y="1392"/>
                  </a:lnTo>
                  <a:lnTo>
                    <a:pt x="544" y="1371"/>
                  </a:lnTo>
                  <a:lnTo>
                    <a:pt x="533" y="1382"/>
                  </a:lnTo>
                  <a:lnTo>
                    <a:pt x="520" y="1371"/>
                  </a:lnTo>
                  <a:lnTo>
                    <a:pt x="514" y="1392"/>
                  </a:lnTo>
                  <a:lnTo>
                    <a:pt x="494" y="1392"/>
                  </a:lnTo>
                  <a:lnTo>
                    <a:pt x="488" y="1371"/>
                  </a:lnTo>
                  <a:lnTo>
                    <a:pt x="438" y="1371"/>
                  </a:lnTo>
                  <a:lnTo>
                    <a:pt x="433" y="1382"/>
                  </a:lnTo>
                  <a:lnTo>
                    <a:pt x="425" y="1382"/>
                  </a:lnTo>
                  <a:lnTo>
                    <a:pt x="419" y="1405"/>
                  </a:lnTo>
                  <a:lnTo>
                    <a:pt x="419" y="1427"/>
                  </a:lnTo>
                  <a:lnTo>
                    <a:pt x="414" y="1427"/>
                  </a:lnTo>
                  <a:lnTo>
                    <a:pt x="407" y="1405"/>
                  </a:lnTo>
                  <a:lnTo>
                    <a:pt x="400" y="1480"/>
                  </a:lnTo>
                  <a:lnTo>
                    <a:pt x="407" y="1503"/>
                  </a:lnTo>
                  <a:lnTo>
                    <a:pt x="407" y="1515"/>
                  </a:lnTo>
                  <a:lnTo>
                    <a:pt x="419" y="1515"/>
                  </a:lnTo>
                  <a:lnTo>
                    <a:pt x="425" y="1503"/>
                  </a:lnTo>
                  <a:lnTo>
                    <a:pt x="438" y="1538"/>
                  </a:lnTo>
                  <a:lnTo>
                    <a:pt x="445" y="1559"/>
                  </a:lnTo>
                  <a:lnTo>
                    <a:pt x="451" y="1582"/>
                  </a:lnTo>
                  <a:lnTo>
                    <a:pt x="464" y="1582"/>
                  </a:lnTo>
                  <a:lnTo>
                    <a:pt x="445" y="1603"/>
                  </a:lnTo>
                  <a:lnTo>
                    <a:pt x="438" y="1594"/>
                  </a:lnTo>
                  <a:lnTo>
                    <a:pt x="425" y="1672"/>
                  </a:lnTo>
                  <a:lnTo>
                    <a:pt x="438" y="1682"/>
                  </a:lnTo>
                  <a:lnTo>
                    <a:pt x="451" y="1761"/>
                  </a:lnTo>
                  <a:lnTo>
                    <a:pt x="438" y="1749"/>
                  </a:lnTo>
                  <a:lnTo>
                    <a:pt x="433" y="1738"/>
                  </a:lnTo>
                  <a:lnTo>
                    <a:pt x="419" y="1738"/>
                  </a:lnTo>
                  <a:lnTo>
                    <a:pt x="407" y="1726"/>
                  </a:lnTo>
                  <a:lnTo>
                    <a:pt x="400" y="1726"/>
                  </a:lnTo>
                  <a:lnTo>
                    <a:pt x="395" y="1693"/>
                  </a:lnTo>
                  <a:lnTo>
                    <a:pt x="376" y="1717"/>
                  </a:lnTo>
                  <a:lnTo>
                    <a:pt x="364" y="1705"/>
                  </a:lnTo>
                  <a:lnTo>
                    <a:pt x="350" y="1693"/>
                  </a:lnTo>
                  <a:lnTo>
                    <a:pt x="326" y="1672"/>
                  </a:lnTo>
                  <a:lnTo>
                    <a:pt x="300" y="1672"/>
                  </a:lnTo>
                  <a:lnTo>
                    <a:pt x="276" y="1638"/>
                  </a:lnTo>
                  <a:lnTo>
                    <a:pt x="295" y="1594"/>
                  </a:lnTo>
                  <a:lnTo>
                    <a:pt x="300" y="1571"/>
                  </a:lnTo>
                  <a:lnTo>
                    <a:pt x="300" y="1538"/>
                  </a:lnTo>
                  <a:lnTo>
                    <a:pt x="300" y="1515"/>
                  </a:lnTo>
                  <a:lnTo>
                    <a:pt x="313" y="1515"/>
                  </a:lnTo>
                  <a:lnTo>
                    <a:pt x="308" y="1471"/>
                  </a:lnTo>
                  <a:lnTo>
                    <a:pt x="295" y="1459"/>
                  </a:lnTo>
                  <a:lnTo>
                    <a:pt x="281" y="1450"/>
                  </a:lnTo>
                  <a:lnTo>
                    <a:pt x="276" y="1450"/>
                  </a:lnTo>
                  <a:lnTo>
                    <a:pt x="250" y="1436"/>
                  </a:lnTo>
                  <a:lnTo>
                    <a:pt x="231" y="1405"/>
                  </a:lnTo>
                  <a:lnTo>
                    <a:pt x="220" y="1382"/>
                  </a:lnTo>
                  <a:lnTo>
                    <a:pt x="213" y="1348"/>
                  </a:lnTo>
                  <a:lnTo>
                    <a:pt x="194" y="1336"/>
                  </a:lnTo>
                  <a:lnTo>
                    <a:pt x="181" y="1348"/>
                  </a:lnTo>
                  <a:lnTo>
                    <a:pt x="175" y="1359"/>
                  </a:lnTo>
                  <a:lnTo>
                    <a:pt x="175" y="1348"/>
                  </a:lnTo>
                  <a:lnTo>
                    <a:pt x="163" y="1327"/>
                  </a:lnTo>
                  <a:lnTo>
                    <a:pt x="181" y="1327"/>
                  </a:lnTo>
                  <a:lnTo>
                    <a:pt x="181" y="1313"/>
                  </a:lnTo>
                  <a:lnTo>
                    <a:pt x="175" y="1304"/>
                  </a:lnTo>
                  <a:lnTo>
                    <a:pt x="175" y="1292"/>
                  </a:lnTo>
                  <a:lnTo>
                    <a:pt x="163" y="1248"/>
                  </a:lnTo>
                  <a:lnTo>
                    <a:pt x="151" y="1213"/>
                  </a:lnTo>
                  <a:lnTo>
                    <a:pt x="138" y="1213"/>
                  </a:lnTo>
                  <a:lnTo>
                    <a:pt x="120" y="1213"/>
                  </a:lnTo>
                  <a:lnTo>
                    <a:pt x="113" y="1204"/>
                  </a:lnTo>
                  <a:lnTo>
                    <a:pt x="101" y="1204"/>
                  </a:lnTo>
                  <a:lnTo>
                    <a:pt x="94" y="1204"/>
                  </a:lnTo>
                  <a:lnTo>
                    <a:pt x="88" y="1213"/>
                  </a:lnTo>
                  <a:lnTo>
                    <a:pt x="82" y="1236"/>
                  </a:lnTo>
                  <a:lnTo>
                    <a:pt x="75" y="1259"/>
                  </a:lnTo>
                  <a:lnTo>
                    <a:pt x="69" y="1292"/>
                  </a:lnTo>
                  <a:lnTo>
                    <a:pt x="64" y="1282"/>
                  </a:lnTo>
                  <a:lnTo>
                    <a:pt x="64" y="1269"/>
                  </a:lnTo>
                  <a:lnTo>
                    <a:pt x="0" y="1248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09" name="Freeform 636"/>
            <p:cNvSpPr>
              <a:spLocks/>
            </p:cNvSpPr>
            <p:nvPr>
              <p:custDataLst>
                <p:tags r:id="rId517"/>
              </p:custDataLst>
            </p:nvPr>
          </p:nvSpPr>
          <p:spPr bwMode="auto">
            <a:xfrm>
              <a:off x="7348316" y="2095070"/>
              <a:ext cx="150368" cy="52388"/>
            </a:xfrm>
            <a:custGeom>
              <a:avLst/>
              <a:gdLst>
                <a:gd name="T0" fmla="*/ 0 w 81"/>
                <a:gd name="T1" fmla="*/ 2147483647 h 65"/>
                <a:gd name="T2" fmla="*/ 2147483647 w 81"/>
                <a:gd name="T3" fmla="*/ 2147483647 h 65"/>
                <a:gd name="T4" fmla="*/ 2147483647 w 81"/>
                <a:gd name="T5" fmla="*/ 2147483647 h 65"/>
                <a:gd name="T6" fmla="*/ 2147483647 w 81"/>
                <a:gd name="T7" fmla="*/ 0 h 65"/>
                <a:gd name="T8" fmla="*/ 2147483647 w 81"/>
                <a:gd name="T9" fmla="*/ 0 h 65"/>
                <a:gd name="T10" fmla="*/ 2147483647 w 81"/>
                <a:gd name="T11" fmla="*/ 2147483647 h 65"/>
                <a:gd name="T12" fmla="*/ 2147483647 w 81"/>
                <a:gd name="T13" fmla="*/ 2147483647 h 65"/>
                <a:gd name="T14" fmla="*/ 2147483647 w 81"/>
                <a:gd name="T15" fmla="*/ 2147483647 h 65"/>
                <a:gd name="T16" fmla="*/ 2147483647 w 81"/>
                <a:gd name="T17" fmla="*/ 2147483647 h 65"/>
                <a:gd name="T18" fmla="*/ 2147483647 w 81"/>
                <a:gd name="T19" fmla="*/ 2147483647 h 65"/>
                <a:gd name="T20" fmla="*/ 0 w 81"/>
                <a:gd name="T21" fmla="*/ 2147483647 h 6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65">
                  <a:moveTo>
                    <a:pt x="0" y="44"/>
                  </a:moveTo>
                  <a:lnTo>
                    <a:pt x="19" y="30"/>
                  </a:lnTo>
                  <a:lnTo>
                    <a:pt x="6" y="9"/>
                  </a:lnTo>
                  <a:lnTo>
                    <a:pt x="63" y="0"/>
                  </a:lnTo>
                  <a:lnTo>
                    <a:pt x="75" y="0"/>
                  </a:lnTo>
                  <a:lnTo>
                    <a:pt x="63" y="9"/>
                  </a:lnTo>
                  <a:lnTo>
                    <a:pt x="81" y="9"/>
                  </a:lnTo>
                  <a:lnTo>
                    <a:pt x="31" y="53"/>
                  </a:lnTo>
                  <a:lnTo>
                    <a:pt x="19" y="65"/>
                  </a:lnTo>
                  <a:lnTo>
                    <a:pt x="19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10" name="Freeform 637"/>
            <p:cNvSpPr>
              <a:spLocks/>
            </p:cNvSpPr>
            <p:nvPr>
              <p:custDataLst>
                <p:tags r:id="rId518"/>
              </p:custDataLst>
            </p:nvPr>
          </p:nvSpPr>
          <p:spPr bwMode="auto">
            <a:xfrm>
              <a:off x="7348316" y="2095070"/>
              <a:ext cx="150368" cy="52388"/>
            </a:xfrm>
            <a:custGeom>
              <a:avLst/>
              <a:gdLst>
                <a:gd name="T0" fmla="*/ 0 w 81"/>
                <a:gd name="T1" fmla="*/ 2147483647 h 65"/>
                <a:gd name="T2" fmla="*/ 2147483647 w 81"/>
                <a:gd name="T3" fmla="*/ 2147483647 h 65"/>
                <a:gd name="T4" fmla="*/ 2147483647 w 81"/>
                <a:gd name="T5" fmla="*/ 2147483647 h 65"/>
                <a:gd name="T6" fmla="*/ 2147483647 w 81"/>
                <a:gd name="T7" fmla="*/ 0 h 65"/>
                <a:gd name="T8" fmla="*/ 2147483647 w 81"/>
                <a:gd name="T9" fmla="*/ 0 h 65"/>
                <a:gd name="T10" fmla="*/ 2147483647 w 81"/>
                <a:gd name="T11" fmla="*/ 2147483647 h 65"/>
                <a:gd name="T12" fmla="*/ 2147483647 w 81"/>
                <a:gd name="T13" fmla="*/ 2147483647 h 65"/>
                <a:gd name="T14" fmla="*/ 2147483647 w 81"/>
                <a:gd name="T15" fmla="*/ 2147483647 h 65"/>
                <a:gd name="T16" fmla="*/ 2147483647 w 81"/>
                <a:gd name="T17" fmla="*/ 2147483647 h 65"/>
                <a:gd name="T18" fmla="*/ 2147483647 w 81"/>
                <a:gd name="T19" fmla="*/ 2147483647 h 65"/>
                <a:gd name="T20" fmla="*/ 0 w 81"/>
                <a:gd name="T21" fmla="*/ 2147483647 h 6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65">
                  <a:moveTo>
                    <a:pt x="0" y="44"/>
                  </a:moveTo>
                  <a:lnTo>
                    <a:pt x="19" y="30"/>
                  </a:lnTo>
                  <a:lnTo>
                    <a:pt x="6" y="9"/>
                  </a:lnTo>
                  <a:lnTo>
                    <a:pt x="63" y="0"/>
                  </a:lnTo>
                  <a:lnTo>
                    <a:pt x="75" y="0"/>
                  </a:lnTo>
                  <a:lnTo>
                    <a:pt x="63" y="9"/>
                  </a:lnTo>
                  <a:lnTo>
                    <a:pt x="81" y="9"/>
                  </a:lnTo>
                  <a:lnTo>
                    <a:pt x="31" y="53"/>
                  </a:lnTo>
                  <a:lnTo>
                    <a:pt x="19" y="65"/>
                  </a:lnTo>
                  <a:lnTo>
                    <a:pt x="19" y="44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11" name="Freeform 638"/>
            <p:cNvSpPr>
              <a:spLocks/>
            </p:cNvSpPr>
            <p:nvPr>
              <p:custDataLst>
                <p:tags r:id="rId519"/>
              </p:custDataLst>
            </p:nvPr>
          </p:nvSpPr>
          <p:spPr bwMode="auto">
            <a:xfrm>
              <a:off x="7348316" y="2095070"/>
              <a:ext cx="150368" cy="52388"/>
            </a:xfrm>
            <a:custGeom>
              <a:avLst/>
              <a:gdLst>
                <a:gd name="T0" fmla="*/ 0 w 81"/>
                <a:gd name="T1" fmla="*/ 2147483647 h 65"/>
                <a:gd name="T2" fmla="*/ 2147483647 w 81"/>
                <a:gd name="T3" fmla="*/ 2147483647 h 65"/>
                <a:gd name="T4" fmla="*/ 2147483647 w 81"/>
                <a:gd name="T5" fmla="*/ 2147483647 h 65"/>
                <a:gd name="T6" fmla="*/ 2147483647 w 81"/>
                <a:gd name="T7" fmla="*/ 0 h 65"/>
                <a:gd name="T8" fmla="*/ 2147483647 w 81"/>
                <a:gd name="T9" fmla="*/ 0 h 65"/>
                <a:gd name="T10" fmla="*/ 2147483647 w 81"/>
                <a:gd name="T11" fmla="*/ 2147483647 h 65"/>
                <a:gd name="T12" fmla="*/ 2147483647 w 81"/>
                <a:gd name="T13" fmla="*/ 2147483647 h 65"/>
                <a:gd name="T14" fmla="*/ 2147483647 w 81"/>
                <a:gd name="T15" fmla="*/ 2147483647 h 65"/>
                <a:gd name="T16" fmla="*/ 2147483647 w 81"/>
                <a:gd name="T17" fmla="*/ 2147483647 h 65"/>
                <a:gd name="T18" fmla="*/ 2147483647 w 81"/>
                <a:gd name="T19" fmla="*/ 2147483647 h 65"/>
                <a:gd name="T20" fmla="*/ 0 w 81"/>
                <a:gd name="T21" fmla="*/ 2147483647 h 6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65">
                  <a:moveTo>
                    <a:pt x="0" y="44"/>
                  </a:moveTo>
                  <a:lnTo>
                    <a:pt x="19" y="30"/>
                  </a:lnTo>
                  <a:lnTo>
                    <a:pt x="6" y="9"/>
                  </a:lnTo>
                  <a:lnTo>
                    <a:pt x="63" y="0"/>
                  </a:lnTo>
                  <a:lnTo>
                    <a:pt x="75" y="0"/>
                  </a:lnTo>
                  <a:lnTo>
                    <a:pt x="63" y="9"/>
                  </a:lnTo>
                  <a:lnTo>
                    <a:pt x="81" y="9"/>
                  </a:lnTo>
                  <a:lnTo>
                    <a:pt x="31" y="53"/>
                  </a:lnTo>
                  <a:lnTo>
                    <a:pt x="19" y="65"/>
                  </a:lnTo>
                  <a:lnTo>
                    <a:pt x="19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12" name="Freeform 639"/>
            <p:cNvSpPr>
              <a:spLocks/>
            </p:cNvSpPr>
            <p:nvPr>
              <p:custDataLst>
                <p:tags r:id="rId520"/>
              </p:custDataLst>
            </p:nvPr>
          </p:nvSpPr>
          <p:spPr bwMode="auto">
            <a:xfrm>
              <a:off x="7348316" y="2095070"/>
              <a:ext cx="150368" cy="52388"/>
            </a:xfrm>
            <a:custGeom>
              <a:avLst/>
              <a:gdLst>
                <a:gd name="T0" fmla="*/ 0 w 81"/>
                <a:gd name="T1" fmla="*/ 2147483647 h 65"/>
                <a:gd name="T2" fmla="*/ 2147483647 w 81"/>
                <a:gd name="T3" fmla="*/ 2147483647 h 65"/>
                <a:gd name="T4" fmla="*/ 2147483647 w 81"/>
                <a:gd name="T5" fmla="*/ 2147483647 h 65"/>
                <a:gd name="T6" fmla="*/ 2147483647 w 81"/>
                <a:gd name="T7" fmla="*/ 0 h 65"/>
                <a:gd name="T8" fmla="*/ 2147483647 w 81"/>
                <a:gd name="T9" fmla="*/ 0 h 65"/>
                <a:gd name="T10" fmla="*/ 2147483647 w 81"/>
                <a:gd name="T11" fmla="*/ 2147483647 h 65"/>
                <a:gd name="T12" fmla="*/ 2147483647 w 81"/>
                <a:gd name="T13" fmla="*/ 2147483647 h 65"/>
                <a:gd name="T14" fmla="*/ 2147483647 w 81"/>
                <a:gd name="T15" fmla="*/ 2147483647 h 65"/>
                <a:gd name="T16" fmla="*/ 2147483647 w 81"/>
                <a:gd name="T17" fmla="*/ 2147483647 h 65"/>
                <a:gd name="T18" fmla="*/ 2147483647 w 81"/>
                <a:gd name="T19" fmla="*/ 2147483647 h 65"/>
                <a:gd name="T20" fmla="*/ 0 w 81"/>
                <a:gd name="T21" fmla="*/ 2147483647 h 6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65">
                  <a:moveTo>
                    <a:pt x="0" y="44"/>
                  </a:moveTo>
                  <a:lnTo>
                    <a:pt x="19" y="30"/>
                  </a:lnTo>
                  <a:lnTo>
                    <a:pt x="6" y="9"/>
                  </a:lnTo>
                  <a:lnTo>
                    <a:pt x="63" y="0"/>
                  </a:lnTo>
                  <a:lnTo>
                    <a:pt x="75" y="0"/>
                  </a:lnTo>
                  <a:lnTo>
                    <a:pt x="63" y="9"/>
                  </a:lnTo>
                  <a:lnTo>
                    <a:pt x="81" y="9"/>
                  </a:lnTo>
                  <a:lnTo>
                    <a:pt x="31" y="53"/>
                  </a:lnTo>
                  <a:lnTo>
                    <a:pt x="19" y="65"/>
                  </a:lnTo>
                  <a:lnTo>
                    <a:pt x="19" y="44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13" name="Freeform 640"/>
            <p:cNvSpPr>
              <a:spLocks/>
            </p:cNvSpPr>
            <p:nvPr>
              <p:custDataLst>
                <p:tags r:id="rId521"/>
              </p:custDataLst>
            </p:nvPr>
          </p:nvSpPr>
          <p:spPr bwMode="auto">
            <a:xfrm>
              <a:off x="7406458" y="2677719"/>
              <a:ext cx="44108" cy="26987"/>
            </a:xfrm>
            <a:custGeom>
              <a:avLst/>
              <a:gdLst>
                <a:gd name="T0" fmla="*/ 0 w 24"/>
                <a:gd name="T1" fmla="*/ 2147483647 h 35"/>
                <a:gd name="T2" fmla="*/ 2147483647 w 24"/>
                <a:gd name="T3" fmla="*/ 0 h 35"/>
                <a:gd name="T4" fmla="*/ 2147483647 w 24"/>
                <a:gd name="T5" fmla="*/ 2147483647 h 35"/>
                <a:gd name="T6" fmla="*/ 0 w 2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35">
                  <a:moveTo>
                    <a:pt x="0" y="35"/>
                  </a:moveTo>
                  <a:lnTo>
                    <a:pt x="7" y="0"/>
                  </a:lnTo>
                  <a:lnTo>
                    <a:pt x="24" y="21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14" name="Freeform 641"/>
            <p:cNvSpPr>
              <a:spLocks/>
            </p:cNvSpPr>
            <p:nvPr>
              <p:custDataLst>
                <p:tags r:id="rId522"/>
              </p:custDataLst>
            </p:nvPr>
          </p:nvSpPr>
          <p:spPr bwMode="auto">
            <a:xfrm>
              <a:off x="7406458" y="2677719"/>
              <a:ext cx="44108" cy="26987"/>
            </a:xfrm>
            <a:custGeom>
              <a:avLst/>
              <a:gdLst>
                <a:gd name="T0" fmla="*/ 0 w 24"/>
                <a:gd name="T1" fmla="*/ 2147483647 h 35"/>
                <a:gd name="T2" fmla="*/ 2147483647 w 24"/>
                <a:gd name="T3" fmla="*/ 0 h 35"/>
                <a:gd name="T4" fmla="*/ 2147483647 w 24"/>
                <a:gd name="T5" fmla="*/ 2147483647 h 35"/>
                <a:gd name="T6" fmla="*/ 0 w 2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35">
                  <a:moveTo>
                    <a:pt x="0" y="35"/>
                  </a:moveTo>
                  <a:lnTo>
                    <a:pt x="7" y="0"/>
                  </a:lnTo>
                  <a:lnTo>
                    <a:pt x="24" y="21"/>
                  </a:lnTo>
                  <a:lnTo>
                    <a:pt x="0" y="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15" name="Freeform 642"/>
            <p:cNvSpPr>
              <a:spLocks/>
            </p:cNvSpPr>
            <p:nvPr>
              <p:custDataLst>
                <p:tags r:id="rId523"/>
              </p:custDataLst>
            </p:nvPr>
          </p:nvSpPr>
          <p:spPr bwMode="auto">
            <a:xfrm>
              <a:off x="7406458" y="2677719"/>
              <a:ext cx="44108" cy="26987"/>
            </a:xfrm>
            <a:custGeom>
              <a:avLst/>
              <a:gdLst>
                <a:gd name="T0" fmla="*/ 0 w 24"/>
                <a:gd name="T1" fmla="*/ 2147483647 h 35"/>
                <a:gd name="T2" fmla="*/ 2147483647 w 24"/>
                <a:gd name="T3" fmla="*/ 0 h 35"/>
                <a:gd name="T4" fmla="*/ 2147483647 w 24"/>
                <a:gd name="T5" fmla="*/ 2147483647 h 35"/>
                <a:gd name="T6" fmla="*/ 0 w 2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35">
                  <a:moveTo>
                    <a:pt x="0" y="35"/>
                  </a:moveTo>
                  <a:lnTo>
                    <a:pt x="7" y="0"/>
                  </a:lnTo>
                  <a:lnTo>
                    <a:pt x="24" y="21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16" name="Freeform 643"/>
            <p:cNvSpPr>
              <a:spLocks/>
            </p:cNvSpPr>
            <p:nvPr>
              <p:custDataLst>
                <p:tags r:id="rId524"/>
              </p:custDataLst>
            </p:nvPr>
          </p:nvSpPr>
          <p:spPr bwMode="auto">
            <a:xfrm>
              <a:off x="7406458" y="2677719"/>
              <a:ext cx="44108" cy="26987"/>
            </a:xfrm>
            <a:custGeom>
              <a:avLst/>
              <a:gdLst>
                <a:gd name="T0" fmla="*/ 0 w 24"/>
                <a:gd name="T1" fmla="*/ 2147483647 h 35"/>
                <a:gd name="T2" fmla="*/ 2147483647 w 24"/>
                <a:gd name="T3" fmla="*/ 0 h 35"/>
                <a:gd name="T4" fmla="*/ 2147483647 w 24"/>
                <a:gd name="T5" fmla="*/ 2147483647 h 35"/>
                <a:gd name="T6" fmla="*/ 0 w 24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4" h="35">
                  <a:moveTo>
                    <a:pt x="0" y="35"/>
                  </a:moveTo>
                  <a:lnTo>
                    <a:pt x="7" y="0"/>
                  </a:lnTo>
                  <a:lnTo>
                    <a:pt x="24" y="21"/>
                  </a:lnTo>
                  <a:lnTo>
                    <a:pt x="0" y="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17" name="Freeform 644"/>
            <p:cNvSpPr>
              <a:spLocks/>
            </p:cNvSpPr>
            <p:nvPr>
              <p:custDataLst>
                <p:tags r:id="rId525"/>
              </p:custDataLst>
            </p:nvPr>
          </p:nvSpPr>
          <p:spPr bwMode="auto">
            <a:xfrm>
              <a:off x="7498662" y="2501470"/>
              <a:ext cx="174425" cy="114300"/>
            </a:xfrm>
            <a:custGeom>
              <a:avLst/>
              <a:gdLst>
                <a:gd name="T0" fmla="*/ 0 w 94"/>
                <a:gd name="T1" fmla="*/ 2147483647 h 144"/>
                <a:gd name="T2" fmla="*/ 2147483647 w 94"/>
                <a:gd name="T3" fmla="*/ 2147483647 h 144"/>
                <a:gd name="T4" fmla="*/ 2147483647 w 94"/>
                <a:gd name="T5" fmla="*/ 2147483647 h 144"/>
                <a:gd name="T6" fmla="*/ 2147483647 w 94"/>
                <a:gd name="T7" fmla="*/ 2147483647 h 144"/>
                <a:gd name="T8" fmla="*/ 2147483647 w 94"/>
                <a:gd name="T9" fmla="*/ 2147483647 h 144"/>
                <a:gd name="T10" fmla="*/ 2147483647 w 94"/>
                <a:gd name="T11" fmla="*/ 2147483647 h 144"/>
                <a:gd name="T12" fmla="*/ 2147483647 w 94"/>
                <a:gd name="T13" fmla="*/ 2147483647 h 144"/>
                <a:gd name="T14" fmla="*/ 2147483647 w 94"/>
                <a:gd name="T15" fmla="*/ 2147483647 h 144"/>
                <a:gd name="T16" fmla="*/ 2147483647 w 94"/>
                <a:gd name="T17" fmla="*/ 2147483647 h 144"/>
                <a:gd name="T18" fmla="*/ 2147483647 w 94"/>
                <a:gd name="T19" fmla="*/ 2147483647 h 144"/>
                <a:gd name="T20" fmla="*/ 2147483647 w 94"/>
                <a:gd name="T21" fmla="*/ 0 h 144"/>
                <a:gd name="T22" fmla="*/ 2147483647 w 94"/>
                <a:gd name="T23" fmla="*/ 2147483647 h 144"/>
                <a:gd name="T24" fmla="*/ 2147483647 w 94"/>
                <a:gd name="T25" fmla="*/ 2147483647 h 144"/>
                <a:gd name="T26" fmla="*/ 0 w 94"/>
                <a:gd name="T27" fmla="*/ 2147483647 h 14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4" h="144">
                  <a:moveTo>
                    <a:pt x="0" y="76"/>
                  </a:moveTo>
                  <a:lnTo>
                    <a:pt x="7" y="111"/>
                  </a:lnTo>
                  <a:lnTo>
                    <a:pt x="19" y="99"/>
                  </a:lnTo>
                  <a:lnTo>
                    <a:pt x="32" y="111"/>
                  </a:lnTo>
                  <a:lnTo>
                    <a:pt x="38" y="111"/>
                  </a:lnTo>
                  <a:lnTo>
                    <a:pt x="38" y="144"/>
                  </a:lnTo>
                  <a:lnTo>
                    <a:pt x="94" y="144"/>
                  </a:lnTo>
                  <a:lnTo>
                    <a:pt x="69" y="121"/>
                  </a:lnTo>
                  <a:lnTo>
                    <a:pt x="57" y="76"/>
                  </a:lnTo>
                  <a:lnTo>
                    <a:pt x="63" y="32"/>
                  </a:lnTo>
                  <a:lnTo>
                    <a:pt x="75" y="0"/>
                  </a:lnTo>
                  <a:lnTo>
                    <a:pt x="25" y="11"/>
                  </a:lnTo>
                  <a:lnTo>
                    <a:pt x="14" y="76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18" name="Freeform 645"/>
            <p:cNvSpPr>
              <a:spLocks/>
            </p:cNvSpPr>
            <p:nvPr>
              <p:custDataLst>
                <p:tags r:id="rId526"/>
              </p:custDataLst>
            </p:nvPr>
          </p:nvSpPr>
          <p:spPr bwMode="auto">
            <a:xfrm>
              <a:off x="7498662" y="2501470"/>
              <a:ext cx="174425" cy="114300"/>
            </a:xfrm>
            <a:custGeom>
              <a:avLst/>
              <a:gdLst>
                <a:gd name="T0" fmla="*/ 0 w 94"/>
                <a:gd name="T1" fmla="*/ 2147483647 h 144"/>
                <a:gd name="T2" fmla="*/ 2147483647 w 94"/>
                <a:gd name="T3" fmla="*/ 2147483647 h 144"/>
                <a:gd name="T4" fmla="*/ 2147483647 w 94"/>
                <a:gd name="T5" fmla="*/ 2147483647 h 144"/>
                <a:gd name="T6" fmla="*/ 2147483647 w 94"/>
                <a:gd name="T7" fmla="*/ 2147483647 h 144"/>
                <a:gd name="T8" fmla="*/ 2147483647 w 94"/>
                <a:gd name="T9" fmla="*/ 2147483647 h 144"/>
                <a:gd name="T10" fmla="*/ 2147483647 w 94"/>
                <a:gd name="T11" fmla="*/ 2147483647 h 144"/>
                <a:gd name="T12" fmla="*/ 2147483647 w 94"/>
                <a:gd name="T13" fmla="*/ 2147483647 h 144"/>
                <a:gd name="T14" fmla="*/ 2147483647 w 94"/>
                <a:gd name="T15" fmla="*/ 2147483647 h 144"/>
                <a:gd name="T16" fmla="*/ 2147483647 w 94"/>
                <a:gd name="T17" fmla="*/ 2147483647 h 144"/>
                <a:gd name="T18" fmla="*/ 2147483647 w 94"/>
                <a:gd name="T19" fmla="*/ 2147483647 h 144"/>
                <a:gd name="T20" fmla="*/ 2147483647 w 94"/>
                <a:gd name="T21" fmla="*/ 0 h 144"/>
                <a:gd name="T22" fmla="*/ 2147483647 w 94"/>
                <a:gd name="T23" fmla="*/ 2147483647 h 144"/>
                <a:gd name="T24" fmla="*/ 2147483647 w 94"/>
                <a:gd name="T25" fmla="*/ 2147483647 h 144"/>
                <a:gd name="T26" fmla="*/ 0 w 94"/>
                <a:gd name="T27" fmla="*/ 2147483647 h 14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4" h="144">
                  <a:moveTo>
                    <a:pt x="0" y="76"/>
                  </a:moveTo>
                  <a:lnTo>
                    <a:pt x="7" y="111"/>
                  </a:lnTo>
                  <a:lnTo>
                    <a:pt x="19" y="99"/>
                  </a:lnTo>
                  <a:lnTo>
                    <a:pt x="32" y="111"/>
                  </a:lnTo>
                  <a:lnTo>
                    <a:pt x="38" y="111"/>
                  </a:lnTo>
                  <a:lnTo>
                    <a:pt x="38" y="144"/>
                  </a:lnTo>
                  <a:lnTo>
                    <a:pt x="94" y="144"/>
                  </a:lnTo>
                  <a:lnTo>
                    <a:pt x="69" y="121"/>
                  </a:lnTo>
                  <a:lnTo>
                    <a:pt x="57" y="76"/>
                  </a:lnTo>
                  <a:lnTo>
                    <a:pt x="63" y="32"/>
                  </a:lnTo>
                  <a:lnTo>
                    <a:pt x="75" y="0"/>
                  </a:lnTo>
                  <a:lnTo>
                    <a:pt x="25" y="11"/>
                  </a:lnTo>
                  <a:lnTo>
                    <a:pt x="14" y="76"/>
                  </a:lnTo>
                  <a:lnTo>
                    <a:pt x="0" y="7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19" name="Freeform 646"/>
            <p:cNvSpPr>
              <a:spLocks/>
            </p:cNvSpPr>
            <p:nvPr>
              <p:custDataLst>
                <p:tags r:id="rId527"/>
              </p:custDataLst>
            </p:nvPr>
          </p:nvSpPr>
          <p:spPr bwMode="auto">
            <a:xfrm>
              <a:off x="7498662" y="2501470"/>
              <a:ext cx="174425" cy="114300"/>
            </a:xfrm>
            <a:custGeom>
              <a:avLst/>
              <a:gdLst>
                <a:gd name="T0" fmla="*/ 0 w 94"/>
                <a:gd name="T1" fmla="*/ 2147483647 h 144"/>
                <a:gd name="T2" fmla="*/ 2147483647 w 94"/>
                <a:gd name="T3" fmla="*/ 2147483647 h 144"/>
                <a:gd name="T4" fmla="*/ 2147483647 w 94"/>
                <a:gd name="T5" fmla="*/ 2147483647 h 144"/>
                <a:gd name="T6" fmla="*/ 2147483647 w 94"/>
                <a:gd name="T7" fmla="*/ 2147483647 h 144"/>
                <a:gd name="T8" fmla="*/ 2147483647 w 94"/>
                <a:gd name="T9" fmla="*/ 2147483647 h 144"/>
                <a:gd name="T10" fmla="*/ 2147483647 w 94"/>
                <a:gd name="T11" fmla="*/ 2147483647 h 144"/>
                <a:gd name="T12" fmla="*/ 2147483647 w 94"/>
                <a:gd name="T13" fmla="*/ 2147483647 h 144"/>
                <a:gd name="T14" fmla="*/ 2147483647 w 94"/>
                <a:gd name="T15" fmla="*/ 2147483647 h 144"/>
                <a:gd name="T16" fmla="*/ 2147483647 w 94"/>
                <a:gd name="T17" fmla="*/ 2147483647 h 144"/>
                <a:gd name="T18" fmla="*/ 2147483647 w 94"/>
                <a:gd name="T19" fmla="*/ 2147483647 h 144"/>
                <a:gd name="T20" fmla="*/ 2147483647 w 94"/>
                <a:gd name="T21" fmla="*/ 0 h 144"/>
                <a:gd name="T22" fmla="*/ 2147483647 w 94"/>
                <a:gd name="T23" fmla="*/ 2147483647 h 144"/>
                <a:gd name="T24" fmla="*/ 2147483647 w 94"/>
                <a:gd name="T25" fmla="*/ 2147483647 h 144"/>
                <a:gd name="T26" fmla="*/ 0 w 94"/>
                <a:gd name="T27" fmla="*/ 2147483647 h 14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4" h="144">
                  <a:moveTo>
                    <a:pt x="0" y="76"/>
                  </a:moveTo>
                  <a:lnTo>
                    <a:pt x="7" y="111"/>
                  </a:lnTo>
                  <a:lnTo>
                    <a:pt x="19" y="99"/>
                  </a:lnTo>
                  <a:lnTo>
                    <a:pt x="32" y="111"/>
                  </a:lnTo>
                  <a:lnTo>
                    <a:pt x="38" y="111"/>
                  </a:lnTo>
                  <a:lnTo>
                    <a:pt x="38" y="144"/>
                  </a:lnTo>
                  <a:lnTo>
                    <a:pt x="94" y="144"/>
                  </a:lnTo>
                  <a:lnTo>
                    <a:pt x="69" y="121"/>
                  </a:lnTo>
                  <a:lnTo>
                    <a:pt x="57" y="76"/>
                  </a:lnTo>
                  <a:lnTo>
                    <a:pt x="63" y="32"/>
                  </a:lnTo>
                  <a:lnTo>
                    <a:pt x="75" y="0"/>
                  </a:lnTo>
                  <a:lnTo>
                    <a:pt x="25" y="11"/>
                  </a:lnTo>
                  <a:lnTo>
                    <a:pt x="14" y="76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20" name="Freeform 647"/>
            <p:cNvSpPr>
              <a:spLocks/>
            </p:cNvSpPr>
            <p:nvPr>
              <p:custDataLst>
                <p:tags r:id="rId528"/>
              </p:custDataLst>
            </p:nvPr>
          </p:nvSpPr>
          <p:spPr bwMode="auto">
            <a:xfrm>
              <a:off x="7498662" y="2501470"/>
              <a:ext cx="174425" cy="114300"/>
            </a:xfrm>
            <a:custGeom>
              <a:avLst/>
              <a:gdLst>
                <a:gd name="T0" fmla="*/ 0 w 94"/>
                <a:gd name="T1" fmla="*/ 2147483647 h 144"/>
                <a:gd name="T2" fmla="*/ 2147483647 w 94"/>
                <a:gd name="T3" fmla="*/ 2147483647 h 144"/>
                <a:gd name="T4" fmla="*/ 2147483647 w 94"/>
                <a:gd name="T5" fmla="*/ 2147483647 h 144"/>
                <a:gd name="T6" fmla="*/ 2147483647 w 94"/>
                <a:gd name="T7" fmla="*/ 2147483647 h 144"/>
                <a:gd name="T8" fmla="*/ 2147483647 w 94"/>
                <a:gd name="T9" fmla="*/ 2147483647 h 144"/>
                <a:gd name="T10" fmla="*/ 2147483647 w 94"/>
                <a:gd name="T11" fmla="*/ 2147483647 h 144"/>
                <a:gd name="T12" fmla="*/ 2147483647 w 94"/>
                <a:gd name="T13" fmla="*/ 2147483647 h 144"/>
                <a:gd name="T14" fmla="*/ 2147483647 w 94"/>
                <a:gd name="T15" fmla="*/ 2147483647 h 144"/>
                <a:gd name="T16" fmla="*/ 2147483647 w 94"/>
                <a:gd name="T17" fmla="*/ 2147483647 h 144"/>
                <a:gd name="T18" fmla="*/ 2147483647 w 94"/>
                <a:gd name="T19" fmla="*/ 2147483647 h 144"/>
                <a:gd name="T20" fmla="*/ 2147483647 w 94"/>
                <a:gd name="T21" fmla="*/ 0 h 144"/>
                <a:gd name="T22" fmla="*/ 2147483647 w 94"/>
                <a:gd name="T23" fmla="*/ 2147483647 h 144"/>
                <a:gd name="T24" fmla="*/ 2147483647 w 94"/>
                <a:gd name="T25" fmla="*/ 2147483647 h 144"/>
                <a:gd name="T26" fmla="*/ 0 w 94"/>
                <a:gd name="T27" fmla="*/ 2147483647 h 14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4" h="144">
                  <a:moveTo>
                    <a:pt x="0" y="76"/>
                  </a:moveTo>
                  <a:lnTo>
                    <a:pt x="7" y="111"/>
                  </a:lnTo>
                  <a:lnTo>
                    <a:pt x="19" y="99"/>
                  </a:lnTo>
                  <a:lnTo>
                    <a:pt x="32" y="111"/>
                  </a:lnTo>
                  <a:lnTo>
                    <a:pt x="38" y="111"/>
                  </a:lnTo>
                  <a:lnTo>
                    <a:pt x="38" y="144"/>
                  </a:lnTo>
                  <a:lnTo>
                    <a:pt x="94" y="144"/>
                  </a:lnTo>
                  <a:lnTo>
                    <a:pt x="69" y="121"/>
                  </a:lnTo>
                  <a:lnTo>
                    <a:pt x="57" y="76"/>
                  </a:lnTo>
                  <a:lnTo>
                    <a:pt x="63" y="32"/>
                  </a:lnTo>
                  <a:lnTo>
                    <a:pt x="75" y="0"/>
                  </a:lnTo>
                  <a:lnTo>
                    <a:pt x="25" y="11"/>
                  </a:lnTo>
                  <a:lnTo>
                    <a:pt x="14" y="76"/>
                  </a:lnTo>
                  <a:lnTo>
                    <a:pt x="0" y="7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21" name="Freeform 648"/>
            <p:cNvSpPr>
              <a:spLocks/>
            </p:cNvSpPr>
            <p:nvPr>
              <p:custDataLst>
                <p:tags r:id="rId529"/>
              </p:custDataLst>
            </p:nvPr>
          </p:nvSpPr>
          <p:spPr bwMode="auto">
            <a:xfrm>
              <a:off x="7556826" y="2315759"/>
              <a:ext cx="455112" cy="185737"/>
            </a:xfrm>
            <a:custGeom>
              <a:avLst/>
              <a:gdLst>
                <a:gd name="T0" fmla="*/ 0 w 245"/>
                <a:gd name="T1" fmla="*/ 2147483647 h 235"/>
                <a:gd name="T2" fmla="*/ 2147483647 w 245"/>
                <a:gd name="T3" fmla="*/ 2147483647 h 235"/>
                <a:gd name="T4" fmla="*/ 2147483647 w 245"/>
                <a:gd name="T5" fmla="*/ 2147483647 h 235"/>
                <a:gd name="T6" fmla="*/ 2147483647 w 245"/>
                <a:gd name="T7" fmla="*/ 2147483647 h 235"/>
                <a:gd name="T8" fmla="*/ 2147483647 w 245"/>
                <a:gd name="T9" fmla="*/ 2147483647 h 235"/>
                <a:gd name="T10" fmla="*/ 2147483647 w 245"/>
                <a:gd name="T11" fmla="*/ 2147483647 h 235"/>
                <a:gd name="T12" fmla="*/ 2147483647 w 245"/>
                <a:gd name="T13" fmla="*/ 2147483647 h 235"/>
                <a:gd name="T14" fmla="*/ 2147483647 w 245"/>
                <a:gd name="T15" fmla="*/ 2147483647 h 235"/>
                <a:gd name="T16" fmla="*/ 2147483647 w 245"/>
                <a:gd name="T17" fmla="*/ 2147483647 h 235"/>
                <a:gd name="T18" fmla="*/ 2147483647 w 245"/>
                <a:gd name="T19" fmla="*/ 2147483647 h 235"/>
                <a:gd name="T20" fmla="*/ 2147483647 w 245"/>
                <a:gd name="T21" fmla="*/ 2147483647 h 235"/>
                <a:gd name="T22" fmla="*/ 2147483647 w 245"/>
                <a:gd name="T23" fmla="*/ 2147483647 h 235"/>
                <a:gd name="T24" fmla="*/ 2147483647 w 245"/>
                <a:gd name="T25" fmla="*/ 2147483647 h 235"/>
                <a:gd name="T26" fmla="*/ 2147483647 w 245"/>
                <a:gd name="T27" fmla="*/ 2147483647 h 235"/>
                <a:gd name="T28" fmla="*/ 2147483647 w 245"/>
                <a:gd name="T29" fmla="*/ 2147483647 h 235"/>
                <a:gd name="T30" fmla="*/ 2147483647 w 245"/>
                <a:gd name="T31" fmla="*/ 2147483647 h 235"/>
                <a:gd name="T32" fmla="*/ 2147483647 w 245"/>
                <a:gd name="T33" fmla="*/ 2147483647 h 235"/>
                <a:gd name="T34" fmla="*/ 2147483647 w 245"/>
                <a:gd name="T35" fmla="*/ 2147483647 h 235"/>
                <a:gd name="T36" fmla="*/ 2147483647 w 245"/>
                <a:gd name="T37" fmla="*/ 0 h 235"/>
                <a:gd name="T38" fmla="*/ 2147483647 w 245"/>
                <a:gd name="T39" fmla="*/ 2147483647 h 235"/>
                <a:gd name="T40" fmla="*/ 2147483647 w 245"/>
                <a:gd name="T41" fmla="*/ 2147483647 h 235"/>
                <a:gd name="T42" fmla="*/ 2147483647 w 245"/>
                <a:gd name="T43" fmla="*/ 2147483647 h 235"/>
                <a:gd name="T44" fmla="*/ 2147483647 w 245"/>
                <a:gd name="T45" fmla="*/ 2147483647 h 235"/>
                <a:gd name="T46" fmla="*/ 2147483647 w 245"/>
                <a:gd name="T47" fmla="*/ 2147483647 h 235"/>
                <a:gd name="T48" fmla="*/ 2147483647 w 245"/>
                <a:gd name="T49" fmla="*/ 2147483647 h 235"/>
                <a:gd name="T50" fmla="*/ 2147483647 w 245"/>
                <a:gd name="T51" fmla="*/ 2147483647 h 235"/>
                <a:gd name="T52" fmla="*/ 2147483647 w 245"/>
                <a:gd name="T53" fmla="*/ 2147483647 h 235"/>
                <a:gd name="T54" fmla="*/ 2147483647 w 245"/>
                <a:gd name="T55" fmla="*/ 2147483647 h 235"/>
                <a:gd name="T56" fmla="*/ 2147483647 w 245"/>
                <a:gd name="T57" fmla="*/ 2147483647 h 235"/>
                <a:gd name="T58" fmla="*/ 0 w 245"/>
                <a:gd name="T59" fmla="*/ 2147483647 h 2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45" h="235">
                  <a:moveTo>
                    <a:pt x="0" y="202"/>
                  </a:moveTo>
                  <a:lnTo>
                    <a:pt x="25" y="211"/>
                  </a:lnTo>
                  <a:lnTo>
                    <a:pt x="12" y="235"/>
                  </a:lnTo>
                  <a:lnTo>
                    <a:pt x="51" y="235"/>
                  </a:lnTo>
                  <a:lnTo>
                    <a:pt x="51" y="211"/>
                  </a:lnTo>
                  <a:lnTo>
                    <a:pt x="62" y="211"/>
                  </a:lnTo>
                  <a:lnTo>
                    <a:pt x="51" y="202"/>
                  </a:lnTo>
                  <a:lnTo>
                    <a:pt x="69" y="202"/>
                  </a:lnTo>
                  <a:lnTo>
                    <a:pt x="62" y="167"/>
                  </a:lnTo>
                  <a:lnTo>
                    <a:pt x="69" y="190"/>
                  </a:lnTo>
                  <a:lnTo>
                    <a:pt x="81" y="167"/>
                  </a:lnTo>
                  <a:lnTo>
                    <a:pt x="75" y="158"/>
                  </a:lnTo>
                  <a:lnTo>
                    <a:pt x="100" y="158"/>
                  </a:lnTo>
                  <a:lnTo>
                    <a:pt x="93" y="146"/>
                  </a:lnTo>
                  <a:lnTo>
                    <a:pt x="107" y="146"/>
                  </a:lnTo>
                  <a:lnTo>
                    <a:pt x="112" y="123"/>
                  </a:lnTo>
                  <a:lnTo>
                    <a:pt x="232" y="44"/>
                  </a:lnTo>
                  <a:lnTo>
                    <a:pt x="245" y="23"/>
                  </a:lnTo>
                  <a:lnTo>
                    <a:pt x="219" y="0"/>
                  </a:lnTo>
                  <a:lnTo>
                    <a:pt x="169" y="44"/>
                  </a:lnTo>
                  <a:lnTo>
                    <a:pt x="118" y="44"/>
                  </a:lnTo>
                  <a:lnTo>
                    <a:pt x="62" y="114"/>
                  </a:lnTo>
                  <a:lnTo>
                    <a:pt x="31" y="114"/>
                  </a:lnTo>
                  <a:lnTo>
                    <a:pt x="31" y="146"/>
                  </a:lnTo>
                  <a:lnTo>
                    <a:pt x="51" y="146"/>
                  </a:lnTo>
                  <a:lnTo>
                    <a:pt x="31" y="146"/>
                  </a:lnTo>
                  <a:lnTo>
                    <a:pt x="37" y="158"/>
                  </a:lnTo>
                  <a:lnTo>
                    <a:pt x="25" y="167"/>
                  </a:lnTo>
                  <a:lnTo>
                    <a:pt x="37" y="19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22" name="Freeform 649"/>
            <p:cNvSpPr>
              <a:spLocks/>
            </p:cNvSpPr>
            <p:nvPr>
              <p:custDataLst>
                <p:tags r:id="rId530"/>
              </p:custDataLst>
            </p:nvPr>
          </p:nvSpPr>
          <p:spPr bwMode="auto">
            <a:xfrm>
              <a:off x="7556826" y="2315759"/>
              <a:ext cx="455112" cy="185737"/>
            </a:xfrm>
            <a:custGeom>
              <a:avLst/>
              <a:gdLst>
                <a:gd name="T0" fmla="*/ 0 w 245"/>
                <a:gd name="T1" fmla="*/ 2147483647 h 235"/>
                <a:gd name="T2" fmla="*/ 2147483647 w 245"/>
                <a:gd name="T3" fmla="*/ 2147483647 h 235"/>
                <a:gd name="T4" fmla="*/ 2147483647 w 245"/>
                <a:gd name="T5" fmla="*/ 2147483647 h 235"/>
                <a:gd name="T6" fmla="*/ 2147483647 w 245"/>
                <a:gd name="T7" fmla="*/ 2147483647 h 235"/>
                <a:gd name="T8" fmla="*/ 2147483647 w 245"/>
                <a:gd name="T9" fmla="*/ 2147483647 h 235"/>
                <a:gd name="T10" fmla="*/ 2147483647 w 245"/>
                <a:gd name="T11" fmla="*/ 2147483647 h 235"/>
                <a:gd name="T12" fmla="*/ 2147483647 w 245"/>
                <a:gd name="T13" fmla="*/ 2147483647 h 235"/>
                <a:gd name="T14" fmla="*/ 2147483647 w 245"/>
                <a:gd name="T15" fmla="*/ 2147483647 h 235"/>
                <a:gd name="T16" fmla="*/ 2147483647 w 245"/>
                <a:gd name="T17" fmla="*/ 2147483647 h 235"/>
                <a:gd name="T18" fmla="*/ 2147483647 w 245"/>
                <a:gd name="T19" fmla="*/ 2147483647 h 235"/>
                <a:gd name="T20" fmla="*/ 2147483647 w 245"/>
                <a:gd name="T21" fmla="*/ 2147483647 h 235"/>
                <a:gd name="T22" fmla="*/ 2147483647 w 245"/>
                <a:gd name="T23" fmla="*/ 2147483647 h 235"/>
                <a:gd name="T24" fmla="*/ 2147483647 w 245"/>
                <a:gd name="T25" fmla="*/ 2147483647 h 235"/>
                <a:gd name="T26" fmla="*/ 2147483647 w 245"/>
                <a:gd name="T27" fmla="*/ 2147483647 h 235"/>
                <a:gd name="T28" fmla="*/ 2147483647 w 245"/>
                <a:gd name="T29" fmla="*/ 2147483647 h 235"/>
                <a:gd name="T30" fmla="*/ 2147483647 w 245"/>
                <a:gd name="T31" fmla="*/ 2147483647 h 235"/>
                <a:gd name="T32" fmla="*/ 2147483647 w 245"/>
                <a:gd name="T33" fmla="*/ 2147483647 h 235"/>
                <a:gd name="T34" fmla="*/ 2147483647 w 245"/>
                <a:gd name="T35" fmla="*/ 2147483647 h 235"/>
                <a:gd name="T36" fmla="*/ 2147483647 w 245"/>
                <a:gd name="T37" fmla="*/ 0 h 235"/>
                <a:gd name="T38" fmla="*/ 2147483647 w 245"/>
                <a:gd name="T39" fmla="*/ 2147483647 h 235"/>
                <a:gd name="T40" fmla="*/ 2147483647 w 245"/>
                <a:gd name="T41" fmla="*/ 2147483647 h 235"/>
                <a:gd name="T42" fmla="*/ 2147483647 w 245"/>
                <a:gd name="T43" fmla="*/ 2147483647 h 235"/>
                <a:gd name="T44" fmla="*/ 2147483647 w 245"/>
                <a:gd name="T45" fmla="*/ 2147483647 h 235"/>
                <a:gd name="T46" fmla="*/ 2147483647 w 245"/>
                <a:gd name="T47" fmla="*/ 2147483647 h 235"/>
                <a:gd name="T48" fmla="*/ 2147483647 w 245"/>
                <a:gd name="T49" fmla="*/ 2147483647 h 235"/>
                <a:gd name="T50" fmla="*/ 2147483647 w 245"/>
                <a:gd name="T51" fmla="*/ 2147483647 h 235"/>
                <a:gd name="T52" fmla="*/ 2147483647 w 245"/>
                <a:gd name="T53" fmla="*/ 2147483647 h 235"/>
                <a:gd name="T54" fmla="*/ 2147483647 w 245"/>
                <a:gd name="T55" fmla="*/ 2147483647 h 235"/>
                <a:gd name="T56" fmla="*/ 2147483647 w 245"/>
                <a:gd name="T57" fmla="*/ 2147483647 h 235"/>
                <a:gd name="T58" fmla="*/ 0 w 245"/>
                <a:gd name="T59" fmla="*/ 2147483647 h 2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45" h="235">
                  <a:moveTo>
                    <a:pt x="0" y="202"/>
                  </a:moveTo>
                  <a:lnTo>
                    <a:pt x="25" y="211"/>
                  </a:lnTo>
                  <a:lnTo>
                    <a:pt x="12" y="235"/>
                  </a:lnTo>
                  <a:lnTo>
                    <a:pt x="51" y="235"/>
                  </a:lnTo>
                  <a:lnTo>
                    <a:pt x="51" y="211"/>
                  </a:lnTo>
                  <a:lnTo>
                    <a:pt x="62" y="211"/>
                  </a:lnTo>
                  <a:lnTo>
                    <a:pt x="51" y="202"/>
                  </a:lnTo>
                  <a:lnTo>
                    <a:pt x="69" y="202"/>
                  </a:lnTo>
                  <a:lnTo>
                    <a:pt x="62" y="167"/>
                  </a:lnTo>
                  <a:lnTo>
                    <a:pt x="69" y="190"/>
                  </a:lnTo>
                  <a:lnTo>
                    <a:pt x="81" y="167"/>
                  </a:lnTo>
                  <a:lnTo>
                    <a:pt x="75" y="158"/>
                  </a:lnTo>
                  <a:lnTo>
                    <a:pt x="100" y="158"/>
                  </a:lnTo>
                  <a:lnTo>
                    <a:pt x="93" y="146"/>
                  </a:lnTo>
                  <a:lnTo>
                    <a:pt x="107" y="146"/>
                  </a:lnTo>
                  <a:lnTo>
                    <a:pt x="112" y="123"/>
                  </a:lnTo>
                  <a:lnTo>
                    <a:pt x="232" y="44"/>
                  </a:lnTo>
                  <a:lnTo>
                    <a:pt x="245" y="23"/>
                  </a:lnTo>
                  <a:lnTo>
                    <a:pt x="219" y="0"/>
                  </a:lnTo>
                  <a:lnTo>
                    <a:pt x="169" y="44"/>
                  </a:lnTo>
                  <a:lnTo>
                    <a:pt x="118" y="44"/>
                  </a:lnTo>
                  <a:lnTo>
                    <a:pt x="62" y="114"/>
                  </a:lnTo>
                  <a:lnTo>
                    <a:pt x="31" y="114"/>
                  </a:lnTo>
                  <a:lnTo>
                    <a:pt x="31" y="146"/>
                  </a:lnTo>
                  <a:lnTo>
                    <a:pt x="51" y="146"/>
                  </a:lnTo>
                  <a:lnTo>
                    <a:pt x="31" y="146"/>
                  </a:lnTo>
                  <a:lnTo>
                    <a:pt x="37" y="158"/>
                  </a:lnTo>
                  <a:lnTo>
                    <a:pt x="25" y="167"/>
                  </a:lnTo>
                  <a:lnTo>
                    <a:pt x="37" y="190"/>
                  </a:lnTo>
                  <a:lnTo>
                    <a:pt x="0" y="20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23" name="Freeform 650"/>
            <p:cNvSpPr>
              <a:spLocks/>
            </p:cNvSpPr>
            <p:nvPr>
              <p:custDataLst>
                <p:tags r:id="rId531"/>
              </p:custDataLst>
            </p:nvPr>
          </p:nvSpPr>
          <p:spPr bwMode="auto">
            <a:xfrm>
              <a:off x="7556826" y="2315759"/>
              <a:ext cx="455112" cy="185737"/>
            </a:xfrm>
            <a:custGeom>
              <a:avLst/>
              <a:gdLst>
                <a:gd name="T0" fmla="*/ 0 w 245"/>
                <a:gd name="T1" fmla="*/ 2147483647 h 235"/>
                <a:gd name="T2" fmla="*/ 2147483647 w 245"/>
                <a:gd name="T3" fmla="*/ 2147483647 h 235"/>
                <a:gd name="T4" fmla="*/ 2147483647 w 245"/>
                <a:gd name="T5" fmla="*/ 2147483647 h 235"/>
                <a:gd name="T6" fmla="*/ 2147483647 w 245"/>
                <a:gd name="T7" fmla="*/ 2147483647 h 235"/>
                <a:gd name="T8" fmla="*/ 2147483647 w 245"/>
                <a:gd name="T9" fmla="*/ 2147483647 h 235"/>
                <a:gd name="T10" fmla="*/ 2147483647 w 245"/>
                <a:gd name="T11" fmla="*/ 2147483647 h 235"/>
                <a:gd name="T12" fmla="*/ 2147483647 w 245"/>
                <a:gd name="T13" fmla="*/ 2147483647 h 235"/>
                <a:gd name="T14" fmla="*/ 2147483647 w 245"/>
                <a:gd name="T15" fmla="*/ 2147483647 h 235"/>
                <a:gd name="T16" fmla="*/ 2147483647 w 245"/>
                <a:gd name="T17" fmla="*/ 2147483647 h 235"/>
                <a:gd name="T18" fmla="*/ 2147483647 w 245"/>
                <a:gd name="T19" fmla="*/ 2147483647 h 235"/>
                <a:gd name="T20" fmla="*/ 2147483647 w 245"/>
                <a:gd name="T21" fmla="*/ 2147483647 h 235"/>
                <a:gd name="T22" fmla="*/ 2147483647 w 245"/>
                <a:gd name="T23" fmla="*/ 2147483647 h 235"/>
                <a:gd name="T24" fmla="*/ 2147483647 w 245"/>
                <a:gd name="T25" fmla="*/ 2147483647 h 235"/>
                <a:gd name="T26" fmla="*/ 2147483647 w 245"/>
                <a:gd name="T27" fmla="*/ 2147483647 h 235"/>
                <a:gd name="T28" fmla="*/ 2147483647 w 245"/>
                <a:gd name="T29" fmla="*/ 2147483647 h 235"/>
                <a:gd name="T30" fmla="*/ 2147483647 w 245"/>
                <a:gd name="T31" fmla="*/ 2147483647 h 235"/>
                <a:gd name="T32" fmla="*/ 2147483647 w 245"/>
                <a:gd name="T33" fmla="*/ 2147483647 h 235"/>
                <a:gd name="T34" fmla="*/ 2147483647 w 245"/>
                <a:gd name="T35" fmla="*/ 2147483647 h 235"/>
                <a:gd name="T36" fmla="*/ 2147483647 w 245"/>
                <a:gd name="T37" fmla="*/ 0 h 235"/>
                <a:gd name="T38" fmla="*/ 2147483647 w 245"/>
                <a:gd name="T39" fmla="*/ 2147483647 h 235"/>
                <a:gd name="T40" fmla="*/ 2147483647 w 245"/>
                <a:gd name="T41" fmla="*/ 2147483647 h 235"/>
                <a:gd name="T42" fmla="*/ 2147483647 w 245"/>
                <a:gd name="T43" fmla="*/ 2147483647 h 235"/>
                <a:gd name="T44" fmla="*/ 2147483647 w 245"/>
                <a:gd name="T45" fmla="*/ 2147483647 h 235"/>
                <a:gd name="T46" fmla="*/ 2147483647 w 245"/>
                <a:gd name="T47" fmla="*/ 2147483647 h 235"/>
                <a:gd name="T48" fmla="*/ 2147483647 w 245"/>
                <a:gd name="T49" fmla="*/ 2147483647 h 235"/>
                <a:gd name="T50" fmla="*/ 2147483647 w 245"/>
                <a:gd name="T51" fmla="*/ 2147483647 h 235"/>
                <a:gd name="T52" fmla="*/ 2147483647 w 245"/>
                <a:gd name="T53" fmla="*/ 2147483647 h 235"/>
                <a:gd name="T54" fmla="*/ 2147483647 w 245"/>
                <a:gd name="T55" fmla="*/ 2147483647 h 235"/>
                <a:gd name="T56" fmla="*/ 2147483647 w 245"/>
                <a:gd name="T57" fmla="*/ 2147483647 h 235"/>
                <a:gd name="T58" fmla="*/ 0 w 245"/>
                <a:gd name="T59" fmla="*/ 2147483647 h 2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45" h="235">
                  <a:moveTo>
                    <a:pt x="0" y="202"/>
                  </a:moveTo>
                  <a:lnTo>
                    <a:pt x="25" y="211"/>
                  </a:lnTo>
                  <a:lnTo>
                    <a:pt x="12" y="235"/>
                  </a:lnTo>
                  <a:lnTo>
                    <a:pt x="51" y="235"/>
                  </a:lnTo>
                  <a:lnTo>
                    <a:pt x="51" y="211"/>
                  </a:lnTo>
                  <a:lnTo>
                    <a:pt x="62" y="211"/>
                  </a:lnTo>
                  <a:lnTo>
                    <a:pt x="51" y="202"/>
                  </a:lnTo>
                  <a:lnTo>
                    <a:pt x="69" y="202"/>
                  </a:lnTo>
                  <a:lnTo>
                    <a:pt x="62" y="167"/>
                  </a:lnTo>
                  <a:lnTo>
                    <a:pt x="69" y="190"/>
                  </a:lnTo>
                  <a:lnTo>
                    <a:pt x="81" y="167"/>
                  </a:lnTo>
                  <a:lnTo>
                    <a:pt x="75" y="158"/>
                  </a:lnTo>
                  <a:lnTo>
                    <a:pt x="100" y="158"/>
                  </a:lnTo>
                  <a:lnTo>
                    <a:pt x="93" y="146"/>
                  </a:lnTo>
                  <a:lnTo>
                    <a:pt x="107" y="146"/>
                  </a:lnTo>
                  <a:lnTo>
                    <a:pt x="112" y="123"/>
                  </a:lnTo>
                  <a:lnTo>
                    <a:pt x="232" y="44"/>
                  </a:lnTo>
                  <a:lnTo>
                    <a:pt x="245" y="23"/>
                  </a:lnTo>
                  <a:lnTo>
                    <a:pt x="219" y="0"/>
                  </a:lnTo>
                  <a:lnTo>
                    <a:pt x="169" y="44"/>
                  </a:lnTo>
                  <a:lnTo>
                    <a:pt x="118" y="44"/>
                  </a:lnTo>
                  <a:lnTo>
                    <a:pt x="62" y="114"/>
                  </a:lnTo>
                  <a:lnTo>
                    <a:pt x="31" y="114"/>
                  </a:lnTo>
                  <a:lnTo>
                    <a:pt x="31" y="146"/>
                  </a:lnTo>
                  <a:lnTo>
                    <a:pt x="51" y="146"/>
                  </a:lnTo>
                  <a:lnTo>
                    <a:pt x="31" y="146"/>
                  </a:lnTo>
                  <a:lnTo>
                    <a:pt x="37" y="158"/>
                  </a:lnTo>
                  <a:lnTo>
                    <a:pt x="25" y="167"/>
                  </a:lnTo>
                  <a:lnTo>
                    <a:pt x="37" y="190"/>
                  </a:lnTo>
                  <a:lnTo>
                    <a:pt x="0" y="20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24" name="Freeform 651"/>
            <p:cNvSpPr>
              <a:spLocks/>
            </p:cNvSpPr>
            <p:nvPr>
              <p:custDataLst>
                <p:tags r:id="rId532"/>
              </p:custDataLst>
            </p:nvPr>
          </p:nvSpPr>
          <p:spPr bwMode="auto">
            <a:xfrm>
              <a:off x="7556826" y="2315759"/>
              <a:ext cx="455112" cy="185737"/>
            </a:xfrm>
            <a:custGeom>
              <a:avLst/>
              <a:gdLst>
                <a:gd name="T0" fmla="*/ 0 w 245"/>
                <a:gd name="T1" fmla="*/ 2147483647 h 235"/>
                <a:gd name="T2" fmla="*/ 2147483647 w 245"/>
                <a:gd name="T3" fmla="*/ 2147483647 h 235"/>
                <a:gd name="T4" fmla="*/ 2147483647 w 245"/>
                <a:gd name="T5" fmla="*/ 2147483647 h 235"/>
                <a:gd name="T6" fmla="*/ 2147483647 w 245"/>
                <a:gd name="T7" fmla="*/ 2147483647 h 235"/>
                <a:gd name="T8" fmla="*/ 2147483647 w 245"/>
                <a:gd name="T9" fmla="*/ 2147483647 h 235"/>
                <a:gd name="T10" fmla="*/ 2147483647 w 245"/>
                <a:gd name="T11" fmla="*/ 2147483647 h 235"/>
                <a:gd name="T12" fmla="*/ 2147483647 w 245"/>
                <a:gd name="T13" fmla="*/ 2147483647 h 235"/>
                <a:gd name="T14" fmla="*/ 2147483647 w 245"/>
                <a:gd name="T15" fmla="*/ 2147483647 h 235"/>
                <a:gd name="T16" fmla="*/ 2147483647 w 245"/>
                <a:gd name="T17" fmla="*/ 2147483647 h 235"/>
                <a:gd name="T18" fmla="*/ 2147483647 w 245"/>
                <a:gd name="T19" fmla="*/ 2147483647 h 235"/>
                <a:gd name="T20" fmla="*/ 2147483647 w 245"/>
                <a:gd name="T21" fmla="*/ 2147483647 h 235"/>
                <a:gd name="T22" fmla="*/ 2147483647 w 245"/>
                <a:gd name="T23" fmla="*/ 2147483647 h 235"/>
                <a:gd name="T24" fmla="*/ 2147483647 w 245"/>
                <a:gd name="T25" fmla="*/ 2147483647 h 235"/>
                <a:gd name="T26" fmla="*/ 2147483647 w 245"/>
                <a:gd name="T27" fmla="*/ 2147483647 h 235"/>
                <a:gd name="T28" fmla="*/ 2147483647 w 245"/>
                <a:gd name="T29" fmla="*/ 2147483647 h 235"/>
                <a:gd name="T30" fmla="*/ 2147483647 w 245"/>
                <a:gd name="T31" fmla="*/ 2147483647 h 235"/>
                <a:gd name="T32" fmla="*/ 2147483647 w 245"/>
                <a:gd name="T33" fmla="*/ 2147483647 h 235"/>
                <a:gd name="T34" fmla="*/ 2147483647 w 245"/>
                <a:gd name="T35" fmla="*/ 2147483647 h 235"/>
                <a:gd name="T36" fmla="*/ 2147483647 w 245"/>
                <a:gd name="T37" fmla="*/ 0 h 235"/>
                <a:gd name="T38" fmla="*/ 2147483647 w 245"/>
                <a:gd name="T39" fmla="*/ 2147483647 h 235"/>
                <a:gd name="T40" fmla="*/ 2147483647 w 245"/>
                <a:gd name="T41" fmla="*/ 2147483647 h 235"/>
                <a:gd name="T42" fmla="*/ 2147483647 w 245"/>
                <a:gd name="T43" fmla="*/ 2147483647 h 235"/>
                <a:gd name="T44" fmla="*/ 2147483647 w 245"/>
                <a:gd name="T45" fmla="*/ 2147483647 h 235"/>
                <a:gd name="T46" fmla="*/ 2147483647 w 245"/>
                <a:gd name="T47" fmla="*/ 2147483647 h 235"/>
                <a:gd name="T48" fmla="*/ 2147483647 w 245"/>
                <a:gd name="T49" fmla="*/ 2147483647 h 235"/>
                <a:gd name="T50" fmla="*/ 2147483647 w 245"/>
                <a:gd name="T51" fmla="*/ 2147483647 h 235"/>
                <a:gd name="T52" fmla="*/ 2147483647 w 245"/>
                <a:gd name="T53" fmla="*/ 2147483647 h 235"/>
                <a:gd name="T54" fmla="*/ 2147483647 w 245"/>
                <a:gd name="T55" fmla="*/ 2147483647 h 235"/>
                <a:gd name="T56" fmla="*/ 2147483647 w 245"/>
                <a:gd name="T57" fmla="*/ 2147483647 h 235"/>
                <a:gd name="T58" fmla="*/ 0 w 245"/>
                <a:gd name="T59" fmla="*/ 2147483647 h 23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45" h="235">
                  <a:moveTo>
                    <a:pt x="0" y="202"/>
                  </a:moveTo>
                  <a:lnTo>
                    <a:pt x="25" y="211"/>
                  </a:lnTo>
                  <a:lnTo>
                    <a:pt x="12" y="235"/>
                  </a:lnTo>
                  <a:lnTo>
                    <a:pt x="51" y="235"/>
                  </a:lnTo>
                  <a:lnTo>
                    <a:pt x="51" y="211"/>
                  </a:lnTo>
                  <a:lnTo>
                    <a:pt x="62" y="211"/>
                  </a:lnTo>
                  <a:lnTo>
                    <a:pt x="51" y="202"/>
                  </a:lnTo>
                  <a:lnTo>
                    <a:pt x="69" y="202"/>
                  </a:lnTo>
                  <a:lnTo>
                    <a:pt x="62" y="167"/>
                  </a:lnTo>
                  <a:lnTo>
                    <a:pt x="69" y="190"/>
                  </a:lnTo>
                  <a:lnTo>
                    <a:pt x="81" y="167"/>
                  </a:lnTo>
                  <a:lnTo>
                    <a:pt x="75" y="158"/>
                  </a:lnTo>
                  <a:lnTo>
                    <a:pt x="100" y="158"/>
                  </a:lnTo>
                  <a:lnTo>
                    <a:pt x="93" y="146"/>
                  </a:lnTo>
                  <a:lnTo>
                    <a:pt x="107" y="146"/>
                  </a:lnTo>
                  <a:lnTo>
                    <a:pt x="112" y="123"/>
                  </a:lnTo>
                  <a:lnTo>
                    <a:pt x="232" y="44"/>
                  </a:lnTo>
                  <a:lnTo>
                    <a:pt x="245" y="23"/>
                  </a:lnTo>
                  <a:lnTo>
                    <a:pt x="219" y="0"/>
                  </a:lnTo>
                  <a:lnTo>
                    <a:pt x="169" y="44"/>
                  </a:lnTo>
                  <a:lnTo>
                    <a:pt x="118" y="44"/>
                  </a:lnTo>
                  <a:lnTo>
                    <a:pt x="62" y="114"/>
                  </a:lnTo>
                  <a:lnTo>
                    <a:pt x="31" y="114"/>
                  </a:lnTo>
                  <a:lnTo>
                    <a:pt x="31" y="146"/>
                  </a:lnTo>
                  <a:lnTo>
                    <a:pt x="51" y="146"/>
                  </a:lnTo>
                  <a:lnTo>
                    <a:pt x="31" y="146"/>
                  </a:lnTo>
                  <a:lnTo>
                    <a:pt x="37" y="158"/>
                  </a:lnTo>
                  <a:lnTo>
                    <a:pt x="25" y="167"/>
                  </a:lnTo>
                  <a:lnTo>
                    <a:pt x="37" y="190"/>
                  </a:lnTo>
                  <a:lnTo>
                    <a:pt x="0" y="20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25" name="Freeform 652"/>
            <p:cNvSpPr>
              <a:spLocks/>
            </p:cNvSpPr>
            <p:nvPr>
              <p:custDataLst>
                <p:tags r:id="rId533"/>
              </p:custDataLst>
            </p:nvPr>
          </p:nvSpPr>
          <p:spPr bwMode="auto">
            <a:xfrm>
              <a:off x="7813430" y="2060158"/>
              <a:ext cx="80196" cy="42863"/>
            </a:xfrm>
            <a:custGeom>
              <a:avLst/>
              <a:gdLst>
                <a:gd name="T0" fmla="*/ 0 w 43"/>
                <a:gd name="T1" fmla="*/ 2147483647 h 54"/>
                <a:gd name="T2" fmla="*/ 2147483647 w 43"/>
                <a:gd name="T3" fmla="*/ 2147483647 h 54"/>
                <a:gd name="T4" fmla="*/ 2147483647 w 43"/>
                <a:gd name="T5" fmla="*/ 2147483647 h 54"/>
                <a:gd name="T6" fmla="*/ 2147483647 w 43"/>
                <a:gd name="T7" fmla="*/ 0 h 54"/>
                <a:gd name="T8" fmla="*/ 0 w 43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4">
                  <a:moveTo>
                    <a:pt x="0" y="31"/>
                  </a:moveTo>
                  <a:lnTo>
                    <a:pt x="12" y="54"/>
                  </a:lnTo>
                  <a:lnTo>
                    <a:pt x="43" y="31"/>
                  </a:lnTo>
                  <a:lnTo>
                    <a:pt x="2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26" name="Freeform 653"/>
            <p:cNvSpPr>
              <a:spLocks/>
            </p:cNvSpPr>
            <p:nvPr>
              <p:custDataLst>
                <p:tags r:id="rId534"/>
              </p:custDataLst>
            </p:nvPr>
          </p:nvSpPr>
          <p:spPr bwMode="auto">
            <a:xfrm>
              <a:off x="7813430" y="2060158"/>
              <a:ext cx="80196" cy="42863"/>
            </a:xfrm>
            <a:custGeom>
              <a:avLst/>
              <a:gdLst>
                <a:gd name="T0" fmla="*/ 0 w 43"/>
                <a:gd name="T1" fmla="*/ 2147483647 h 54"/>
                <a:gd name="T2" fmla="*/ 2147483647 w 43"/>
                <a:gd name="T3" fmla="*/ 2147483647 h 54"/>
                <a:gd name="T4" fmla="*/ 2147483647 w 43"/>
                <a:gd name="T5" fmla="*/ 2147483647 h 54"/>
                <a:gd name="T6" fmla="*/ 2147483647 w 43"/>
                <a:gd name="T7" fmla="*/ 0 h 54"/>
                <a:gd name="T8" fmla="*/ 0 w 43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4">
                  <a:moveTo>
                    <a:pt x="0" y="31"/>
                  </a:moveTo>
                  <a:lnTo>
                    <a:pt x="12" y="54"/>
                  </a:lnTo>
                  <a:lnTo>
                    <a:pt x="43" y="31"/>
                  </a:lnTo>
                  <a:lnTo>
                    <a:pt x="24" y="0"/>
                  </a:lnTo>
                  <a:lnTo>
                    <a:pt x="0" y="3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27" name="Freeform 654"/>
            <p:cNvSpPr>
              <a:spLocks/>
            </p:cNvSpPr>
            <p:nvPr>
              <p:custDataLst>
                <p:tags r:id="rId535"/>
              </p:custDataLst>
            </p:nvPr>
          </p:nvSpPr>
          <p:spPr bwMode="auto">
            <a:xfrm>
              <a:off x="7813430" y="2060158"/>
              <a:ext cx="80196" cy="42863"/>
            </a:xfrm>
            <a:custGeom>
              <a:avLst/>
              <a:gdLst>
                <a:gd name="T0" fmla="*/ 0 w 43"/>
                <a:gd name="T1" fmla="*/ 2147483647 h 54"/>
                <a:gd name="T2" fmla="*/ 2147483647 w 43"/>
                <a:gd name="T3" fmla="*/ 2147483647 h 54"/>
                <a:gd name="T4" fmla="*/ 2147483647 w 43"/>
                <a:gd name="T5" fmla="*/ 2147483647 h 54"/>
                <a:gd name="T6" fmla="*/ 2147483647 w 43"/>
                <a:gd name="T7" fmla="*/ 0 h 54"/>
                <a:gd name="T8" fmla="*/ 0 w 43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4">
                  <a:moveTo>
                    <a:pt x="0" y="31"/>
                  </a:moveTo>
                  <a:lnTo>
                    <a:pt x="12" y="54"/>
                  </a:lnTo>
                  <a:lnTo>
                    <a:pt x="43" y="31"/>
                  </a:lnTo>
                  <a:lnTo>
                    <a:pt x="24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28" name="Freeform 655"/>
            <p:cNvSpPr>
              <a:spLocks/>
            </p:cNvSpPr>
            <p:nvPr>
              <p:custDataLst>
                <p:tags r:id="rId536"/>
              </p:custDataLst>
            </p:nvPr>
          </p:nvSpPr>
          <p:spPr bwMode="auto">
            <a:xfrm>
              <a:off x="7813430" y="2060158"/>
              <a:ext cx="80196" cy="42863"/>
            </a:xfrm>
            <a:custGeom>
              <a:avLst/>
              <a:gdLst>
                <a:gd name="T0" fmla="*/ 0 w 43"/>
                <a:gd name="T1" fmla="*/ 2147483647 h 54"/>
                <a:gd name="T2" fmla="*/ 2147483647 w 43"/>
                <a:gd name="T3" fmla="*/ 2147483647 h 54"/>
                <a:gd name="T4" fmla="*/ 2147483647 w 43"/>
                <a:gd name="T5" fmla="*/ 2147483647 h 54"/>
                <a:gd name="T6" fmla="*/ 2147483647 w 43"/>
                <a:gd name="T7" fmla="*/ 0 h 54"/>
                <a:gd name="T8" fmla="*/ 0 w 43"/>
                <a:gd name="T9" fmla="*/ 2147483647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54">
                  <a:moveTo>
                    <a:pt x="0" y="31"/>
                  </a:moveTo>
                  <a:lnTo>
                    <a:pt x="12" y="54"/>
                  </a:lnTo>
                  <a:lnTo>
                    <a:pt x="43" y="31"/>
                  </a:lnTo>
                  <a:lnTo>
                    <a:pt x="24" y="0"/>
                  </a:lnTo>
                  <a:lnTo>
                    <a:pt x="0" y="3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29" name="Freeform 656"/>
            <p:cNvSpPr>
              <a:spLocks/>
            </p:cNvSpPr>
            <p:nvPr>
              <p:custDataLst>
                <p:tags r:id="rId537"/>
              </p:custDataLst>
            </p:nvPr>
          </p:nvSpPr>
          <p:spPr bwMode="auto">
            <a:xfrm>
              <a:off x="8633432" y="2139520"/>
              <a:ext cx="80196" cy="26988"/>
            </a:xfrm>
            <a:custGeom>
              <a:avLst/>
              <a:gdLst>
                <a:gd name="T0" fmla="*/ 0 w 44"/>
                <a:gd name="T1" fmla="*/ 0 h 35"/>
                <a:gd name="T2" fmla="*/ 2147483647 w 44"/>
                <a:gd name="T3" fmla="*/ 2147483647 h 35"/>
                <a:gd name="T4" fmla="*/ 2147483647 w 44"/>
                <a:gd name="T5" fmla="*/ 2147483647 h 35"/>
                <a:gd name="T6" fmla="*/ 2147483647 w 44"/>
                <a:gd name="T7" fmla="*/ 2147483647 h 35"/>
                <a:gd name="T8" fmla="*/ 2147483647 w 44"/>
                <a:gd name="T9" fmla="*/ 2147483647 h 35"/>
                <a:gd name="T10" fmla="*/ 0 w 44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5">
                  <a:moveTo>
                    <a:pt x="0" y="0"/>
                  </a:moveTo>
                  <a:lnTo>
                    <a:pt x="19" y="23"/>
                  </a:lnTo>
                  <a:lnTo>
                    <a:pt x="13" y="35"/>
                  </a:lnTo>
                  <a:lnTo>
                    <a:pt x="32" y="35"/>
                  </a:lnTo>
                  <a:lnTo>
                    <a:pt x="44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30" name="Freeform 657"/>
            <p:cNvSpPr>
              <a:spLocks/>
            </p:cNvSpPr>
            <p:nvPr>
              <p:custDataLst>
                <p:tags r:id="rId538"/>
              </p:custDataLst>
            </p:nvPr>
          </p:nvSpPr>
          <p:spPr bwMode="auto">
            <a:xfrm>
              <a:off x="8633432" y="2139520"/>
              <a:ext cx="80196" cy="26988"/>
            </a:xfrm>
            <a:custGeom>
              <a:avLst/>
              <a:gdLst>
                <a:gd name="T0" fmla="*/ 0 w 44"/>
                <a:gd name="T1" fmla="*/ 0 h 35"/>
                <a:gd name="T2" fmla="*/ 2147483647 w 44"/>
                <a:gd name="T3" fmla="*/ 2147483647 h 35"/>
                <a:gd name="T4" fmla="*/ 2147483647 w 44"/>
                <a:gd name="T5" fmla="*/ 2147483647 h 35"/>
                <a:gd name="T6" fmla="*/ 2147483647 w 44"/>
                <a:gd name="T7" fmla="*/ 2147483647 h 35"/>
                <a:gd name="T8" fmla="*/ 2147483647 w 44"/>
                <a:gd name="T9" fmla="*/ 2147483647 h 35"/>
                <a:gd name="T10" fmla="*/ 0 w 44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5">
                  <a:moveTo>
                    <a:pt x="0" y="0"/>
                  </a:moveTo>
                  <a:lnTo>
                    <a:pt x="19" y="23"/>
                  </a:lnTo>
                  <a:lnTo>
                    <a:pt x="13" y="35"/>
                  </a:lnTo>
                  <a:lnTo>
                    <a:pt x="32" y="35"/>
                  </a:lnTo>
                  <a:lnTo>
                    <a:pt x="44" y="1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31" name="Freeform 658"/>
            <p:cNvSpPr>
              <a:spLocks/>
            </p:cNvSpPr>
            <p:nvPr>
              <p:custDataLst>
                <p:tags r:id="rId539"/>
              </p:custDataLst>
            </p:nvPr>
          </p:nvSpPr>
          <p:spPr bwMode="auto">
            <a:xfrm>
              <a:off x="8633432" y="2139520"/>
              <a:ext cx="80196" cy="26988"/>
            </a:xfrm>
            <a:custGeom>
              <a:avLst/>
              <a:gdLst>
                <a:gd name="T0" fmla="*/ 0 w 44"/>
                <a:gd name="T1" fmla="*/ 0 h 35"/>
                <a:gd name="T2" fmla="*/ 2147483647 w 44"/>
                <a:gd name="T3" fmla="*/ 2147483647 h 35"/>
                <a:gd name="T4" fmla="*/ 2147483647 w 44"/>
                <a:gd name="T5" fmla="*/ 2147483647 h 35"/>
                <a:gd name="T6" fmla="*/ 2147483647 w 44"/>
                <a:gd name="T7" fmla="*/ 2147483647 h 35"/>
                <a:gd name="T8" fmla="*/ 2147483647 w 44"/>
                <a:gd name="T9" fmla="*/ 2147483647 h 35"/>
                <a:gd name="T10" fmla="*/ 0 w 44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5">
                  <a:moveTo>
                    <a:pt x="0" y="0"/>
                  </a:moveTo>
                  <a:lnTo>
                    <a:pt x="19" y="23"/>
                  </a:lnTo>
                  <a:lnTo>
                    <a:pt x="13" y="35"/>
                  </a:lnTo>
                  <a:lnTo>
                    <a:pt x="32" y="35"/>
                  </a:lnTo>
                  <a:lnTo>
                    <a:pt x="44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32" name="Freeform 659"/>
            <p:cNvSpPr>
              <a:spLocks/>
            </p:cNvSpPr>
            <p:nvPr>
              <p:custDataLst>
                <p:tags r:id="rId540"/>
              </p:custDataLst>
            </p:nvPr>
          </p:nvSpPr>
          <p:spPr bwMode="auto">
            <a:xfrm>
              <a:off x="8633432" y="2139520"/>
              <a:ext cx="80196" cy="26988"/>
            </a:xfrm>
            <a:custGeom>
              <a:avLst/>
              <a:gdLst>
                <a:gd name="T0" fmla="*/ 0 w 44"/>
                <a:gd name="T1" fmla="*/ 0 h 35"/>
                <a:gd name="T2" fmla="*/ 2147483647 w 44"/>
                <a:gd name="T3" fmla="*/ 2147483647 h 35"/>
                <a:gd name="T4" fmla="*/ 2147483647 w 44"/>
                <a:gd name="T5" fmla="*/ 2147483647 h 35"/>
                <a:gd name="T6" fmla="*/ 2147483647 w 44"/>
                <a:gd name="T7" fmla="*/ 2147483647 h 35"/>
                <a:gd name="T8" fmla="*/ 2147483647 w 44"/>
                <a:gd name="T9" fmla="*/ 2147483647 h 35"/>
                <a:gd name="T10" fmla="*/ 0 w 44"/>
                <a:gd name="T11" fmla="*/ 0 h 3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4" h="35">
                  <a:moveTo>
                    <a:pt x="0" y="0"/>
                  </a:moveTo>
                  <a:lnTo>
                    <a:pt x="19" y="23"/>
                  </a:lnTo>
                  <a:lnTo>
                    <a:pt x="13" y="35"/>
                  </a:lnTo>
                  <a:lnTo>
                    <a:pt x="32" y="35"/>
                  </a:lnTo>
                  <a:lnTo>
                    <a:pt x="44" y="1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33" name="Freeform 660"/>
            <p:cNvSpPr>
              <a:spLocks/>
            </p:cNvSpPr>
            <p:nvPr>
              <p:custDataLst>
                <p:tags r:id="rId541"/>
              </p:custDataLst>
            </p:nvPr>
          </p:nvSpPr>
          <p:spPr bwMode="auto">
            <a:xfrm>
              <a:off x="8647479" y="2068093"/>
              <a:ext cx="182446" cy="71437"/>
            </a:xfrm>
            <a:custGeom>
              <a:avLst/>
              <a:gdLst>
                <a:gd name="T0" fmla="*/ 0 w 98"/>
                <a:gd name="T1" fmla="*/ 2147483647 h 90"/>
                <a:gd name="T2" fmla="*/ 2147483647 w 98"/>
                <a:gd name="T3" fmla="*/ 2147483647 h 90"/>
                <a:gd name="T4" fmla="*/ 2147483647 w 98"/>
                <a:gd name="T5" fmla="*/ 0 h 90"/>
                <a:gd name="T6" fmla="*/ 2147483647 w 98"/>
                <a:gd name="T7" fmla="*/ 2147483647 h 90"/>
                <a:gd name="T8" fmla="*/ 2147483647 w 98"/>
                <a:gd name="T9" fmla="*/ 2147483647 h 90"/>
                <a:gd name="T10" fmla="*/ 2147483647 w 98"/>
                <a:gd name="T11" fmla="*/ 2147483647 h 90"/>
                <a:gd name="T12" fmla="*/ 2147483647 w 98"/>
                <a:gd name="T13" fmla="*/ 2147483647 h 90"/>
                <a:gd name="T14" fmla="*/ 0 w 98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8" h="90">
                  <a:moveTo>
                    <a:pt x="0" y="79"/>
                  </a:moveTo>
                  <a:lnTo>
                    <a:pt x="24" y="35"/>
                  </a:lnTo>
                  <a:lnTo>
                    <a:pt x="61" y="0"/>
                  </a:lnTo>
                  <a:lnTo>
                    <a:pt x="98" y="44"/>
                  </a:lnTo>
                  <a:lnTo>
                    <a:pt x="86" y="56"/>
                  </a:lnTo>
                  <a:lnTo>
                    <a:pt x="92" y="79"/>
                  </a:lnTo>
                  <a:lnTo>
                    <a:pt x="36" y="9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34" name="Freeform 661"/>
            <p:cNvSpPr>
              <a:spLocks/>
            </p:cNvSpPr>
            <p:nvPr>
              <p:custDataLst>
                <p:tags r:id="rId542"/>
              </p:custDataLst>
            </p:nvPr>
          </p:nvSpPr>
          <p:spPr bwMode="auto">
            <a:xfrm>
              <a:off x="8647479" y="2068093"/>
              <a:ext cx="182446" cy="71437"/>
            </a:xfrm>
            <a:custGeom>
              <a:avLst/>
              <a:gdLst>
                <a:gd name="T0" fmla="*/ 0 w 98"/>
                <a:gd name="T1" fmla="*/ 2147483647 h 90"/>
                <a:gd name="T2" fmla="*/ 2147483647 w 98"/>
                <a:gd name="T3" fmla="*/ 2147483647 h 90"/>
                <a:gd name="T4" fmla="*/ 2147483647 w 98"/>
                <a:gd name="T5" fmla="*/ 0 h 90"/>
                <a:gd name="T6" fmla="*/ 2147483647 w 98"/>
                <a:gd name="T7" fmla="*/ 2147483647 h 90"/>
                <a:gd name="T8" fmla="*/ 2147483647 w 98"/>
                <a:gd name="T9" fmla="*/ 2147483647 h 90"/>
                <a:gd name="T10" fmla="*/ 2147483647 w 98"/>
                <a:gd name="T11" fmla="*/ 2147483647 h 90"/>
                <a:gd name="T12" fmla="*/ 2147483647 w 98"/>
                <a:gd name="T13" fmla="*/ 2147483647 h 90"/>
                <a:gd name="T14" fmla="*/ 0 w 98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8" h="90">
                  <a:moveTo>
                    <a:pt x="0" y="79"/>
                  </a:moveTo>
                  <a:lnTo>
                    <a:pt x="24" y="35"/>
                  </a:lnTo>
                  <a:lnTo>
                    <a:pt x="61" y="0"/>
                  </a:lnTo>
                  <a:lnTo>
                    <a:pt x="98" y="44"/>
                  </a:lnTo>
                  <a:lnTo>
                    <a:pt x="86" y="56"/>
                  </a:lnTo>
                  <a:lnTo>
                    <a:pt x="92" y="79"/>
                  </a:lnTo>
                  <a:lnTo>
                    <a:pt x="36" y="90"/>
                  </a:lnTo>
                  <a:lnTo>
                    <a:pt x="0" y="7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35" name="Freeform 662"/>
            <p:cNvSpPr>
              <a:spLocks/>
            </p:cNvSpPr>
            <p:nvPr>
              <p:custDataLst>
                <p:tags r:id="rId543"/>
              </p:custDataLst>
            </p:nvPr>
          </p:nvSpPr>
          <p:spPr bwMode="auto">
            <a:xfrm>
              <a:off x="8647479" y="2068093"/>
              <a:ext cx="182446" cy="71437"/>
            </a:xfrm>
            <a:custGeom>
              <a:avLst/>
              <a:gdLst>
                <a:gd name="T0" fmla="*/ 0 w 98"/>
                <a:gd name="T1" fmla="*/ 2147483647 h 90"/>
                <a:gd name="T2" fmla="*/ 2147483647 w 98"/>
                <a:gd name="T3" fmla="*/ 2147483647 h 90"/>
                <a:gd name="T4" fmla="*/ 2147483647 w 98"/>
                <a:gd name="T5" fmla="*/ 0 h 90"/>
                <a:gd name="T6" fmla="*/ 2147483647 w 98"/>
                <a:gd name="T7" fmla="*/ 2147483647 h 90"/>
                <a:gd name="T8" fmla="*/ 2147483647 w 98"/>
                <a:gd name="T9" fmla="*/ 2147483647 h 90"/>
                <a:gd name="T10" fmla="*/ 2147483647 w 98"/>
                <a:gd name="T11" fmla="*/ 2147483647 h 90"/>
                <a:gd name="T12" fmla="*/ 2147483647 w 98"/>
                <a:gd name="T13" fmla="*/ 2147483647 h 90"/>
                <a:gd name="T14" fmla="*/ 0 w 98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8" h="90">
                  <a:moveTo>
                    <a:pt x="0" y="79"/>
                  </a:moveTo>
                  <a:lnTo>
                    <a:pt x="24" y="35"/>
                  </a:lnTo>
                  <a:lnTo>
                    <a:pt x="61" y="0"/>
                  </a:lnTo>
                  <a:lnTo>
                    <a:pt x="98" y="44"/>
                  </a:lnTo>
                  <a:lnTo>
                    <a:pt x="86" y="56"/>
                  </a:lnTo>
                  <a:lnTo>
                    <a:pt x="92" y="79"/>
                  </a:lnTo>
                  <a:lnTo>
                    <a:pt x="36" y="90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36" name="Freeform 663"/>
            <p:cNvSpPr>
              <a:spLocks/>
            </p:cNvSpPr>
            <p:nvPr>
              <p:custDataLst>
                <p:tags r:id="rId544"/>
              </p:custDataLst>
            </p:nvPr>
          </p:nvSpPr>
          <p:spPr bwMode="auto">
            <a:xfrm>
              <a:off x="8647479" y="2068093"/>
              <a:ext cx="182446" cy="71437"/>
            </a:xfrm>
            <a:custGeom>
              <a:avLst/>
              <a:gdLst>
                <a:gd name="T0" fmla="*/ 0 w 98"/>
                <a:gd name="T1" fmla="*/ 2147483647 h 90"/>
                <a:gd name="T2" fmla="*/ 2147483647 w 98"/>
                <a:gd name="T3" fmla="*/ 2147483647 h 90"/>
                <a:gd name="T4" fmla="*/ 2147483647 w 98"/>
                <a:gd name="T5" fmla="*/ 0 h 90"/>
                <a:gd name="T6" fmla="*/ 2147483647 w 98"/>
                <a:gd name="T7" fmla="*/ 2147483647 h 90"/>
                <a:gd name="T8" fmla="*/ 2147483647 w 98"/>
                <a:gd name="T9" fmla="*/ 2147483647 h 90"/>
                <a:gd name="T10" fmla="*/ 2147483647 w 98"/>
                <a:gd name="T11" fmla="*/ 2147483647 h 90"/>
                <a:gd name="T12" fmla="*/ 2147483647 w 98"/>
                <a:gd name="T13" fmla="*/ 2147483647 h 90"/>
                <a:gd name="T14" fmla="*/ 0 w 98"/>
                <a:gd name="T15" fmla="*/ 2147483647 h 9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8" h="90">
                  <a:moveTo>
                    <a:pt x="0" y="79"/>
                  </a:moveTo>
                  <a:lnTo>
                    <a:pt x="24" y="35"/>
                  </a:lnTo>
                  <a:lnTo>
                    <a:pt x="61" y="0"/>
                  </a:lnTo>
                  <a:lnTo>
                    <a:pt x="98" y="44"/>
                  </a:lnTo>
                  <a:lnTo>
                    <a:pt x="86" y="56"/>
                  </a:lnTo>
                  <a:lnTo>
                    <a:pt x="92" y="79"/>
                  </a:lnTo>
                  <a:lnTo>
                    <a:pt x="36" y="90"/>
                  </a:lnTo>
                  <a:lnTo>
                    <a:pt x="0" y="7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37" name="Freeform 664"/>
            <p:cNvSpPr>
              <a:spLocks/>
            </p:cNvSpPr>
            <p:nvPr>
              <p:custDataLst>
                <p:tags r:id="rId545"/>
              </p:custDataLst>
            </p:nvPr>
          </p:nvSpPr>
          <p:spPr bwMode="auto">
            <a:xfrm>
              <a:off x="8693581" y="2128408"/>
              <a:ext cx="196480" cy="88900"/>
            </a:xfrm>
            <a:custGeom>
              <a:avLst/>
              <a:gdLst>
                <a:gd name="T0" fmla="*/ 0 w 106"/>
                <a:gd name="T1" fmla="*/ 2147483647 h 111"/>
                <a:gd name="T2" fmla="*/ 2147483647 w 106"/>
                <a:gd name="T3" fmla="*/ 2147483647 h 111"/>
                <a:gd name="T4" fmla="*/ 2147483647 w 106"/>
                <a:gd name="T5" fmla="*/ 2147483647 h 111"/>
                <a:gd name="T6" fmla="*/ 2147483647 w 106"/>
                <a:gd name="T7" fmla="*/ 2147483647 h 111"/>
                <a:gd name="T8" fmla="*/ 2147483647 w 106"/>
                <a:gd name="T9" fmla="*/ 2147483647 h 111"/>
                <a:gd name="T10" fmla="*/ 2147483647 w 106"/>
                <a:gd name="T11" fmla="*/ 2147483647 h 111"/>
                <a:gd name="T12" fmla="*/ 2147483647 w 106"/>
                <a:gd name="T13" fmla="*/ 2147483647 h 111"/>
                <a:gd name="T14" fmla="*/ 2147483647 w 106"/>
                <a:gd name="T15" fmla="*/ 2147483647 h 111"/>
                <a:gd name="T16" fmla="*/ 2147483647 w 106"/>
                <a:gd name="T17" fmla="*/ 2147483647 h 111"/>
                <a:gd name="T18" fmla="*/ 2147483647 w 106"/>
                <a:gd name="T19" fmla="*/ 2147483647 h 111"/>
                <a:gd name="T20" fmla="*/ 2147483647 w 106"/>
                <a:gd name="T21" fmla="*/ 2147483647 h 111"/>
                <a:gd name="T22" fmla="*/ 2147483647 w 106"/>
                <a:gd name="T23" fmla="*/ 2147483647 h 111"/>
                <a:gd name="T24" fmla="*/ 2147483647 w 106"/>
                <a:gd name="T25" fmla="*/ 0 h 111"/>
                <a:gd name="T26" fmla="*/ 2147483647 w 106"/>
                <a:gd name="T27" fmla="*/ 2147483647 h 111"/>
                <a:gd name="T28" fmla="*/ 0 w 106"/>
                <a:gd name="T29" fmla="*/ 2147483647 h 1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6" h="111">
                  <a:moveTo>
                    <a:pt x="0" y="46"/>
                  </a:moveTo>
                  <a:lnTo>
                    <a:pt x="18" y="56"/>
                  </a:lnTo>
                  <a:lnTo>
                    <a:pt x="31" y="90"/>
                  </a:lnTo>
                  <a:lnTo>
                    <a:pt x="42" y="79"/>
                  </a:lnTo>
                  <a:lnTo>
                    <a:pt x="87" y="111"/>
                  </a:lnTo>
                  <a:lnTo>
                    <a:pt x="106" y="100"/>
                  </a:lnTo>
                  <a:lnTo>
                    <a:pt x="92" y="67"/>
                  </a:lnTo>
                  <a:lnTo>
                    <a:pt x="100" y="79"/>
                  </a:lnTo>
                  <a:lnTo>
                    <a:pt x="106" y="34"/>
                  </a:lnTo>
                  <a:lnTo>
                    <a:pt x="87" y="11"/>
                  </a:lnTo>
                  <a:lnTo>
                    <a:pt x="62" y="46"/>
                  </a:lnTo>
                  <a:lnTo>
                    <a:pt x="81" y="23"/>
                  </a:lnTo>
                  <a:lnTo>
                    <a:pt x="68" y="0"/>
                  </a:lnTo>
                  <a:lnTo>
                    <a:pt x="31" y="11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38" name="Freeform 665"/>
            <p:cNvSpPr>
              <a:spLocks/>
            </p:cNvSpPr>
            <p:nvPr>
              <p:custDataLst>
                <p:tags r:id="rId546"/>
              </p:custDataLst>
            </p:nvPr>
          </p:nvSpPr>
          <p:spPr bwMode="auto">
            <a:xfrm>
              <a:off x="8693581" y="2128408"/>
              <a:ext cx="196480" cy="88900"/>
            </a:xfrm>
            <a:custGeom>
              <a:avLst/>
              <a:gdLst>
                <a:gd name="T0" fmla="*/ 0 w 106"/>
                <a:gd name="T1" fmla="*/ 2147483647 h 111"/>
                <a:gd name="T2" fmla="*/ 2147483647 w 106"/>
                <a:gd name="T3" fmla="*/ 2147483647 h 111"/>
                <a:gd name="T4" fmla="*/ 2147483647 w 106"/>
                <a:gd name="T5" fmla="*/ 2147483647 h 111"/>
                <a:gd name="T6" fmla="*/ 2147483647 w 106"/>
                <a:gd name="T7" fmla="*/ 2147483647 h 111"/>
                <a:gd name="T8" fmla="*/ 2147483647 w 106"/>
                <a:gd name="T9" fmla="*/ 2147483647 h 111"/>
                <a:gd name="T10" fmla="*/ 2147483647 w 106"/>
                <a:gd name="T11" fmla="*/ 2147483647 h 111"/>
                <a:gd name="T12" fmla="*/ 2147483647 w 106"/>
                <a:gd name="T13" fmla="*/ 2147483647 h 111"/>
                <a:gd name="T14" fmla="*/ 2147483647 w 106"/>
                <a:gd name="T15" fmla="*/ 2147483647 h 111"/>
                <a:gd name="T16" fmla="*/ 2147483647 w 106"/>
                <a:gd name="T17" fmla="*/ 2147483647 h 111"/>
                <a:gd name="T18" fmla="*/ 2147483647 w 106"/>
                <a:gd name="T19" fmla="*/ 2147483647 h 111"/>
                <a:gd name="T20" fmla="*/ 2147483647 w 106"/>
                <a:gd name="T21" fmla="*/ 2147483647 h 111"/>
                <a:gd name="T22" fmla="*/ 2147483647 w 106"/>
                <a:gd name="T23" fmla="*/ 2147483647 h 111"/>
                <a:gd name="T24" fmla="*/ 2147483647 w 106"/>
                <a:gd name="T25" fmla="*/ 0 h 111"/>
                <a:gd name="T26" fmla="*/ 2147483647 w 106"/>
                <a:gd name="T27" fmla="*/ 2147483647 h 111"/>
                <a:gd name="T28" fmla="*/ 0 w 106"/>
                <a:gd name="T29" fmla="*/ 2147483647 h 1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6" h="111">
                  <a:moveTo>
                    <a:pt x="0" y="46"/>
                  </a:moveTo>
                  <a:lnTo>
                    <a:pt x="18" y="56"/>
                  </a:lnTo>
                  <a:lnTo>
                    <a:pt x="31" y="90"/>
                  </a:lnTo>
                  <a:lnTo>
                    <a:pt x="42" y="79"/>
                  </a:lnTo>
                  <a:lnTo>
                    <a:pt x="87" y="111"/>
                  </a:lnTo>
                  <a:lnTo>
                    <a:pt x="106" y="100"/>
                  </a:lnTo>
                  <a:lnTo>
                    <a:pt x="92" y="67"/>
                  </a:lnTo>
                  <a:lnTo>
                    <a:pt x="100" y="79"/>
                  </a:lnTo>
                  <a:lnTo>
                    <a:pt x="106" y="34"/>
                  </a:lnTo>
                  <a:lnTo>
                    <a:pt x="87" y="11"/>
                  </a:lnTo>
                  <a:lnTo>
                    <a:pt x="62" y="46"/>
                  </a:lnTo>
                  <a:lnTo>
                    <a:pt x="81" y="23"/>
                  </a:lnTo>
                  <a:lnTo>
                    <a:pt x="68" y="0"/>
                  </a:lnTo>
                  <a:lnTo>
                    <a:pt x="31" y="11"/>
                  </a:lnTo>
                  <a:lnTo>
                    <a:pt x="0" y="4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39" name="Freeform 666"/>
            <p:cNvSpPr>
              <a:spLocks/>
            </p:cNvSpPr>
            <p:nvPr>
              <p:custDataLst>
                <p:tags r:id="rId547"/>
              </p:custDataLst>
            </p:nvPr>
          </p:nvSpPr>
          <p:spPr bwMode="auto">
            <a:xfrm>
              <a:off x="8693581" y="2128408"/>
              <a:ext cx="196480" cy="88900"/>
            </a:xfrm>
            <a:custGeom>
              <a:avLst/>
              <a:gdLst>
                <a:gd name="T0" fmla="*/ 0 w 106"/>
                <a:gd name="T1" fmla="*/ 2147483647 h 111"/>
                <a:gd name="T2" fmla="*/ 2147483647 w 106"/>
                <a:gd name="T3" fmla="*/ 2147483647 h 111"/>
                <a:gd name="T4" fmla="*/ 2147483647 w 106"/>
                <a:gd name="T5" fmla="*/ 2147483647 h 111"/>
                <a:gd name="T6" fmla="*/ 2147483647 w 106"/>
                <a:gd name="T7" fmla="*/ 2147483647 h 111"/>
                <a:gd name="T8" fmla="*/ 2147483647 w 106"/>
                <a:gd name="T9" fmla="*/ 2147483647 h 111"/>
                <a:gd name="T10" fmla="*/ 2147483647 w 106"/>
                <a:gd name="T11" fmla="*/ 2147483647 h 111"/>
                <a:gd name="T12" fmla="*/ 2147483647 w 106"/>
                <a:gd name="T13" fmla="*/ 2147483647 h 111"/>
                <a:gd name="T14" fmla="*/ 2147483647 w 106"/>
                <a:gd name="T15" fmla="*/ 2147483647 h 111"/>
                <a:gd name="T16" fmla="*/ 2147483647 w 106"/>
                <a:gd name="T17" fmla="*/ 2147483647 h 111"/>
                <a:gd name="T18" fmla="*/ 2147483647 w 106"/>
                <a:gd name="T19" fmla="*/ 2147483647 h 111"/>
                <a:gd name="T20" fmla="*/ 2147483647 w 106"/>
                <a:gd name="T21" fmla="*/ 2147483647 h 111"/>
                <a:gd name="T22" fmla="*/ 2147483647 w 106"/>
                <a:gd name="T23" fmla="*/ 2147483647 h 111"/>
                <a:gd name="T24" fmla="*/ 2147483647 w 106"/>
                <a:gd name="T25" fmla="*/ 0 h 111"/>
                <a:gd name="T26" fmla="*/ 2147483647 w 106"/>
                <a:gd name="T27" fmla="*/ 2147483647 h 111"/>
                <a:gd name="T28" fmla="*/ 0 w 106"/>
                <a:gd name="T29" fmla="*/ 2147483647 h 1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6" h="111">
                  <a:moveTo>
                    <a:pt x="0" y="46"/>
                  </a:moveTo>
                  <a:lnTo>
                    <a:pt x="18" y="56"/>
                  </a:lnTo>
                  <a:lnTo>
                    <a:pt x="31" y="90"/>
                  </a:lnTo>
                  <a:lnTo>
                    <a:pt x="42" y="79"/>
                  </a:lnTo>
                  <a:lnTo>
                    <a:pt x="87" y="111"/>
                  </a:lnTo>
                  <a:lnTo>
                    <a:pt x="106" y="100"/>
                  </a:lnTo>
                  <a:lnTo>
                    <a:pt x="92" y="67"/>
                  </a:lnTo>
                  <a:lnTo>
                    <a:pt x="100" y="79"/>
                  </a:lnTo>
                  <a:lnTo>
                    <a:pt x="106" y="34"/>
                  </a:lnTo>
                  <a:lnTo>
                    <a:pt x="87" y="11"/>
                  </a:lnTo>
                  <a:lnTo>
                    <a:pt x="62" y="46"/>
                  </a:lnTo>
                  <a:lnTo>
                    <a:pt x="81" y="23"/>
                  </a:lnTo>
                  <a:lnTo>
                    <a:pt x="68" y="0"/>
                  </a:lnTo>
                  <a:lnTo>
                    <a:pt x="31" y="11"/>
                  </a:lnTo>
                  <a:lnTo>
                    <a:pt x="0" y="4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40" name="Freeform 667"/>
            <p:cNvSpPr>
              <a:spLocks/>
            </p:cNvSpPr>
            <p:nvPr>
              <p:custDataLst>
                <p:tags r:id="rId548"/>
              </p:custDataLst>
            </p:nvPr>
          </p:nvSpPr>
          <p:spPr bwMode="auto">
            <a:xfrm>
              <a:off x="8693581" y="2128408"/>
              <a:ext cx="196480" cy="88900"/>
            </a:xfrm>
            <a:custGeom>
              <a:avLst/>
              <a:gdLst>
                <a:gd name="T0" fmla="*/ 0 w 106"/>
                <a:gd name="T1" fmla="*/ 2147483647 h 111"/>
                <a:gd name="T2" fmla="*/ 2147483647 w 106"/>
                <a:gd name="T3" fmla="*/ 2147483647 h 111"/>
                <a:gd name="T4" fmla="*/ 2147483647 w 106"/>
                <a:gd name="T5" fmla="*/ 2147483647 h 111"/>
                <a:gd name="T6" fmla="*/ 2147483647 w 106"/>
                <a:gd name="T7" fmla="*/ 2147483647 h 111"/>
                <a:gd name="T8" fmla="*/ 2147483647 w 106"/>
                <a:gd name="T9" fmla="*/ 2147483647 h 111"/>
                <a:gd name="T10" fmla="*/ 2147483647 w 106"/>
                <a:gd name="T11" fmla="*/ 2147483647 h 111"/>
                <a:gd name="T12" fmla="*/ 2147483647 w 106"/>
                <a:gd name="T13" fmla="*/ 2147483647 h 111"/>
                <a:gd name="T14" fmla="*/ 2147483647 w 106"/>
                <a:gd name="T15" fmla="*/ 2147483647 h 111"/>
                <a:gd name="T16" fmla="*/ 2147483647 w 106"/>
                <a:gd name="T17" fmla="*/ 2147483647 h 111"/>
                <a:gd name="T18" fmla="*/ 2147483647 w 106"/>
                <a:gd name="T19" fmla="*/ 2147483647 h 111"/>
                <a:gd name="T20" fmla="*/ 2147483647 w 106"/>
                <a:gd name="T21" fmla="*/ 2147483647 h 111"/>
                <a:gd name="T22" fmla="*/ 2147483647 w 106"/>
                <a:gd name="T23" fmla="*/ 2147483647 h 111"/>
                <a:gd name="T24" fmla="*/ 2147483647 w 106"/>
                <a:gd name="T25" fmla="*/ 0 h 111"/>
                <a:gd name="T26" fmla="*/ 2147483647 w 106"/>
                <a:gd name="T27" fmla="*/ 2147483647 h 111"/>
                <a:gd name="T28" fmla="*/ 0 w 106"/>
                <a:gd name="T29" fmla="*/ 2147483647 h 11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06" h="111">
                  <a:moveTo>
                    <a:pt x="0" y="46"/>
                  </a:moveTo>
                  <a:lnTo>
                    <a:pt x="18" y="56"/>
                  </a:lnTo>
                  <a:lnTo>
                    <a:pt x="31" y="90"/>
                  </a:lnTo>
                  <a:lnTo>
                    <a:pt x="42" y="79"/>
                  </a:lnTo>
                  <a:lnTo>
                    <a:pt x="87" y="111"/>
                  </a:lnTo>
                  <a:lnTo>
                    <a:pt x="106" y="100"/>
                  </a:lnTo>
                  <a:lnTo>
                    <a:pt x="92" y="67"/>
                  </a:lnTo>
                  <a:lnTo>
                    <a:pt x="100" y="79"/>
                  </a:lnTo>
                  <a:lnTo>
                    <a:pt x="106" y="34"/>
                  </a:lnTo>
                  <a:lnTo>
                    <a:pt x="87" y="11"/>
                  </a:lnTo>
                  <a:lnTo>
                    <a:pt x="62" y="46"/>
                  </a:lnTo>
                  <a:lnTo>
                    <a:pt x="81" y="23"/>
                  </a:lnTo>
                  <a:lnTo>
                    <a:pt x="68" y="0"/>
                  </a:lnTo>
                  <a:lnTo>
                    <a:pt x="31" y="11"/>
                  </a:lnTo>
                  <a:lnTo>
                    <a:pt x="0" y="4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41" name="Freeform 668"/>
            <p:cNvSpPr>
              <a:spLocks/>
            </p:cNvSpPr>
            <p:nvPr>
              <p:custDataLst>
                <p:tags r:id="rId549"/>
              </p:custDataLst>
            </p:nvPr>
          </p:nvSpPr>
          <p:spPr bwMode="auto">
            <a:xfrm>
              <a:off x="8878033" y="2174474"/>
              <a:ext cx="170416" cy="79375"/>
            </a:xfrm>
            <a:custGeom>
              <a:avLst/>
              <a:gdLst>
                <a:gd name="T0" fmla="*/ 0 w 93"/>
                <a:gd name="T1" fmla="*/ 2147483647 h 99"/>
                <a:gd name="T2" fmla="*/ 2147483647 w 93"/>
                <a:gd name="T3" fmla="*/ 2147483647 h 99"/>
                <a:gd name="T4" fmla="*/ 2147483647 w 93"/>
                <a:gd name="T5" fmla="*/ 2147483647 h 99"/>
                <a:gd name="T6" fmla="*/ 2147483647 w 93"/>
                <a:gd name="T7" fmla="*/ 2147483647 h 99"/>
                <a:gd name="T8" fmla="*/ 2147483647 w 93"/>
                <a:gd name="T9" fmla="*/ 2147483647 h 99"/>
                <a:gd name="T10" fmla="*/ 2147483647 w 93"/>
                <a:gd name="T11" fmla="*/ 2147483647 h 99"/>
                <a:gd name="T12" fmla="*/ 2147483647 w 93"/>
                <a:gd name="T13" fmla="*/ 2147483647 h 99"/>
                <a:gd name="T14" fmla="*/ 2147483647 w 93"/>
                <a:gd name="T15" fmla="*/ 0 h 99"/>
                <a:gd name="T16" fmla="*/ 2147483647 w 93"/>
                <a:gd name="T17" fmla="*/ 2147483647 h 99"/>
                <a:gd name="T18" fmla="*/ 0 w 93"/>
                <a:gd name="T19" fmla="*/ 2147483647 h 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3" h="99">
                  <a:moveTo>
                    <a:pt x="0" y="88"/>
                  </a:moveTo>
                  <a:lnTo>
                    <a:pt x="6" y="99"/>
                  </a:lnTo>
                  <a:lnTo>
                    <a:pt x="87" y="78"/>
                  </a:lnTo>
                  <a:lnTo>
                    <a:pt x="93" y="55"/>
                  </a:lnTo>
                  <a:lnTo>
                    <a:pt x="75" y="23"/>
                  </a:lnTo>
                  <a:lnTo>
                    <a:pt x="56" y="32"/>
                  </a:lnTo>
                  <a:lnTo>
                    <a:pt x="56" y="9"/>
                  </a:lnTo>
                  <a:lnTo>
                    <a:pt x="50" y="0"/>
                  </a:lnTo>
                  <a:lnTo>
                    <a:pt x="12" y="7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42" name="Freeform 669"/>
            <p:cNvSpPr>
              <a:spLocks/>
            </p:cNvSpPr>
            <p:nvPr>
              <p:custDataLst>
                <p:tags r:id="rId550"/>
              </p:custDataLst>
            </p:nvPr>
          </p:nvSpPr>
          <p:spPr bwMode="auto">
            <a:xfrm>
              <a:off x="8878033" y="2174474"/>
              <a:ext cx="170416" cy="79375"/>
            </a:xfrm>
            <a:custGeom>
              <a:avLst/>
              <a:gdLst>
                <a:gd name="T0" fmla="*/ 0 w 93"/>
                <a:gd name="T1" fmla="*/ 2147483647 h 99"/>
                <a:gd name="T2" fmla="*/ 2147483647 w 93"/>
                <a:gd name="T3" fmla="*/ 2147483647 h 99"/>
                <a:gd name="T4" fmla="*/ 2147483647 w 93"/>
                <a:gd name="T5" fmla="*/ 2147483647 h 99"/>
                <a:gd name="T6" fmla="*/ 2147483647 w 93"/>
                <a:gd name="T7" fmla="*/ 2147483647 h 99"/>
                <a:gd name="T8" fmla="*/ 2147483647 w 93"/>
                <a:gd name="T9" fmla="*/ 2147483647 h 99"/>
                <a:gd name="T10" fmla="*/ 2147483647 w 93"/>
                <a:gd name="T11" fmla="*/ 2147483647 h 99"/>
                <a:gd name="T12" fmla="*/ 2147483647 w 93"/>
                <a:gd name="T13" fmla="*/ 2147483647 h 99"/>
                <a:gd name="T14" fmla="*/ 2147483647 w 93"/>
                <a:gd name="T15" fmla="*/ 0 h 99"/>
                <a:gd name="T16" fmla="*/ 2147483647 w 93"/>
                <a:gd name="T17" fmla="*/ 2147483647 h 99"/>
                <a:gd name="T18" fmla="*/ 0 w 93"/>
                <a:gd name="T19" fmla="*/ 2147483647 h 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3" h="99">
                  <a:moveTo>
                    <a:pt x="0" y="88"/>
                  </a:moveTo>
                  <a:lnTo>
                    <a:pt x="6" y="99"/>
                  </a:lnTo>
                  <a:lnTo>
                    <a:pt x="87" y="78"/>
                  </a:lnTo>
                  <a:lnTo>
                    <a:pt x="93" y="55"/>
                  </a:lnTo>
                  <a:lnTo>
                    <a:pt x="75" y="23"/>
                  </a:lnTo>
                  <a:lnTo>
                    <a:pt x="56" y="32"/>
                  </a:lnTo>
                  <a:lnTo>
                    <a:pt x="56" y="9"/>
                  </a:lnTo>
                  <a:lnTo>
                    <a:pt x="50" y="0"/>
                  </a:lnTo>
                  <a:lnTo>
                    <a:pt x="12" y="78"/>
                  </a:lnTo>
                  <a:lnTo>
                    <a:pt x="0" y="88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43" name="Freeform 670"/>
            <p:cNvSpPr>
              <a:spLocks/>
            </p:cNvSpPr>
            <p:nvPr>
              <p:custDataLst>
                <p:tags r:id="rId551"/>
              </p:custDataLst>
            </p:nvPr>
          </p:nvSpPr>
          <p:spPr bwMode="auto">
            <a:xfrm>
              <a:off x="8878033" y="2174474"/>
              <a:ext cx="170416" cy="79375"/>
            </a:xfrm>
            <a:custGeom>
              <a:avLst/>
              <a:gdLst>
                <a:gd name="T0" fmla="*/ 0 w 93"/>
                <a:gd name="T1" fmla="*/ 2147483647 h 99"/>
                <a:gd name="T2" fmla="*/ 2147483647 w 93"/>
                <a:gd name="T3" fmla="*/ 2147483647 h 99"/>
                <a:gd name="T4" fmla="*/ 2147483647 w 93"/>
                <a:gd name="T5" fmla="*/ 2147483647 h 99"/>
                <a:gd name="T6" fmla="*/ 2147483647 w 93"/>
                <a:gd name="T7" fmla="*/ 2147483647 h 99"/>
                <a:gd name="T8" fmla="*/ 2147483647 w 93"/>
                <a:gd name="T9" fmla="*/ 2147483647 h 99"/>
                <a:gd name="T10" fmla="*/ 2147483647 w 93"/>
                <a:gd name="T11" fmla="*/ 2147483647 h 99"/>
                <a:gd name="T12" fmla="*/ 2147483647 w 93"/>
                <a:gd name="T13" fmla="*/ 2147483647 h 99"/>
                <a:gd name="T14" fmla="*/ 2147483647 w 93"/>
                <a:gd name="T15" fmla="*/ 0 h 99"/>
                <a:gd name="T16" fmla="*/ 2147483647 w 93"/>
                <a:gd name="T17" fmla="*/ 2147483647 h 99"/>
                <a:gd name="T18" fmla="*/ 0 w 93"/>
                <a:gd name="T19" fmla="*/ 2147483647 h 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3" h="99">
                  <a:moveTo>
                    <a:pt x="0" y="88"/>
                  </a:moveTo>
                  <a:lnTo>
                    <a:pt x="6" y="99"/>
                  </a:lnTo>
                  <a:lnTo>
                    <a:pt x="87" y="78"/>
                  </a:lnTo>
                  <a:lnTo>
                    <a:pt x="93" y="55"/>
                  </a:lnTo>
                  <a:lnTo>
                    <a:pt x="75" y="23"/>
                  </a:lnTo>
                  <a:lnTo>
                    <a:pt x="56" y="32"/>
                  </a:lnTo>
                  <a:lnTo>
                    <a:pt x="56" y="9"/>
                  </a:lnTo>
                  <a:lnTo>
                    <a:pt x="50" y="0"/>
                  </a:lnTo>
                  <a:lnTo>
                    <a:pt x="12" y="78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44" name="Freeform 671"/>
            <p:cNvSpPr>
              <a:spLocks/>
            </p:cNvSpPr>
            <p:nvPr>
              <p:custDataLst>
                <p:tags r:id="rId552"/>
              </p:custDataLst>
            </p:nvPr>
          </p:nvSpPr>
          <p:spPr bwMode="auto">
            <a:xfrm>
              <a:off x="8878033" y="2174474"/>
              <a:ext cx="170416" cy="79375"/>
            </a:xfrm>
            <a:custGeom>
              <a:avLst/>
              <a:gdLst>
                <a:gd name="T0" fmla="*/ 0 w 93"/>
                <a:gd name="T1" fmla="*/ 2147483647 h 99"/>
                <a:gd name="T2" fmla="*/ 2147483647 w 93"/>
                <a:gd name="T3" fmla="*/ 2147483647 h 99"/>
                <a:gd name="T4" fmla="*/ 2147483647 w 93"/>
                <a:gd name="T5" fmla="*/ 2147483647 h 99"/>
                <a:gd name="T6" fmla="*/ 2147483647 w 93"/>
                <a:gd name="T7" fmla="*/ 2147483647 h 99"/>
                <a:gd name="T8" fmla="*/ 2147483647 w 93"/>
                <a:gd name="T9" fmla="*/ 2147483647 h 99"/>
                <a:gd name="T10" fmla="*/ 2147483647 w 93"/>
                <a:gd name="T11" fmla="*/ 2147483647 h 99"/>
                <a:gd name="T12" fmla="*/ 2147483647 w 93"/>
                <a:gd name="T13" fmla="*/ 2147483647 h 99"/>
                <a:gd name="T14" fmla="*/ 2147483647 w 93"/>
                <a:gd name="T15" fmla="*/ 0 h 99"/>
                <a:gd name="T16" fmla="*/ 2147483647 w 93"/>
                <a:gd name="T17" fmla="*/ 2147483647 h 99"/>
                <a:gd name="T18" fmla="*/ 0 w 93"/>
                <a:gd name="T19" fmla="*/ 2147483647 h 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93" h="99">
                  <a:moveTo>
                    <a:pt x="0" y="88"/>
                  </a:moveTo>
                  <a:lnTo>
                    <a:pt x="6" y="99"/>
                  </a:lnTo>
                  <a:lnTo>
                    <a:pt x="87" y="78"/>
                  </a:lnTo>
                  <a:lnTo>
                    <a:pt x="93" y="55"/>
                  </a:lnTo>
                  <a:lnTo>
                    <a:pt x="75" y="23"/>
                  </a:lnTo>
                  <a:lnTo>
                    <a:pt x="56" y="32"/>
                  </a:lnTo>
                  <a:lnTo>
                    <a:pt x="56" y="9"/>
                  </a:lnTo>
                  <a:lnTo>
                    <a:pt x="50" y="0"/>
                  </a:lnTo>
                  <a:lnTo>
                    <a:pt x="12" y="78"/>
                  </a:lnTo>
                  <a:lnTo>
                    <a:pt x="0" y="88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45" name="Freeform 672"/>
            <p:cNvSpPr>
              <a:spLocks/>
            </p:cNvSpPr>
            <p:nvPr>
              <p:custDataLst>
                <p:tags r:id="rId553"/>
              </p:custDataLst>
            </p:nvPr>
          </p:nvSpPr>
          <p:spPr bwMode="auto">
            <a:xfrm>
              <a:off x="9952658" y="2350658"/>
              <a:ext cx="184450" cy="80962"/>
            </a:xfrm>
            <a:custGeom>
              <a:avLst/>
              <a:gdLst>
                <a:gd name="T0" fmla="*/ 0 w 100"/>
                <a:gd name="T1" fmla="*/ 2147483647 h 102"/>
                <a:gd name="T2" fmla="*/ 2147483647 w 100"/>
                <a:gd name="T3" fmla="*/ 2147483647 h 102"/>
                <a:gd name="T4" fmla="*/ 2147483647 w 100"/>
                <a:gd name="T5" fmla="*/ 0 h 102"/>
                <a:gd name="T6" fmla="*/ 2147483647 w 100"/>
                <a:gd name="T7" fmla="*/ 2147483647 h 102"/>
                <a:gd name="T8" fmla="*/ 2147483647 w 100"/>
                <a:gd name="T9" fmla="*/ 2147483647 h 102"/>
                <a:gd name="T10" fmla="*/ 2147483647 w 100"/>
                <a:gd name="T11" fmla="*/ 2147483647 h 102"/>
                <a:gd name="T12" fmla="*/ 2147483647 w 100"/>
                <a:gd name="T13" fmla="*/ 2147483647 h 102"/>
                <a:gd name="T14" fmla="*/ 2147483647 w 100"/>
                <a:gd name="T15" fmla="*/ 2147483647 h 102"/>
                <a:gd name="T16" fmla="*/ 2147483647 w 100"/>
                <a:gd name="T17" fmla="*/ 2147483647 h 102"/>
                <a:gd name="T18" fmla="*/ 2147483647 w 100"/>
                <a:gd name="T19" fmla="*/ 2147483647 h 102"/>
                <a:gd name="T20" fmla="*/ 2147483647 w 100"/>
                <a:gd name="T21" fmla="*/ 2147483647 h 102"/>
                <a:gd name="T22" fmla="*/ 0 w 100"/>
                <a:gd name="T23" fmla="*/ 2147483647 h 1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02">
                  <a:moveTo>
                    <a:pt x="0" y="58"/>
                  </a:moveTo>
                  <a:lnTo>
                    <a:pt x="19" y="12"/>
                  </a:lnTo>
                  <a:lnTo>
                    <a:pt x="38" y="0"/>
                  </a:lnTo>
                  <a:lnTo>
                    <a:pt x="57" y="46"/>
                  </a:lnTo>
                  <a:lnTo>
                    <a:pt x="63" y="12"/>
                  </a:lnTo>
                  <a:lnTo>
                    <a:pt x="88" y="35"/>
                  </a:lnTo>
                  <a:lnTo>
                    <a:pt x="88" y="70"/>
                  </a:lnTo>
                  <a:lnTo>
                    <a:pt x="100" y="79"/>
                  </a:lnTo>
                  <a:lnTo>
                    <a:pt x="50" y="91"/>
                  </a:lnTo>
                  <a:lnTo>
                    <a:pt x="45" y="79"/>
                  </a:lnTo>
                  <a:lnTo>
                    <a:pt x="38" y="102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46" name="Freeform 673"/>
            <p:cNvSpPr>
              <a:spLocks/>
            </p:cNvSpPr>
            <p:nvPr>
              <p:custDataLst>
                <p:tags r:id="rId554"/>
              </p:custDataLst>
            </p:nvPr>
          </p:nvSpPr>
          <p:spPr bwMode="auto">
            <a:xfrm>
              <a:off x="9952658" y="2350658"/>
              <a:ext cx="184450" cy="80962"/>
            </a:xfrm>
            <a:custGeom>
              <a:avLst/>
              <a:gdLst>
                <a:gd name="T0" fmla="*/ 0 w 100"/>
                <a:gd name="T1" fmla="*/ 2147483647 h 102"/>
                <a:gd name="T2" fmla="*/ 2147483647 w 100"/>
                <a:gd name="T3" fmla="*/ 2147483647 h 102"/>
                <a:gd name="T4" fmla="*/ 2147483647 w 100"/>
                <a:gd name="T5" fmla="*/ 0 h 102"/>
                <a:gd name="T6" fmla="*/ 2147483647 w 100"/>
                <a:gd name="T7" fmla="*/ 2147483647 h 102"/>
                <a:gd name="T8" fmla="*/ 2147483647 w 100"/>
                <a:gd name="T9" fmla="*/ 2147483647 h 102"/>
                <a:gd name="T10" fmla="*/ 2147483647 w 100"/>
                <a:gd name="T11" fmla="*/ 2147483647 h 102"/>
                <a:gd name="T12" fmla="*/ 2147483647 w 100"/>
                <a:gd name="T13" fmla="*/ 2147483647 h 102"/>
                <a:gd name="T14" fmla="*/ 2147483647 w 100"/>
                <a:gd name="T15" fmla="*/ 2147483647 h 102"/>
                <a:gd name="T16" fmla="*/ 2147483647 w 100"/>
                <a:gd name="T17" fmla="*/ 2147483647 h 102"/>
                <a:gd name="T18" fmla="*/ 2147483647 w 100"/>
                <a:gd name="T19" fmla="*/ 2147483647 h 102"/>
                <a:gd name="T20" fmla="*/ 2147483647 w 100"/>
                <a:gd name="T21" fmla="*/ 2147483647 h 102"/>
                <a:gd name="T22" fmla="*/ 0 w 100"/>
                <a:gd name="T23" fmla="*/ 2147483647 h 1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02">
                  <a:moveTo>
                    <a:pt x="0" y="58"/>
                  </a:moveTo>
                  <a:lnTo>
                    <a:pt x="19" y="12"/>
                  </a:lnTo>
                  <a:lnTo>
                    <a:pt x="38" y="0"/>
                  </a:lnTo>
                  <a:lnTo>
                    <a:pt x="57" y="46"/>
                  </a:lnTo>
                  <a:lnTo>
                    <a:pt x="63" y="12"/>
                  </a:lnTo>
                  <a:lnTo>
                    <a:pt x="88" y="35"/>
                  </a:lnTo>
                  <a:lnTo>
                    <a:pt x="88" y="70"/>
                  </a:lnTo>
                  <a:lnTo>
                    <a:pt x="100" y="79"/>
                  </a:lnTo>
                  <a:lnTo>
                    <a:pt x="50" y="91"/>
                  </a:lnTo>
                  <a:lnTo>
                    <a:pt x="45" y="79"/>
                  </a:lnTo>
                  <a:lnTo>
                    <a:pt x="38" y="102"/>
                  </a:lnTo>
                  <a:lnTo>
                    <a:pt x="0" y="58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47" name="Freeform 674"/>
            <p:cNvSpPr>
              <a:spLocks/>
            </p:cNvSpPr>
            <p:nvPr>
              <p:custDataLst>
                <p:tags r:id="rId555"/>
              </p:custDataLst>
            </p:nvPr>
          </p:nvSpPr>
          <p:spPr bwMode="auto">
            <a:xfrm>
              <a:off x="9952658" y="2350658"/>
              <a:ext cx="184450" cy="80962"/>
            </a:xfrm>
            <a:custGeom>
              <a:avLst/>
              <a:gdLst>
                <a:gd name="T0" fmla="*/ 0 w 100"/>
                <a:gd name="T1" fmla="*/ 2147483647 h 102"/>
                <a:gd name="T2" fmla="*/ 2147483647 w 100"/>
                <a:gd name="T3" fmla="*/ 2147483647 h 102"/>
                <a:gd name="T4" fmla="*/ 2147483647 w 100"/>
                <a:gd name="T5" fmla="*/ 0 h 102"/>
                <a:gd name="T6" fmla="*/ 2147483647 w 100"/>
                <a:gd name="T7" fmla="*/ 2147483647 h 102"/>
                <a:gd name="T8" fmla="*/ 2147483647 w 100"/>
                <a:gd name="T9" fmla="*/ 2147483647 h 102"/>
                <a:gd name="T10" fmla="*/ 2147483647 w 100"/>
                <a:gd name="T11" fmla="*/ 2147483647 h 102"/>
                <a:gd name="T12" fmla="*/ 2147483647 w 100"/>
                <a:gd name="T13" fmla="*/ 2147483647 h 102"/>
                <a:gd name="T14" fmla="*/ 2147483647 w 100"/>
                <a:gd name="T15" fmla="*/ 2147483647 h 102"/>
                <a:gd name="T16" fmla="*/ 2147483647 w 100"/>
                <a:gd name="T17" fmla="*/ 2147483647 h 102"/>
                <a:gd name="T18" fmla="*/ 2147483647 w 100"/>
                <a:gd name="T19" fmla="*/ 2147483647 h 102"/>
                <a:gd name="T20" fmla="*/ 2147483647 w 100"/>
                <a:gd name="T21" fmla="*/ 2147483647 h 102"/>
                <a:gd name="T22" fmla="*/ 0 w 100"/>
                <a:gd name="T23" fmla="*/ 2147483647 h 1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02">
                  <a:moveTo>
                    <a:pt x="0" y="58"/>
                  </a:moveTo>
                  <a:lnTo>
                    <a:pt x="19" y="12"/>
                  </a:lnTo>
                  <a:lnTo>
                    <a:pt x="38" y="0"/>
                  </a:lnTo>
                  <a:lnTo>
                    <a:pt x="57" y="46"/>
                  </a:lnTo>
                  <a:lnTo>
                    <a:pt x="63" y="12"/>
                  </a:lnTo>
                  <a:lnTo>
                    <a:pt x="88" y="35"/>
                  </a:lnTo>
                  <a:lnTo>
                    <a:pt x="88" y="70"/>
                  </a:lnTo>
                  <a:lnTo>
                    <a:pt x="100" y="79"/>
                  </a:lnTo>
                  <a:lnTo>
                    <a:pt x="50" y="91"/>
                  </a:lnTo>
                  <a:lnTo>
                    <a:pt x="45" y="79"/>
                  </a:lnTo>
                  <a:lnTo>
                    <a:pt x="38" y="102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48" name="Freeform 675"/>
            <p:cNvSpPr>
              <a:spLocks/>
            </p:cNvSpPr>
            <p:nvPr>
              <p:custDataLst>
                <p:tags r:id="rId556"/>
              </p:custDataLst>
            </p:nvPr>
          </p:nvSpPr>
          <p:spPr bwMode="auto">
            <a:xfrm>
              <a:off x="9952658" y="2350658"/>
              <a:ext cx="184450" cy="80962"/>
            </a:xfrm>
            <a:custGeom>
              <a:avLst/>
              <a:gdLst>
                <a:gd name="T0" fmla="*/ 0 w 100"/>
                <a:gd name="T1" fmla="*/ 2147483647 h 102"/>
                <a:gd name="T2" fmla="*/ 2147483647 w 100"/>
                <a:gd name="T3" fmla="*/ 2147483647 h 102"/>
                <a:gd name="T4" fmla="*/ 2147483647 w 100"/>
                <a:gd name="T5" fmla="*/ 0 h 102"/>
                <a:gd name="T6" fmla="*/ 2147483647 w 100"/>
                <a:gd name="T7" fmla="*/ 2147483647 h 102"/>
                <a:gd name="T8" fmla="*/ 2147483647 w 100"/>
                <a:gd name="T9" fmla="*/ 2147483647 h 102"/>
                <a:gd name="T10" fmla="*/ 2147483647 w 100"/>
                <a:gd name="T11" fmla="*/ 2147483647 h 102"/>
                <a:gd name="T12" fmla="*/ 2147483647 w 100"/>
                <a:gd name="T13" fmla="*/ 2147483647 h 102"/>
                <a:gd name="T14" fmla="*/ 2147483647 w 100"/>
                <a:gd name="T15" fmla="*/ 2147483647 h 102"/>
                <a:gd name="T16" fmla="*/ 2147483647 w 100"/>
                <a:gd name="T17" fmla="*/ 2147483647 h 102"/>
                <a:gd name="T18" fmla="*/ 2147483647 w 100"/>
                <a:gd name="T19" fmla="*/ 2147483647 h 102"/>
                <a:gd name="T20" fmla="*/ 2147483647 w 100"/>
                <a:gd name="T21" fmla="*/ 2147483647 h 102"/>
                <a:gd name="T22" fmla="*/ 0 w 100"/>
                <a:gd name="T23" fmla="*/ 2147483647 h 10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0" h="102">
                  <a:moveTo>
                    <a:pt x="0" y="58"/>
                  </a:moveTo>
                  <a:lnTo>
                    <a:pt x="19" y="12"/>
                  </a:lnTo>
                  <a:lnTo>
                    <a:pt x="38" y="0"/>
                  </a:lnTo>
                  <a:lnTo>
                    <a:pt x="57" y="46"/>
                  </a:lnTo>
                  <a:lnTo>
                    <a:pt x="63" y="12"/>
                  </a:lnTo>
                  <a:lnTo>
                    <a:pt x="88" y="35"/>
                  </a:lnTo>
                  <a:lnTo>
                    <a:pt x="88" y="70"/>
                  </a:lnTo>
                  <a:lnTo>
                    <a:pt x="100" y="79"/>
                  </a:lnTo>
                  <a:lnTo>
                    <a:pt x="50" y="91"/>
                  </a:lnTo>
                  <a:lnTo>
                    <a:pt x="45" y="79"/>
                  </a:lnTo>
                  <a:lnTo>
                    <a:pt x="38" y="102"/>
                  </a:lnTo>
                  <a:lnTo>
                    <a:pt x="0" y="58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49" name="Freeform 676"/>
            <p:cNvSpPr>
              <a:spLocks/>
            </p:cNvSpPr>
            <p:nvPr>
              <p:custDataLst>
                <p:tags r:id="rId557"/>
              </p:custDataLst>
            </p:nvPr>
          </p:nvSpPr>
          <p:spPr bwMode="auto">
            <a:xfrm>
              <a:off x="10080978" y="2357033"/>
              <a:ext cx="128313" cy="47625"/>
            </a:xfrm>
            <a:custGeom>
              <a:avLst/>
              <a:gdLst>
                <a:gd name="T0" fmla="*/ 0 w 70"/>
                <a:gd name="T1" fmla="*/ 0 h 60"/>
                <a:gd name="T2" fmla="*/ 2147483647 w 70"/>
                <a:gd name="T3" fmla="*/ 2147483647 h 60"/>
                <a:gd name="T4" fmla="*/ 2147483647 w 70"/>
                <a:gd name="T5" fmla="*/ 2147483647 h 60"/>
                <a:gd name="T6" fmla="*/ 2147483647 w 70"/>
                <a:gd name="T7" fmla="*/ 2147483647 h 60"/>
                <a:gd name="T8" fmla="*/ 2147483647 w 70"/>
                <a:gd name="T9" fmla="*/ 2147483647 h 60"/>
                <a:gd name="T10" fmla="*/ 2147483647 w 70"/>
                <a:gd name="T11" fmla="*/ 2147483647 h 60"/>
                <a:gd name="T12" fmla="*/ 0 w 70"/>
                <a:gd name="T13" fmla="*/ 0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0" h="60">
                  <a:moveTo>
                    <a:pt x="0" y="0"/>
                  </a:moveTo>
                  <a:lnTo>
                    <a:pt x="26" y="25"/>
                  </a:lnTo>
                  <a:lnTo>
                    <a:pt x="19" y="48"/>
                  </a:lnTo>
                  <a:lnTo>
                    <a:pt x="31" y="60"/>
                  </a:lnTo>
                  <a:lnTo>
                    <a:pt x="50" y="60"/>
                  </a:lnTo>
                  <a:lnTo>
                    <a:pt x="7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50" name="Freeform 677"/>
            <p:cNvSpPr>
              <a:spLocks/>
            </p:cNvSpPr>
            <p:nvPr>
              <p:custDataLst>
                <p:tags r:id="rId558"/>
              </p:custDataLst>
            </p:nvPr>
          </p:nvSpPr>
          <p:spPr bwMode="auto">
            <a:xfrm>
              <a:off x="10080978" y="2357033"/>
              <a:ext cx="128313" cy="47625"/>
            </a:xfrm>
            <a:custGeom>
              <a:avLst/>
              <a:gdLst>
                <a:gd name="T0" fmla="*/ 0 w 70"/>
                <a:gd name="T1" fmla="*/ 0 h 60"/>
                <a:gd name="T2" fmla="*/ 2147483647 w 70"/>
                <a:gd name="T3" fmla="*/ 2147483647 h 60"/>
                <a:gd name="T4" fmla="*/ 2147483647 w 70"/>
                <a:gd name="T5" fmla="*/ 2147483647 h 60"/>
                <a:gd name="T6" fmla="*/ 2147483647 w 70"/>
                <a:gd name="T7" fmla="*/ 2147483647 h 60"/>
                <a:gd name="T8" fmla="*/ 2147483647 w 70"/>
                <a:gd name="T9" fmla="*/ 2147483647 h 60"/>
                <a:gd name="T10" fmla="*/ 2147483647 w 70"/>
                <a:gd name="T11" fmla="*/ 2147483647 h 60"/>
                <a:gd name="T12" fmla="*/ 0 w 70"/>
                <a:gd name="T13" fmla="*/ 0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0" h="60">
                  <a:moveTo>
                    <a:pt x="0" y="0"/>
                  </a:moveTo>
                  <a:lnTo>
                    <a:pt x="26" y="25"/>
                  </a:lnTo>
                  <a:lnTo>
                    <a:pt x="19" y="48"/>
                  </a:lnTo>
                  <a:lnTo>
                    <a:pt x="31" y="60"/>
                  </a:lnTo>
                  <a:lnTo>
                    <a:pt x="50" y="60"/>
                  </a:lnTo>
                  <a:lnTo>
                    <a:pt x="70" y="35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51" name="Freeform 678"/>
            <p:cNvSpPr>
              <a:spLocks/>
            </p:cNvSpPr>
            <p:nvPr>
              <p:custDataLst>
                <p:tags r:id="rId559"/>
              </p:custDataLst>
            </p:nvPr>
          </p:nvSpPr>
          <p:spPr bwMode="auto">
            <a:xfrm>
              <a:off x="10080978" y="2357033"/>
              <a:ext cx="128313" cy="47625"/>
            </a:xfrm>
            <a:custGeom>
              <a:avLst/>
              <a:gdLst>
                <a:gd name="T0" fmla="*/ 0 w 70"/>
                <a:gd name="T1" fmla="*/ 0 h 60"/>
                <a:gd name="T2" fmla="*/ 2147483647 w 70"/>
                <a:gd name="T3" fmla="*/ 2147483647 h 60"/>
                <a:gd name="T4" fmla="*/ 2147483647 w 70"/>
                <a:gd name="T5" fmla="*/ 2147483647 h 60"/>
                <a:gd name="T6" fmla="*/ 2147483647 w 70"/>
                <a:gd name="T7" fmla="*/ 2147483647 h 60"/>
                <a:gd name="T8" fmla="*/ 2147483647 w 70"/>
                <a:gd name="T9" fmla="*/ 2147483647 h 60"/>
                <a:gd name="T10" fmla="*/ 2147483647 w 70"/>
                <a:gd name="T11" fmla="*/ 2147483647 h 60"/>
                <a:gd name="T12" fmla="*/ 0 w 70"/>
                <a:gd name="T13" fmla="*/ 0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0" h="60">
                  <a:moveTo>
                    <a:pt x="0" y="0"/>
                  </a:moveTo>
                  <a:lnTo>
                    <a:pt x="26" y="25"/>
                  </a:lnTo>
                  <a:lnTo>
                    <a:pt x="19" y="48"/>
                  </a:lnTo>
                  <a:lnTo>
                    <a:pt x="31" y="60"/>
                  </a:lnTo>
                  <a:lnTo>
                    <a:pt x="50" y="60"/>
                  </a:lnTo>
                  <a:lnTo>
                    <a:pt x="70" y="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52" name="Freeform 679"/>
            <p:cNvSpPr>
              <a:spLocks/>
            </p:cNvSpPr>
            <p:nvPr>
              <p:custDataLst>
                <p:tags r:id="rId560"/>
              </p:custDataLst>
            </p:nvPr>
          </p:nvSpPr>
          <p:spPr bwMode="auto">
            <a:xfrm>
              <a:off x="10080978" y="2357033"/>
              <a:ext cx="128313" cy="47625"/>
            </a:xfrm>
            <a:custGeom>
              <a:avLst/>
              <a:gdLst>
                <a:gd name="T0" fmla="*/ 0 w 70"/>
                <a:gd name="T1" fmla="*/ 0 h 60"/>
                <a:gd name="T2" fmla="*/ 2147483647 w 70"/>
                <a:gd name="T3" fmla="*/ 2147483647 h 60"/>
                <a:gd name="T4" fmla="*/ 2147483647 w 70"/>
                <a:gd name="T5" fmla="*/ 2147483647 h 60"/>
                <a:gd name="T6" fmla="*/ 2147483647 w 70"/>
                <a:gd name="T7" fmla="*/ 2147483647 h 60"/>
                <a:gd name="T8" fmla="*/ 2147483647 w 70"/>
                <a:gd name="T9" fmla="*/ 2147483647 h 60"/>
                <a:gd name="T10" fmla="*/ 2147483647 w 70"/>
                <a:gd name="T11" fmla="*/ 2147483647 h 60"/>
                <a:gd name="T12" fmla="*/ 0 w 70"/>
                <a:gd name="T13" fmla="*/ 0 h 6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70" h="60">
                  <a:moveTo>
                    <a:pt x="0" y="0"/>
                  </a:moveTo>
                  <a:lnTo>
                    <a:pt x="26" y="25"/>
                  </a:lnTo>
                  <a:lnTo>
                    <a:pt x="19" y="48"/>
                  </a:lnTo>
                  <a:lnTo>
                    <a:pt x="31" y="60"/>
                  </a:lnTo>
                  <a:lnTo>
                    <a:pt x="50" y="60"/>
                  </a:lnTo>
                  <a:lnTo>
                    <a:pt x="70" y="35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53" name="Freeform 680"/>
            <p:cNvSpPr>
              <a:spLocks/>
            </p:cNvSpPr>
            <p:nvPr>
              <p:custDataLst>
                <p:tags r:id="rId561"/>
              </p:custDataLst>
            </p:nvPr>
          </p:nvSpPr>
          <p:spPr bwMode="auto">
            <a:xfrm>
              <a:off x="10092998" y="3269820"/>
              <a:ext cx="92225" cy="274638"/>
            </a:xfrm>
            <a:custGeom>
              <a:avLst/>
              <a:gdLst>
                <a:gd name="T0" fmla="*/ 0 w 50"/>
                <a:gd name="T1" fmla="*/ 2147483647 h 346"/>
                <a:gd name="T2" fmla="*/ 2147483647 w 50"/>
                <a:gd name="T3" fmla="*/ 2147483647 h 346"/>
                <a:gd name="T4" fmla="*/ 2147483647 w 50"/>
                <a:gd name="T5" fmla="*/ 2147483647 h 346"/>
                <a:gd name="T6" fmla="*/ 2147483647 w 50"/>
                <a:gd name="T7" fmla="*/ 2147483647 h 346"/>
                <a:gd name="T8" fmla="*/ 2147483647 w 50"/>
                <a:gd name="T9" fmla="*/ 2147483647 h 346"/>
                <a:gd name="T10" fmla="*/ 2147483647 w 50"/>
                <a:gd name="T11" fmla="*/ 2147483647 h 346"/>
                <a:gd name="T12" fmla="*/ 2147483647 w 50"/>
                <a:gd name="T13" fmla="*/ 2147483647 h 346"/>
                <a:gd name="T14" fmla="*/ 2147483647 w 50"/>
                <a:gd name="T15" fmla="*/ 2147483647 h 346"/>
                <a:gd name="T16" fmla="*/ 2147483647 w 50"/>
                <a:gd name="T17" fmla="*/ 2147483647 h 346"/>
                <a:gd name="T18" fmla="*/ 2147483647 w 50"/>
                <a:gd name="T19" fmla="*/ 0 h 346"/>
                <a:gd name="T20" fmla="*/ 0 w 50"/>
                <a:gd name="T21" fmla="*/ 2147483647 h 3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0" h="346">
                  <a:moveTo>
                    <a:pt x="0" y="91"/>
                  </a:moveTo>
                  <a:lnTo>
                    <a:pt x="12" y="135"/>
                  </a:lnTo>
                  <a:lnTo>
                    <a:pt x="12" y="346"/>
                  </a:lnTo>
                  <a:lnTo>
                    <a:pt x="19" y="325"/>
                  </a:lnTo>
                  <a:lnTo>
                    <a:pt x="31" y="335"/>
                  </a:lnTo>
                  <a:lnTo>
                    <a:pt x="19" y="279"/>
                  </a:lnTo>
                  <a:lnTo>
                    <a:pt x="25" y="223"/>
                  </a:lnTo>
                  <a:lnTo>
                    <a:pt x="50" y="235"/>
                  </a:lnTo>
                  <a:lnTo>
                    <a:pt x="25" y="123"/>
                  </a:lnTo>
                  <a:lnTo>
                    <a:pt x="19" y="0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54" name="Freeform 681"/>
            <p:cNvSpPr>
              <a:spLocks/>
            </p:cNvSpPr>
            <p:nvPr>
              <p:custDataLst>
                <p:tags r:id="rId562"/>
              </p:custDataLst>
            </p:nvPr>
          </p:nvSpPr>
          <p:spPr bwMode="auto">
            <a:xfrm>
              <a:off x="10092998" y="3269820"/>
              <a:ext cx="92225" cy="274638"/>
            </a:xfrm>
            <a:custGeom>
              <a:avLst/>
              <a:gdLst>
                <a:gd name="T0" fmla="*/ 0 w 50"/>
                <a:gd name="T1" fmla="*/ 2147483647 h 346"/>
                <a:gd name="T2" fmla="*/ 2147483647 w 50"/>
                <a:gd name="T3" fmla="*/ 2147483647 h 346"/>
                <a:gd name="T4" fmla="*/ 2147483647 w 50"/>
                <a:gd name="T5" fmla="*/ 2147483647 h 346"/>
                <a:gd name="T6" fmla="*/ 2147483647 w 50"/>
                <a:gd name="T7" fmla="*/ 2147483647 h 346"/>
                <a:gd name="T8" fmla="*/ 2147483647 w 50"/>
                <a:gd name="T9" fmla="*/ 2147483647 h 346"/>
                <a:gd name="T10" fmla="*/ 2147483647 w 50"/>
                <a:gd name="T11" fmla="*/ 2147483647 h 346"/>
                <a:gd name="T12" fmla="*/ 2147483647 w 50"/>
                <a:gd name="T13" fmla="*/ 2147483647 h 346"/>
                <a:gd name="T14" fmla="*/ 2147483647 w 50"/>
                <a:gd name="T15" fmla="*/ 2147483647 h 346"/>
                <a:gd name="T16" fmla="*/ 2147483647 w 50"/>
                <a:gd name="T17" fmla="*/ 2147483647 h 346"/>
                <a:gd name="T18" fmla="*/ 2147483647 w 50"/>
                <a:gd name="T19" fmla="*/ 0 h 346"/>
                <a:gd name="T20" fmla="*/ 0 w 50"/>
                <a:gd name="T21" fmla="*/ 2147483647 h 3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0" h="346">
                  <a:moveTo>
                    <a:pt x="0" y="91"/>
                  </a:moveTo>
                  <a:lnTo>
                    <a:pt x="12" y="135"/>
                  </a:lnTo>
                  <a:lnTo>
                    <a:pt x="12" y="346"/>
                  </a:lnTo>
                  <a:lnTo>
                    <a:pt x="19" y="325"/>
                  </a:lnTo>
                  <a:lnTo>
                    <a:pt x="31" y="335"/>
                  </a:lnTo>
                  <a:lnTo>
                    <a:pt x="19" y="279"/>
                  </a:lnTo>
                  <a:lnTo>
                    <a:pt x="25" y="223"/>
                  </a:lnTo>
                  <a:lnTo>
                    <a:pt x="50" y="235"/>
                  </a:lnTo>
                  <a:lnTo>
                    <a:pt x="25" y="123"/>
                  </a:lnTo>
                  <a:lnTo>
                    <a:pt x="19" y="0"/>
                  </a:lnTo>
                  <a:lnTo>
                    <a:pt x="0" y="9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55" name="Freeform 682"/>
            <p:cNvSpPr>
              <a:spLocks/>
            </p:cNvSpPr>
            <p:nvPr>
              <p:custDataLst>
                <p:tags r:id="rId563"/>
              </p:custDataLst>
            </p:nvPr>
          </p:nvSpPr>
          <p:spPr bwMode="auto">
            <a:xfrm>
              <a:off x="10092998" y="3269820"/>
              <a:ext cx="92225" cy="274638"/>
            </a:xfrm>
            <a:custGeom>
              <a:avLst/>
              <a:gdLst>
                <a:gd name="T0" fmla="*/ 0 w 50"/>
                <a:gd name="T1" fmla="*/ 2147483647 h 346"/>
                <a:gd name="T2" fmla="*/ 2147483647 w 50"/>
                <a:gd name="T3" fmla="*/ 2147483647 h 346"/>
                <a:gd name="T4" fmla="*/ 2147483647 w 50"/>
                <a:gd name="T5" fmla="*/ 2147483647 h 346"/>
                <a:gd name="T6" fmla="*/ 2147483647 w 50"/>
                <a:gd name="T7" fmla="*/ 2147483647 h 346"/>
                <a:gd name="T8" fmla="*/ 2147483647 w 50"/>
                <a:gd name="T9" fmla="*/ 2147483647 h 346"/>
                <a:gd name="T10" fmla="*/ 2147483647 w 50"/>
                <a:gd name="T11" fmla="*/ 2147483647 h 346"/>
                <a:gd name="T12" fmla="*/ 2147483647 w 50"/>
                <a:gd name="T13" fmla="*/ 2147483647 h 346"/>
                <a:gd name="T14" fmla="*/ 2147483647 w 50"/>
                <a:gd name="T15" fmla="*/ 2147483647 h 346"/>
                <a:gd name="T16" fmla="*/ 2147483647 w 50"/>
                <a:gd name="T17" fmla="*/ 2147483647 h 346"/>
                <a:gd name="T18" fmla="*/ 2147483647 w 50"/>
                <a:gd name="T19" fmla="*/ 0 h 346"/>
                <a:gd name="T20" fmla="*/ 0 w 50"/>
                <a:gd name="T21" fmla="*/ 2147483647 h 3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0" h="346">
                  <a:moveTo>
                    <a:pt x="0" y="91"/>
                  </a:moveTo>
                  <a:lnTo>
                    <a:pt x="12" y="135"/>
                  </a:lnTo>
                  <a:lnTo>
                    <a:pt x="12" y="346"/>
                  </a:lnTo>
                  <a:lnTo>
                    <a:pt x="19" y="325"/>
                  </a:lnTo>
                  <a:lnTo>
                    <a:pt x="31" y="335"/>
                  </a:lnTo>
                  <a:lnTo>
                    <a:pt x="19" y="279"/>
                  </a:lnTo>
                  <a:lnTo>
                    <a:pt x="25" y="223"/>
                  </a:lnTo>
                  <a:lnTo>
                    <a:pt x="50" y="235"/>
                  </a:lnTo>
                  <a:lnTo>
                    <a:pt x="25" y="123"/>
                  </a:lnTo>
                  <a:lnTo>
                    <a:pt x="19" y="0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56" name="Freeform 683"/>
            <p:cNvSpPr>
              <a:spLocks/>
            </p:cNvSpPr>
            <p:nvPr>
              <p:custDataLst>
                <p:tags r:id="rId564"/>
              </p:custDataLst>
            </p:nvPr>
          </p:nvSpPr>
          <p:spPr bwMode="auto">
            <a:xfrm>
              <a:off x="10092998" y="3269820"/>
              <a:ext cx="92225" cy="274638"/>
            </a:xfrm>
            <a:custGeom>
              <a:avLst/>
              <a:gdLst>
                <a:gd name="T0" fmla="*/ 0 w 50"/>
                <a:gd name="T1" fmla="*/ 2147483647 h 346"/>
                <a:gd name="T2" fmla="*/ 2147483647 w 50"/>
                <a:gd name="T3" fmla="*/ 2147483647 h 346"/>
                <a:gd name="T4" fmla="*/ 2147483647 w 50"/>
                <a:gd name="T5" fmla="*/ 2147483647 h 346"/>
                <a:gd name="T6" fmla="*/ 2147483647 w 50"/>
                <a:gd name="T7" fmla="*/ 2147483647 h 346"/>
                <a:gd name="T8" fmla="*/ 2147483647 w 50"/>
                <a:gd name="T9" fmla="*/ 2147483647 h 346"/>
                <a:gd name="T10" fmla="*/ 2147483647 w 50"/>
                <a:gd name="T11" fmla="*/ 2147483647 h 346"/>
                <a:gd name="T12" fmla="*/ 2147483647 w 50"/>
                <a:gd name="T13" fmla="*/ 2147483647 h 346"/>
                <a:gd name="T14" fmla="*/ 2147483647 w 50"/>
                <a:gd name="T15" fmla="*/ 2147483647 h 346"/>
                <a:gd name="T16" fmla="*/ 2147483647 w 50"/>
                <a:gd name="T17" fmla="*/ 2147483647 h 346"/>
                <a:gd name="T18" fmla="*/ 2147483647 w 50"/>
                <a:gd name="T19" fmla="*/ 0 h 346"/>
                <a:gd name="T20" fmla="*/ 0 w 50"/>
                <a:gd name="T21" fmla="*/ 2147483647 h 3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0" h="346">
                  <a:moveTo>
                    <a:pt x="0" y="91"/>
                  </a:moveTo>
                  <a:lnTo>
                    <a:pt x="12" y="135"/>
                  </a:lnTo>
                  <a:lnTo>
                    <a:pt x="12" y="346"/>
                  </a:lnTo>
                  <a:lnTo>
                    <a:pt x="19" y="325"/>
                  </a:lnTo>
                  <a:lnTo>
                    <a:pt x="31" y="335"/>
                  </a:lnTo>
                  <a:lnTo>
                    <a:pt x="19" y="279"/>
                  </a:lnTo>
                  <a:lnTo>
                    <a:pt x="25" y="223"/>
                  </a:lnTo>
                  <a:lnTo>
                    <a:pt x="50" y="235"/>
                  </a:lnTo>
                  <a:lnTo>
                    <a:pt x="25" y="123"/>
                  </a:lnTo>
                  <a:lnTo>
                    <a:pt x="19" y="0"/>
                  </a:lnTo>
                  <a:lnTo>
                    <a:pt x="0" y="9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57" name="Freeform 684"/>
            <p:cNvSpPr>
              <a:spLocks/>
            </p:cNvSpPr>
            <p:nvPr>
              <p:custDataLst>
                <p:tags r:id="rId565"/>
              </p:custDataLst>
            </p:nvPr>
          </p:nvSpPr>
          <p:spPr bwMode="auto">
            <a:xfrm>
              <a:off x="10221332" y="2385611"/>
              <a:ext cx="138337" cy="34925"/>
            </a:xfrm>
            <a:custGeom>
              <a:avLst/>
              <a:gdLst>
                <a:gd name="T0" fmla="*/ 0 w 75"/>
                <a:gd name="T1" fmla="*/ 0 h 44"/>
                <a:gd name="T2" fmla="*/ 2147483647 w 75"/>
                <a:gd name="T3" fmla="*/ 2147483647 h 44"/>
                <a:gd name="T4" fmla="*/ 2147483647 w 75"/>
                <a:gd name="T5" fmla="*/ 2147483647 h 44"/>
                <a:gd name="T6" fmla="*/ 2147483647 w 75"/>
                <a:gd name="T7" fmla="*/ 2147483647 h 44"/>
                <a:gd name="T8" fmla="*/ 0 w 75"/>
                <a:gd name="T9" fmla="*/ 0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5" h="44">
                  <a:moveTo>
                    <a:pt x="0" y="0"/>
                  </a:moveTo>
                  <a:lnTo>
                    <a:pt x="19" y="34"/>
                  </a:lnTo>
                  <a:lnTo>
                    <a:pt x="49" y="44"/>
                  </a:lnTo>
                  <a:lnTo>
                    <a:pt x="75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58" name="Freeform 685"/>
            <p:cNvSpPr>
              <a:spLocks/>
            </p:cNvSpPr>
            <p:nvPr>
              <p:custDataLst>
                <p:tags r:id="rId566"/>
              </p:custDataLst>
            </p:nvPr>
          </p:nvSpPr>
          <p:spPr bwMode="auto">
            <a:xfrm>
              <a:off x="10221332" y="2385611"/>
              <a:ext cx="138337" cy="34925"/>
            </a:xfrm>
            <a:custGeom>
              <a:avLst/>
              <a:gdLst>
                <a:gd name="T0" fmla="*/ 0 w 75"/>
                <a:gd name="T1" fmla="*/ 0 h 44"/>
                <a:gd name="T2" fmla="*/ 2147483647 w 75"/>
                <a:gd name="T3" fmla="*/ 2147483647 h 44"/>
                <a:gd name="T4" fmla="*/ 2147483647 w 75"/>
                <a:gd name="T5" fmla="*/ 2147483647 h 44"/>
                <a:gd name="T6" fmla="*/ 2147483647 w 75"/>
                <a:gd name="T7" fmla="*/ 2147483647 h 44"/>
                <a:gd name="T8" fmla="*/ 0 w 75"/>
                <a:gd name="T9" fmla="*/ 0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5" h="44">
                  <a:moveTo>
                    <a:pt x="0" y="0"/>
                  </a:moveTo>
                  <a:lnTo>
                    <a:pt x="19" y="34"/>
                  </a:lnTo>
                  <a:lnTo>
                    <a:pt x="49" y="44"/>
                  </a:lnTo>
                  <a:lnTo>
                    <a:pt x="75" y="34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59" name="Freeform 686"/>
            <p:cNvSpPr>
              <a:spLocks/>
            </p:cNvSpPr>
            <p:nvPr>
              <p:custDataLst>
                <p:tags r:id="rId567"/>
              </p:custDataLst>
            </p:nvPr>
          </p:nvSpPr>
          <p:spPr bwMode="auto">
            <a:xfrm>
              <a:off x="10221332" y="2385611"/>
              <a:ext cx="138337" cy="34925"/>
            </a:xfrm>
            <a:custGeom>
              <a:avLst/>
              <a:gdLst>
                <a:gd name="T0" fmla="*/ 0 w 75"/>
                <a:gd name="T1" fmla="*/ 0 h 44"/>
                <a:gd name="T2" fmla="*/ 2147483647 w 75"/>
                <a:gd name="T3" fmla="*/ 2147483647 h 44"/>
                <a:gd name="T4" fmla="*/ 2147483647 w 75"/>
                <a:gd name="T5" fmla="*/ 2147483647 h 44"/>
                <a:gd name="T6" fmla="*/ 2147483647 w 75"/>
                <a:gd name="T7" fmla="*/ 2147483647 h 44"/>
                <a:gd name="T8" fmla="*/ 0 w 75"/>
                <a:gd name="T9" fmla="*/ 0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5" h="44">
                  <a:moveTo>
                    <a:pt x="0" y="0"/>
                  </a:moveTo>
                  <a:lnTo>
                    <a:pt x="19" y="34"/>
                  </a:lnTo>
                  <a:lnTo>
                    <a:pt x="49" y="44"/>
                  </a:lnTo>
                  <a:lnTo>
                    <a:pt x="75" y="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60" name="Freeform 687"/>
            <p:cNvSpPr>
              <a:spLocks/>
            </p:cNvSpPr>
            <p:nvPr>
              <p:custDataLst>
                <p:tags r:id="rId568"/>
              </p:custDataLst>
            </p:nvPr>
          </p:nvSpPr>
          <p:spPr bwMode="auto">
            <a:xfrm>
              <a:off x="10221332" y="2385611"/>
              <a:ext cx="138337" cy="34925"/>
            </a:xfrm>
            <a:custGeom>
              <a:avLst/>
              <a:gdLst>
                <a:gd name="T0" fmla="*/ 0 w 75"/>
                <a:gd name="T1" fmla="*/ 0 h 44"/>
                <a:gd name="T2" fmla="*/ 2147483647 w 75"/>
                <a:gd name="T3" fmla="*/ 2147483647 h 44"/>
                <a:gd name="T4" fmla="*/ 2147483647 w 75"/>
                <a:gd name="T5" fmla="*/ 2147483647 h 44"/>
                <a:gd name="T6" fmla="*/ 2147483647 w 75"/>
                <a:gd name="T7" fmla="*/ 2147483647 h 44"/>
                <a:gd name="T8" fmla="*/ 0 w 75"/>
                <a:gd name="T9" fmla="*/ 0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5" h="44">
                  <a:moveTo>
                    <a:pt x="0" y="0"/>
                  </a:moveTo>
                  <a:lnTo>
                    <a:pt x="19" y="34"/>
                  </a:lnTo>
                  <a:lnTo>
                    <a:pt x="49" y="44"/>
                  </a:lnTo>
                  <a:lnTo>
                    <a:pt x="75" y="34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61" name="Freeform 688"/>
            <p:cNvSpPr>
              <a:spLocks/>
            </p:cNvSpPr>
            <p:nvPr>
              <p:custDataLst>
                <p:tags r:id="rId569"/>
              </p:custDataLst>
            </p:nvPr>
          </p:nvSpPr>
          <p:spPr bwMode="auto">
            <a:xfrm>
              <a:off x="5752418" y="3614319"/>
              <a:ext cx="356871" cy="231775"/>
            </a:xfrm>
            <a:custGeom>
              <a:avLst/>
              <a:gdLst>
                <a:gd name="T0" fmla="*/ 0 w 193"/>
                <a:gd name="T1" fmla="*/ 2147483647 h 291"/>
                <a:gd name="T2" fmla="*/ 2147483647 w 193"/>
                <a:gd name="T3" fmla="*/ 2147483647 h 291"/>
                <a:gd name="T4" fmla="*/ 2147483647 w 193"/>
                <a:gd name="T5" fmla="*/ 2147483647 h 291"/>
                <a:gd name="T6" fmla="*/ 2147483647 w 193"/>
                <a:gd name="T7" fmla="*/ 2147483647 h 291"/>
                <a:gd name="T8" fmla="*/ 2147483647 w 193"/>
                <a:gd name="T9" fmla="*/ 2147483647 h 291"/>
                <a:gd name="T10" fmla="*/ 2147483647 w 193"/>
                <a:gd name="T11" fmla="*/ 2147483647 h 291"/>
                <a:gd name="T12" fmla="*/ 2147483647 w 193"/>
                <a:gd name="T13" fmla="*/ 2147483647 h 291"/>
                <a:gd name="T14" fmla="*/ 2147483647 w 193"/>
                <a:gd name="T15" fmla="*/ 2147483647 h 291"/>
                <a:gd name="T16" fmla="*/ 2147483647 w 193"/>
                <a:gd name="T17" fmla="*/ 2147483647 h 291"/>
                <a:gd name="T18" fmla="*/ 2147483647 w 193"/>
                <a:gd name="T19" fmla="*/ 2147483647 h 291"/>
                <a:gd name="T20" fmla="*/ 2147483647 w 193"/>
                <a:gd name="T21" fmla="*/ 2147483647 h 291"/>
                <a:gd name="T22" fmla="*/ 2147483647 w 193"/>
                <a:gd name="T23" fmla="*/ 2147483647 h 291"/>
                <a:gd name="T24" fmla="*/ 2147483647 w 193"/>
                <a:gd name="T25" fmla="*/ 2147483647 h 291"/>
                <a:gd name="T26" fmla="*/ 2147483647 w 193"/>
                <a:gd name="T27" fmla="*/ 2147483647 h 291"/>
                <a:gd name="T28" fmla="*/ 2147483647 w 193"/>
                <a:gd name="T29" fmla="*/ 0 h 291"/>
                <a:gd name="T30" fmla="*/ 0 w 193"/>
                <a:gd name="T31" fmla="*/ 2147483647 h 29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93" h="291">
                  <a:moveTo>
                    <a:pt x="0" y="34"/>
                  </a:moveTo>
                  <a:lnTo>
                    <a:pt x="6" y="78"/>
                  </a:lnTo>
                  <a:lnTo>
                    <a:pt x="44" y="78"/>
                  </a:lnTo>
                  <a:lnTo>
                    <a:pt x="31" y="157"/>
                  </a:lnTo>
                  <a:lnTo>
                    <a:pt x="31" y="245"/>
                  </a:lnTo>
                  <a:lnTo>
                    <a:pt x="55" y="291"/>
                  </a:lnTo>
                  <a:lnTo>
                    <a:pt x="113" y="268"/>
                  </a:lnTo>
                  <a:lnTo>
                    <a:pt x="150" y="192"/>
                  </a:lnTo>
                  <a:lnTo>
                    <a:pt x="137" y="169"/>
                  </a:lnTo>
                  <a:lnTo>
                    <a:pt x="155" y="113"/>
                  </a:lnTo>
                  <a:lnTo>
                    <a:pt x="193" y="78"/>
                  </a:lnTo>
                  <a:lnTo>
                    <a:pt x="193" y="57"/>
                  </a:lnTo>
                  <a:lnTo>
                    <a:pt x="169" y="46"/>
                  </a:lnTo>
                  <a:lnTo>
                    <a:pt x="119" y="13"/>
                  </a:lnTo>
                  <a:lnTo>
                    <a:pt x="19" y="0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62" name="Freeform 692"/>
            <p:cNvSpPr>
              <a:spLocks/>
            </p:cNvSpPr>
            <p:nvPr>
              <p:custDataLst>
                <p:tags r:id="rId570"/>
              </p:custDataLst>
            </p:nvPr>
          </p:nvSpPr>
          <p:spPr bwMode="auto">
            <a:xfrm>
              <a:off x="4104380" y="4650981"/>
              <a:ext cx="116284" cy="93663"/>
            </a:xfrm>
            <a:custGeom>
              <a:avLst/>
              <a:gdLst>
                <a:gd name="T0" fmla="*/ 0 w 63"/>
                <a:gd name="T1" fmla="*/ 2147483647 h 119"/>
                <a:gd name="T2" fmla="*/ 2147483647 w 63"/>
                <a:gd name="T3" fmla="*/ 0 h 119"/>
                <a:gd name="T4" fmla="*/ 2147483647 w 63"/>
                <a:gd name="T5" fmla="*/ 2147483647 h 119"/>
                <a:gd name="T6" fmla="*/ 2147483647 w 63"/>
                <a:gd name="T7" fmla="*/ 2147483647 h 119"/>
                <a:gd name="T8" fmla="*/ 2147483647 w 63"/>
                <a:gd name="T9" fmla="*/ 2147483647 h 119"/>
                <a:gd name="T10" fmla="*/ 0 w 63"/>
                <a:gd name="T11" fmla="*/ 2147483647 h 1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3" h="119">
                  <a:moveTo>
                    <a:pt x="0" y="53"/>
                  </a:moveTo>
                  <a:lnTo>
                    <a:pt x="19" y="0"/>
                  </a:lnTo>
                  <a:lnTo>
                    <a:pt x="63" y="9"/>
                  </a:lnTo>
                  <a:lnTo>
                    <a:pt x="56" y="109"/>
                  </a:lnTo>
                  <a:lnTo>
                    <a:pt x="25" y="119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63" name="Freeform 693"/>
            <p:cNvSpPr>
              <a:spLocks/>
            </p:cNvSpPr>
            <p:nvPr>
              <p:custDataLst>
                <p:tags r:id="rId571"/>
              </p:custDataLst>
            </p:nvPr>
          </p:nvSpPr>
          <p:spPr bwMode="auto">
            <a:xfrm>
              <a:off x="4104380" y="4650981"/>
              <a:ext cx="116284" cy="93663"/>
            </a:xfrm>
            <a:custGeom>
              <a:avLst/>
              <a:gdLst>
                <a:gd name="T0" fmla="*/ 0 w 63"/>
                <a:gd name="T1" fmla="*/ 2147483647 h 119"/>
                <a:gd name="T2" fmla="*/ 2147483647 w 63"/>
                <a:gd name="T3" fmla="*/ 0 h 119"/>
                <a:gd name="T4" fmla="*/ 2147483647 w 63"/>
                <a:gd name="T5" fmla="*/ 2147483647 h 119"/>
                <a:gd name="T6" fmla="*/ 2147483647 w 63"/>
                <a:gd name="T7" fmla="*/ 2147483647 h 119"/>
                <a:gd name="T8" fmla="*/ 2147483647 w 63"/>
                <a:gd name="T9" fmla="*/ 2147483647 h 119"/>
                <a:gd name="T10" fmla="*/ 0 w 63"/>
                <a:gd name="T11" fmla="*/ 2147483647 h 1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3" h="119">
                  <a:moveTo>
                    <a:pt x="0" y="53"/>
                  </a:moveTo>
                  <a:lnTo>
                    <a:pt x="19" y="0"/>
                  </a:lnTo>
                  <a:lnTo>
                    <a:pt x="63" y="9"/>
                  </a:lnTo>
                  <a:lnTo>
                    <a:pt x="56" y="109"/>
                  </a:lnTo>
                  <a:lnTo>
                    <a:pt x="25" y="119"/>
                  </a:lnTo>
                  <a:lnTo>
                    <a:pt x="0" y="5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64" name="Freeform 694"/>
            <p:cNvSpPr>
              <a:spLocks/>
            </p:cNvSpPr>
            <p:nvPr>
              <p:custDataLst>
                <p:tags r:id="rId572"/>
              </p:custDataLst>
            </p:nvPr>
          </p:nvSpPr>
          <p:spPr bwMode="auto">
            <a:xfrm>
              <a:off x="4104380" y="4650981"/>
              <a:ext cx="116284" cy="93663"/>
            </a:xfrm>
            <a:custGeom>
              <a:avLst/>
              <a:gdLst>
                <a:gd name="T0" fmla="*/ 0 w 63"/>
                <a:gd name="T1" fmla="*/ 2147483647 h 119"/>
                <a:gd name="T2" fmla="*/ 2147483647 w 63"/>
                <a:gd name="T3" fmla="*/ 0 h 119"/>
                <a:gd name="T4" fmla="*/ 2147483647 w 63"/>
                <a:gd name="T5" fmla="*/ 2147483647 h 119"/>
                <a:gd name="T6" fmla="*/ 2147483647 w 63"/>
                <a:gd name="T7" fmla="*/ 2147483647 h 119"/>
                <a:gd name="T8" fmla="*/ 2147483647 w 63"/>
                <a:gd name="T9" fmla="*/ 2147483647 h 119"/>
                <a:gd name="T10" fmla="*/ 0 w 63"/>
                <a:gd name="T11" fmla="*/ 2147483647 h 1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3" h="119">
                  <a:moveTo>
                    <a:pt x="0" y="53"/>
                  </a:moveTo>
                  <a:lnTo>
                    <a:pt x="19" y="0"/>
                  </a:lnTo>
                  <a:lnTo>
                    <a:pt x="63" y="9"/>
                  </a:lnTo>
                  <a:lnTo>
                    <a:pt x="56" y="109"/>
                  </a:lnTo>
                  <a:lnTo>
                    <a:pt x="25" y="119"/>
                  </a:lnTo>
                  <a:lnTo>
                    <a:pt x="0" y="5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65" name="Freeform 695"/>
            <p:cNvSpPr>
              <a:spLocks/>
            </p:cNvSpPr>
            <p:nvPr>
              <p:custDataLst>
                <p:tags r:id="rId573"/>
              </p:custDataLst>
            </p:nvPr>
          </p:nvSpPr>
          <p:spPr bwMode="auto">
            <a:xfrm>
              <a:off x="4104380" y="4650981"/>
              <a:ext cx="116284" cy="93663"/>
            </a:xfrm>
            <a:custGeom>
              <a:avLst/>
              <a:gdLst>
                <a:gd name="T0" fmla="*/ 0 w 63"/>
                <a:gd name="T1" fmla="*/ 2147483647 h 119"/>
                <a:gd name="T2" fmla="*/ 2147483647 w 63"/>
                <a:gd name="T3" fmla="*/ 0 h 119"/>
                <a:gd name="T4" fmla="*/ 2147483647 w 63"/>
                <a:gd name="T5" fmla="*/ 2147483647 h 119"/>
                <a:gd name="T6" fmla="*/ 2147483647 w 63"/>
                <a:gd name="T7" fmla="*/ 2147483647 h 119"/>
                <a:gd name="T8" fmla="*/ 2147483647 w 63"/>
                <a:gd name="T9" fmla="*/ 2147483647 h 119"/>
                <a:gd name="T10" fmla="*/ 0 w 63"/>
                <a:gd name="T11" fmla="*/ 2147483647 h 1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63" h="119">
                  <a:moveTo>
                    <a:pt x="0" y="53"/>
                  </a:moveTo>
                  <a:lnTo>
                    <a:pt x="19" y="0"/>
                  </a:lnTo>
                  <a:lnTo>
                    <a:pt x="63" y="9"/>
                  </a:lnTo>
                  <a:lnTo>
                    <a:pt x="56" y="109"/>
                  </a:lnTo>
                  <a:lnTo>
                    <a:pt x="25" y="119"/>
                  </a:lnTo>
                  <a:lnTo>
                    <a:pt x="0" y="5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66" name="Freeform 696"/>
            <p:cNvSpPr>
              <a:spLocks/>
            </p:cNvSpPr>
            <p:nvPr>
              <p:custDataLst>
                <p:tags r:id="rId574"/>
              </p:custDataLst>
            </p:nvPr>
          </p:nvSpPr>
          <p:spPr bwMode="auto">
            <a:xfrm>
              <a:off x="6329828" y="2139531"/>
              <a:ext cx="302740" cy="193675"/>
            </a:xfrm>
            <a:custGeom>
              <a:avLst/>
              <a:gdLst>
                <a:gd name="T0" fmla="*/ 0 w 164"/>
                <a:gd name="T1" fmla="*/ 2147483647 h 244"/>
                <a:gd name="T2" fmla="*/ 0 w 164"/>
                <a:gd name="T3" fmla="*/ 2147483647 h 244"/>
                <a:gd name="T4" fmla="*/ 2147483647 w 164"/>
                <a:gd name="T5" fmla="*/ 2147483647 h 244"/>
                <a:gd name="T6" fmla="*/ 2147483647 w 164"/>
                <a:gd name="T7" fmla="*/ 2147483647 h 244"/>
                <a:gd name="T8" fmla="*/ 2147483647 w 164"/>
                <a:gd name="T9" fmla="*/ 2147483647 h 244"/>
                <a:gd name="T10" fmla="*/ 2147483647 w 164"/>
                <a:gd name="T11" fmla="*/ 2147483647 h 244"/>
                <a:gd name="T12" fmla="*/ 2147483647 w 164"/>
                <a:gd name="T13" fmla="*/ 2147483647 h 244"/>
                <a:gd name="T14" fmla="*/ 2147483647 w 164"/>
                <a:gd name="T15" fmla="*/ 2147483647 h 244"/>
                <a:gd name="T16" fmla="*/ 2147483647 w 164"/>
                <a:gd name="T17" fmla="*/ 2147483647 h 244"/>
                <a:gd name="T18" fmla="*/ 2147483647 w 164"/>
                <a:gd name="T19" fmla="*/ 2147483647 h 244"/>
                <a:gd name="T20" fmla="*/ 2147483647 w 164"/>
                <a:gd name="T21" fmla="*/ 2147483647 h 244"/>
                <a:gd name="T22" fmla="*/ 2147483647 w 164"/>
                <a:gd name="T23" fmla="*/ 2147483647 h 244"/>
                <a:gd name="T24" fmla="*/ 2147483647 w 164"/>
                <a:gd name="T25" fmla="*/ 2147483647 h 244"/>
                <a:gd name="T26" fmla="*/ 2147483647 w 164"/>
                <a:gd name="T27" fmla="*/ 2147483647 h 244"/>
                <a:gd name="T28" fmla="*/ 2147483647 w 164"/>
                <a:gd name="T29" fmla="*/ 2147483647 h 244"/>
                <a:gd name="T30" fmla="*/ 2147483647 w 164"/>
                <a:gd name="T31" fmla="*/ 2147483647 h 244"/>
                <a:gd name="T32" fmla="*/ 2147483647 w 164"/>
                <a:gd name="T33" fmla="*/ 2147483647 h 244"/>
                <a:gd name="T34" fmla="*/ 2147483647 w 164"/>
                <a:gd name="T35" fmla="*/ 2147483647 h 244"/>
                <a:gd name="T36" fmla="*/ 2147483647 w 164"/>
                <a:gd name="T37" fmla="*/ 2147483647 h 244"/>
                <a:gd name="T38" fmla="*/ 2147483647 w 164"/>
                <a:gd name="T39" fmla="*/ 2147483647 h 244"/>
                <a:gd name="T40" fmla="*/ 2147483647 w 164"/>
                <a:gd name="T41" fmla="*/ 2147483647 h 244"/>
                <a:gd name="T42" fmla="*/ 2147483647 w 164"/>
                <a:gd name="T43" fmla="*/ 2147483647 h 244"/>
                <a:gd name="T44" fmla="*/ 2147483647 w 164"/>
                <a:gd name="T45" fmla="*/ 2147483647 h 244"/>
                <a:gd name="T46" fmla="*/ 2147483647 w 164"/>
                <a:gd name="T47" fmla="*/ 2147483647 h 244"/>
                <a:gd name="T48" fmla="*/ 2147483647 w 164"/>
                <a:gd name="T49" fmla="*/ 2147483647 h 244"/>
                <a:gd name="T50" fmla="*/ 2147483647 w 164"/>
                <a:gd name="T51" fmla="*/ 2147483647 h 244"/>
                <a:gd name="T52" fmla="*/ 2147483647 w 164"/>
                <a:gd name="T53" fmla="*/ 2147483647 h 244"/>
                <a:gd name="T54" fmla="*/ 2147483647 w 164"/>
                <a:gd name="T55" fmla="*/ 2147483647 h 244"/>
                <a:gd name="T56" fmla="*/ 2147483647 w 164"/>
                <a:gd name="T57" fmla="*/ 2147483647 h 244"/>
                <a:gd name="T58" fmla="*/ 2147483647 w 164"/>
                <a:gd name="T59" fmla="*/ 0 h 244"/>
                <a:gd name="T60" fmla="*/ 2147483647 w 164"/>
                <a:gd name="T61" fmla="*/ 2147483647 h 244"/>
                <a:gd name="T62" fmla="*/ 2147483647 w 164"/>
                <a:gd name="T63" fmla="*/ 2147483647 h 244"/>
                <a:gd name="T64" fmla="*/ 2147483647 w 164"/>
                <a:gd name="T65" fmla="*/ 2147483647 h 244"/>
                <a:gd name="T66" fmla="*/ 2147483647 w 164"/>
                <a:gd name="T67" fmla="*/ 2147483647 h 244"/>
                <a:gd name="T68" fmla="*/ 2147483647 w 164"/>
                <a:gd name="T69" fmla="*/ 2147483647 h 244"/>
                <a:gd name="T70" fmla="*/ 2147483647 w 164"/>
                <a:gd name="T71" fmla="*/ 2147483647 h 244"/>
                <a:gd name="T72" fmla="*/ 2147483647 w 164"/>
                <a:gd name="T73" fmla="*/ 2147483647 h 244"/>
                <a:gd name="T74" fmla="*/ 0 w 164"/>
                <a:gd name="T75" fmla="*/ 2147483647 h 2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4" h="244">
                  <a:moveTo>
                    <a:pt x="0" y="33"/>
                  </a:moveTo>
                  <a:lnTo>
                    <a:pt x="0" y="54"/>
                  </a:lnTo>
                  <a:lnTo>
                    <a:pt x="19" y="54"/>
                  </a:lnTo>
                  <a:lnTo>
                    <a:pt x="13" y="77"/>
                  </a:lnTo>
                  <a:lnTo>
                    <a:pt x="26" y="89"/>
                  </a:lnTo>
                  <a:lnTo>
                    <a:pt x="7" y="77"/>
                  </a:lnTo>
                  <a:lnTo>
                    <a:pt x="37" y="112"/>
                  </a:lnTo>
                  <a:lnTo>
                    <a:pt x="26" y="121"/>
                  </a:lnTo>
                  <a:lnTo>
                    <a:pt x="32" y="133"/>
                  </a:lnTo>
                  <a:lnTo>
                    <a:pt x="57" y="121"/>
                  </a:lnTo>
                  <a:lnTo>
                    <a:pt x="57" y="98"/>
                  </a:lnTo>
                  <a:lnTo>
                    <a:pt x="70" y="89"/>
                  </a:lnTo>
                  <a:lnTo>
                    <a:pt x="76" y="121"/>
                  </a:lnTo>
                  <a:lnTo>
                    <a:pt x="88" y="98"/>
                  </a:lnTo>
                  <a:lnTo>
                    <a:pt x="88" y="121"/>
                  </a:lnTo>
                  <a:lnTo>
                    <a:pt x="101" y="121"/>
                  </a:lnTo>
                  <a:lnTo>
                    <a:pt x="45" y="142"/>
                  </a:lnTo>
                  <a:lnTo>
                    <a:pt x="45" y="166"/>
                  </a:lnTo>
                  <a:lnTo>
                    <a:pt x="95" y="156"/>
                  </a:lnTo>
                  <a:lnTo>
                    <a:pt x="63" y="177"/>
                  </a:lnTo>
                  <a:lnTo>
                    <a:pt x="82" y="177"/>
                  </a:lnTo>
                  <a:lnTo>
                    <a:pt x="45" y="187"/>
                  </a:lnTo>
                  <a:lnTo>
                    <a:pt x="95" y="244"/>
                  </a:lnTo>
                  <a:lnTo>
                    <a:pt x="127" y="121"/>
                  </a:lnTo>
                  <a:lnTo>
                    <a:pt x="164" y="89"/>
                  </a:lnTo>
                  <a:lnTo>
                    <a:pt x="120" y="68"/>
                  </a:lnTo>
                  <a:lnTo>
                    <a:pt x="120" y="33"/>
                  </a:lnTo>
                  <a:lnTo>
                    <a:pt x="107" y="54"/>
                  </a:lnTo>
                  <a:lnTo>
                    <a:pt x="107" y="23"/>
                  </a:lnTo>
                  <a:lnTo>
                    <a:pt x="82" y="0"/>
                  </a:lnTo>
                  <a:lnTo>
                    <a:pt x="76" y="23"/>
                  </a:lnTo>
                  <a:lnTo>
                    <a:pt x="88" y="89"/>
                  </a:lnTo>
                  <a:lnTo>
                    <a:pt x="57" y="23"/>
                  </a:lnTo>
                  <a:lnTo>
                    <a:pt x="45" y="33"/>
                  </a:lnTo>
                  <a:lnTo>
                    <a:pt x="51" y="68"/>
                  </a:lnTo>
                  <a:lnTo>
                    <a:pt x="19" y="45"/>
                  </a:lnTo>
                  <a:lnTo>
                    <a:pt x="45" y="2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67" name="Freeform 697"/>
            <p:cNvSpPr>
              <a:spLocks/>
            </p:cNvSpPr>
            <p:nvPr>
              <p:custDataLst>
                <p:tags r:id="rId575"/>
              </p:custDataLst>
            </p:nvPr>
          </p:nvSpPr>
          <p:spPr bwMode="auto">
            <a:xfrm>
              <a:off x="6329828" y="2139531"/>
              <a:ext cx="302740" cy="193675"/>
            </a:xfrm>
            <a:custGeom>
              <a:avLst/>
              <a:gdLst>
                <a:gd name="T0" fmla="*/ 0 w 164"/>
                <a:gd name="T1" fmla="*/ 2147483647 h 244"/>
                <a:gd name="T2" fmla="*/ 0 w 164"/>
                <a:gd name="T3" fmla="*/ 2147483647 h 244"/>
                <a:gd name="T4" fmla="*/ 2147483647 w 164"/>
                <a:gd name="T5" fmla="*/ 2147483647 h 244"/>
                <a:gd name="T6" fmla="*/ 2147483647 w 164"/>
                <a:gd name="T7" fmla="*/ 2147483647 h 244"/>
                <a:gd name="T8" fmla="*/ 2147483647 w 164"/>
                <a:gd name="T9" fmla="*/ 2147483647 h 244"/>
                <a:gd name="T10" fmla="*/ 2147483647 w 164"/>
                <a:gd name="T11" fmla="*/ 2147483647 h 244"/>
                <a:gd name="T12" fmla="*/ 2147483647 w 164"/>
                <a:gd name="T13" fmla="*/ 2147483647 h 244"/>
                <a:gd name="T14" fmla="*/ 2147483647 w 164"/>
                <a:gd name="T15" fmla="*/ 2147483647 h 244"/>
                <a:gd name="T16" fmla="*/ 2147483647 w 164"/>
                <a:gd name="T17" fmla="*/ 2147483647 h 244"/>
                <a:gd name="T18" fmla="*/ 2147483647 w 164"/>
                <a:gd name="T19" fmla="*/ 2147483647 h 244"/>
                <a:gd name="T20" fmla="*/ 2147483647 w 164"/>
                <a:gd name="T21" fmla="*/ 2147483647 h 244"/>
                <a:gd name="T22" fmla="*/ 2147483647 w 164"/>
                <a:gd name="T23" fmla="*/ 2147483647 h 244"/>
                <a:gd name="T24" fmla="*/ 2147483647 w 164"/>
                <a:gd name="T25" fmla="*/ 2147483647 h 244"/>
                <a:gd name="T26" fmla="*/ 2147483647 w 164"/>
                <a:gd name="T27" fmla="*/ 2147483647 h 244"/>
                <a:gd name="T28" fmla="*/ 2147483647 w 164"/>
                <a:gd name="T29" fmla="*/ 2147483647 h 244"/>
                <a:gd name="T30" fmla="*/ 2147483647 w 164"/>
                <a:gd name="T31" fmla="*/ 2147483647 h 244"/>
                <a:gd name="T32" fmla="*/ 2147483647 w 164"/>
                <a:gd name="T33" fmla="*/ 2147483647 h 244"/>
                <a:gd name="T34" fmla="*/ 2147483647 w 164"/>
                <a:gd name="T35" fmla="*/ 2147483647 h 244"/>
                <a:gd name="T36" fmla="*/ 2147483647 w 164"/>
                <a:gd name="T37" fmla="*/ 2147483647 h 244"/>
                <a:gd name="T38" fmla="*/ 2147483647 w 164"/>
                <a:gd name="T39" fmla="*/ 2147483647 h 244"/>
                <a:gd name="T40" fmla="*/ 2147483647 w 164"/>
                <a:gd name="T41" fmla="*/ 2147483647 h 244"/>
                <a:gd name="T42" fmla="*/ 2147483647 w 164"/>
                <a:gd name="T43" fmla="*/ 2147483647 h 244"/>
                <a:gd name="T44" fmla="*/ 2147483647 w 164"/>
                <a:gd name="T45" fmla="*/ 2147483647 h 244"/>
                <a:gd name="T46" fmla="*/ 2147483647 w 164"/>
                <a:gd name="T47" fmla="*/ 2147483647 h 244"/>
                <a:gd name="T48" fmla="*/ 2147483647 w 164"/>
                <a:gd name="T49" fmla="*/ 2147483647 h 244"/>
                <a:gd name="T50" fmla="*/ 2147483647 w 164"/>
                <a:gd name="T51" fmla="*/ 2147483647 h 244"/>
                <a:gd name="T52" fmla="*/ 2147483647 w 164"/>
                <a:gd name="T53" fmla="*/ 2147483647 h 244"/>
                <a:gd name="T54" fmla="*/ 2147483647 w 164"/>
                <a:gd name="T55" fmla="*/ 2147483647 h 244"/>
                <a:gd name="T56" fmla="*/ 2147483647 w 164"/>
                <a:gd name="T57" fmla="*/ 2147483647 h 244"/>
                <a:gd name="T58" fmla="*/ 2147483647 w 164"/>
                <a:gd name="T59" fmla="*/ 0 h 244"/>
                <a:gd name="T60" fmla="*/ 2147483647 w 164"/>
                <a:gd name="T61" fmla="*/ 2147483647 h 244"/>
                <a:gd name="T62" fmla="*/ 2147483647 w 164"/>
                <a:gd name="T63" fmla="*/ 2147483647 h 244"/>
                <a:gd name="T64" fmla="*/ 2147483647 w 164"/>
                <a:gd name="T65" fmla="*/ 2147483647 h 244"/>
                <a:gd name="T66" fmla="*/ 2147483647 w 164"/>
                <a:gd name="T67" fmla="*/ 2147483647 h 244"/>
                <a:gd name="T68" fmla="*/ 2147483647 w 164"/>
                <a:gd name="T69" fmla="*/ 2147483647 h 244"/>
                <a:gd name="T70" fmla="*/ 2147483647 w 164"/>
                <a:gd name="T71" fmla="*/ 2147483647 h 244"/>
                <a:gd name="T72" fmla="*/ 2147483647 w 164"/>
                <a:gd name="T73" fmla="*/ 2147483647 h 244"/>
                <a:gd name="T74" fmla="*/ 0 w 164"/>
                <a:gd name="T75" fmla="*/ 2147483647 h 2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4" h="244">
                  <a:moveTo>
                    <a:pt x="0" y="33"/>
                  </a:moveTo>
                  <a:lnTo>
                    <a:pt x="0" y="54"/>
                  </a:lnTo>
                  <a:lnTo>
                    <a:pt x="19" y="54"/>
                  </a:lnTo>
                  <a:lnTo>
                    <a:pt x="13" y="77"/>
                  </a:lnTo>
                  <a:lnTo>
                    <a:pt x="26" y="89"/>
                  </a:lnTo>
                  <a:lnTo>
                    <a:pt x="7" y="77"/>
                  </a:lnTo>
                  <a:lnTo>
                    <a:pt x="37" y="112"/>
                  </a:lnTo>
                  <a:lnTo>
                    <a:pt x="26" y="121"/>
                  </a:lnTo>
                  <a:lnTo>
                    <a:pt x="32" y="133"/>
                  </a:lnTo>
                  <a:lnTo>
                    <a:pt x="57" y="121"/>
                  </a:lnTo>
                  <a:lnTo>
                    <a:pt x="57" y="98"/>
                  </a:lnTo>
                  <a:lnTo>
                    <a:pt x="70" y="89"/>
                  </a:lnTo>
                  <a:lnTo>
                    <a:pt x="76" y="121"/>
                  </a:lnTo>
                  <a:lnTo>
                    <a:pt x="88" y="98"/>
                  </a:lnTo>
                  <a:lnTo>
                    <a:pt x="88" y="121"/>
                  </a:lnTo>
                  <a:lnTo>
                    <a:pt x="101" y="121"/>
                  </a:lnTo>
                  <a:lnTo>
                    <a:pt x="45" y="142"/>
                  </a:lnTo>
                  <a:lnTo>
                    <a:pt x="45" y="166"/>
                  </a:lnTo>
                  <a:lnTo>
                    <a:pt x="95" y="156"/>
                  </a:lnTo>
                  <a:lnTo>
                    <a:pt x="63" y="177"/>
                  </a:lnTo>
                  <a:lnTo>
                    <a:pt x="82" y="177"/>
                  </a:lnTo>
                  <a:lnTo>
                    <a:pt x="45" y="187"/>
                  </a:lnTo>
                  <a:lnTo>
                    <a:pt x="95" y="244"/>
                  </a:lnTo>
                  <a:lnTo>
                    <a:pt x="127" y="121"/>
                  </a:lnTo>
                  <a:lnTo>
                    <a:pt x="164" y="89"/>
                  </a:lnTo>
                  <a:lnTo>
                    <a:pt x="120" y="68"/>
                  </a:lnTo>
                  <a:lnTo>
                    <a:pt x="120" y="33"/>
                  </a:lnTo>
                  <a:lnTo>
                    <a:pt x="107" y="54"/>
                  </a:lnTo>
                  <a:lnTo>
                    <a:pt x="107" y="23"/>
                  </a:lnTo>
                  <a:lnTo>
                    <a:pt x="82" y="0"/>
                  </a:lnTo>
                  <a:lnTo>
                    <a:pt x="76" y="23"/>
                  </a:lnTo>
                  <a:lnTo>
                    <a:pt x="88" y="89"/>
                  </a:lnTo>
                  <a:lnTo>
                    <a:pt x="57" y="23"/>
                  </a:lnTo>
                  <a:lnTo>
                    <a:pt x="45" y="33"/>
                  </a:lnTo>
                  <a:lnTo>
                    <a:pt x="51" y="68"/>
                  </a:lnTo>
                  <a:lnTo>
                    <a:pt x="19" y="45"/>
                  </a:lnTo>
                  <a:lnTo>
                    <a:pt x="45" y="23"/>
                  </a:lnTo>
                  <a:lnTo>
                    <a:pt x="0" y="33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68" name="Freeform 698"/>
            <p:cNvSpPr>
              <a:spLocks/>
            </p:cNvSpPr>
            <p:nvPr>
              <p:custDataLst>
                <p:tags r:id="rId576"/>
              </p:custDataLst>
            </p:nvPr>
          </p:nvSpPr>
          <p:spPr bwMode="auto">
            <a:xfrm>
              <a:off x="6329828" y="2139531"/>
              <a:ext cx="302740" cy="193675"/>
            </a:xfrm>
            <a:custGeom>
              <a:avLst/>
              <a:gdLst>
                <a:gd name="T0" fmla="*/ 0 w 164"/>
                <a:gd name="T1" fmla="*/ 2147483647 h 244"/>
                <a:gd name="T2" fmla="*/ 0 w 164"/>
                <a:gd name="T3" fmla="*/ 2147483647 h 244"/>
                <a:gd name="T4" fmla="*/ 2147483647 w 164"/>
                <a:gd name="T5" fmla="*/ 2147483647 h 244"/>
                <a:gd name="T6" fmla="*/ 2147483647 w 164"/>
                <a:gd name="T7" fmla="*/ 2147483647 h 244"/>
                <a:gd name="T8" fmla="*/ 2147483647 w 164"/>
                <a:gd name="T9" fmla="*/ 2147483647 h 244"/>
                <a:gd name="T10" fmla="*/ 2147483647 w 164"/>
                <a:gd name="T11" fmla="*/ 2147483647 h 244"/>
                <a:gd name="T12" fmla="*/ 2147483647 w 164"/>
                <a:gd name="T13" fmla="*/ 2147483647 h 244"/>
                <a:gd name="T14" fmla="*/ 2147483647 w 164"/>
                <a:gd name="T15" fmla="*/ 2147483647 h 244"/>
                <a:gd name="T16" fmla="*/ 2147483647 w 164"/>
                <a:gd name="T17" fmla="*/ 2147483647 h 244"/>
                <a:gd name="T18" fmla="*/ 2147483647 w 164"/>
                <a:gd name="T19" fmla="*/ 2147483647 h 244"/>
                <a:gd name="T20" fmla="*/ 2147483647 w 164"/>
                <a:gd name="T21" fmla="*/ 2147483647 h 244"/>
                <a:gd name="T22" fmla="*/ 2147483647 w 164"/>
                <a:gd name="T23" fmla="*/ 2147483647 h 244"/>
                <a:gd name="T24" fmla="*/ 2147483647 w 164"/>
                <a:gd name="T25" fmla="*/ 2147483647 h 244"/>
                <a:gd name="T26" fmla="*/ 2147483647 w 164"/>
                <a:gd name="T27" fmla="*/ 2147483647 h 244"/>
                <a:gd name="T28" fmla="*/ 2147483647 w 164"/>
                <a:gd name="T29" fmla="*/ 2147483647 h 244"/>
                <a:gd name="T30" fmla="*/ 2147483647 w 164"/>
                <a:gd name="T31" fmla="*/ 2147483647 h 244"/>
                <a:gd name="T32" fmla="*/ 2147483647 w 164"/>
                <a:gd name="T33" fmla="*/ 2147483647 h 244"/>
                <a:gd name="T34" fmla="*/ 2147483647 w 164"/>
                <a:gd name="T35" fmla="*/ 2147483647 h 244"/>
                <a:gd name="T36" fmla="*/ 2147483647 w 164"/>
                <a:gd name="T37" fmla="*/ 2147483647 h 244"/>
                <a:gd name="T38" fmla="*/ 2147483647 w 164"/>
                <a:gd name="T39" fmla="*/ 2147483647 h 244"/>
                <a:gd name="T40" fmla="*/ 2147483647 w 164"/>
                <a:gd name="T41" fmla="*/ 2147483647 h 244"/>
                <a:gd name="T42" fmla="*/ 2147483647 w 164"/>
                <a:gd name="T43" fmla="*/ 2147483647 h 244"/>
                <a:gd name="T44" fmla="*/ 2147483647 w 164"/>
                <a:gd name="T45" fmla="*/ 2147483647 h 244"/>
                <a:gd name="T46" fmla="*/ 2147483647 w 164"/>
                <a:gd name="T47" fmla="*/ 2147483647 h 244"/>
                <a:gd name="T48" fmla="*/ 2147483647 w 164"/>
                <a:gd name="T49" fmla="*/ 2147483647 h 244"/>
                <a:gd name="T50" fmla="*/ 2147483647 w 164"/>
                <a:gd name="T51" fmla="*/ 2147483647 h 244"/>
                <a:gd name="T52" fmla="*/ 2147483647 w 164"/>
                <a:gd name="T53" fmla="*/ 2147483647 h 244"/>
                <a:gd name="T54" fmla="*/ 2147483647 w 164"/>
                <a:gd name="T55" fmla="*/ 2147483647 h 244"/>
                <a:gd name="T56" fmla="*/ 2147483647 w 164"/>
                <a:gd name="T57" fmla="*/ 2147483647 h 244"/>
                <a:gd name="T58" fmla="*/ 2147483647 w 164"/>
                <a:gd name="T59" fmla="*/ 0 h 244"/>
                <a:gd name="T60" fmla="*/ 2147483647 w 164"/>
                <a:gd name="T61" fmla="*/ 2147483647 h 244"/>
                <a:gd name="T62" fmla="*/ 2147483647 w 164"/>
                <a:gd name="T63" fmla="*/ 2147483647 h 244"/>
                <a:gd name="T64" fmla="*/ 2147483647 w 164"/>
                <a:gd name="T65" fmla="*/ 2147483647 h 244"/>
                <a:gd name="T66" fmla="*/ 2147483647 w 164"/>
                <a:gd name="T67" fmla="*/ 2147483647 h 244"/>
                <a:gd name="T68" fmla="*/ 2147483647 w 164"/>
                <a:gd name="T69" fmla="*/ 2147483647 h 244"/>
                <a:gd name="T70" fmla="*/ 2147483647 w 164"/>
                <a:gd name="T71" fmla="*/ 2147483647 h 244"/>
                <a:gd name="T72" fmla="*/ 2147483647 w 164"/>
                <a:gd name="T73" fmla="*/ 2147483647 h 244"/>
                <a:gd name="T74" fmla="*/ 0 w 164"/>
                <a:gd name="T75" fmla="*/ 2147483647 h 2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4" h="244">
                  <a:moveTo>
                    <a:pt x="0" y="33"/>
                  </a:moveTo>
                  <a:lnTo>
                    <a:pt x="0" y="54"/>
                  </a:lnTo>
                  <a:lnTo>
                    <a:pt x="19" y="54"/>
                  </a:lnTo>
                  <a:lnTo>
                    <a:pt x="13" y="77"/>
                  </a:lnTo>
                  <a:lnTo>
                    <a:pt x="26" y="89"/>
                  </a:lnTo>
                  <a:lnTo>
                    <a:pt x="7" y="77"/>
                  </a:lnTo>
                  <a:lnTo>
                    <a:pt x="37" y="112"/>
                  </a:lnTo>
                  <a:lnTo>
                    <a:pt x="26" y="121"/>
                  </a:lnTo>
                  <a:lnTo>
                    <a:pt x="32" y="133"/>
                  </a:lnTo>
                  <a:lnTo>
                    <a:pt x="57" y="121"/>
                  </a:lnTo>
                  <a:lnTo>
                    <a:pt x="57" y="98"/>
                  </a:lnTo>
                  <a:lnTo>
                    <a:pt x="70" y="89"/>
                  </a:lnTo>
                  <a:lnTo>
                    <a:pt x="76" y="121"/>
                  </a:lnTo>
                  <a:lnTo>
                    <a:pt x="88" y="98"/>
                  </a:lnTo>
                  <a:lnTo>
                    <a:pt x="88" y="121"/>
                  </a:lnTo>
                  <a:lnTo>
                    <a:pt x="101" y="121"/>
                  </a:lnTo>
                  <a:lnTo>
                    <a:pt x="45" y="142"/>
                  </a:lnTo>
                  <a:lnTo>
                    <a:pt x="45" y="166"/>
                  </a:lnTo>
                  <a:lnTo>
                    <a:pt x="95" y="156"/>
                  </a:lnTo>
                  <a:lnTo>
                    <a:pt x="63" y="177"/>
                  </a:lnTo>
                  <a:lnTo>
                    <a:pt x="82" y="177"/>
                  </a:lnTo>
                  <a:lnTo>
                    <a:pt x="45" y="187"/>
                  </a:lnTo>
                  <a:lnTo>
                    <a:pt x="95" y="244"/>
                  </a:lnTo>
                  <a:lnTo>
                    <a:pt x="127" y="121"/>
                  </a:lnTo>
                  <a:lnTo>
                    <a:pt x="164" y="89"/>
                  </a:lnTo>
                  <a:lnTo>
                    <a:pt x="120" y="68"/>
                  </a:lnTo>
                  <a:lnTo>
                    <a:pt x="120" y="33"/>
                  </a:lnTo>
                  <a:lnTo>
                    <a:pt x="107" y="54"/>
                  </a:lnTo>
                  <a:lnTo>
                    <a:pt x="107" y="23"/>
                  </a:lnTo>
                  <a:lnTo>
                    <a:pt x="82" y="0"/>
                  </a:lnTo>
                  <a:lnTo>
                    <a:pt x="76" y="23"/>
                  </a:lnTo>
                  <a:lnTo>
                    <a:pt x="88" y="89"/>
                  </a:lnTo>
                  <a:lnTo>
                    <a:pt x="57" y="23"/>
                  </a:lnTo>
                  <a:lnTo>
                    <a:pt x="45" y="33"/>
                  </a:lnTo>
                  <a:lnTo>
                    <a:pt x="51" y="68"/>
                  </a:lnTo>
                  <a:lnTo>
                    <a:pt x="19" y="45"/>
                  </a:lnTo>
                  <a:lnTo>
                    <a:pt x="45" y="2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69" name="Freeform 699"/>
            <p:cNvSpPr>
              <a:spLocks/>
            </p:cNvSpPr>
            <p:nvPr>
              <p:custDataLst>
                <p:tags r:id="rId577"/>
              </p:custDataLst>
            </p:nvPr>
          </p:nvSpPr>
          <p:spPr bwMode="auto">
            <a:xfrm>
              <a:off x="6329828" y="2139531"/>
              <a:ext cx="302740" cy="193675"/>
            </a:xfrm>
            <a:custGeom>
              <a:avLst/>
              <a:gdLst>
                <a:gd name="T0" fmla="*/ 0 w 164"/>
                <a:gd name="T1" fmla="*/ 2147483647 h 244"/>
                <a:gd name="T2" fmla="*/ 0 w 164"/>
                <a:gd name="T3" fmla="*/ 2147483647 h 244"/>
                <a:gd name="T4" fmla="*/ 2147483647 w 164"/>
                <a:gd name="T5" fmla="*/ 2147483647 h 244"/>
                <a:gd name="T6" fmla="*/ 2147483647 w 164"/>
                <a:gd name="T7" fmla="*/ 2147483647 h 244"/>
                <a:gd name="T8" fmla="*/ 2147483647 w 164"/>
                <a:gd name="T9" fmla="*/ 2147483647 h 244"/>
                <a:gd name="T10" fmla="*/ 2147483647 w 164"/>
                <a:gd name="T11" fmla="*/ 2147483647 h 244"/>
                <a:gd name="T12" fmla="*/ 2147483647 w 164"/>
                <a:gd name="T13" fmla="*/ 2147483647 h 244"/>
                <a:gd name="T14" fmla="*/ 2147483647 w 164"/>
                <a:gd name="T15" fmla="*/ 2147483647 h 244"/>
                <a:gd name="T16" fmla="*/ 2147483647 w 164"/>
                <a:gd name="T17" fmla="*/ 2147483647 h 244"/>
                <a:gd name="T18" fmla="*/ 2147483647 w 164"/>
                <a:gd name="T19" fmla="*/ 2147483647 h 244"/>
                <a:gd name="T20" fmla="*/ 2147483647 w 164"/>
                <a:gd name="T21" fmla="*/ 2147483647 h 244"/>
                <a:gd name="T22" fmla="*/ 2147483647 w 164"/>
                <a:gd name="T23" fmla="*/ 2147483647 h 244"/>
                <a:gd name="T24" fmla="*/ 2147483647 w 164"/>
                <a:gd name="T25" fmla="*/ 2147483647 h 244"/>
                <a:gd name="T26" fmla="*/ 2147483647 w 164"/>
                <a:gd name="T27" fmla="*/ 2147483647 h 244"/>
                <a:gd name="T28" fmla="*/ 2147483647 w 164"/>
                <a:gd name="T29" fmla="*/ 2147483647 h 244"/>
                <a:gd name="T30" fmla="*/ 2147483647 w 164"/>
                <a:gd name="T31" fmla="*/ 2147483647 h 244"/>
                <a:gd name="T32" fmla="*/ 2147483647 w 164"/>
                <a:gd name="T33" fmla="*/ 2147483647 h 244"/>
                <a:gd name="T34" fmla="*/ 2147483647 w 164"/>
                <a:gd name="T35" fmla="*/ 2147483647 h 244"/>
                <a:gd name="T36" fmla="*/ 2147483647 w 164"/>
                <a:gd name="T37" fmla="*/ 2147483647 h 244"/>
                <a:gd name="T38" fmla="*/ 2147483647 w 164"/>
                <a:gd name="T39" fmla="*/ 2147483647 h 244"/>
                <a:gd name="T40" fmla="*/ 2147483647 w 164"/>
                <a:gd name="T41" fmla="*/ 2147483647 h 244"/>
                <a:gd name="T42" fmla="*/ 2147483647 w 164"/>
                <a:gd name="T43" fmla="*/ 2147483647 h 244"/>
                <a:gd name="T44" fmla="*/ 2147483647 w 164"/>
                <a:gd name="T45" fmla="*/ 2147483647 h 244"/>
                <a:gd name="T46" fmla="*/ 2147483647 w 164"/>
                <a:gd name="T47" fmla="*/ 2147483647 h 244"/>
                <a:gd name="T48" fmla="*/ 2147483647 w 164"/>
                <a:gd name="T49" fmla="*/ 2147483647 h 244"/>
                <a:gd name="T50" fmla="*/ 2147483647 w 164"/>
                <a:gd name="T51" fmla="*/ 2147483647 h 244"/>
                <a:gd name="T52" fmla="*/ 2147483647 w 164"/>
                <a:gd name="T53" fmla="*/ 2147483647 h 244"/>
                <a:gd name="T54" fmla="*/ 2147483647 w 164"/>
                <a:gd name="T55" fmla="*/ 2147483647 h 244"/>
                <a:gd name="T56" fmla="*/ 2147483647 w 164"/>
                <a:gd name="T57" fmla="*/ 2147483647 h 244"/>
                <a:gd name="T58" fmla="*/ 2147483647 w 164"/>
                <a:gd name="T59" fmla="*/ 0 h 244"/>
                <a:gd name="T60" fmla="*/ 2147483647 w 164"/>
                <a:gd name="T61" fmla="*/ 2147483647 h 244"/>
                <a:gd name="T62" fmla="*/ 2147483647 w 164"/>
                <a:gd name="T63" fmla="*/ 2147483647 h 244"/>
                <a:gd name="T64" fmla="*/ 2147483647 w 164"/>
                <a:gd name="T65" fmla="*/ 2147483647 h 244"/>
                <a:gd name="T66" fmla="*/ 2147483647 w 164"/>
                <a:gd name="T67" fmla="*/ 2147483647 h 244"/>
                <a:gd name="T68" fmla="*/ 2147483647 w 164"/>
                <a:gd name="T69" fmla="*/ 2147483647 h 244"/>
                <a:gd name="T70" fmla="*/ 2147483647 w 164"/>
                <a:gd name="T71" fmla="*/ 2147483647 h 244"/>
                <a:gd name="T72" fmla="*/ 2147483647 w 164"/>
                <a:gd name="T73" fmla="*/ 2147483647 h 244"/>
                <a:gd name="T74" fmla="*/ 0 w 164"/>
                <a:gd name="T75" fmla="*/ 2147483647 h 24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4" h="244">
                  <a:moveTo>
                    <a:pt x="0" y="33"/>
                  </a:moveTo>
                  <a:lnTo>
                    <a:pt x="0" y="54"/>
                  </a:lnTo>
                  <a:lnTo>
                    <a:pt x="19" y="54"/>
                  </a:lnTo>
                  <a:lnTo>
                    <a:pt x="13" y="77"/>
                  </a:lnTo>
                  <a:lnTo>
                    <a:pt x="26" y="89"/>
                  </a:lnTo>
                  <a:lnTo>
                    <a:pt x="7" y="77"/>
                  </a:lnTo>
                  <a:lnTo>
                    <a:pt x="37" y="112"/>
                  </a:lnTo>
                  <a:lnTo>
                    <a:pt x="26" y="121"/>
                  </a:lnTo>
                  <a:lnTo>
                    <a:pt x="32" y="133"/>
                  </a:lnTo>
                  <a:lnTo>
                    <a:pt x="57" y="121"/>
                  </a:lnTo>
                  <a:lnTo>
                    <a:pt x="57" y="98"/>
                  </a:lnTo>
                  <a:lnTo>
                    <a:pt x="70" y="89"/>
                  </a:lnTo>
                  <a:lnTo>
                    <a:pt x="76" y="121"/>
                  </a:lnTo>
                  <a:lnTo>
                    <a:pt x="88" y="98"/>
                  </a:lnTo>
                  <a:lnTo>
                    <a:pt x="88" y="121"/>
                  </a:lnTo>
                  <a:lnTo>
                    <a:pt x="101" y="121"/>
                  </a:lnTo>
                  <a:lnTo>
                    <a:pt x="45" y="142"/>
                  </a:lnTo>
                  <a:lnTo>
                    <a:pt x="45" y="166"/>
                  </a:lnTo>
                  <a:lnTo>
                    <a:pt x="95" y="156"/>
                  </a:lnTo>
                  <a:lnTo>
                    <a:pt x="63" y="177"/>
                  </a:lnTo>
                  <a:lnTo>
                    <a:pt x="82" y="177"/>
                  </a:lnTo>
                  <a:lnTo>
                    <a:pt x="45" y="187"/>
                  </a:lnTo>
                  <a:lnTo>
                    <a:pt x="95" y="244"/>
                  </a:lnTo>
                  <a:lnTo>
                    <a:pt x="127" y="121"/>
                  </a:lnTo>
                  <a:lnTo>
                    <a:pt x="164" y="89"/>
                  </a:lnTo>
                  <a:lnTo>
                    <a:pt x="120" y="68"/>
                  </a:lnTo>
                  <a:lnTo>
                    <a:pt x="120" y="33"/>
                  </a:lnTo>
                  <a:lnTo>
                    <a:pt x="107" y="54"/>
                  </a:lnTo>
                  <a:lnTo>
                    <a:pt x="107" y="23"/>
                  </a:lnTo>
                  <a:lnTo>
                    <a:pt x="82" y="0"/>
                  </a:lnTo>
                  <a:lnTo>
                    <a:pt x="76" y="23"/>
                  </a:lnTo>
                  <a:lnTo>
                    <a:pt x="88" y="89"/>
                  </a:lnTo>
                  <a:lnTo>
                    <a:pt x="57" y="23"/>
                  </a:lnTo>
                  <a:lnTo>
                    <a:pt x="45" y="33"/>
                  </a:lnTo>
                  <a:lnTo>
                    <a:pt x="51" y="68"/>
                  </a:lnTo>
                  <a:lnTo>
                    <a:pt x="19" y="45"/>
                  </a:lnTo>
                  <a:lnTo>
                    <a:pt x="45" y="23"/>
                  </a:lnTo>
                  <a:lnTo>
                    <a:pt x="0" y="33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70" name="Freeform 700"/>
            <p:cNvSpPr>
              <a:spLocks/>
            </p:cNvSpPr>
            <p:nvPr>
              <p:custDataLst>
                <p:tags r:id="rId578"/>
              </p:custDataLst>
            </p:nvPr>
          </p:nvSpPr>
          <p:spPr bwMode="auto">
            <a:xfrm>
              <a:off x="6516284" y="2112544"/>
              <a:ext cx="276676" cy="79375"/>
            </a:xfrm>
            <a:custGeom>
              <a:avLst/>
              <a:gdLst>
                <a:gd name="T0" fmla="*/ 0 w 150"/>
                <a:gd name="T1" fmla="*/ 2147483647 h 100"/>
                <a:gd name="T2" fmla="*/ 2147483647 w 150"/>
                <a:gd name="T3" fmla="*/ 2147483647 h 100"/>
                <a:gd name="T4" fmla="*/ 2147483647 w 150"/>
                <a:gd name="T5" fmla="*/ 2147483647 h 100"/>
                <a:gd name="T6" fmla="*/ 2147483647 w 150"/>
                <a:gd name="T7" fmla="*/ 2147483647 h 100"/>
                <a:gd name="T8" fmla="*/ 2147483647 w 150"/>
                <a:gd name="T9" fmla="*/ 2147483647 h 100"/>
                <a:gd name="T10" fmla="*/ 2147483647 w 150"/>
                <a:gd name="T11" fmla="*/ 2147483647 h 100"/>
                <a:gd name="T12" fmla="*/ 2147483647 w 150"/>
                <a:gd name="T13" fmla="*/ 2147483647 h 100"/>
                <a:gd name="T14" fmla="*/ 2147483647 w 150"/>
                <a:gd name="T15" fmla="*/ 2147483647 h 100"/>
                <a:gd name="T16" fmla="*/ 2147483647 w 150"/>
                <a:gd name="T17" fmla="*/ 2147483647 h 100"/>
                <a:gd name="T18" fmla="*/ 2147483647 w 150"/>
                <a:gd name="T19" fmla="*/ 2147483647 h 100"/>
                <a:gd name="T20" fmla="*/ 2147483647 w 150"/>
                <a:gd name="T21" fmla="*/ 2147483647 h 100"/>
                <a:gd name="T22" fmla="*/ 2147483647 w 150"/>
                <a:gd name="T23" fmla="*/ 2147483647 h 100"/>
                <a:gd name="T24" fmla="*/ 2147483647 w 150"/>
                <a:gd name="T25" fmla="*/ 2147483647 h 100"/>
                <a:gd name="T26" fmla="*/ 2147483647 w 150"/>
                <a:gd name="T27" fmla="*/ 0 h 100"/>
                <a:gd name="T28" fmla="*/ 2147483647 w 150"/>
                <a:gd name="T29" fmla="*/ 2147483647 h 100"/>
                <a:gd name="T30" fmla="*/ 2147483647 w 150"/>
                <a:gd name="T31" fmla="*/ 0 h 100"/>
                <a:gd name="T32" fmla="*/ 2147483647 w 150"/>
                <a:gd name="T33" fmla="*/ 2147483647 h 100"/>
                <a:gd name="T34" fmla="*/ 2147483647 w 150"/>
                <a:gd name="T35" fmla="*/ 2147483647 h 100"/>
                <a:gd name="T36" fmla="*/ 2147483647 w 150"/>
                <a:gd name="T37" fmla="*/ 2147483647 h 100"/>
                <a:gd name="T38" fmla="*/ 0 w 150"/>
                <a:gd name="T39" fmla="*/ 2147483647 h 1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0" h="100">
                  <a:moveTo>
                    <a:pt x="0" y="32"/>
                  </a:moveTo>
                  <a:lnTo>
                    <a:pt x="26" y="32"/>
                  </a:lnTo>
                  <a:lnTo>
                    <a:pt x="13" y="44"/>
                  </a:lnTo>
                  <a:lnTo>
                    <a:pt x="13" y="55"/>
                  </a:lnTo>
                  <a:lnTo>
                    <a:pt x="75" y="55"/>
                  </a:lnTo>
                  <a:lnTo>
                    <a:pt x="37" y="67"/>
                  </a:lnTo>
                  <a:lnTo>
                    <a:pt x="94" y="100"/>
                  </a:lnTo>
                  <a:lnTo>
                    <a:pt x="125" y="77"/>
                  </a:lnTo>
                  <a:lnTo>
                    <a:pt x="150" y="44"/>
                  </a:lnTo>
                  <a:lnTo>
                    <a:pt x="143" y="32"/>
                  </a:lnTo>
                  <a:lnTo>
                    <a:pt x="112" y="32"/>
                  </a:lnTo>
                  <a:lnTo>
                    <a:pt x="119" y="11"/>
                  </a:lnTo>
                  <a:lnTo>
                    <a:pt x="87" y="32"/>
                  </a:lnTo>
                  <a:lnTo>
                    <a:pt x="81" y="0"/>
                  </a:lnTo>
                  <a:lnTo>
                    <a:pt x="75" y="44"/>
                  </a:lnTo>
                  <a:lnTo>
                    <a:pt x="37" y="0"/>
                  </a:lnTo>
                  <a:lnTo>
                    <a:pt x="37" y="23"/>
                  </a:lnTo>
                  <a:lnTo>
                    <a:pt x="26" y="11"/>
                  </a:lnTo>
                  <a:lnTo>
                    <a:pt x="31" y="4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71" name="Freeform 701"/>
            <p:cNvSpPr>
              <a:spLocks/>
            </p:cNvSpPr>
            <p:nvPr>
              <p:custDataLst>
                <p:tags r:id="rId579"/>
              </p:custDataLst>
            </p:nvPr>
          </p:nvSpPr>
          <p:spPr bwMode="auto">
            <a:xfrm>
              <a:off x="6516284" y="2112544"/>
              <a:ext cx="276676" cy="79375"/>
            </a:xfrm>
            <a:custGeom>
              <a:avLst/>
              <a:gdLst>
                <a:gd name="T0" fmla="*/ 0 w 150"/>
                <a:gd name="T1" fmla="*/ 2147483647 h 100"/>
                <a:gd name="T2" fmla="*/ 2147483647 w 150"/>
                <a:gd name="T3" fmla="*/ 2147483647 h 100"/>
                <a:gd name="T4" fmla="*/ 2147483647 w 150"/>
                <a:gd name="T5" fmla="*/ 2147483647 h 100"/>
                <a:gd name="T6" fmla="*/ 2147483647 w 150"/>
                <a:gd name="T7" fmla="*/ 2147483647 h 100"/>
                <a:gd name="T8" fmla="*/ 2147483647 w 150"/>
                <a:gd name="T9" fmla="*/ 2147483647 h 100"/>
                <a:gd name="T10" fmla="*/ 2147483647 w 150"/>
                <a:gd name="T11" fmla="*/ 2147483647 h 100"/>
                <a:gd name="T12" fmla="*/ 2147483647 w 150"/>
                <a:gd name="T13" fmla="*/ 2147483647 h 100"/>
                <a:gd name="T14" fmla="*/ 2147483647 w 150"/>
                <a:gd name="T15" fmla="*/ 2147483647 h 100"/>
                <a:gd name="T16" fmla="*/ 2147483647 w 150"/>
                <a:gd name="T17" fmla="*/ 2147483647 h 100"/>
                <a:gd name="T18" fmla="*/ 2147483647 w 150"/>
                <a:gd name="T19" fmla="*/ 2147483647 h 100"/>
                <a:gd name="T20" fmla="*/ 2147483647 w 150"/>
                <a:gd name="T21" fmla="*/ 2147483647 h 100"/>
                <a:gd name="T22" fmla="*/ 2147483647 w 150"/>
                <a:gd name="T23" fmla="*/ 2147483647 h 100"/>
                <a:gd name="T24" fmla="*/ 2147483647 w 150"/>
                <a:gd name="T25" fmla="*/ 2147483647 h 100"/>
                <a:gd name="T26" fmla="*/ 2147483647 w 150"/>
                <a:gd name="T27" fmla="*/ 0 h 100"/>
                <a:gd name="T28" fmla="*/ 2147483647 w 150"/>
                <a:gd name="T29" fmla="*/ 2147483647 h 100"/>
                <a:gd name="T30" fmla="*/ 2147483647 w 150"/>
                <a:gd name="T31" fmla="*/ 0 h 100"/>
                <a:gd name="T32" fmla="*/ 2147483647 w 150"/>
                <a:gd name="T33" fmla="*/ 2147483647 h 100"/>
                <a:gd name="T34" fmla="*/ 2147483647 w 150"/>
                <a:gd name="T35" fmla="*/ 2147483647 h 100"/>
                <a:gd name="T36" fmla="*/ 2147483647 w 150"/>
                <a:gd name="T37" fmla="*/ 2147483647 h 100"/>
                <a:gd name="T38" fmla="*/ 0 w 150"/>
                <a:gd name="T39" fmla="*/ 2147483647 h 1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0" h="100">
                  <a:moveTo>
                    <a:pt x="0" y="32"/>
                  </a:moveTo>
                  <a:lnTo>
                    <a:pt x="26" y="32"/>
                  </a:lnTo>
                  <a:lnTo>
                    <a:pt x="13" y="44"/>
                  </a:lnTo>
                  <a:lnTo>
                    <a:pt x="13" y="55"/>
                  </a:lnTo>
                  <a:lnTo>
                    <a:pt x="75" y="55"/>
                  </a:lnTo>
                  <a:lnTo>
                    <a:pt x="37" y="67"/>
                  </a:lnTo>
                  <a:lnTo>
                    <a:pt x="94" y="100"/>
                  </a:lnTo>
                  <a:lnTo>
                    <a:pt x="125" y="77"/>
                  </a:lnTo>
                  <a:lnTo>
                    <a:pt x="150" y="44"/>
                  </a:lnTo>
                  <a:lnTo>
                    <a:pt x="143" y="32"/>
                  </a:lnTo>
                  <a:lnTo>
                    <a:pt x="112" y="32"/>
                  </a:lnTo>
                  <a:lnTo>
                    <a:pt x="119" y="11"/>
                  </a:lnTo>
                  <a:lnTo>
                    <a:pt x="87" y="32"/>
                  </a:lnTo>
                  <a:lnTo>
                    <a:pt x="81" y="0"/>
                  </a:lnTo>
                  <a:lnTo>
                    <a:pt x="75" y="44"/>
                  </a:lnTo>
                  <a:lnTo>
                    <a:pt x="37" y="0"/>
                  </a:lnTo>
                  <a:lnTo>
                    <a:pt x="37" y="23"/>
                  </a:lnTo>
                  <a:lnTo>
                    <a:pt x="26" y="11"/>
                  </a:lnTo>
                  <a:lnTo>
                    <a:pt x="31" y="44"/>
                  </a:lnTo>
                  <a:lnTo>
                    <a:pt x="0" y="3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72" name="Freeform 702"/>
            <p:cNvSpPr>
              <a:spLocks/>
            </p:cNvSpPr>
            <p:nvPr>
              <p:custDataLst>
                <p:tags r:id="rId580"/>
              </p:custDataLst>
            </p:nvPr>
          </p:nvSpPr>
          <p:spPr bwMode="auto">
            <a:xfrm>
              <a:off x="6516284" y="2112544"/>
              <a:ext cx="276676" cy="79375"/>
            </a:xfrm>
            <a:custGeom>
              <a:avLst/>
              <a:gdLst>
                <a:gd name="T0" fmla="*/ 0 w 150"/>
                <a:gd name="T1" fmla="*/ 2147483647 h 100"/>
                <a:gd name="T2" fmla="*/ 2147483647 w 150"/>
                <a:gd name="T3" fmla="*/ 2147483647 h 100"/>
                <a:gd name="T4" fmla="*/ 2147483647 w 150"/>
                <a:gd name="T5" fmla="*/ 2147483647 h 100"/>
                <a:gd name="T6" fmla="*/ 2147483647 w 150"/>
                <a:gd name="T7" fmla="*/ 2147483647 h 100"/>
                <a:gd name="T8" fmla="*/ 2147483647 w 150"/>
                <a:gd name="T9" fmla="*/ 2147483647 h 100"/>
                <a:gd name="T10" fmla="*/ 2147483647 w 150"/>
                <a:gd name="T11" fmla="*/ 2147483647 h 100"/>
                <a:gd name="T12" fmla="*/ 2147483647 w 150"/>
                <a:gd name="T13" fmla="*/ 2147483647 h 100"/>
                <a:gd name="T14" fmla="*/ 2147483647 w 150"/>
                <a:gd name="T15" fmla="*/ 2147483647 h 100"/>
                <a:gd name="T16" fmla="*/ 2147483647 w 150"/>
                <a:gd name="T17" fmla="*/ 2147483647 h 100"/>
                <a:gd name="T18" fmla="*/ 2147483647 w 150"/>
                <a:gd name="T19" fmla="*/ 2147483647 h 100"/>
                <a:gd name="T20" fmla="*/ 2147483647 w 150"/>
                <a:gd name="T21" fmla="*/ 2147483647 h 100"/>
                <a:gd name="T22" fmla="*/ 2147483647 w 150"/>
                <a:gd name="T23" fmla="*/ 2147483647 h 100"/>
                <a:gd name="T24" fmla="*/ 2147483647 w 150"/>
                <a:gd name="T25" fmla="*/ 2147483647 h 100"/>
                <a:gd name="T26" fmla="*/ 2147483647 w 150"/>
                <a:gd name="T27" fmla="*/ 0 h 100"/>
                <a:gd name="T28" fmla="*/ 2147483647 w 150"/>
                <a:gd name="T29" fmla="*/ 2147483647 h 100"/>
                <a:gd name="T30" fmla="*/ 2147483647 w 150"/>
                <a:gd name="T31" fmla="*/ 0 h 100"/>
                <a:gd name="T32" fmla="*/ 2147483647 w 150"/>
                <a:gd name="T33" fmla="*/ 2147483647 h 100"/>
                <a:gd name="T34" fmla="*/ 2147483647 w 150"/>
                <a:gd name="T35" fmla="*/ 2147483647 h 100"/>
                <a:gd name="T36" fmla="*/ 2147483647 w 150"/>
                <a:gd name="T37" fmla="*/ 2147483647 h 100"/>
                <a:gd name="T38" fmla="*/ 0 w 150"/>
                <a:gd name="T39" fmla="*/ 2147483647 h 1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0" h="100">
                  <a:moveTo>
                    <a:pt x="0" y="32"/>
                  </a:moveTo>
                  <a:lnTo>
                    <a:pt x="26" y="32"/>
                  </a:lnTo>
                  <a:lnTo>
                    <a:pt x="13" y="44"/>
                  </a:lnTo>
                  <a:lnTo>
                    <a:pt x="13" y="55"/>
                  </a:lnTo>
                  <a:lnTo>
                    <a:pt x="75" y="55"/>
                  </a:lnTo>
                  <a:lnTo>
                    <a:pt x="37" y="67"/>
                  </a:lnTo>
                  <a:lnTo>
                    <a:pt x="94" y="100"/>
                  </a:lnTo>
                  <a:lnTo>
                    <a:pt x="125" y="77"/>
                  </a:lnTo>
                  <a:lnTo>
                    <a:pt x="150" y="44"/>
                  </a:lnTo>
                  <a:lnTo>
                    <a:pt x="143" y="32"/>
                  </a:lnTo>
                  <a:lnTo>
                    <a:pt x="112" y="32"/>
                  </a:lnTo>
                  <a:lnTo>
                    <a:pt x="119" y="11"/>
                  </a:lnTo>
                  <a:lnTo>
                    <a:pt x="87" y="32"/>
                  </a:lnTo>
                  <a:lnTo>
                    <a:pt x="81" y="0"/>
                  </a:lnTo>
                  <a:lnTo>
                    <a:pt x="75" y="44"/>
                  </a:lnTo>
                  <a:lnTo>
                    <a:pt x="37" y="0"/>
                  </a:lnTo>
                  <a:lnTo>
                    <a:pt x="37" y="23"/>
                  </a:lnTo>
                  <a:lnTo>
                    <a:pt x="26" y="11"/>
                  </a:lnTo>
                  <a:lnTo>
                    <a:pt x="31" y="4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73" name="Freeform 703"/>
            <p:cNvSpPr>
              <a:spLocks/>
            </p:cNvSpPr>
            <p:nvPr>
              <p:custDataLst>
                <p:tags r:id="rId581"/>
              </p:custDataLst>
            </p:nvPr>
          </p:nvSpPr>
          <p:spPr bwMode="auto">
            <a:xfrm>
              <a:off x="6516284" y="2112544"/>
              <a:ext cx="276676" cy="79375"/>
            </a:xfrm>
            <a:custGeom>
              <a:avLst/>
              <a:gdLst>
                <a:gd name="T0" fmla="*/ 0 w 150"/>
                <a:gd name="T1" fmla="*/ 2147483647 h 100"/>
                <a:gd name="T2" fmla="*/ 2147483647 w 150"/>
                <a:gd name="T3" fmla="*/ 2147483647 h 100"/>
                <a:gd name="T4" fmla="*/ 2147483647 w 150"/>
                <a:gd name="T5" fmla="*/ 2147483647 h 100"/>
                <a:gd name="T6" fmla="*/ 2147483647 w 150"/>
                <a:gd name="T7" fmla="*/ 2147483647 h 100"/>
                <a:gd name="T8" fmla="*/ 2147483647 w 150"/>
                <a:gd name="T9" fmla="*/ 2147483647 h 100"/>
                <a:gd name="T10" fmla="*/ 2147483647 w 150"/>
                <a:gd name="T11" fmla="*/ 2147483647 h 100"/>
                <a:gd name="T12" fmla="*/ 2147483647 w 150"/>
                <a:gd name="T13" fmla="*/ 2147483647 h 100"/>
                <a:gd name="T14" fmla="*/ 2147483647 w 150"/>
                <a:gd name="T15" fmla="*/ 2147483647 h 100"/>
                <a:gd name="T16" fmla="*/ 2147483647 w 150"/>
                <a:gd name="T17" fmla="*/ 2147483647 h 100"/>
                <a:gd name="T18" fmla="*/ 2147483647 w 150"/>
                <a:gd name="T19" fmla="*/ 2147483647 h 100"/>
                <a:gd name="T20" fmla="*/ 2147483647 w 150"/>
                <a:gd name="T21" fmla="*/ 2147483647 h 100"/>
                <a:gd name="T22" fmla="*/ 2147483647 w 150"/>
                <a:gd name="T23" fmla="*/ 2147483647 h 100"/>
                <a:gd name="T24" fmla="*/ 2147483647 w 150"/>
                <a:gd name="T25" fmla="*/ 2147483647 h 100"/>
                <a:gd name="T26" fmla="*/ 2147483647 w 150"/>
                <a:gd name="T27" fmla="*/ 0 h 100"/>
                <a:gd name="T28" fmla="*/ 2147483647 w 150"/>
                <a:gd name="T29" fmla="*/ 2147483647 h 100"/>
                <a:gd name="T30" fmla="*/ 2147483647 w 150"/>
                <a:gd name="T31" fmla="*/ 0 h 100"/>
                <a:gd name="T32" fmla="*/ 2147483647 w 150"/>
                <a:gd name="T33" fmla="*/ 2147483647 h 100"/>
                <a:gd name="T34" fmla="*/ 2147483647 w 150"/>
                <a:gd name="T35" fmla="*/ 2147483647 h 100"/>
                <a:gd name="T36" fmla="*/ 2147483647 w 150"/>
                <a:gd name="T37" fmla="*/ 2147483647 h 100"/>
                <a:gd name="T38" fmla="*/ 0 w 150"/>
                <a:gd name="T39" fmla="*/ 2147483647 h 1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50" h="100">
                  <a:moveTo>
                    <a:pt x="0" y="32"/>
                  </a:moveTo>
                  <a:lnTo>
                    <a:pt x="26" y="32"/>
                  </a:lnTo>
                  <a:lnTo>
                    <a:pt x="13" y="44"/>
                  </a:lnTo>
                  <a:lnTo>
                    <a:pt x="13" y="55"/>
                  </a:lnTo>
                  <a:lnTo>
                    <a:pt x="75" y="55"/>
                  </a:lnTo>
                  <a:lnTo>
                    <a:pt x="37" y="67"/>
                  </a:lnTo>
                  <a:lnTo>
                    <a:pt x="94" y="100"/>
                  </a:lnTo>
                  <a:lnTo>
                    <a:pt x="125" y="77"/>
                  </a:lnTo>
                  <a:lnTo>
                    <a:pt x="150" y="44"/>
                  </a:lnTo>
                  <a:lnTo>
                    <a:pt x="143" y="32"/>
                  </a:lnTo>
                  <a:lnTo>
                    <a:pt x="112" y="32"/>
                  </a:lnTo>
                  <a:lnTo>
                    <a:pt x="119" y="11"/>
                  </a:lnTo>
                  <a:lnTo>
                    <a:pt x="87" y="32"/>
                  </a:lnTo>
                  <a:lnTo>
                    <a:pt x="81" y="0"/>
                  </a:lnTo>
                  <a:lnTo>
                    <a:pt x="75" y="44"/>
                  </a:lnTo>
                  <a:lnTo>
                    <a:pt x="37" y="0"/>
                  </a:lnTo>
                  <a:lnTo>
                    <a:pt x="37" y="23"/>
                  </a:lnTo>
                  <a:lnTo>
                    <a:pt x="26" y="11"/>
                  </a:lnTo>
                  <a:lnTo>
                    <a:pt x="31" y="44"/>
                  </a:lnTo>
                  <a:lnTo>
                    <a:pt x="0" y="3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74" name="Freeform 704"/>
            <p:cNvSpPr>
              <a:spLocks/>
            </p:cNvSpPr>
            <p:nvPr>
              <p:custDataLst>
                <p:tags r:id="rId582"/>
              </p:custDataLst>
            </p:nvPr>
          </p:nvSpPr>
          <p:spPr bwMode="auto">
            <a:xfrm>
              <a:off x="6618522" y="2242708"/>
              <a:ext cx="118289" cy="55562"/>
            </a:xfrm>
            <a:custGeom>
              <a:avLst/>
              <a:gdLst>
                <a:gd name="T0" fmla="*/ 0 w 64"/>
                <a:gd name="T1" fmla="*/ 2147483647 h 69"/>
                <a:gd name="T2" fmla="*/ 2147483647 w 64"/>
                <a:gd name="T3" fmla="*/ 2147483647 h 69"/>
                <a:gd name="T4" fmla="*/ 2147483647 w 64"/>
                <a:gd name="T5" fmla="*/ 0 h 69"/>
                <a:gd name="T6" fmla="*/ 2147483647 w 64"/>
                <a:gd name="T7" fmla="*/ 2147483647 h 69"/>
                <a:gd name="T8" fmla="*/ 2147483647 w 64"/>
                <a:gd name="T9" fmla="*/ 2147483647 h 69"/>
                <a:gd name="T10" fmla="*/ 2147483647 w 64"/>
                <a:gd name="T11" fmla="*/ 2147483647 h 69"/>
                <a:gd name="T12" fmla="*/ 2147483647 w 64"/>
                <a:gd name="T13" fmla="*/ 2147483647 h 69"/>
                <a:gd name="T14" fmla="*/ 0 w 64"/>
                <a:gd name="T15" fmla="*/ 2147483647 h 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69">
                  <a:moveTo>
                    <a:pt x="0" y="56"/>
                  </a:moveTo>
                  <a:lnTo>
                    <a:pt x="7" y="25"/>
                  </a:lnTo>
                  <a:lnTo>
                    <a:pt x="32" y="0"/>
                  </a:lnTo>
                  <a:lnTo>
                    <a:pt x="32" y="25"/>
                  </a:lnTo>
                  <a:lnTo>
                    <a:pt x="64" y="35"/>
                  </a:lnTo>
                  <a:lnTo>
                    <a:pt x="26" y="69"/>
                  </a:lnTo>
                  <a:lnTo>
                    <a:pt x="32" y="4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75" name="Freeform 705"/>
            <p:cNvSpPr>
              <a:spLocks/>
            </p:cNvSpPr>
            <p:nvPr>
              <p:custDataLst>
                <p:tags r:id="rId583"/>
              </p:custDataLst>
            </p:nvPr>
          </p:nvSpPr>
          <p:spPr bwMode="auto">
            <a:xfrm>
              <a:off x="6618522" y="2242708"/>
              <a:ext cx="118289" cy="55562"/>
            </a:xfrm>
            <a:custGeom>
              <a:avLst/>
              <a:gdLst>
                <a:gd name="T0" fmla="*/ 0 w 64"/>
                <a:gd name="T1" fmla="*/ 2147483647 h 69"/>
                <a:gd name="T2" fmla="*/ 2147483647 w 64"/>
                <a:gd name="T3" fmla="*/ 2147483647 h 69"/>
                <a:gd name="T4" fmla="*/ 2147483647 w 64"/>
                <a:gd name="T5" fmla="*/ 0 h 69"/>
                <a:gd name="T6" fmla="*/ 2147483647 w 64"/>
                <a:gd name="T7" fmla="*/ 2147483647 h 69"/>
                <a:gd name="T8" fmla="*/ 2147483647 w 64"/>
                <a:gd name="T9" fmla="*/ 2147483647 h 69"/>
                <a:gd name="T10" fmla="*/ 2147483647 w 64"/>
                <a:gd name="T11" fmla="*/ 2147483647 h 69"/>
                <a:gd name="T12" fmla="*/ 2147483647 w 64"/>
                <a:gd name="T13" fmla="*/ 2147483647 h 69"/>
                <a:gd name="T14" fmla="*/ 0 w 64"/>
                <a:gd name="T15" fmla="*/ 2147483647 h 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69">
                  <a:moveTo>
                    <a:pt x="0" y="56"/>
                  </a:moveTo>
                  <a:lnTo>
                    <a:pt x="7" y="25"/>
                  </a:lnTo>
                  <a:lnTo>
                    <a:pt x="32" y="0"/>
                  </a:lnTo>
                  <a:lnTo>
                    <a:pt x="32" y="25"/>
                  </a:lnTo>
                  <a:lnTo>
                    <a:pt x="64" y="35"/>
                  </a:lnTo>
                  <a:lnTo>
                    <a:pt x="26" y="69"/>
                  </a:lnTo>
                  <a:lnTo>
                    <a:pt x="32" y="46"/>
                  </a:lnTo>
                  <a:lnTo>
                    <a:pt x="0" y="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76" name="Freeform 706"/>
            <p:cNvSpPr>
              <a:spLocks/>
            </p:cNvSpPr>
            <p:nvPr>
              <p:custDataLst>
                <p:tags r:id="rId584"/>
              </p:custDataLst>
            </p:nvPr>
          </p:nvSpPr>
          <p:spPr bwMode="auto">
            <a:xfrm>
              <a:off x="6618522" y="2242708"/>
              <a:ext cx="118289" cy="55562"/>
            </a:xfrm>
            <a:custGeom>
              <a:avLst/>
              <a:gdLst>
                <a:gd name="T0" fmla="*/ 0 w 64"/>
                <a:gd name="T1" fmla="*/ 2147483647 h 69"/>
                <a:gd name="T2" fmla="*/ 2147483647 w 64"/>
                <a:gd name="T3" fmla="*/ 2147483647 h 69"/>
                <a:gd name="T4" fmla="*/ 2147483647 w 64"/>
                <a:gd name="T5" fmla="*/ 0 h 69"/>
                <a:gd name="T6" fmla="*/ 2147483647 w 64"/>
                <a:gd name="T7" fmla="*/ 2147483647 h 69"/>
                <a:gd name="T8" fmla="*/ 2147483647 w 64"/>
                <a:gd name="T9" fmla="*/ 2147483647 h 69"/>
                <a:gd name="T10" fmla="*/ 2147483647 w 64"/>
                <a:gd name="T11" fmla="*/ 2147483647 h 69"/>
                <a:gd name="T12" fmla="*/ 2147483647 w 64"/>
                <a:gd name="T13" fmla="*/ 2147483647 h 69"/>
                <a:gd name="T14" fmla="*/ 0 w 64"/>
                <a:gd name="T15" fmla="*/ 2147483647 h 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69">
                  <a:moveTo>
                    <a:pt x="0" y="56"/>
                  </a:moveTo>
                  <a:lnTo>
                    <a:pt x="7" y="25"/>
                  </a:lnTo>
                  <a:lnTo>
                    <a:pt x="32" y="0"/>
                  </a:lnTo>
                  <a:lnTo>
                    <a:pt x="32" y="25"/>
                  </a:lnTo>
                  <a:lnTo>
                    <a:pt x="64" y="35"/>
                  </a:lnTo>
                  <a:lnTo>
                    <a:pt x="26" y="69"/>
                  </a:lnTo>
                  <a:lnTo>
                    <a:pt x="32" y="46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77" name="Freeform 707"/>
            <p:cNvSpPr>
              <a:spLocks/>
            </p:cNvSpPr>
            <p:nvPr>
              <p:custDataLst>
                <p:tags r:id="rId585"/>
              </p:custDataLst>
            </p:nvPr>
          </p:nvSpPr>
          <p:spPr bwMode="auto">
            <a:xfrm>
              <a:off x="6618522" y="2242708"/>
              <a:ext cx="118289" cy="55562"/>
            </a:xfrm>
            <a:custGeom>
              <a:avLst/>
              <a:gdLst>
                <a:gd name="T0" fmla="*/ 0 w 64"/>
                <a:gd name="T1" fmla="*/ 2147483647 h 69"/>
                <a:gd name="T2" fmla="*/ 2147483647 w 64"/>
                <a:gd name="T3" fmla="*/ 2147483647 h 69"/>
                <a:gd name="T4" fmla="*/ 2147483647 w 64"/>
                <a:gd name="T5" fmla="*/ 0 h 69"/>
                <a:gd name="T6" fmla="*/ 2147483647 w 64"/>
                <a:gd name="T7" fmla="*/ 2147483647 h 69"/>
                <a:gd name="T8" fmla="*/ 2147483647 w 64"/>
                <a:gd name="T9" fmla="*/ 2147483647 h 69"/>
                <a:gd name="T10" fmla="*/ 2147483647 w 64"/>
                <a:gd name="T11" fmla="*/ 2147483647 h 69"/>
                <a:gd name="T12" fmla="*/ 2147483647 w 64"/>
                <a:gd name="T13" fmla="*/ 2147483647 h 69"/>
                <a:gd name="T14" fmla="*/ 0 w 64"/>
                <a:gd name="T15" fmla="*/ 2147483647 h 6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64" h="69">
                  <a:moveTo>
                    <a:pt x="0" y="56"/>
                  </a:moveTo>
                  <a:lnTo>
                    <a:pt x="7" y="25"/>
                  </a:lnTo>
                  <a:lnTo>
                    <a:pt x="32" y="0"/>
                  </a:lnTo>
                  <a:lnTo>
                    <a:pt x="32" y="25"/>
                  </a:lnTo>
                  <a:lnTo>
                    <a:pt x="64" y="35"/>
                  </a:lnTo>
                  <a:lnTo>
                    <a:pt x="26" y="69"/>
                  </a:lnTo>
                  <a:lnTo>
                    <a:pt x="32" y="46"/>
                  </a:lnTo>
                  <a:lnTo>
                    <a:pt x="0" y="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78" name="Freeform 708"/>
            <p:cNvSpPr>
              <a:spLocks/>
            </p:cNvSpPr>
            <p:nvPr>
              <p:custDataLst>
                <p:tags r:id="rId586"/>
              </p:custDataLst>
            </p:nvPr>
          </p:nvSpPr>
          <p:spPr bwMode="auto">
            <a:xfrm>
              <a:off x="6343863" y="2695145"/>
              <a:ext cx="356871" cy="541338"/>
            </a:xfrm>
            <a:custGeom>
              <a:avLst/>
              <a:gdLst>
                <a:gd name="T0" fmla="*/ 0 w 193"/>
                <a:gd name="T1" fmla="*/ 2147483647 h 682"/>
                <a:gd name="T2" fmla="*/ 2147483647 w 193"/>
                <a:gd name="T3" fmla="*/ 2147483647 h 682"/>
                <a:gd name="T4" fmla="*/ 2147483647 w 193"/>
                <a:gd name="T5" fmla="*/ 2147483647 h 682"/>
                <a:gd name="T6" fmla="*/ 2147483647 w 193"/>
                <a:gd name="T7" fmla="*/ 2147483647 h 682"/>
                <a:gd name="T8" fmla="*/ 2147483647 w 193"/>
                <a:gd name="T9" fmla="*/ 2147483647 h 682"/>
                <a:gd name="T10" fmla="*/ 2147483647 w 193"/>
                <a:gd name="T11" fmla="*/ 2147483647 h 682"/>
                <a:gd name="T12" fmla="*/ 2147483647 w 193"/>
                <a:gd name="T13" fmla="*/ 2147483647 h 682"/>
                <a:gd name="T14" fmla="*/ 2147483647 w 193"/>
                <a:gd name="T15" fmla="*/ 2147483647 h 682"/>
                <a:gd name="T16" fmla="*/ 2147483647 w 193"/>
                <a:gd name="T17" fmla="*/ 2147483647 h 682"/>
                <a:gd name="T18" fmla="*/ 2147483647 w 193"/>
                <a:gd name="T19" fmla="*/ 2147483647 h 682"/>
                <a:gd name="T20" fmla="*/ 2147483647 w 193"/>
                <a:gd name="T21" fmla="*/ 2147483647 h 682"/>
                <a:gd name="T22" fmla="*/ 2147483647 w 193"/>
                <a:gd name="T23" fmla="*/ 2147483647 h 682"/>
                <a:gd name="T24" fmla="*/ 2147483647 w 193"/>
                <a:gd name="T25" fmla="*/ 2147483647 h 682"/>
                <a:gd name="T26" fmla="*/ 2147483647 w 193"/>
                <a:gd name="T27" fmla="*/ 2147483647 h 682"/>
                <a:gd name="T28" fmla="*/ 2147483647 w 193"/>
                <a:gd name="T29" fmla="*/ 2147483647 h 682"/>
                <a:gd name="T30" fmla="*/ 2147483647 w 193"/>
                <a:gd name="T31" fmla="*/ 2147483647 h 682"/>
                <a:gd name="T32" fmla="*/ 2147483647 w 193"/>
                <a:gd name="T33" fmla="*/ 2147483647 h 682"/>
                <a:gd name="T34" fmla="*/ 2147483647 w 193"/>
                <a:gd name="T35" fmla="*/ 2147483647 h 682"/>
                <a:gd name="T36" fmla="*/ 2147483647 w 193"/>
                <a:gd name="T37" fmla="*/ 2147483647 h 682"/>
                <a:gd name="T38" fmla="*/ 2147483647 w 193"/>
                <a:gd name="T39" fmla="*/ 2147483647 h 682"/>
                <a:gd name="T40" fmla="*/ 2147483647 w 193"/>
                <a:gd name="T41" fmla="*/ 0 h 682"/>
                <a:gd name="T42" fmla="*/ 2147483647 w 193"/>
                <a:gd name="T43" fmla="*/ 0 h 682"/>
                <a:gd name="T44" fmla="*/ 2147483647 w 193"/>
                <a:gd name="T45" fmla="*/ 2147483647 h 682"/>
                <a:gd name="T46" fmla="*/ 2147483647 w 193"/>
                <a:gd name="T47" fmla="*/ 2147483647 h 682"/>
                <a:gd name="T48" fmla="*/ 2147483647 w 193"/>
                <a:gd name="T49" fmla="*/ 2147483647 h 682"/>
                <a:gd name="T50" fmla="*/ 2147483647 w 193"/>
                <a:gd name="T51" fmla="*/ 2147483647 h 682"/>
                <a:gd name="T52" fmla="*/ 2147483647 w 193"/>
                <a:gd name="T53" fmla="*/ 2147483647 h 682"/>
                <a:gd name="T54" fmla="*/ 2147483647 w 193"/>
                <a:gd name="T55" fmla="*/ 2147483647 h 682"/>
                <a:gd name="T56" fmla="*/ 2147483647 w 193"/>
                <a:gd name="T57" fmla="*/ 2147483647 h 682"/>
                <a:gd name="T58" fmla="*/ 2147483647 w 193"/>
                <a:gd name="T59" fmla="*/ 2147483647 h 682"/>
                <a:gd name="T60" fmla="*/ 2147483647 w 193"/>
                <a:gd name="T61" fmla="*/ 2147483647 h 682"/>
                <a:gd name="T62" fmla="*/ 2147483647 w 193"/>
                <a:gd name="T63" fmla="*/ 2147483647 h 682"/>
                <a:gd name="T64" fmla="*/ 2147483647 w 193"/>
                <a:gd name="T65" fmla="*/ 2147483647 h 682"/>
                <a:gd name="T66" fmla="*/ 2147483647 w 193"/>
                <a:gd name="T67" fmla="*/ 2147483647 h 682"/>
                <a:gd name="T68" fmla="*/ 2147483647 w 193"/>
                <a:gd name="T69" fmla="*/ 2147483647 h 682"/>
                <a:gd name="T70" fmla="*/ 0 w 193"/>
                <a:gd name="T71" fmla="*/ 2147483647 h 6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93" h="682">
                  <a:moveTo>
                    <a:pt x="0" y="513"/>
                  </a:moveTo>
                  <a:lnTo>
                    <a:pt x="5" y="592"/>
                  </a:lnTo>
                  <a:lnTo>
                    <a:pt x="24" y="627"/>
                  </a:lnTo>
                  <a:lnTo>
                    <a:pt x="19" y="682"/>
                  </a:lnTo>
                  <a:lnTo>
                    <a:pt x="69" y="636"/>
                  </a:lnTo>
                  <a:lnTo>
                    <a:pt x="80" y="536"/>
                  </a:lnTo>
                  <a:lnTo>
                    <a:pt x="74" y="536"/>
                  </a:lnTo>
                  <a:lnTo>
                    <a:pt x="112" y="504"/>
                  </a:lnTo>
                  <a:lnTo>
                    <a:pt x="74" y="492"/>
                  </a:lnTo>
                  <a:lnTo>
                    <a:pt x="99" y="504"/>
                  </a:lnTo>
                  <a:lnTo>
                    <a:pt x="112" y="469"/>
                  </a:lnTo>
                  <a:lnTo>
                    <a:pt x="93" y="436"/>
                  </a:lnTo>
                  <a:lnTo>
                    <a:pt x="74" y="459"/>
                  </a:lnTo>
                  <a:lnTo>
                    <a:pt x="93" y="436"/>
                  </a:lnTo>
                  <a:lnTo>
                    <a:pt x="93" y="337"/>
                  </a:lnTo>
                  <a:lnTo>
                    <a:pt x="155" y="246"/>
                  </a:lnTo>
                  <a:lnTo>
                    <a:pt x="149" y="225"/>
                  </a:lnTo>
                  <a:lnTo>
                    <a:pt x="162" y="179"/>
                  </a:lnTo>
                  <a:lnTo>
                    <a:pt x="193" y="168"/>
                  </a:lnTo>
                  <a:lnTo>
                    <a:pt x="187" y="58"/>
                  </a:lnTo>
                  <a:lnTo>
                    <a:pt x="143" y="0"/>
                  </a:lnTo>
                  <a:lnTo>
                    <a:pt x="137" y="0"/>
                  </a:lnTo>
                  <a:lnTo>
                    <a:pt x="137" y="35"/>
                  </a:lnTo>
                  <a:lnTo>
                    <a:pt x="105" y="23"/>
                  </a:lnTo>
                  <a:lnTo>
                    <a:pt x="99" y="58"/>
                  </a:lnTo>
                  <a:lnTo>
                    <a:pt x="80" y="70"/>
                  </a:lnTo>
                  <a:lnTo>
                    <a:pt x="74" y="102"/>
                  </a:lnTo>
                  <a:lnTo>
                    <a:pt x="50" y="158"/>
                  </a:lnTo>
                  <a:lnTo>
                    <a:pt x="37" y="237"/>
                  </a:lnTo>
                  <a:lnTo>
                    <a:pt x="43" y="258"/>
                  </a:lnTo>
                  <a:lnTo>
                    <a:pt x="12" y="290"/>
                  </a:lnTo>
                  <a:lnTo>
                    <a:pt x="12" y="381"/>
                  </a:lnTo>
                  <a:lnTo>
                    <a:pt x="19" y="404"/>
                  </a:lnTo>
                  <a:lnTo>
                    <a:pt x="12" y="425"/>
                  </a:lnTo>
                  <a:lnTo>
                    <a:pt x="19" y="459"/>
                  </a:lnTo>
                  <a:lnTo>
                    <a:pt x="0" y="51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779" name="Group 709"/>
            <p:cNvGrpSpPr>
              <a:grpSpLocks/>
            </p:cNvGrpSpPr>
            <p:nvPr>
              <p:custDataLst>
                <p:tags r:id="rId587"/>
              </p:custDataLst>
            </p:nvPr>
          </p:nvGrpSpPr>
          <p:grpSpPr bwMode="auto">
            <a:xfrm>
              <a:off x="6343863" y="2695145"/>
              <a:ext cx="356871" cy="541338"/>
              <a:chOff x="3121" y="1328"/>
              <a:chExt cx="193" cy="34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23" name="Freeform 710"/>
              <p:cNvSpPr>
                <a:spLocks/>
              </p:cNvSpPr>
              <p:nvPr/>
            </p:nvSpPr>
            <p:spPr bwMode="auto">
              <a:xfrm>
                <a:off x="3121" y="1328"/>
                <a:ext cx="193" cy="341"/>
              </a:xfrm>
              <a:custGeom>
                <a:avLst/>
                <a:gdLst>
                  <a:gd name="T0" fmla="*/ 0 w 193"/>
                  <a:gd name="T1" fmla="*/ 1 h 682"/>
                  <a:gd name="T2" fmla="*/ 5 w 193"/>
                  <a:gd name="T3" fmla="*/ 1 h 682"/>
                  <a:gd name="T4" fmla="*/ 24 w 193"/>
                  <a:gd name="T5" fmla="*/ 1 h 682"/>
                  <a:gd name="T6" fmla="*/ 19 w 193"/>
                  <a:gd name="T7" fmla="*/ 1 h 682"/>
                  <a:gd name="T8" fmla="*/ 69 w 193"/>
                  <a:gd name="T9" fmla="*/ 1 h 682"/>
                  <a:gd name="T10" fmla="*/ 80 w 193"/>
                  <a:gd name="T11" fmla="*/ 1 h 682"/>
                  <a:gd name="T12" fmla="*/ 74 w 193"/>
                  <a:gd name="T13" fmla="*/ 1 h 682"/>
                  <a:gd name="T14" fmla="*/ 112 w 193"/>
                  <a:gd name="T15" fmla="*/ 1 h 682"/>
                  <a:gd name="T16" fmla="*/ 74 w 193"/>
                  <a:gd name="T17" fmla="*/ 1 h 682"/>
                  <a:gd name="T18" fmla="*/ 99 w 193"/>
                  <a:gd name="T19" fmla="*/ 1 h 682"/>
                  <a:gd name="T20" fmla="*/ 112 w 193"/>
                  <a:gd name="T21" fmla="*/ 1 h 682"/>
                  <a:gd name="T22" fmla="*/ 93 w 193"/>
                  <a:gd name="T23" fmla="*/ 1 h 682"/>
                  <a:gd name="T24" fmla="*/ 74 w 193"/>
                  <a:gd name="T25" fmla="*/ 1 h 682"/>
                  <a:gd name="T26" fmla="*/ 93 w 193"/>
                  <a:gd name="T27" fmla="*/ 1 h 682"/>
                  <a:gd name="T28" fmla="*/ 93 w 193"/>
                  <a:gd name="T29" fmla="*/ 1 h 682"/>
                  <a:gd name="T30" fmla="*/ 155 w 193"/>
                  <a:gd name="T31" fmla="*/ 1 h 682"/>
                  <a:gd name="T32" fmla="*/ 149 w 193"/>
                  <a:gd name="T33" fmla="*/ 1 h 682"/>
                  <a:gd name="T34" fmla="*/ 162 w 193"/>
                  <a:gd name="T35" fmla="*/ 1 h 682"/>
                  <a:gd name="T36" fmla="*/ 193 w 193"/>
                  <a:gd name="T37" fmla="*/ 1 h 682"/>
                  <a:gd name="T38" fmla="*/ 187 w 193"/>
                  <a:gd name="T39" fmla="*/ 1 h 682"/>
                  <a:gd name="T40" fmla="*/ 143 w 193"/>
                  <a:gd name="T41" fmla="*/ 0 h 682"/>
                  <a:gd name="T42" fmla="*/ 137 w 193"/>
                  <a:gd name="T43" fmla="*/ 0 h 682"/>
                  <a:gd name="T44" fmla="*/ 137 w 193"/>
                  <a:gd name="T45" fmla="*/ 1 h 682"/>
                  <a:gd name="T46" fmla="*/ 105 w 193"/>
                  <a:gd name="T47" fmla="*/ 1 h 682"/>
                  <a:gd name="T48" fmla="*/ 99 w 193"/>
                  <a:gd name="T49" fmla="*/ 1 h 682"/>
                  <a:gd name="T50" fmla="*/ 80 w 193"/>
                  <a:gd name="T51" fmla="*/ 1 h 682"/>
                  <a:gd name="T52" fmla="*/ 74 w 193"/>
                  <a:gd name="T53" fmla="*/ 1 h 682"/>
                  <a:gd name="T54" fmla="*/ 50 w 193"/>
                  <a:gd name="T55" fmla="*/ 1 h 682"/>
                  <a:gd name="T56" fmla="*/ 37 w 193"/>
                  <a:gd name="T57" fmla="*/ 1 h 682"/>
                  <a:gd name="T58" fmla="*/ 43 w 193"/>
                  <a:gd name="T59" fmla="*/ 1 h 682"/>
                  <a:gd name="T60" fmla="*/ 12 w 193"/>
                  <a:gd name="T61" fmla="*/ 1 h 682"/>
                  <a:gd name="T62" fmla="*/ 12 w 193"/>
                  <a:gd name="T63" fmla="*/ 1 h 682"/>
                  <a:gd name="T64" fmla="*/ 19 w 193"/>
                  <a:gd name="T65" fmla="*/ 1 h 682"/>
                  <a:gd name="T66" fmla="*/ 12 w 193"/>
                  <a:gd name="T67" fmla="*/ 1 h 682"/>
                  <a:gd name="T68" fmla="*/ 19 w 193"/>
                  <a:gd name="T69" fmla="*/ 1 h 682"/>
                  <a:gd name="T70" fmla="*/ 0 w 193"/>
                  <a:gd name="T71" fmla="*/ 1 h 68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93" h="682">
                    <a:moveTo>
                      <a:pt x="0" y="513"/>
                    </a:moveTo>
                    <a:lnTo>
                      <a:pt x="5" y="592"/>
                    </a:lnTo>
                    <a:lnTo>
                      <a:pt x="24" y="627"/>
                    </a:lnTo>
                    <a:lnTo>
                      <a:pt x="19" y="682"/>
                    </a:lnTo>
                    <a:lnTo>
                      <a:pt x="69" y="636"/>
                    </a:lnTo>
                    <a:lnTo>
                      <a:pt x="80" y="536"/>
                    </a:lnTo>
                    <a:lnTo>
                      <a:pt x="74" y="536"/>
                    </a:lnTo>
                    <a:lnTo>
                      <a:pt x="112" y="504"/>
                    </a:lnTo>
                    <a:lnTo>
                      <a:pt x="74" y="492"/>
                    </a:lnTo>
                    <a:lnTo>
                      <a:pt x="99" y="504"/>
                    </a:lnTo>
                    <a:lnTo>
                      <a:pt x="112" y="469"/>
                    </a:lnTo>
                    <a:lnTo>
                      <a:pt x="93" y="436"/>
                    </a:lnTo>
                    <a:lnTo>
                      <a:pt x="74" y="459"/>
                    </a:lnTo>
                    <a:lnTo>
                      <a:pt x="93" y="436"/>
                    </a:lnTo>
                    <a:lnTo>
                      <a:pt x="93" y="337"/>
                    </a:lnTo>
                    <a:lnTo>
                      <a:pt x="155" y="246"/>
                    </a:lnTo>
                    <a:lnTo>
                      <a:pt x="149" y="225"/>
                    </a:lnTo>
                    <a:lnTo>
                      <a:pt x="162" y="179"/>
                    </a:lnTo>
                    <a:lnTo>
                      <a:pt x="193" y="168"/>
                    </a:lnTo>
                    <a:lnTo>
                      <a:pt x="187" y="58"/>
                    </a:lnTo>
                    <a:lnTo>
                      <a:pt x="143" y="0"/>
                    </a:lnTo>
                    <a:lnTo>
                      <a:pt x="137" y="0"/>
                    </a:lnTo>
                    <a:lnTo>
                      <a:pt x="137" y="35"/>
                    </a:lnTo>
                    <a:lnTo>
                      <a:pt x="105" y="23"/>
                    </a:lnTo>
                    <a:lnTo>
                      <a:pt x="99" y="58"/>
                    </a:lnTo>
                    <a:lnTo>
                      <a:pt x="80" y="70"/>
                    </a:lnTo>
                    <a:lnTo>
                      <a:pt x="74" y="102"/>
                    </a:lnTo>
                    <a:lnTo>
                      <a:pt x="50" y="158"/>
                    </a:lnTo>
                    <a:lnTo>
                      <a:pt x="37" y="237"/>
                    </a:lnTo>
                    <a:lnTo>
                      <a:pt x="43" y="258"/>
                    </a:lnTo>
                    <a:lnTo>
                      <a:pt x="12" y="290"/>
                    </a:lnTo>
                    <a:lnTo>
                      <a:pt x="12" y="381"/>
                    </a:lnTo>
                    <a:lnTo>
                      <a:pt x="19" y="404"/>
                    </a:lnTo>
                    <a:lnTo>
                      <a:pt x="12" y="425"/>
                    </a:lnTo>
                    <a:lnTo>
                      <a:pt x="19" y="459"/>
                    </a:lnTo>
                    <a:lnTo>
                      <a:pt x="0" y="513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24" name="Freeform 711"/>
              <p:cNvSpPr>
                <a:spLocks/>
              </p:cNvSpPr>
              <p:nvPr/>
            </p:nvSpPr>
            <p:spPr bwMode="auto">
              <a:xfrm>
                <a:off x="3121" y="1328"/>
                <a:ext cx="193" cy="341"/>
              </a:xfrm>
              <a:custGeom>
                <a:avLst/>
                <a:gdLst>
                  <a:gd name="T0" fmla="*/ 0 w 193"/>
                  <a:gd name="T1" fmla="*/ 1 h 682"/>
                  <a:gd name="T2" fmla="*/ 5 w 193"/>
                  <a:gd name="T3" fmla="*/ 1 h 682"/>
                  <a:gd name="T4" fmla="*/ 24 w 193"/>
                  <a:gd name="T5" fmla="*/ 1 h 682"/>
                  <a:gd name="T6" fmla="*/ 19 w 193"/>
                  <a:gd name="T7" fmla="*/ 1 h 682"/>
                  <a:gd name="T8" fmla="*/ 69 w 193"/>
                  <a:gd name="T9" fmla="*/ 1 h 682"/>
                  <a:gd name="T10" fmla="*/ 80 w 193"/>
                  <a:gd name="T11" fmla="*/ 1 h 682"/>
                  <a:gd name="T12" fmla="*/ 74 w 193"/>
                  <a:gd name="T13" fmla="*/ 1 h 682"/>
                  <a:gd name="T14" fmla="*/ 112 w 193"/>
                  <a:gd name="T15" fmla="*/ 1 h 682"/>
                  <a:gd name="T16" fmla="*/ 74 w 193"/>
                  <a:gd name="T17" fmla="*/ 1 h 682"/>
                  <a:gd name="T18" fmla="*/ 99 w 193"/>
                  <a:gd name="T19" fmla="*/ 1 h 682"/>
                  <a:gd name="T20" fmla="*/ 112 w 193"/>
                  <a:gd name="T21" fmla="*/ 1 h 682"/>
                  <a:gd name="T22" fmla="*/ 93 w 193"/>
                  <a:gd name="T23" fmla="*/ 1 h 682"/>
                  <a:gd name="T24" fmla="*/ 74 w 193"/>
                  <a:gd name="T25" fmla="*/ 1 h 682"/>
                  <a:gd name="T26" fmla="*/ 93 w 193"/>
                  <a:gd name="T27" fmla="*/ 1 h 682"/>
                  <a:gd name="T28" fmla="*/ 93 w 193"/>
                  <a:gd name="T29" fmla="*/ 1 h 682"/>
                  <a:gd name="T30" fmla="*/ 155 w 193"/>
                  <a:gd name="T31" fmla="*/ 1 h 682"/>
                  <a:gd name="T32" fmla="*/ 149 w 193"/>
                  <a:gd name="T33" fmla="*/ 1 h 682"/>
                  <a:gd name="T34" fmla="*/ 162 w 193"/>
                  <a:gd name="T35" fmla="*/ 1 h 682"/>
                  <a:gd name="T36" fmla="*/ 193 w 193"/>
                  <a:gd name="T37" fmla="*/ 1 h 682"/>
                  <a:gd name="T38" fmla="*/ 187 w 193"/>
                  <a:gd name="T39" fmla="*/ 1 h 682"/>
                  <a:gd name="T40" fmla="*/ 143 w 193"/>
                  <a:gd name="T41" fmla="*/ 0 h 682"/>
                  <a:gd name="T42" fmla="*/ 137 w 193"/>
                  <a:gd name="T43" fmla="*/ 0 h 682"/>
                  <a:gd name="T44" fmla="*/ 137 w 193"/>
                  <a:gd name="T45" fmla="*/ 1 h 682"/>
                  <a:gd name="T46" fmla="*/ 105 w 193"/>
                  <a:gd name="T47" fmla="*/ 1 h 682"/>
                  <a:gd name="T48" fmla="*/ 99 w 193"/>
                  <a:gd name="T49" fmla="*/ 1 h 682"/>
                  <a:gd name="T50" fmla="*/ 80 w 193"/>
                  <a:gd name="T51" fmla="*/ 1 h 682"/>
                  <a:gd name="T52" fmla="*/ 74 w 193"/>
                  <a:gd name="T53" fmla="*/ 1 h 682"/>
                  <a:gd name="T54" fmla="*/ 50 w 193"/>
                  <a:gd name="T55" fmla="*/ 1 h 682"/>
                  <a:gd name="T56" fmla="*/ 37 w 193"/>
                  <a:gd name="T57" fmla="*/ 1 h 682"/>
                  <a:gd name="T58" fmla="*/ 43 w 193"/>
                  <a:gd name="T59" fmla="*/ 1 h 682"/>
                  <a:gd name="T60" fmla="*/ 12 w 193"/>
                  <a:gd name="T61" fmla="*/ 1 h 682"/>
                  <a:gd name="T62" fmla="*/ 12 w 193"/>
                  <a:gd name="T63" fmla="*/ 1 h 682"/>
                  <a:gd name="T64" fmla="*/ 19 w 193"/>
                  <a:gd name="T65" fmla="*/ 1 h 682"/>
                  <a:gd name="T66" fmla="*/ 12 w 193"/>
                  <a:gd name="T67" fmla="*/ 1 h 682"/>
                  <a:gd name="T68" fmla="*/ 19 w 193"/>
                  <a:gd name="T69" fmla="*/ 1 h 682"/>
                  <a:gd name="T70" fmla="*/ 0 w 193"/>
                  <a:gd name="T71" fmla="*/ 1 h 68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93" h="682">
                    <a:moveTo>
                      <a:pt x="0" y="513"/>
                    </a:moveTo>
                    <a:lnTo>
                      <a:pt x="5" y="592"/>
                    </a:lnTo>
                    <a:lnTo>
                      <a:pt x="24" y="627"/>
                    </a:lnTo>
                    <a:lnTo>
                      <a:pt x="19" y="682"/>
                    </a:lnTo>
                    <a:lnTo>
                      <a:pt x="69" y="636"/>
                    </a:lnTo>
                    <a:lnTo>
                      <a:pt x="80" y="536"/>
                    </a:lnTo>
                    <a:lnTo>
                      <a:pt x="74" y="536"/>
                    </a:lnTo>
                    <a:lnTo>
                      <a:pt x="112" y="504"/>
                    </a:lnTo>
                    <a:lnTo>
                      <a:pt x="74" y="492"/>
                    </a:lnTo>
                    <a:lnTo>
                      <a:pt x="99" y="504"/>
                    </a:lnTo>
                    <a:lnTo>
                      <a:pt x="112" y="469"/>
                    </a:lnTo>
                    <a:lnTo>
                      <a:pt x="93" y="436"/>
                    </a:lnTo>
                    <a:lnTo>
                      <a:pt x="74" y="459"/>
                    </a:lnTo>
                    <a:lnTo>
                      <a:pt x="93" y="436"/>
                    </a:lnTo>
                    <a:lnTo>
                      <a:pt x="93" y="337"/>
                    </a:lnTo>
                    <a:lnTo>
                      <a:pt x="155" y="246"/>
                    </a:lnTo>
                    <a:lnTo>
                      <a:pt x="149" y="225"/>
                    </a:lnTo>
                    <a:lnTo>
                      <a:pt x="162" y="179"/>
                    </a:lnTo>
                    <a:lnTo>
                      <a:pt x="193" y="168"/>
                    </a:lnTo>
                    <a:lnTo>
                      <a:pt x="187" y="58"/>
                    </a:lnTo>
                    <a:lnTo>
                      <a:pt x="143" y="0"/>
                    </a:lnTo>
                    <a:lnTo>
                      <a:pt x="137" y="0"/>
                    </a:lnTo>
                    <a:lnTo>
                      <a:pt x="137" y="35"/>
                    </a:lnTo>
                    <a:lnTo>
                      <a:pt x="105" y="23"/>
                    </a:lnTo>
                    <a:lnTo>
                      <a:pt x="99" y="58"/>
                    </a:lnTo>
                    <a:lnTo>
                      <a:pt x="80" y="70"/>
                    </a:lnTo>
                    <a:lnTo>
                      <a:pt x="74" y="102"/>
                    </a:lnTo>
                    <a:lnTo>
                      <a:pt x="50" y="158"/>
                    </a:lnTo>
                    <a:lnTo>
                      <a:pt x="37" y="237"/>
                    </a:lnTo>
                    <a:lnTo>
                      <a:pt x="43" y="258"/>
                    </a:lnTo>
                    <a:lnTo>
                      <a:pt x="12" y="290"/>
                    </a:lnTo>
                    <a:lnTo>
                      <a:pt x="12" y="381"/>
                    </a:lnTo>
                    <a:lnTo>
                      <a:pt x="19" y="404"/>
                    </a:lnTo>
                    <a:lnTo>
                      <a:pt x="12" y="425"/>
                    </a:lnTo>
                    <a:lnTo>
                      <a:pt x="19" y="459"/>
                    </a:lnTo>
                    <a:lnTo>
                      <a:pt x="0" y="51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780" name="Freeform 712"/>
            <p:cNvSpPr>
              <a:spLocks/>
            </p:cNvSpPr>
            <p:nvPr>
              <p:custDataLst>
                <p:tags r:id="rId588"/>
              </p:custDataLst>
            </p:nvPr>
          </p:nvSpPr>
          <p:spPr bwMode="auto">
            <a:xfrm>
              <a:off x="6343863" y="2695145"/>
              <a:ext cx="356871" cy="541338"/>
            </a:xfrm>
            <a:custGeom>
              <a:avLst/>
              <a:gdLst>
                <a:gd name="T0" fmla="*/ 0 w 193"/>
                <a:gd name="T1" fmla="*/ 2147483647 h 682"/>
                <a:gd name="T2" fmla="*/ 2147483647 w 193"/>
                <a:gd name="T3" fmla="*/ 2147483647 h 682"/>
                <a:gd name="T4" fmla="*/ 2147483647 w 193"/>
                <a:gd name="T5" fmla="*/ 2147483647 h 682"/>
                <a:gd name="T6" fmla="*/ 2147483647 w 193"/>
                <a:gd name="T7" fmla="*/ 2147483647 h 682"/>
                <a:gd name="T8" fmla="*/ 2147483647 w 193"/>
                <a:gd name="T9" fmla="*/ 2147483647 h 682"/>
                <a:gd name="T10" fmla="*/ 2147483647 w 193"/>
                <a:gd name="T11" fmla="*/ 2147483647 h 682"/>
                <a:gd name="T12" fmla="*/ 2147483647 w 193"/>
                <a:gd name="T13" fmla="*/ 2147483647 h 682"/>
                <a:gd name="T14" fmla="*/ 2147483647 w 193"/>
                <a:gd name="T15" fmla="*/ 2147483647 h 682"/>
                <a:gd name="T16" fmla="*/ 2147483647 w 193"/>
                <a:gd name="T17" fmla="*/ 2147483647 h 682"/>
                <a:gd name="T18" fmla="*/ 2147483647 w 193"/>
                <a:gd name="T19" fmla="*/ 2147483647 h 682"/>
                <a:gd name="T20" fmla="*/ 2147483647 w 193"/>
                <a:gd name="T21" fmla="*/ 2147483647 h 682"/>
                <a:gd name="T22" fmla="*/ 2147483647 w 193"/>
                <a:gd name="T23" fmla="*/ 2147483647 h 682"/>
                <a:gd name="T24" fmla="*/ 2147483647 w 193"/>
                <a:gd name="T25" fmla="*/ 2147483647 h 682"/>
                <a:gd name="T26" fmla="*/ 2147483647 w 193"/>
                <a:gd name="T27" fmla="*/ 2147483647 h 682"/>
                <a:gd name="T28" fmla="*/ 2147483647 w 193"/>
                <a:gd name="T29" fmla="*/ 2147483647 h 682"/>
                <a:gd name="T30" fmla="*/ 2147483647 w 193"/>
                <a:gd name="T31" fmla="*/ 2147483647 h 682"/>
                <a:gd name="T32" fmla="*/ 2147483647 w 193"/>
                <a:gd name="T33" fmla="*/ 2147483647 h 682"/>
                <a:gd name="T34" fmla="*/ 2147483647 w 193"/>
                <a:gd name="T35" fmla="*/ 2147483647 h 682"/>
                <a:gd name="T36" fmla="*/ 2147483647 w 193"/>
                <a:gd name="T37" fmla="*/ 2147483647 h 682"/>
                <a:gd name="T38" fmla="*/ 2147483647 w 193"/>
                <a:gd name="T39" fmla="*/ 2147483647 h 682"/>
                <a:gd name="T40" fmla="*/ 2147483647 w 193"/>
                <a:gd name="T41" fmla="*/ 0 h 682"/>
                <a:gd name="T42" fmla="*/ 2147483647 w 193"/>
                <a:gd name="T43" fmla="*/ 0 h 682"/>
                <a:gd name="T44" fmla="*/ 2147483647 w 193"/>
                <a:gd name="T45" fmla="*/ 2147483647 h 682"/>
                <a:gd name="T46" fmla="*/ 2147483647 w 193"/>
                <a:gd name="T47" fmla="*/ 2147483647 h 682"/>
                <a:gd name="T48" fmla="*/ 2147483647 w 193"/>
                <a:gd name="T49" fmla="*/ 2147483647 h 682"/>
                <a:gd name="T50" fmla="*/ 2147483647 w 193"/>
                <a:gd name="T51" fmla="*/ 2147483647 h 682"/>
                <a:gd name="T52" fmla="*/ 2147483647 w 193"/>
                <a:gd name="T53" fmla="*/ 2147483647 h 682"/>
                <a:gd name="T54" fmla="*/ 2147483647 w 193"/>
                <a:gd name="T55" fmla="*/ 2147483647 h 682"/>
                <a:gd name="T56" fmla="*/ 2147483647 w 193"/>
                <a:gd name="T57" fmla="*/ 2147483647 h 682"/>
                <a:gd name="T58" fmla="*/ 2147483647 w 193"/>
                <a:gd name="T59" fmla="*/ 2147483647 h 682"/>
                <a:gd name="T60" fmla="*/ 2147483647 w 193"/>
                <a:gd name="T61" fmla="*/ 2147483647 h 682"/>
                <a:gd name="T62" fmla="*/ 2147483647 w 193"/>
                <a:gd name="T63" fmla="*/ 2147483647 h 682"/>
                <a:gd name="T64" fmla="*/ 2147483647 w 193"/>
                <a:gd name="T65" fmla="*/ 2147483647 h 682"/>
                <a:gd name="T66" fmla="*/ 2147483647 w 193"/>
                <a:gd name="T67" fmla="*/ 2147483647 h 682"/>
                <a:gd name="T68" fmla="*/ 2147483647 w 193"/>
                <a:gd name="T69" fmla="*/ 2147483647 h 682"/>
                <a:gd name="T70" fmla="*/ 0 w 193"/>
                <a:gd name="T71" fmla="*/ 2147483647 h 68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93" h="682">
                  <a:moveTo>
                    <a:pt x="0" y="513"/>
                  </a:moveTo>
                  <a:lnTo>
                    <a:pt x="5" y="592"/>
                  </a:lnTo>
                  <a:lnTo>
                    <a:pt x="24" y="627"/>
                  </a:lnTo>
                  <a:lnTo>
                    <a:pt x="19" y="682"/>
                  </a:lnTo>
                  <a:lnTo>
                    <a:pt x="69" y="636"/>
                  </a:lnTo>
                  <a:lnTo>
                    <a:pt x="80" y="536"/>
                  </a:lnTo>
                  <a:lnTo>
                    <a:pt x="74" y="536"/>
                  </a:lnTo>
                  <a:lnTo>
                    <a:pt x="112" y="504"/>
                  </a:lnTo>
                  <a:lnTo>
                    <a:pt x="74" y="492"/>
                  </a:lnTo>
                  <a:lnTo>
                    <a:pt x="99" y="504"/>
                  </a:lnTo>
                  <a:lnTo>
                    <a:pt x="112" y="469"/>
                  </a:lnTo>
                  <a:lnTo>
                    <a:pt x="93" y="436"/>
                  </a:lnTo>
                  <a:lnTo>
                    <a:pt x="74" y="459"/>
                  </a:lnTo>
                  <a:lnTo>
                    <a:pt x="93" y="436"/>
                  </a:lnTo>
                  <a:lnTo>
                    <a:pt x="93" y="337"/>
                  </a:lnTo>
                  <a:lnTo>
                    <a:pt x="155" y="246"/>
                  </a:lnTo>
                  <a:lnTo>
                    <a:pt x="149" y="225"/>
                  </a:lnTo>
                  <a:lnTo>
                    <a:pt x="162" y="179"/>
                  </a:lnTo>
                  <a:lnTo>
                    <a:pt x="193" y="168"/>
                  </a:lnTo>
                  <a:lnTo>
                    <a:pt x="187" y="58"/>
                  </a:lnTo>
                  <a:lnTo>
                    <a:pt x="143" y="0"/>
                  </a:lnTo>
                  <a:lnTo>
                    <a:pt x="137" y="0"/>
                  </a:lnTo>
                  <a:lnTo>
                    <a:pt x="137" y="35"/>
                  </a:lnTo>
                  <a:lnTo>
                    <a:pt x="105" y="23"/>
                  </a:lnTo>
                  <a:lnTo>
                    <a:pt x="99" y="58"/>
                  </a:lnTo>
                  <a:lnTo>
                    <a:pt x="80" y="70"/>
                  </a:lnTo>
                  <a:lnTo>
                    <a:pt x="74" y="102"/>
                  </a:lnTo>
                  <a:lnTo>
                    <a:pt x="50" y="158"/>
                  </a:lnTo>
                  <a:lnTo>
                    <a:pt x="37" y="237"/>
                  </a:lnTo>
                  <a:lnTo>
                    <a:pt x="43" y="258"/>
                  </a:lnTo>
                  <a:lnTo>
                    <a:pt x="12" y="290"/>
                  </a:lnTo>
                  <a:lnTo>
                    <a:pt x="12" y="381"/>
                  </a:lnTo>
                  <a:lnTo>
                    <a:pt x="19" y="404"/>
                  </a:lnTo>
                  <a:lnTo>
                    <a:pt x="12" y="425"/>
                  </a:lnTo>
                  <a:lnTo>
                    <a:pt x="19" y="459"/>
                  </a:lnTo>
                  <a:lnTo>
                    <a:pt x="0" y="51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781" name="Group 713"/>
            <p:cNvGrpSpPr>
              <a:grpSpLocks/>
            </p:cNvGrpSpPr>
            <p:nvPr>
              <p:custDataLst>
                <p:tags r:id="rId589"/>
              </p:custDataLst>
            </p:nvPr>
          </p:nvGrpSpPr>
          <p:grpSpPr bwMode="auto">
            <a:xfrm>
              <a:off x="6343863" y="2695145"/>
              <a:ext cx="356871" cy="541338"/>
              <a:chOff x="3121" y="1328"/>
              <a:chExt cx="193" cy="34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21" name="Freeform 714"/>
              <p:cNvSpPr>
                <a:spLocks/>
              </p:cNvSpPr>
              <p:nvPr/>
            </p:nvSpPr>
            <p:spPr bwMode="auto">
              <a:xfrm>
                <a:off x="3121" y="1328"/>
                <a:ext cx="193" cy="341"/>
              </a:xfrm>
              <a:custGeom>
                <a:avLst/>
                <a:gdLst>
                  <a:gd name="T0" fmla="*/ 0 w 193"/>
                  <a:gd name="T1" fmla="*/ 1 h 682"/>
                  <a:gd name="T2" fmla="*/ 5 w 193"/>
                  <a:gd name="T3" fmla="*/ 1 h 682"/>
                  <a:gd name="T4" fmla="*/ 24 w 193"/>
                  <a:gd name="T5" fmla="*/ 1 h 682"/>
                  <a:gd name="T6" fmla="*/ 19 w 193"/>
                  <a:gd name="T7" fmla="*/ 1 h 682"/>
                  <a:gd name="T8" fmla="*/ 69 w 193"/>
                  <a:gd name="T9" fmla="*/ 1 h 682"/>
                  <a:gd name="T10" fmla="*/ 80 w 193"/>
                  <a:gd name="T11" fmla="*/ 1 h 682"/>
                  <a:gd name="T12" fmla="*/ 74 w 193"/>
                  <a:gd name="T13" fmla="*/ 1 h 682"/>
                  <a:gd name="T14" fmla="*/ 112 w 193"/>
                  <a:gd name="T15" fmla="*/ 1 h 682"/>
                  <a:gd name="T16" fmla="*/ 74 w 193"/>
                  <a:gd name="T17" fmla="*/ 1 h 682"/>
                  <a:gd name="T18" fmla="*/ 99 w 193"/>
                  <a:gd name="T19" fmla="*/ 1 h 682"/>
                  <a:gd name="T20" fmla="*/ 112 w 193"/>
                  <a:gd name="T21" fmla="*/ 1 h 682"/>
                  <a:gd name="T22" fmla="*/ 93 w 193"/>
                  <a:gd name="T23" fmla="*/ 1 h 682"/>
                  <a:gd name="T24" fmla="*/ 74 w 193"/>
                  <a:gd name="T25" fmla="*/ 1 h 682"/>
                  <a:gd name="T26" fmla="*/ 93 w 193"/>
                  <a:gd name="T27" fmla="*/ 1 h 682"/>
                  <a:gd name="T28" fmla="*/ 93 w 193"/>
                  <a:gd name="T29" fmla="*/ 1 h 682"/>
                  <a:gd name="T30" fmla="*/ 155 w 193"/>
                  <a:gd name="T31" fmla="*/ 1 h 682"/>
                  <a:gd name="T32" fmla="*/ 149 w 193"/>
                  <a:gd name="T33" fmla="*/ 1 h 682"/>
                  <a:gd name="T34" fmla="*/ 162 w 193"/>
                  <a:gd name="T35" fmla="*/ 1 h 682"/>
                  <a:gd name="T36" fmla="*/ 193 w 193"/>
                  <a:gd name="T37" fmla="*/ 1 h 682"/>
                  <a:gd name="T38" fmla="*/ 187 w 193"/>
                  <a:gd name="T39" fmla="*/ 1 h 682"/>
                  <a:gd name="T40" fmla="*/ 143 w 193"/>
                  <a:gd name="T41" fmla="*/ 0 h 682"/>
                  <a:gd name="T42" fmla="*/ 137 w 193"/>
                  <a:gd name="T43" fmla="*/ 0 h 682"/>
                  <a:gd name="T44" fmla="*/ 137 w 193"/>
                  <a:gd name="T45" fmla="*/ 1 h 682"/>
                  <a:gd name="T46" fmla="*/ 105 w 193"/>
                  <a:gd name="T47" fmla="*/ 1 h 682"/>
                  <a:gd name="T48" fmla="*/ 99 w 193"/>
                  <a:gd name="T49" fmla="*/ 1 h 682"/>
                  <a:gd name="T50" fmla="*/ 80 w 193"/>
                  <a:gd name="T51" fmla="*/ 1 h 682"/>
                  <a:gd name="T52" fmla="*/ 74 w 193"/>
                  <a:gd name="T53" fmla="*/ 1 h 682"/>
                  <a:gd name="T54" fmla="*/ 50 w 193"/>
                  <a:gd name="T55" fmla="*/ 1 h 682"/>
                  <a:gd name="T56" fmla="*/ 37 w 193"/>
                  <a:gd name="T57" fmla="*/ 1 h 682"/>
                  <a:gd name="T58" fmla="*/ 43 w 193"/>
                  <a:gd name="T59" fmla="*/ 1 h 682"/>
                  <a:gd name="T60" fmla="*/ 12 w 193"/>
                  <a:gd name="T61" fmla="*/ 1 h 682"/>
                  <a:gd name="T62" fmla="*/ 12 w 193"/>
                  <a:gd name="T63" fmla="*/ 1 h 682"/>
                  <a:gd name="T64" fmla="*/ 19 w 193"/>
                  <a:gd name="T65" fmla="*/ 1 h 682"/>
                  <a:gd name="T66" fmla="*/ 12 w 193"/>
                  <a:gd name="T67" fmla="*/ 1 h 682"/>
                  <a:gd name="T68" fmla="*/ 19 w 193"/>
                  <a:gd name="T69" fmla="*/ 1 h 682"/>
                  <a:gd name="T70" fmla="*/ 0 w 193"/>
                  <a:gd name="T71" fmla="*/ 1 h 68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93" h="682">
                    <a:moveTo>
                      <a:pt x="0" y="513"/>
                    </a:moveTo>
                    <a:lnTo>
                      <a:pt x="5" y="592"/>
                    </a:lnTo>
                    <a:lnTo>
                      <a:pt x="24" y="627"/>
                    </a:lnTo>
                    <a:lnTo>
                      <a:pt x="19" y="682"/>
                    </a:lnTo>
                    <a:lnTo>
                      <a:pt x="69" y="636"/>
                    </a:lnTo>
                    <a:lnTo>
                      <a:pt x="80" y="536"/>
                    </a:lnTo>
                    <a:lnTo>
                      <a:pt x="74" y="536"/>
                    </a:lnTo>
                    <a:lnTo>
                      <a:pt x="112" y="504"/>
                    </a:lnTo>
                    <a:lnTo>
                      <a:pt x="74" y="492"/>
                    </a:lnTo>
                    <a:lnTo>
                      <a:pt x="99" y="504"/>
                    </a:lnTo>
                    <a:lnTo>
                      <a:pt x="112" y="469"/>
                    </a:lnTo>
                    <a:lnTo>
                      <a:pt x="93" y="436"/>
                    </a:lnTo>
                    <a:lnTo>
                      <a:pt x="74" y="459"/>
                    </a:lnTo>
                    <a:lnTo>
                      <a:pt x="93" y="436"/>
                    </a:lnTo>
                    <a:lnTo>
                      <a:pt x="93" y="337"/>
                    </a:lnTo>
                    <a:lnTo>
                      <a:pt x="155" y="246"/>
                    </a:lnTo>
                    <a:lnTo>
                      <a:pt x="149" y="225"/>
                    </a:lnTo>
                    <a:lnTo>
                      <a:pt x="162" y="179"/>
                    </a:lnTo>
                    <a:lnTo>
                      <a:pt x="193" y="168"/>
                    </a:lnTo>
                    <a:lnTo>
                      <a:pt x="187" y="58"/>
                    </a:lnTo>
                    <a:lnTo>
                      <a:pt x="143" y="0"/>
                    </a:lnTo>
                    <a:lnTo>
                      <a:pt x="137" y="0"/>
                    </a:lnTo>
                    <a:lnTo>
                      <a:pt x="137" y="35"/>
                    </a:lnTo>
                    <a:lnTo>
                      <a:pt x="105" y="23"/>
                    </a:lnTo>
                    <a:lnTo>
                      <a:pt x="99" y="58"/>
                    </a:lnTo>
                    <a:lnTo>
                      <a:pt x="80" y="70"/>
                    </a:lnTo>
                    <a:lnTo>
                      <a:pt x="74" y="102"/>
                    </a:lnTo>
                    <a:lnTo>
                      <a:pt x="50" y="158"/>
                    </a:lnTo>
                    <a:lnTo>
                      <a:pt x="37" y="237"/>
                    </a:lnTo>
                    <a:lnTo>
                      <a:pt x="43" y="258"/>
                    </a:lnTo>
                    <a:lnTo>
                      <a:pt x="12" y="290"/>
                    </a:lnTo>
                    <a:lnTo>
                      <a:pt x="12" y="381"/>
                    </a:lnTo>
                    <a:lnTo>
                      <a:pt x="19" y="404"/>
                    </a:lnTo>
                    <a:lnTo>
                      <a:pt x="12" y="425"/>
                    </a:lnTo>
                    <a:lnTo>
                      <a:pt x="19" y="459"/>
                    </a:lnTo>
                    <a:lnTo>
                      <a:pt x="0" y="513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22" name="Freeform 715"/>
              <p:cNvSpPr>
                <a:spLocks/>
              </p:cNvSpPr>
              <p:nvPr/>
            </p:nvSpPr>
            <p:spPr bwMode="auto">
              <a:xfrm>
                <a:off x="3121" y="1328"/>
                <a:ext cx="193" cy="341"/>
              </a:xfrm>
              <a:custGeom>
                <a:avLst/>
                <a:gdLst>
                  <a:gd name="T0" fmla="*/ 0 w 193"/>
                  <a:gd name="T1" fmla="*/ 1 h 682"/>
                  <a:gd name="T2" fmla="*/ 5 w 193"/>
                  <a:gd name="T3" fmla="*/ 1 h 682"/>
                  <a:gd name="T4" fmla="*/ 24 w 193"/>
                  <a:gd name="T5" fmla="*/ 1 h 682"/>
                  <a:gd name="T6" fmla="*/ 19 w 193"/>
                  <a:gd name="T7" fmla="*/ 1 h 682"/>
                  <a:gd name="T8" fmla="*/ 69 w 193"/>
                  <a:gd name="T9" fmla="*/ 1 h 682"/>
                  <a:gd name="T10" fmla="*/ 80 w 193"/>
                  <a:gd name="T11" fmla="*/ 1 h 682"/>
                  <a:gd name="T12" fmla="*/ 74 w 193"/>
                  <a:gd name="T13" fmla="*/ 1 h 682"/>
                  <a:gd name="T14" fmla="*/ 112 w 193"/>
                  <a:gd name="T15" fmla="*/ 1 h 682"/>
                  <a:gd name="T16" fmla="*/ 74 w 193"/>
                  <a:gd name="T17" fmla="*/ 1 h 682"/>
                  <a:gd name="T18" fmla="*/ 99 w 193"/>
                  <a:gd name="T19" fmla="*/ 1 h 682"/>
                  <a:gd name="T20" fmla="*/ 112 w 193"/>
                  <a:gd name="T21" fmla="*/ 1 h 682"/>
                  <a:gd name="T22" fmla="*/ 93 w 193"/>
                  <a:gd name="T23" fmla="*/ 1 h 682"/>
                  <a:gd name="T24" fmla="*/ 74 w 193"/>
                  <a:gd name="T25" fmla="*/ 1 h 682"/>
                  <a:gd name="T26" fmla="*/ 93 w 193"/>
                  <a:gd name="T27" fmla="*/ 1 h 682"/>
                  <a:gd name="T28" fmla="*/ 93 w 193"/>
                  <a:gd name="T29" fmla="*/ 1 h 682"/>
                  <a:gd name="T30" fmla="*/ 155 w 193"/>
                  <a:gd name="T31" fmla="*/ 1 h 682"/>
                  <a:gd name="T32" fmla="*/ 149 w 193"/>
                  <a:gd name="T33" fmla="*/ 1 h 682"/>
                  <a:gd name="T34" fmla="*/ 162 w 193"/>
                  <a:gd name="T35" fmla="*/ 1 h 682"/>
                  <a:gd name="T36" fmla="*/ 193 w 193"/>
                  <a:gd name="T37" fmla="*/ 1 h 682"/>
                  <a:gd name="T38" fmla="*/ 187 w 193"/>
                  <a:gd name="T39" fmla="*/ 1 h 682"/>
                  <a:gd name="T40" fmla="*/ 143 w 193"/>
                  <a:gd name="T41" fmla="*/ 0 h 682"/>
                  <a:gd name="T42" fmla="*/ 137 w 193"/>
                  <a:gd name="T43" fmla="*/ 0 h 682"/>
                  <a:gd name="T44" fmla="*/ 137 w 193"/>
                  <a:gd name="T45" fmla="*/ 1 h 682"/>
                  <a:gd name="T46" fmla="*/ 105 w 193"/>
                  <a:gd name="T47" fmla="*/ 1 h 682"/>
                  <a:gd name="T48" fmla="*/ 99 w 193"/>
                  <a:gd name="T49" fmla="*/ 1 h 682"/>
                  <a:gd name="T50" fmla="*/ 80 w 193"/>
                  <a:gd name="T51" fmla="*/ 1 h 682"/>
                  <a:gd name="T52" fmla="*/ 74 w 193"/>
                  <a:gd name="T53" fmla="*/ 1 h 682"/>
                  <a:gd name="T54" fmla="*/ 50 w 193"/>
                  <a:gd name="T55" fmla="*/ 1 h 682"/>
                  <a:gd name="T56" fmla="*/ 37 w 193"/>
                  <a:gd name="T57" fmla="*/ 1 h 682"/>
                  <a:gd name="T58" fmla="*/ 43 w 193"/>
                  <a:gd name="T59" fmla="*/ 1 h 682"/>
                  <a:gd name="T60" fmla="*/ 12 w 193"/>
                  <a:gd name="T61" fmla="*/ 1 h 682"/>
                  <a:gd name="T62" fmla="*/ 12 w 193"/>
                  <a:gd name="T63" fmla="*/ 1 h 682"/>
                  <a:gd name="T64" fmla="*/ 19 w 193"/>
                  <a:gd name="T65" fmla="*/ 1 h 682"/>
                  <a:gd name="T66" fmla="*/ 12 w 193"/>
                  <a:gd name="T67" fmla="*/ 1 h 682"/>
                  <a:gd name="T68" fmla="*/ 19 w 193"/>
                  <a:gd name="T69" fmla="*/ 1 h 682"/>
                  <a:gd name="T70" fmla="*/ 0 w 193"/>
                  <a:gd name="T71" fmla="*/ 1 h 682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93" h="682">
                    <a:moveTo>
                      <a:pt x="0" y="513"/>
                    </a:moveTo>
                    <a:lnTo>
                      <a:pt x="5" y="592"/>
                    </a:lnTo>
                    <a:lnTo>
                      <a:pt x="24" y="627"/>
                    </a:lnTo>
                    <a:lnTo>
                      <a:pt x="19" y="682"/>
                    </a:lnTo>
                    <a:lnTo>
                      <a:pt x="69" y="636"/>
                    </a:lnTo>
                    <a:lnTo>
                      <a:pt x="80" y="536"/>
                    </a:lnTo>
                    <a:lnTo>
                      <a:pt x="74" y="536"/>
                    </a:lnTo>
                    <a:lnTo>
                      <a:pt x="112" y="504"/>
                    </a:lnTo>
                    <a:lnTo>
                      <a:pt x="74" y="492"/>
                    </a:lnTo>
                    <a:lnTo>
                      <a:pt x="99" y="504"/>
                    </a:lnTo>
                    <a:lnTo>
                      <a:pt x="112" y="469"/>
                    </a:lnTo>
                    <a:lnTo>
                      <a:pt x="93" y="436"/>
                    </a:lnTo>
                    <a:lnTo>
                      <a:pt x="74" y="459"/>
                    </a:lnTo>
                    <a:lnTo>
                      <a:pt x="93" y="436"/>
                    </a:lnTo>
                    <a:lnTo>
                      <a:pt x="93" y="337"/>
                    </a:lnTo>
                    <a:lnTo>
                      <a:pt x="155" y="246"/>
                    </a:lnTo>
                    <a:lnTo>
                      <a:pt x="149" y="225"/>
                    </a:lnTo>
                    <a:lnTo>
                      <a:pt x="162" y="179"/>
                    </a:lnTo>
                    <a:lnTo>
                      <a:pt x="193" y="168"/>
                    </a:lnTo>
                    <a:lnTo>
                      <a:pt x="187" y="58"/>
                    </a:lnTo>
                    <a:lnTo>
                      <a:pt x="143" y="0"/>
                    </a:lnTo>
                    <a:lnTo>
                      <a:pt x="137" y="0"/>
                    </a:lnTo>
                    <a:lnTo>
                      <a:pt x="137" y="35"/>
                    </a:lnTo>
                    <a:lnTo>
                      <a:pt x="105" y="23"/>
                    </a:lnTo>
                    <a:lnTo>
                      <a:pt x="99" y="58"/>
                    </a:lnTo>
                    <a:lnTo>
                      <a:pt x="80" y="70"/>
                    </a:lnTo>
                    <a:lnTo>
                      <a:pt x="74" y="102"/>
                    </a:lnTo>
                    <a:lnTo>
                      <a:pt x="50" y="158"/>
                    </a:lnTo>
                    <a:lnTo>
                      <a:pt x="37" y="237"/>
                    </a:lnTo>
                    <a:lnTo>
                      <a:pt x="43" y="258"/>
                    </a:lnTo>
                    <a:lnTo>
                      <a:pt x="12" y="290"/>
                    </a:lnTo>
                    <a:lnTo>
                      <a:pt x="12" y="381"/>
                    </a:lnTo>
                    <a:lnTo>
                      <a:pt x="19" y="404"/>
                    </a:lnTo>
                    <a:lnTo>
                      <a:pt x="12" y="425"/>
                    </a:lnTo>
                    <a:lnTo>
                      <a:pt x="19" y="459"/>
                    </a:lnTo>
                    <a:lnTo>
                      <a:pt x="0" y="513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782" name="Freeform 716"/>
            <p:cNvSpPr>
              <a:spLocks/>
            </p:cNvSpPr>
            <p:nvPr>
              <p:custDataLst>
                <p:tags r:id="rId590"/>
              </p:custDataLst>
            </p:nvPr>
          </p:nvSpPr>
          <p:spPr bwMode="auto">
            <a:xfrm>
              <a:off x="6191469" y="3492070"/>
              <a:ext cx="126308" cy="52388"/>
            </a:xfrm>
            <a:custGeom>
              <a:avLst/>
              <a:gdLst>
                <a:gd name="T0" fmla="*/ 0 w 68"/>
                <a:gd name="T1" fmla="*/ 2147483647 h 65"/>
                <a:gd name="T2" fmla="*/ 2147483647 w 68"/>
                <a:gd name="T3" fmla="*/ 2147483647 h 65"/>
                <a:gd name="T4" fmla="*/ 2147483647 w 68"/>
                <a:gd name="T5" fmla="*/ 2147483647 h 65"/>
                <a:gd name="T6" fmla="*/ 2147483647 w 68"/>
                <a:gd name="T7" fmla="*/ 2147483647 h 65"/>
                <a:gd name="T8" fmla="*/ 2147483647 w 68"/>
                <a:gd name="T9" fmla="*/ 2147483647 h 65"/>
                <a:gd name="T10" fmla="*/ 2147483647 w 68"/>
                <a:gd name="T11" fmla="*/ 2147483647 h 65"/>
                <a:gd name="T12" fmla="*/ 2147483647 w 68"/>
                <a:gd name="T13" fmla="*/ 2147483647 h 65"/>
                <a:gd name="T14" fmla="*/ 2147483647 w 68"/>
                <a:gd name="T15" fmla="*/ 0 h 65"/>
                <a:gd name="T16" fmla="*/ 0 w 68"/>
                <a:gd name="T17" fmla="*/ 2147483647 h 6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8" h="65">
                  <a:moveTo>
                    <a:pt x="0" y="44"/>
                  </a:moveTo>
                  <a:lnTo>
                    <a:pt x="12" y="65"/>
                  </a:lnTo>
                  <a:lnTo>
                    <a:pt x="37" y="54"/>
                  </a:lnTo>
                  <a:lnTo>
                    <a:pt x="44" y="65"/>
                  </a:lnTo>
                  <a:lnTo>
                    <a:pt x="68" y="33"/>
                  </a:lnTo>
                  <a:lnTo>
                    <a:pt x="56" y="21"/>
                  </a:lnTo>
                  <a:lnTo>
                    <a:pt x="50" y="11"/>
                  </a:lnTo>
                  <a:lnTo>
                    <a:pt x="1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83" name="Freeform 717"/>
            <p:cNvSpPr>
              <a:spLocks/>
            </p:cNvSpPr>
            <p:nvPr>
              <p:custDataLst>
                <p:tags r:id="rId591"/>
              </p:custDataLst>
            </p:nvPr>
          </p:nvSpPr>
          <p:spPr bwMode="auto">
            <a:xfrm>
              <a:off x="6191469" y="3492070"/>
              <a:ext cx="126308" cy="52388"/>
            </a:xfrm>
            <a:custGeom>
              <a:avLst/>
              <a:gdLst>
                <a:gd name="T0" fmla="*/ 0 w 68"/>
                <a:gd name="T1" fmla="*/ 2147483647 h 65"/>
                <a:gd name="T2" fmla="*/ 2147483647 w 68"/>
                <a:gd name="T3" fmla="*/ 2147483647 h 65"/>
                <a:gd name="T4" fmla="*/ 2147483647 w 68"/>
                <a:gd name="T5" fmla="*/ 2147483647 h 65"/>
                <a:gd name="T6" fmla="*/ 2147483647 w 68"/>
                <a:gd name="T7" fmla="*/ 2147483647 h 65"/>
                <a:gd name="T8" fmla="*/ 2147483647 w 68"/>
                <a:gd name="T9" fmla="*/ 2147483647 h 65"/>
                <a:gd name="T10" fmla="*/ 2147483647 w 68"/>
                <a:gd name="T11" fmla="*/ 2147483647 h 65"/>
                <a:gd name="T12" fmla="*/ 2147483647 w 68"/>
                <a:gd name="T13" fmla="*/ 2147483647 h 65"/>
                <a:gd name="T14" fmla="*/ 2147483647 w 68"/>
                <a:gd name="T15" fmla="*/ 0 h 65"/>
                <a:gd name="T16" fmla="*/ 0 w 68"/>
                <a:gd name="T17" fmla="*/ 2147483647 h 6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8" h="65">
                  <a:moveTo>
                    <a:pt x="0" y="44"/>
                  </a:moveTo>
                  <a:lnTo>
                    <a:pt x="12" y="65"/>
                  </a:lnTo>
                  <a:lnTo>
                    <a:pt x="37" y="54"/>
                  </a:lnTo>
                  <a:lnTo>
                    <a:pt x="44" y="65"/>
                  </a:lnTo>
                  <a:lnTo>
                    <a:pt x="68" y="33"/>
                  </a:lnTo>
                  <a:lnTo>
                    <a:pt x="56" y="21"/>
                  </a:lnTo>
                  <a:lnTo>
                    <a:pt x="50" y="11"/>
                  </a:lnTo>
                  <a:lnTo>
                    <a:pt x="18" y="0"/>
                  </a:lnTo>
                  <a:lnTo>
                    <a:pt x="0" y="44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84" name="Freeform 718"/>
            <p:cNvSpPr>
              <a:spLocks/>
            </p:cNvSpPr>
            <p:nvPr>
              <p:custDataLst>
                <p:tags r:id="rId592"/>
              </p:custDataLst>
            </p:nvPr>
          </p:nvSpPr>
          <p:spPr bwMode="auto">
            <a:xfrm>
              <a:off x="6191469" y="3492070"/>
              <a:ext cx="126308" cy="52388"/>
            </a:xfrm>
            <a:custGeom>
              <a:avLst/>
              <a:gdLst>
                <a:gd name="T0" fmla="*/ 0 w 68"/>
                <a:gd name="T1" fmla="*/ 2147483647 h 65"/>
                <a:gd name="T2" fmla="*/ 2147483647 w 68"/>
                <a:gd name="T3" fmla="*/ 2147483647 h 65"/>
                <a:gd name="T4" fmla="*/ 2147483647 w 68"/>
                <a:gd name="T5" fmla="*/ 2147483647 h 65"/>
                <a:gd name="T6" fmla="*/ 2147483647 w 68"/>
                <a:gd name="T7" fmla="*/ 2147483647 h 65"/>
                <a:gd name="T8" fmla="*/ 2147483647 w 68"/>
                <a:gd name="T9" fmla="*/ 2147483647 h 65"/>
                <a:gd name="T10" fmla="*/ 2147483647 w 68"/>
                <a:gd name="T11" fmla="*/ 2147483647 h 65"/>
                <a:gd name="T12" fmla="*/ 2147483647 w 68"/>
                <a:gd name="T13" fmla="*/ 2147483647 h 65"/>
                <a:gd name="T14" fmla="*/ 2147483647 w 68"/>
                <a:gd name="T15" fmla="*/ 0 h 65"/>
                <a:gd name="T16" fmla="*/ 0 w 68"/>
                <a:gd name="T17" fmla="*/ 2147483647 h 6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8" h="65">
                  <a:moveTo>
                    <a:pt x="0" y="44"/>
                  </a:moveTo>
                  <a:lnTo>
                    <a:pt x="12" y="65"/>
                  </a:lnTo>
                  <a:lnTo>
                    <a:pt x="37" y="54"/>
                  </a:lnTo>
                  <a:lnTo>
                    <a:pt x="44" y="65"/>
                  </a:lnTo>
                  <a:lnTo>
                    <a:pt x="68" y="33"/>
                  </a:lnTo>
                  <a:lnTo>
                    <a:pt x="56" y="21"/>
                  </a:lnTo>
                  <a:lnTo>
                    <a:pt x="50" y="11"/>
                  </a:lnTo>
                  <a:lnTo>
                    <a:pt x="18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85" name="Freeform 719"/>
            <p:cNvSpPr>
              <a:spLocks/>
            </p:cNvSpPr>
            <p:nvPr>
              <p:custDataLst>
                <p:tags r:id="rId593"/>
              </p:custDataLst>
            </p:nvPr>
          </p:nvSpPr>
          <p:spPr bwMode="auto">
            <a:xfrm>
              <a:off x="6191469" y="3492070"/>
              <a:ext cx="126308" cy="52388"/>
            </a:xfrm>
            <a:custGeom>
              <a:avLst/>
              <a:gdLst>
                <a:gd name="T0" fmla="*/ 0 w 68"/>
                <a:gd name="T1" fmla="*/ 2147483647 h 65"/>
                <a:gd name="T2" fmla="*/ 2147483647 w 68"/>
                <a:gd name="T3" fmla="*/ 2147483647 h 65"/>
                <a:gd name="T4" fmla="*/ 2147483647 w 68"/>
                <a:gd name="T5" fmla="*/ 2147483647 h 65"/>
                <a:gd name="T6" fmla="*/ 2147483647 w 68"/>
                <a:gd name="T7" fmla="*/ 2147483647 h 65"/>
                <a:gd name="T8" fmla="*/ 2147483647 w 68"/>
                <a:gd name="T9" fmla="*/ 2147483647 h 65"/>
                <a:gd name="T10" fmla="*/ 2147483647 w 68"/>
                <a:gd name="T11" fmla="*/ 2147483647 h 65"/>
                <a:gd name="T12" fmla="*/ 2147483647 w 68"/>
                <a:gd name="T13" fmla="*/ 2147483647 h 65"/>
                <a:gd name="T14" fmla="*/ 2147483647 w 68"/>
                <a:gd name="T15" fmla="*/ 0 h 65"/>
                <a:gd name="T16" fmla="*/ 0 w 68"/>
                <a:gd name="T17" fmla="*/ 2147483647 h 6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8" h="65">
                  <a:moveTo>
                    <a:pt x="0" y="44"/>
                  </a:moveTo>
                  <a:lnTo>
                    <a:pt x="12" y="65"/>
                  </a:lnTo>
                  <a:lnTo>
                    <a:pt x="37" y="54"/>
                  </a:lnTo>
                  <a:lnTo>
                    <a:pt x="44" y="65"/>
                  </a:lnTo>
                  <a:lnTo>
                    <a:pt x="68" y="33"/>
                  </a:lnTo>
                  <a:lnTo>
                    <a:pt x="56" y="21"/>
                  </a:lnTo>
                  <a:lnTo>
                    <a:pt x="50" y="11"/>
                  </a:lnTo>
                  <a:lnTo>
                    <a:pt x="18" y="0"/>
                  </a:lnTo>
                  <a:lnTo>
                    <a:pt x="0" y="44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86" name="Freeform 720"/>
            <p:cNvSpPr>
              <a:spLocks/>
            </p:cNvSpPr>
            <p:nvPr>
              <p:custDataLst>
                <p:tags r:id="rId594"/>
              </p:custDataLst>
            </p:nvPr>
          </p:nvSpPr>
          <p:spPr bwMode="auto">
            <a:xfrm>
              <a:off x="7035538" y="3811158"/>
              <a:ext cx="200490" cy="138112"/>
            </a:xfrm>
            <a:custGeom>
              <a:avLst/>
              <a:gdLst>
                <a:gd name="T0" fmla="*/ 0 w 108"/>
                <a:gd name="T1" fmla="*/ 2147483647 h 175"/>
                <a:gd name="T2" fmla="*/ 0 w 108"/>
                <a:gd name="T3" fmla="*/ 2147483647 h 175"/>
                <a:gd name="T4" fmla="*/ 2147483647 w 108"/>
                <a:gd name="T5" fmla="*/ 2147483647 h 175"/>
                <a:gd name="T6" fmla="*/ 2147483647 w 108"/>
                <a:gd name="T7" fmla="*/ 2147483647 h 175"/>
                <a:gd name="T8" fmla="*/ 2147483647 w 108"/>
                <a:gd name="T9" fmla="*/ 2147483647 h 175"/>
                <a:gd name="T10" fmla="*/ 2147483647 w 108"/>
                <a:gd name="T11" fmla="*/ 2147483647 h 175"/>
                <a:gd name="T12" fmla="*/ 2147483647 w 108"/>
                <a:gd name="T13" fmla="*/ 0 h 175"/>
                <a:gd name="T14" fmla="*/ 2147483647 w 108"/>
                <a:gd name="T15" fmla="*/ 2147483647 h 175"/>
                <a:gd name="T16" fmla="*/ 2147483647 w 108"/>
                <a:gd name="T17" fmla="*/ 2147483647 h 175"/>
                <a:gd name="T18" fmla="*/ 2147483647 w 108"/>
                <a:gd name="T19" fmla="*/ 2147483647 h 175"/>
                <a:gd name="T20" fmla="*/ 2147483647 w 108"/>
                <a:gd name="T21" fmla="*/ 2147483647 h 175"/>
                <a:gd name="T22" fmla="*/ 0 w 108"/>
                <a:gd name="T23" fmla="*/ 2147483647 h 1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8" h="175">
                  <a:moveTo>
                    <a:pt x="0" y="165"/>
                  </a:moveTo>
                  <a:lnTo>
                    <a:pt x="0" y="142"/>
                  </a:lnTo>
                  <a:lnTo>
                    <a:pt x="19" y="110"/>
                  </a:lnTo>
                  <a:lnTo>
                    <a:pt x="7" y="87"/>
                  </a:lnTo>
                  <a:lnTo>
                    <a:pt x="7" y="43"/>
                  </a:lnTo>
                  <a:lnTo>
                    <a:pt x="19" y="10"/>
                  </a:lnTo>
                  <a:lnTo>
                    <a:pt x="108" y="0"/>
                  </a:lnTo>
                  <a:lnTo>
                    <a:pt x="95" y="33"/>
                  </a:lnTo>
                  <a:lnTo>
                    <a:pt x="88" y="98"/>
                  </a:lnTo>
                  <a:lnTo>
                    <a:pt x="50" y="142"/>
                  </a:lnTo>
                  <a:lnTo>
                    <a:pt x="13" y="175"/>
                  </a:lnTo>
                  <a:lnTo>
                    <a:pt x="0" y="16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787" name="Group 721"/>
            <p:cNvGrpSpPr>
              <a:grpSpLocks/>
            </p:cNvGrpSpPr>
            <p:nvPr>
              <p:custDataLst>
                <p:tags r:id="rId595"/>
              </p:custDataLst>
            </p:nvPr>
          </p:nvGrpSpPr>
          <p:grpSpPr bwMode="auto">
            <a:xfrm>
              <a:off x="7035538" y="3811158"/>
              <a:ext cx="200490" cy="138112"/>
              <a:chOff x="3495" y="2031"/>
              <a:chExt cx="108" cy="8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19" name="Freeform 722"/>
              <p:cNvSpPr>
                <a:spLocks/>
              </p:cNvSpPr>
              <p:nvPr/>
            </p:nvSpPr>
            <p:spPr bwMode="auto">
              <a:xfrm>
                <a:off x="3495" y="2031"/>
                <a:ext cx="108" cy="87"/>
              </a:xfrm>
              <a:custGeom>
                <a:avLst/>
                <a:gdLst>
                  <a:gd name="T0" fmla="*/ 0 w 108"/>
                  <a:gd name="T1" fmla="*/ 0 h 175"/>
                  <a:gd name="T2" fmla="*/ 0 w 108"/>
                  <a:gd name="T3" fmla="*/ 0 h 175"/>
                  <a:gd name="T4" fmla="*/ 19 w 108"/>
                  <a:gd name="T5" fmla="*/ 0 h 175"/>
                  <a:gd name="T6" fmla="*/ 7 w 108"/>
                  <a:gd name="T7" fmla="*/ 0 h 175"/>
                  <a:gd name="T8" fmla="*/ 7 w 108"/>
                  <a:gd name="T9" fmla="*/ 0 h 175"/>
                  <a:gd name="T10" fmla="*/ 19 w 108"/>
                  <a:gd name="T11" fmla="*/ 0 h 175"/>
                  <a:gd name="T12" fmla="*/ 108 w 108"/>
                  <a:gd name="T13" fmla="*/ 0 h 175"/>
                  <a:gd name="T14" fmla="*/ 95 w 108"/>
                  <a:gd name="T15" fmla="*/ 0 h 175"/>
                  <a:gd name="T16" fmla="*/ 88 w 108"/>
                  <a:gd name="T17" fmla="*/ 0 h 175"/>
                  <a:gd name="T18" fmla="*/ 50 w 108"/>
                  <a:gd name="T19" fmla="*/ 0 h 175"/>
                  <a:gd name="T20" fmla="*/ 13 w 108"/>
                  <a:gd name="T21" fmla="*/ 0 h 175"/>
                  <a:gd name="T22" fmla="*/ 0 w 108"/>
                  <a:gd name="T23" fmla="*/ 0 h 17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8" h="175">
                    <a:moveTo>
                      <a:pt x="0" y="165"/>
                    </a:moveTo>
                    <a:lnTo>
                      <a:pt x="0" y="142"/>
                    </a:lnTo>
                    <a:lnTo>
                      <a:pt x="19" y="110"/>
                    </a:lnTo>
                    <a:lnTo>
                      <a:pt x="7" y="87"/>
                    </a:lnTo>
                    <a:lnTo>
                      <a:pt x="7" y="43"/>
                    </a:lnTo>
                    <a:lnTo>
                      <a:pt x="19" y="10"/>
                    </a:lnTo>
                    <a:lnTo>
                      <a:pt x="108" y="0"/>
                    </a:lnTo>
                    <a:lnTo>
                      <a:pt x="95" y="33"/>
                    </a:lnTo>
                    <a:lnTo>
                      <a:pt x="88" y="98"/>
                    </a:lnTo>
                    <a:lnTo>
                      <a:pt x="50" y="142"/>
                    </a:lnTo>
                    <a:lnTo>
                      <a:pt x="13" y="175"/>
                    </a:lnTo>
                    <a:lnTo>
                      <a:pt x="0" y="165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20" name="Freeform 723"/>
              <p:cNvSpPr>
                <a:spLocks/>
              </p:cNvSpPr>
              <p:nvPr/>
            </p:nvSpPr>
            <p:spPr bwMode="auto">
              <a:xfrm>
                <a:off x="3495" y="2031"/>
                <a:ext cx="108" cy="87"/>
              </a:xfrm>
              <a:custGeom>
                <a:avLst/>
                <a:gdLst>
                  <a:gd name="T0" fmla="*/ 0 w 108"/>
                  <a:gd name="T1" fmla="*/ 0 h 175"/>
                  <a:gd name="T2" fmla="*/ 0 w 108"/>
                  <a:gd name="T3" fmla="*/ 0 h 175"/>
                  <a:gd name="T4" fmla="*/ 19 w 108"/>
                  <a:gd name="T5" fmla="*/ 0 h 175"/>
                  <a:gd name="T6" fmla="*/ 7 w 108"/>
                  <a:gd name="T7" fmla="*/ 0 h 175"/>
                  <a:gd name="T8" fmla="*/ 7 w 108"/>
                  <a:gd name="T9" fmla="*/ 0 h 175"/>
                  <a:gd name="T10" fmla="*/ 19 w 108"/>
                  <a:gd name="T11" fmla="*/ 0 h 175"/>
                  <a:gd name="T12" fmla="*/ 108 w 108"/>
                  <a:gd name="T13" fmla="*/ 0 h 175"/>
                  <a:gd name="T14" fmla="*/ 95 w 108"/>
                  <a:gd name="T15" fmla="*/ 0 h 175"/>
                  <a:gd name="T16" fmla="*/ 88 w 108"/>
                  <a:gd name="T17" fmla="*/ 0 h 175"/>
                  <a:gd name="T18" fmla="*/ 50 w 108"/>
                  <a:gd name="T19" fmla="*/ 0 h 175"/>
                  <a:gd name="T20" fmla="*/ 13 w 108"/>
                  <a:gd name="T21" fmla="*/ 0 h 175"/>
                  <a:gd name="T22" fmla="*/ 0 w 108"/>
                  <a:gd name="T23" fmla="*/ 0 h 17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8" h="175">
                    <a:moveTo>
                      <a:pt x="0" y="165"/>
                    </a:moveTo>
                    <a:lnTo>
                      <a:pt x="0" y="142"/>
                    </a:lnTo>
                    <a:lnTo>
                      <a:pt x="19" y="110"/>
                    </a:lnTo>
                    <a:lnTo>
                      <a:pt x="7" y="87"/>
                    </a:lnTo>
                    <a:lnTo>
                      <a:pt x="7" y="43"/>
                    </a:lnTo>
                    <a:lnTo>
                      <a:pt x="19" y="10"/>
                    </a:lnTo>
                    <a:lnTo>
                      <a:pt x="108" y="0"/>
                    </a:lnTo>
                    <a:lnTo>
                      <a:pt x="95" y="33"/>
                    </a:lnTo>
                    <a:lnTo>
                      <a:pt x="88" y="98"/>
                    </a:lnTo>
                    <a:lnTo>
                      <a:pt x="50" y="142"/>
                    </a:lnTo>
                    <a:lnTo>
                      <a:pt x="13" y="175"/>
                    </a:lnTo>
                    <a:lnTo>
                      <a:pt x="0" y="165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788" name="Freeform 724"/>
            <p:cNvSpPr>
              <a:spLocks/>
            </p:cNvSpPr>
            <p:nvPr>
              <p:custDataLst>
                <p:tags r:id="rId596"/>
              </p:custDataLst>
            </p:nvPr>
          </p:nvSpPr>
          <p:spPr bwMode="auto">
            <a:xfrm>
              <a:off x="7035538" y="3811158"/>
              <a:ext cx="200490" cy="138112"/>
            </a:xfrm>
            <a:custGeom>
              <a:avLst/>
              <a:gdLst>
                <a:gd name="T0" fmla="*/ 0 w 108"/>
                <a:gd name="T1" fmla="*/ 2147483647 h 175"/>
                <a:gd name="T2" fmla="*/ 0 w 108"/>
                <a:gd name="T3" fmla="*/ 2147483647 h 175"/>
                <a:gd name="T4" fmla="*/ 2147483647 w 108"/>
                <a:gd name="T5" fmla="*/ 2147483647 h 175"/>
                <a:gd name="T6" fmla="*/ 2147483647 w 108"/>
                <a:gd name="T7" fmla="*/ 2147483647 h 175"/>
                <a:gd name="T8" fmla="*/ 2147483647 w 108"/>
                <a:gd name="T9" fmla="*/ 2147483647 h 175"/>
                <a:gd name="T10" fmla="*/ 2147483647 w 108"/>
                <a:gd name="T11" fmla="*/ 2147483647 h 175"/>
                <a:gd name="T12" fmla="*/ 2147483647 w 108"/>
                <a:gd name="T13" fmla="*/ 0 h 175"/>
                <a:gd name="T14" fmla="*/ 2147483647 w 108"/>
                <a:gd name="T15" fmla="*/ 2147483647 h 175"/>
                <a:gd name="T16" fmla="*/ 2147483647 w 108"/>
                <a:gd name="T17" fmla="*/ 2147483647 h 175"/>
                <a:gd name="T18" fmla="*/ 2147483647 w 108"/>
                <a:gd name="T19" fmla="*/ 2147483647 h 175"/>
                <a:gd name="T20" fmla="*/ 2147483647 w 108"/>
                <a:gd name="T21" fmla="*/ 2147483647 h 175"/>
                <a:gd name="T22" fmla="*/ 0 w 108"/>
                <a:gd name="T23" fmla="*/ 2147483647 h 17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08" h="175">
                  <a:moveTo>
                    <a:pt x="0" y="165"/>
                  </a:moveTo>
                  <a:lnTo>
                    <a:pt x="0" y="142"/>
                  </a:lnTo>
                  <a:lnTo>
                    <a:pt x="19" y="110"/>
                  </a:lnTo>
                  <a:lnTo>
                    <a:pt x="7" y="87"/>
                  </a:lnTo>
                  <a:lnTo>
                    <a:pt x="7" y="43"/>
                  </a:lnTo>
                  <a:lnTo>
                    <a:pt x="19" y="10"/>
                  </a:lnTo>
                  <a:lnTo>
                    <a:pt x="108" y="0"/>
                  </a:lnTo>
                  <a:lnTo>
                    <a:pt x="95" y="33"/>
                  </a:lnTo>
                  <a:lnTo>
                    <a:pt x="88" y="98"/>
                  </a:lnTo>
                  <a:lnTo>
                    <a:pt x="50" y="142"/>
                  </a:lnTo>
                  <a:lnTo>
                    <a:pt x="13" y="175"/>
                  </a:lnTo>
                  <a:lnTo>
                    <a:pt x="0" y="16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789" name="Group 725"/>
            <p:cNvGrpSpPr>
              <a:grpSpLocks/>
            </p:cNvGrpSpPr>
            <p:nvPr>
              <p:custDataLst>
                <p:tags r:id="rId597"/>
              </p:custDataLst>
            </p:nvPr>
          </p:nvGrpSpPr>
          <p:grpSpPr bwMode="auto">
            <a:xfrm>
              <a:off x="7035538" y="3811158"/>
              <a:ext cx="200490" cy="138112"/>
              <a:chOff x="3495" y="2031"/>
              <a:chExt cx="108" cy="87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17" name="Freeform 726"/>
              <p:cNvSpPr>
                <a:spLocks/>
              </p:cNvSpPr>
              <p:nvPr/>
            </p:nvSpPr>
            <p:spPr bwMode="auto">
              <a:xfrm>
                <a:off x="3495" y="2031"/>
                <a:ext cx="108" cy="87"/>
              </a:xfrm>
              <a:custGeom>
                <a:avLst/>
                <a:gdLst>
                  <a:gd name="T0" fmla="*/ 0 w 108"/>
                  <a:gd name="T1" fmla="*/ 0 h 175"/>
                  <a:gd name="T2" fmla="*/ 0 w 108"/>
                  <a:gd name="T3" fmla="*/ 0 h 175"/>
                  <a:gd name="T4" fmla="*/ 19 w 108"/>
                  <a:gd name="T5" fmla="*/ 0 h 175"/>
                  <a:gd name="T6" fmla="*/ 7 w 108"/>
                  <a:gd name="T7" fmla="*/ 0 h 175"/>
                  <a:gd name="T8" fmla="*/ 7 w 108"/>
                  <a:gd name="T9" fmla="*/ 0 h 175"/>
                  <a:gd name="T10" fmla="*/ 19 w 108"/>
                  <a:gd name="T11" fmla="*/ 0 h 175"/>
                  <a:gd name="T12" fmla="*/ 108 w 108"/>
                  <a:gd name="T13" fmla="*/ 0 h 175"/>
                  <a:gd name="T14" fmla="*/ 95 w 108"/>
                  <a:gd name="T15" fmla="*/ 0 h 175"/>
                  <a:gd name="T16" fmla="*/ 88 w 108"/>
                  <a:gd name="T17" fmla="*/ 0 h 175"/>
                  <a:gd name="T18" fmla="*/ 50 w 108"/>
                  <a:gd name="T19" fmla="*/ 0 h 175"/>
                  <a:gd name="T20" fmla="*/ 13 w 108"/>
                  <a:gd name="T21" fmla="*/ 0 h 175"/>
                  <a:gd name="T22" fmla="*/ 0 w 108"/>
                  <a:gd name="T23" fmla="*/ 0 h 17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8" h="175">
                    <a:moveTo>
                      <a:pt x="0" y="165"/>
                    </a:moveTo>
                    <a:lnTo>
                      <a:pt x="0" y="142"/>
                    </a:lnTo>
                    <a:lnTo>
                      <a:pt x="19" y="110"/>
                    </a:lnTo>
                    <a:lnTo>
                      <a:pt x="7" y="87"/>
                    </a:lnTo>
                    <a:lnTo>
                      <a:pt x="7" y="43"/>
                    </a:lnTo>
                    <a:lnTo>
                      <a:pt x="19" y="10"/>
                    </a:lnTo>
                    <a:lnTo>
                      <a:pt x="108" y="0"/>
                    </a:lnTo>
                    <a:lnTo>
                      <a:pt x="95" y="33"/>
                    </a:lnTo>
                    <a:lnTo>
                      <a:pt x="88" y="98"/>
                    </a:lnTo>
                    <a:lnTo>
                      <a:pt x="50" y="142"/>
                    </a:lnTo>
                    <a:lnTo>
                      <a:pt x="13" y="175"/>
                    </a:lnTo>
                    <a:lnTo>
                      <a:pt x="0" y="165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18" name="Freeform 727"/>
              <p:cNvSpPr>
                <a:spLocks/>
              </p:cNvSpPr>
              <p:nvPr/>
            </p:nvSpPr>
            <p:spPr bwMode="auto">
              <a:xfrm>
                <a:off x="3495" y="2031"/>
                <a:ext cx="108" cy="87"/>
              </a:xfrm>
              <a:custGeom>
                <a:avLst/>
                <a:gdLst>
                  <a:gd name="T0" fmla="*/ 0 w 108"/>
                  <a:gd name="T1" fmla="*/ 0 h 175"/>
                  <a:gd name="T2" fmla="*/ 0 w 108"/>
                  <a:gd name="T3" fmla="*/ 0 h 175"/>
                  <a:gd name="T4" fmla="*/ 19 w 108"/>
                  <a:gd name="T5" fmla="*/ 0 h 175"/>
                  <a:gd name="T6" fmla="*/ 7 w 108"/>
                  <a:gd name="T7" fmla="*/ 0 h 175"/>
                  <a:gd name="T8" fmla="*/ 7 w 108"/>
                  <a:gd name="T9" fmla="*/ 0 h 175"/>
                  <a:gd name="T10" fmla="*/ 19 w 108"/>
                  <a:gd name="T11" fmla="*/ 0 h 175"/>
                  <a:gd name="T12" fmla="*/ 108 w 108"/>
                  <a:gd name="T13" fmla="*/ 0 h 175"/>
                  <a:gd name="T14" fmla="*/ 95 w 108"/>
                  <a:gd name="T15" fmla="*/ 0 h 175"/>
                  <a:gd name="T16" fmla="*/ 88 w 108"/>
                  <a:gd name="T17" fmla="*/ 0 h 175"/>
                  <a:gd name="T18" fmla="*/ 50 w 108"/>
                  <a:gd name="T19" fmla="*/ 0 h 175"/>
                  <a:gd name="T20" fmla="*/ 13 w 108"/>
                  <a:gd name="T21" fmla="*/ 0 h 175"/>
                  <a:gd name="T22" fmla="*/ 0 w 108"/>
                  <a:gd name="T23" fmla="*/ 0 h 17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108" h="175">
                    <a:moveTo>
                      <a:pt x="0" y="165"/>
                    </a:moveTo>
                    <a:lnTo>
                      <a:pt x="0" y="142"/>
                    </a:lnTo>
                    <a:lnTo>
                      <a:pt x="19" y="110"/>
                    </a:lnTo>
                    <a:lnTo>
                      <a:pt x="7" y="87"/>
                    </a:lnTo>
                    <a:lnTo>
                      <a:pt x="7" y="43"/>
                    </a:lnTo>
                    <a:lnTo>
                      <a:pt x="19" y="10"/>
                    </a:lnTo>
                    <a:lnTo>
                      <a:pt x="108" y="0"/>
                    </a:lnTo>
                    <a:lnTo>
                      <a:pt x="95" y="33"/>
                    </a:lnTo>
                    <a:lnTo>
                      <a:pt x="88" y="98"/>
                    </a:lnTo>
                    <a:lnTo>
                      <a:pt x="50" y="142"/>
                    </a:lnTo>
                    <a:lnTo>
                      <a:pt x="13" y="175"/>
                    </a:lnTo>
                    <a:lnTo>
                      <a:pt x="0" y="165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790" name="Freeform 728"/>
            <p:cNvSpPr>
              <a:spLocks/>
            </p:cNvSpPr>
            <p:nvPr>
              <p:custDataLst>
                <p:tags r:id="rId598"/>
              </p:custDataLst>
            </p:nvPr>
          </p:nvSpPr>
          <p:spPr bwMode="auto">
            <a:xfrm>
              <a:off x="8817883" y="4269945"/>
              <a:ext cx="230562" cy="388938"/>
            </a:xfrm>
            <a:custGeom>
              <a:avLst/>
              <a:gdLst>
                <a:gd name="T0" fmla="*/ 0 w 125"/>
                <a:gd name="T1" fmla="*/ 2147483647 h 490"/>
                <a:gd name="T2" fmla="*/ 2147483647 w 125"/>
                <a:gd name="T3" fmla="*/ 2147483647 h 490"/>
                <a:gd name="T4" fmla="*/ 2147483647 w 125"/>
                <a:gd name="T5" fmla="*/ 0 h 490"/>
                <a:gd name="T6" fmla="*/ 2147483647 w 125"/>
                <a:gd name="T7" fmla="*/ 2147483647 h 490"/>
                <a:gd name="T8" fmla="*/ 2147483647 w 125"/>
                <a:gd name="T9" fmla="*/ 2147483647 h 490"/>
                <a:gd name="T10" fmla="*/ 2147483647 w 125"/>
                <a:gd name="T11" fmla="*/ 2147483647 h 490"/>
                <a:gd name="T12" fmla="*/ 2147483647 w 125"/>
                <a:gd name="T13" fmla="*/ 2147483647 h 490"/>
                <a:gd name="T14" fmla="*/ 2147483647 w 125"/>
                <a:gd name="T15" fmla="*/ 2147483647 h 490"/>
                <a:gd name="T16" fmla="*/ 2147483647 w 125"/>
                <a:gd name="T17" fmla="*/ 2147483647 h 490"/>
                <a:gd name="T18" fmla="*/ 2147483647 w 125"/>
                <a:gd name="T19" fmla="*/ 2147483647 h 490"/>
                <a:gd name="T20" fmla="*/ 2147483647 w 125"/>
                <a:gd name="T21" fmla="*/ 2147483647 h 490"/>
                <a:gd name="T22" fmla="*/ 2147483647 w 125"/>
                <a:gd name="T23" fmla="*/ 2147483647 h 490"/>
                <a:gd name="T24" fmla="*/ 2147483647 w 125"/>
                <a:gd name="T25" fmla="*/ 2147483647 h 490"/>
                <a:gd name="T26" fmla="*/ 2147483647 w 125"/>
                <a:gd name="T27" fmla="*/ 2147483647 h 490"/>
                <a:gd name="T28" fmla="*/ 2147483647 w 125"/>
                <a:gd name="T29" fmla="*/ 2147483647 h 490"/>
                <a:gd name="T30" fmla="*/ 2147483647 w 125"/>
                <a:gd name="T31" fmla="*/ 2147483647 h 490"/>
                <a:gd name="T32" fmla="*/ 2147483647 w 125"/>
                <a:gd name="T33" fmla="*/ 2147483647 h 490"/>
                <a:gd name="T34" fmla="*/ 2147483647 w 125"/>
                <a:gd name="T35" fmla="*/ 2147483647 h 490"/>
                <a:gd name="T36" fmla="*/ 2147483647 w 125"/>
                <a:gd name="T37" fmla="*/ 2147483647 h 490"/>
                <a:gd name="T38" fmla="*/ 2147483647 w 125"/>
                <a:gd name="T39" fmla="*/ 2147483647 h 490"/>
                <a:gd name="T40" fmla="*/ 2147483647 w 125"/>
                <a:gd name="T41" fmla="*/ 2147483647 h 490"/>
                <a:gd name="T42" fmla="*/ 2147483647 w 125"/>
                <a:gd name="T43" fmla="*/ 2147483647 h 490"/>
                <a:gd name="T44" fmla="*/ 2147483647 w 125"/>
                <a:gd name="T45" fmla="*/ 2147483647 h 490"/>
                <a:gd name="T46" fmla="*/ 2147483647 w 125"/>
                <a:gd name="T47" fmla="*/ 2147483647 h 490"/>
                <a:gd name="T48" fmla="*/ 0 w 125"/>
                <a:gd name="T49" fmla="*/ 2147483647 h 49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25" h="490">
                  <a:moveTo>
                    <a:pt x="0" y="77"/>
                  </a:moveTo>
                  <a:lnTo>
                    <a:pt x="13" y="33"/>
                  </a:lnTo>
                  <a:lnTo>
                    <a:pt x="44" y="0"/>
                  </a:lnTo>
                  <a:lnTo>
                    <a:pt x="57" y="33"/>
                  </a:lnTo>
                  <a:lnTo>
                    <a:pt x="57" y="100"/>
                  </a:lnTo>
                  <a:lnTo>
                    <a:pt x="94" y="68"/>
                  </a:lnTo>
                  <a:lnTo>
                    <a:pt x="113" y="100"/>
                  </a:lnTo>
                  <a:lnTo>
                    <a:pt x="125" y="167"/>
                  </a:lnTo>
                  <a:lnTo>
                    <a:pt x="119" y="212"/>
                  </a:lnTo>
                  <a:lnTo>
                    <a:pt x="88" y="200"/>
                  </a:lnTo>
                  <a:lnTo>
                    <a:pt x="82" y="223"/>
                  </a:lnTo>
                  <a:lnTo>
                    <a:pt x="88" y="288"/>
                  </a:lnTo>
                  <a:lnTo>
                    <a:pt x="44" y="235"/>
                  </a:lnTo>
                  <a:lnTo>
                    <a:pt x="32" y="335"/>
                  </a:lnTo>
                  <a:lnTo>
                    <a:pt x="50" y="434"/>
                  </a:lnTo>
                  <a:lnTo>
                    <a:pt x="75" y="467"/>
                  </a:lnTo>
                  <a:lnTo>
                    <a:pt x="64" y="490"/>
                  </a:lnTo>
                  <a:lnTo>
                    <a:pt x="57" y="456"/>
                  </a:lnTo>
                  <a:lnTo>
                    <a:pt x="44" y="456"/>
                  </a:lnTo>
                  <a:lnTo>
                    <a:pt x="13" y="402"/>
                  </a:lnTo>
                  <a:lnTo>
                    <a:pt x="19" y="346"/>
                  </a:lnTo>
                  <a:lnTo>
                    <a:pt x="38" y="288"/>
                  </a:lnTo>
                  <a:lnTo>
                    <a:pt x="13" y="191"/>
                  </a:lnTo>
                  <a:lnTo>
                    <a:pt x="19" y="144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791" name="Group 729"/>
            <p:cNvGrpSpPr>
              <a:grpSpLocks/>
            </p:cNvGrpSpPr>
            <p:nvPr>
              <p:custDataLst>
                <p:tags r:id="rId599"/>
              </p:custDataLst>
            </p:nvPr>
          </p:nvGrpSpPr>
          <p:grpSpPr bwMode="auto">
            <a:xfrm>
              <a:off x="8817883" y="4269945"/>
              <a:ext cx="230562" cy="388938"/>
              <a:chOff x="4458" y="2320"/>
              <a:chExt cx="125" cy="24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15" name="Freeform 730"/>
              <p:cNvSpPr>
                <a:spLocks/>
              </p:cNvSpPr>
              <p:nvPr/>
            </p:nvSpPr>
            <p:spPr bwMode="auto">
              <a:xfrm>
                <a:off x="4458" y="2320"/>
                <a:ext cx="125" cy="245"/>
              </a:xfrm>
              <a:custGeom>
                <a:avLst/>
                <a:gdLst>
                  <a:gd name="T0" fmla="*/ 0 w 125"/>
                  <a:gd name="T1" fmla="*/ 1 h 490"/>
                  <a:gd name="T2" fmla="*/ 13 w 125"/>
                  <a:gd name="T3" fmla="*/ 1 h 490"/>
                  <a:gd name="T4" fmla="*/ 44 w 125"/>
                  <a:gd name="T5" fmla="*/ 0 h 490"/>
                  <a:gd name="T6" fmla="*/ 57 w 125"/>
                  <a:gd name="T7" fmla="*/ 1 h 490"/>
                  <a:gd name="T8" fmla="*/ 57 w 125"/>
                  <a:gd name="T9" fmla="*/ 1 h 490"/>
                  <a:gd name="T10" fmla="*/ 94 w 125"/>
                  <a:gd name="T11" fmla="*/ 1 h 490"/>
                  <a:gd name="T12" fmla="*/ 113 w 125"/>
                  <a:gd name="T13" fmla="*/ 1 h 490"/>
                  <a:gd name="T14" fmla="*/ 125 w 125"/>
                  <a:gd name="T15" fmla="*/ 1 h 490"/>
                  <a:gd name="T16" fmla="*/ 119 w 125"/>
                  <a:gd name="T17" fmla="*/ 1 h 490"/>
                  <a:gd name="T18" fmla="*/ 88 w 125"/>
                  <a:gd name="T19" fmla="*/ 1 h 490"/>
                  <a:gd name="T20" fmla="*/ 82 w 125"/>
                  <a:gd name="T21" fmla="*/ 1 h 490"/>
                  <a:gd name="T22" fmla="*/ 88 w 125"/>
                  <a:gd name="T23" fmla="*/ 1 h 490"/>
                  <a:gd name="T24" fmla="*/ 44 w 125"/>
                  <a:gd name="T25" fmla="*/ 1 h 490"/>
                  <a:gd name="T26" fmla="*/ 32 w 125"/>
                  <a:gd name="T27" fmla="*/ 1 h 490"/>
                  <a:gd name="T28" fmla="*/ 50 w 125"/>
                  <a:gd name="T29" fmla="*/ 1 h 490"/>
                  <a:gd name="T30" fmla="*/ 75 w 125"/>
                  <a:gd name="T31" fmla="*/ 1 h 490"/>
                  <a:gd name="T32" fmla="*/ 64 w 125"/>
                  <a:gd name="T33" fmla="*/ 1 h 490"/>
                  <a:gd name="T34" fmla="*/ 57 w 125"/>
                  <a:gd name="T35" fmla="*/ 1 h 490"/>
                  <a:gd name="T36" fmla="*/ 44 w 125"/>
                  <a:gd name="T37" fmla="*/ 1 h 490"/>
                  <a:gd name="T38" fmla="*/ 13 w 125"/>
                  <a:gd name="T39" fmla="*/ 1 h 490"/>
                  <a:gd name="T40" fmla="*/ 19 w 125"/>
                  <a:gd name="T41" fmla="*/ 1 h 490"/>
                  <a:gd name="T42" fmla="*/ 38 w 125"/>
                  <a:gd name="T43" fmla="*/ 1 h 490"/>
                  <a:gd name="T44" fmla="*/ 13 w 125"/>
                  <a:gd name="T45" fmla="*/ 1 h 490"/>
                  <a:gd name="T46" fmla="*/ 19 w 125"/>
                  <a:gd name="T47" fmla="*/ 1 h 490"/>
                  <a:gd name="T48" fmla="*/ 0 w 125"/>
                  <a:gd name="T49" fmla="*/ 1 h 49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25" h="490">
                    <a:moveTo>
                      <a:pt x="0" y="77"/>
                    </a:moveTo>
                    <a:lnTo>
                      <a:pt x="13" y="33"/>
                    </a:lnTo>
                    <a:lnTo>
                      <a:pt x="44" y="0"/>
                    </a:lnTo>
                    <a:lnTo>
                      <a:pt x="57" y="33"/>
                    </a:lnTo>
                    <a:lnTo>
                      <a:pt x="57" y="100"/>
                    </a:lnTo>
                    <a:lnTo>
                      <a:pt x="94" y="68"/>
                    </a:lnTo>
                    <a:lnTo>
                      <a:pt x="113" y="100"/>
                    </a:lnTo>
                    <a:lnTo>
                      <a:pt x="125" y="167"/>
                    </a:lnTo>
                    <a:lnTo>
                      <a:pt x="119" y="212"/>
                    </a:lnTo>
                    <a:lnTo>
                      <a:pt x="88" y="200"/>
                    </a:lnTo>
                    <a:lnTo>
                      <a:pt x="82" y="223"/>
                    </a:lnTo>
                    <a:lnTo>
                      <a:pt x="88" y="288"/>
                    </a:lnTo>
                    <a:lnTo>
                      <a:pt x="44" y="235"/>
                    </a:lnTo>
                    <a:lnTo>
                      <a:pt x="32" y="335"/>
                    </a:lnTo>
                    <a:lnTo>
                      <a:pt x="50" y="434"/>
                    </a:lnTo>
                    <a:lnTo>
                      <a:pt x="75" y="467"/>
                    </a:lnTo>
                    <a:lnTo>
                      <a:pt x="64" y="490"/>
                    </a:lnTo>
                    <a:lnTo>
                      <a:pt x="57" y="456"/>
                    </a:lnTo>
                    <a:lnTo>
                      <a:pt x="44" y="456"/>
                    </a:lnTo>
                    <a:lnTo>
                      <a:pt x="13" y="402"/>
                    </a:lnTo>
                    <a:lnTo>
                      <a:pt x="19" y="346"/>
                    </a:lnTo>
                    <a:lnTo>
                      <a:pt x="38" y="288"/>
                    </a:lnTo>
                    <a:lnTo>
                      <a:pt x="13" y="191"/>
                    </a:lnTo>
                    <a:lnTo>
                      <a:pt x="19" y="144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16" name="Freeform 731"/>
              <p:cNvSpPr>
                <a:spLocks/>
              </p:cNvSpPr>
              <p:nvPr/>
            </p:nvSpPr>
            <p:spPr bwMode="auto">
              <a:xfrm>
                <a:off x="4458" y="2320"/>
                <a:ext cx="125" cy="245"/>
              </a:xfrm>
              <a:custGeom>
                <a:avLst/>
                <a:gdLst>
                  <a:gd name="T0" fmla="*/ 0 w 125"/>
                  <a:gd name="T1" fmla="*/ 1 h 490"/>
                  <a:gd name="T2" fmla="*/ 13 w 125"/>
                  <a:gd name="T3" fmla="*/ 1 h 490"/>
                  <a:gd name="T4" fmla="*/ 44 w 125"/>
                  <a:gd name="T5" fmla="*/ 0 h 490"/>
                  <a:gd name="T6" fmla="*/ 57 w 125"/>
                  <a:gd name="T7" fmla="*/ 1 h 490"/>
                  <a:gd name="T8" fmla="*/ 57 w 125"/>
                  <a:gd name="T9" fmla="*/ 1 h 490"/>
                  <a:gd name="T10" fmla="*/ 94 w 125"/>
                  <a:gd name="T11" fmla="*/ 1 h 490"/>
                  <a:gd name="T12" fmla="*/ 113 w 125"/>
                  <a:gd name="T13" fmla="*/ 1 h 490"/>
                  <a:gd name="T14" fmla="*/ 125 w 125"/>
                  <a:gd name="T15" fmla="*/ 1 h 490"/>
                  <a:gd name="T16" fmla="*/ 119 w 125"/>
                  <a:gd name="T17" fmla="*/ 1 h 490"/>
                  <a:gd name="T18" fmla="*/ 88 w 125"/>
                  <a:gd name="T19" fmla="*/ 1 h 490"/>
                  <a:gd name="T20" fmla="*/ 82 w 125"/>
                  <a:gd name="T21" fmla="*/ 1 h 490"/>
                  <a:gd name="T22" fmla="*/ 88 w 125"/>
                  <a:gd name="T23" fmla="*/ 1 h 490"/>
                  <a:gd name="T24" fmla="*/ 44 w 125"/>
                  <a:gd name="T25" fmla="*/ 1 h 490"/>
                  <a:gd name="T26" fmla="*/ 32 w 125"/>
                  <a:gd name="T27" fmla="*/ 1 h 490"/>
                  <a:gd name="T28" fmla="*/ 50 w 125"/>
                  <a:gd name="T29" fmla="*/ 1 h 490"/>
                  <a:gd name="T30" fmla="*/ 75 w 125"/>
                  <a:gd name="T31" fmla="*/ 1 h 490"/>
                  <a:gd name="T32" fmla="*/ 64 w 125"/>
                  <a:gd name="T33" fmla="*/ 1 h 490"/>
                  <a:gd name="T34" fmla="*/ 57 w 125"/>
                  <a:gd name="T35" fmla="*/ 1 h 490"/>
                  <a:gd name="T36" fmla="*/ 44 w 125"/>
                  <a:gd name="T37" fmla="*/ 1 h 490"/>
                  <a:gd name="T38" fmla="*/ 13 w 125"/>
                  <a:gd name="T39" fmla="*/ 1 h 490"/>
                  <a:gd name="T40" fmla="*/ 19 w 125"/>
                  <a:gd name="T41" fmla="*/ 1 h 490"/>
                  <a:gd name="T42" fmla="*/ 38 w 125"/>
                  <a:gd name="T43" fmla="*/ 1 h 490"/>
                  <a:gd name="T44" fmla="*/ 13 w 125"/>
                  <a:gd name="T45" fmla="*/ 1 h 490"/>
                  <a:gd name="T46" fmla="*/ 19 w 125"/>
                  <a:gd name="T47" fmla="*/ 1 h 490"/>
                  <a:gd name="T48" fmla="*/ 0 w 125"/>
                  <a:gd name="T49" fmla="*/ 1 h 49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25" h="490">
                    <a:moveTo>
                      <a:pt x="0" y="77"/>
                    </a:moveTo>
                    <a:lnTo>
                      <a:pt x="13" y="33"/>
                    </a:lnTo>
                    <a:lnTo>
                      <a:pt x="44" y="0"/>
                    </a:lnTo>
                    <a:lnTo>
                      <a:pt x="57" y="33"/>
                    </a:lnTo>
                    <a:lnTo>
                      <a:pt x="57" y="100"/>
                    </a:lnTo>
                    <a:lnTo>
                      <a:pt x="94" y="68"/>
                    </a:lnTo>
                    <a:lnTo>
                      <a:pt x="113" y="100"/>
                    </a:lnTo>
                    <a:lnTo>
                      <a:pt x="125" y="167"/>
                    </a:lnTo>
                    <a:lnTo>
                      <a:pt x="119" y="212"/>
                    </a:lnTo>
                    <a:lnTo>
                      <a:pt x="88" y="200"/>
                    </a:lnTo>
                    <a:lnTo>
                      <a:pt x="82" y="223"/>
                    </a:lnTo>
                    <a:lnTo>
                      <a:pt x="88" y="288"/>
                    </a:lnTo>
                    <a:lnTo>
                      <a:pt x="44" y="235"/>
                    </a:lnTo>
                    <a:lnTo>
                      <a:pt x="32" y="335"/>
                    </a:lnTo>
                    <a:lnTo>
                      <a:pt x="50" y="434"/>
                    </a:lnTo>
                    <a:lnTo>
                      <a:pt x="75" y="467"/>
                    </a:lnTo>
                    <a:lnTo>
                      <a:pt x="64" y="490"/>
                    </a:lnTo>
                    <a:lnTo>
                      <a:pt x="57" y="456"/>
                    </a:lnTo>
                    <a:lnTo>
                      <a:pt x="44" y="456"/>
                    </a:lnTo>
                    <a:lnTo>
                      <a:pt x="13" y="402"/>
                    </a:lnTo>
                    <a:lnTo>
                      <a:pt x="19" y="346"/>
                    </a:lnTo>
                    <a:lnTo>
                      <a:pt x="38" y="288"/>
                    </a:lnTo>
                    <a:lnTo>
                      <a:pt x="13" y="191"/>
                    </a:lnTo>
                    <a:lnTo>
                      <a:pt x="19" y="144"/>
                    </a:lnTo>
                    <a:lnTo>
                      <a:pt x="0" y="77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792" name="Freeform 732"/>
            <p:cNvSpPr>
              <a:spLocks/>
            </p:cNvSpPr>
            <p:nvPr>
              <p:custDataLst>
                <p:tags r:id="rId600"/>
              </p:custDataLst>
            </p:nvPr>
          </p:nvSpPr>
          <p:spPr bwMode="auto">
            <a:xfrm>
              <a:off x="8817883" y="4269945"/>
              <a:ext cx="230562" cy="388938"/>
            </a:xfrm>
            <a:custGeom>
              <a:avLst/>
              <a:gdLst>
                <a:gd name="T0" fmla="*/ 0 w 125"/>
                <a:gd name="T1" fmla="*/ 2147483647 h 490"/>
                <a:gd name="T2" fmla="*/ 2147483647 w 125"/>
                <a:gd name="T3" fmla="*/ 2147483647 h 490"/>
                <a:gd name="T4" fmla="*/ 2147483647 w 125"/>
                <a:gd name="T5" fmla="*/ 0 h 490"/>
                <a:gd name="T6" fmla="*/ 2147483647 w 125"/>
                <a:gd name="T7" fmla="*/ 2147483647 h 490"/>
                <a:gd name="T8" fmla="*/ 2147483647 w 125"/>
                <a:gd name="T9" fmla="*/ 2147483647 h 490"/>
                <a:gd name="T10" fmla="*/ 2147483647 w 125"/>
                <a:gd name="T11" fmla="*/ 2147483647 h 490"/>
                <a:gd name="T12" fmla="*/ 2147483647 w 125"/>
                <a:gd name="T13" fmla="*/ 2147483647 h 490"/>
                <a:gd name="T14" fmla="*/ 2147483647 w 125"/>
                <a:gd name="T15" fmla="*/ 2147483647 h 490"/>
                <a:gd name="T16" fmla="*/ 2147483647 w 125"/>
                <a:gd name="T17" fmla="*/ 2147483647 h 490"/>
                <a:gd name="T18" fmla="*/ 2147483647 w 125"/>
                <a:gd name="T19" fmla="*/ 2147483647 h 490"/>
                <a:gd name="T20" fmla="*/ 2147483647 w 125"/>
                <a:gd name="T21" fmla="*/ 2147483647 h 490"/>
                <a:gd name="T22" fmla="*/ 2147483647 w 125"/>
                <a:gd name="T23" fmla="*/ 2147483647 h 490"/>
                <a:gd name="T24" fmla="*/ 2147483647 w 125"/>
                <a:gd name="T25" fmla="*/ 2147483647 h 490"/>
                <a:gd name="T26" fmla="*/ 2147483647 w 125"/>
                <a:gd name="T27" fmla="*/ 2147483647 h 490"/>
                <a:gd name="T28" fmla="*/ 2147483647 w 125"/>
                <a:gd name="T29" fmla="*/ 2147483647 h 490"/>
                <a:gd name="T30" fmla="*/ 2147483647 w 125"/>
                <a:gd name="T31" fmla="*/ 2147483647 h 490"/>
                <a:gd name="T32" fmla="*/ 2147483647 w 125"/>
                <a:gd name="T33" fmla="*/ 2147483647 h 490"/>
                <a:gd name="T34" fmla="*/ 2147483647 w 125"/>
                <a:gd name="T35" fmla="*/ 2147483647 h 490"/>
                <a:gd name="T36" fmla="*/ 2147483647 w 125"/>
                <a:gd name="T37" fmla="*/ 2147483647 h 490"/>
                <a:gd name="T38" fmla="*/ 2147483647 w 125"/>
                <a:gd name="T39" fmla="*/ 2147483647 h 490"/>
                <a:gd name="T40" fmla="*/ 2147483647 w 125"/>
                <a:gd name="T41" fmla="*/ 2147483647 h 490"/>
                <a:gd name="T42" fmla="*/ 2147483647 w 125"/>
                <a:gd name="T43" fmla="*/ 2147483647 h 490"/>
                <a:gd name="T44" fmla="*/ 2147483647 w 125"/>
                <a:gd name="T45" fmla="*/ 2147483647 h 490"/>
                <a:gd name="T46" fmla="*/ 2147483647 w 125"/>
                <a:gd name="T47" fmla="*/ 2147483647 h 490"/>
                <a:gd name="T48" fmla="*/ 0 w 125"/>
                <a:gd name="T49" fmla="*/ 2147483647 h 49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25" h="490">
                  <a:moveTo>
                    <a:pt x="0" y="77"/>
                  </a:moveTo>
                  <a:lnTo>
                    <a:pt x="13" y="33"/>
                  </a:lnTo>
                  <a:lnTo>
                    <a:pt x="44" y="0"/>
                  </a:lnTo>
                  <a:lnTo>
                    <a:pt x="57" y="33"/>
                  </a:lnTo>
                  <a:lnTo>
                    <a:pt x="57" y="100"/>
                  </a:lnTo>
                  <a:lnTo>
                    <a:pt x="94" y="68"/>
                  </a:lnTo>
                  <a:lnTo>
                    <a:pt x="113" y="100"/>
                  </a:lnTo>
                  <a:lnTo>
                    <a:pt x="125" y="167"/>
                  </a:lnTo>
                  <a:lnTo>
                    <a:pt x="119" y="212"/>
                  </a:lnTo>
                  <a:lnTo>
                    <a:pt x="88" y="200"/>
                  </a:lnTo>
                  <a:lnTo>
                    <a:pt x="82" y="223"/>
                  </a:lnTo>
                  <a:lnTo>
                    <a:pt x="88" y="288"/>
                  </a:lnTo>
                  <a:lnTo>
                    <a:pt x="44" y="235"/>
                  </a:lnTo>
                  <a:lnTo>
                    <a:pt x="32" y="335"/>
                  </a:lnTo>
                  <a:lnTo>
                    <a:pt x="50" y="434"/>
                  </a:lnTo>
                  <a:lnTo>
                    <a:pt x="75" y="467"/>
                  </a:lnTo>
                  <a:lnTo>
                    <a:pt x="64" y="490"/>
                  </a:lnTo>
                  <a:lnTo>
                    <a:pt x="57" y="456"/>
                  </a:lnTo>
                  <a:lnTo>
                    <a:pt x="44" y="456"/>
                  </a:lnTo>
                  <a:lnTo>
                    <a:pt x="13" y="402"/>
                  </a:lnTo>
                  <a:lnTo>
                    <a:pt x="19" y="346"/>
                  </a:lnTo>
                  <a:lnTo>
                    <a:pt x="38" y="288"/>
                  </a:lnTo>
                  <a:lnTo>
                    <a:pt x="13" y="191"/>
                  </a:lnTo>
                  <a:lnTo>
                    <a:pt x="19" y="144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793" name="Group 733"/>
            <p:cNvGrpSpPr>
              <a:grpSpLocks/>
            </p:cNvGrpSpPr>
            <p:nvPr>
              <p:custDataLst>
                <p:tags r:id="rId601"/>
              </p:custDataLst>
            </p:nvPr>
          </p:nvGrpSpPr>
          <p:grpSpPr bwMode="auto">
            <a:xfrm>
              <a:off x="8817883" y="4269945"/>
              <a:ext cx="230562" cy="388938"/>
              <a:chOff x="4458" y="2320"/>
              <a:chExt cx="125" cy="24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13" name="Freeform 734"/>
              <p:cNvSpPr>
                <a:spLocks/>
              </p:cNvSpPr>
              <p:nvPr/>
            </p:nvSpPr>
            <p:spPr bwMode="auto">
              <a:xfrm>
                <a:off x="4458" y="2320"/>
                <a:ext cx="125" cy="245"/>
              </a:xfrm>
              <a:custGeom>
                <a:avLst/>
                <a:gdLst>
                  <a:gd name="T0" fmla="*/ 0 w 125"/>
                  <a:gd name="T1" fmla="*/ 1 h 490"/>
                  <a:gd name="T2" fmla="*/ 13 w 125"/>
                  <a:gd name="T3" fmla="*/ 1 h 490"/>
                  <a:gd name="T4" fmla="*/ 44 w 125"/>
                  <a:gd name="T5" fmla="*/ 0 h 490"/>
                  <a:gd name="T6" fmla="*/ 57 w 125"/>
                  <a:gd name="T7" fmla="*/ 1 h 490"/>
                  <a:gd name="T8" fmla="*/ 57 w 125"/>
                  <a:gd name="T9" fmla="*/ 1 h 490"/>
                  <a:gd name="T10" fmla="*/ 94 w 125"/>
                  <a:gd name="T11" fmla="*/ 1 h 490"/>
                  <a:gd name="T12" fmla="*/ 113 w 125"/>
                  <a:gd name="T13" fmla="*/ 1 h 490"/>
                  <a:gd name="T14" fmla="*/ 125 w 125"/>
                  <a:gd name="T15" fmla="*/ 1 h 490"/>
                  <a:gd name="T16" fmla="*/ 119 w 125"/>
                  <a:gd name="T17" fmla="*/ 1 h 490"/>
                  <a:gd name="T18" fmla="*/ 88 w 125"/>
                  <a:gd name="T19" fmla="*/ 1 h 490"/>
                  <a:gd name="T20" fmla="*/ 82 w 125"/>
                  <a:gd name="T21" fmla="*/ 1 h 490"/>
                  <a:gd name="T22" fmla="*/ 88 w 125"/>
                  <a:gd name="T23" fmla="*/ 1 h 490"/>
                  <a:gd name="T24" fmla="*/ 44 w 125"/>
                  <a:gd name="T25" fmla="*/ 1 h 490"/>
                  <a:gd name="T26" fmla="*/ 32 w 125"/>
                  <a:gd name="T27" fmla="*/ 1 h 490"/>
                  <a:gd name="T28" fmla="*/ 50 w 125"/>
                  <a:gd name="T29" fmla="*/ 1 h 490"/>
                  <a:gd name="T30" fmla="*/ 75 w 125"/>
                  <a:gd name="T31" fmla="*/ 1 h 490"/>
                  <a:gd name="T32" fmla="*/ 64 w 125"/>
                  <a:gd name="T33" fmla="*/ 1 h 490"/>
                  <a:gd name="T34" fmla="*/ 57 w 125"/>
                  <a:gd name="T35" fmla="*/ 1 h 490"/>
                  <a:gd name="T36" fmla="*/ 44 w 125"/>
                  <a:gd name="T37" fmla="*/ 1 h 490"/>
                  <a:gd name="T38" fmla="*/ 13 w 125"/>
                  <a:gd name="T39" fmla="*/ 1 h 490"/>
                  <a:gd name="T40" fmla="*/ 19 w 125"/>
                  <a:gd name="T41" fmla="*/ 1 h 490"/>
                  <a:gd name="T42" fmla="*/ 38 w 125"/>
                  <a:gd name="T43" fmla="*/ 1 h 490"/>
                  <a:gd name="T44" fmla="*/ 13 w 125"/>
                  <a:gd name="T45" fmla="*/ 1 h 490"/>
                  <a:gd name="T46" fmla="*/ 19 w 125"/>
                  <a:gd name="T47" fmla="*/ 1 h 490"/>
                  <a:gd name="T48" fmla="*/ 0 w 125"/>
                  <a:gd name="T49" fmla="*/ 1 h 49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25" h="490">
                    <a:moveTo>
                      <a:pt x="0" y="77"/>
                    </a:moveTo>
                    <a:lnTo>
                      <a:pt x="13" y="33"/>
                    </a:lnTo>
                    <a:lnTo>
                      <a:pt x="44" y="0"/>
                    </a:lnTo>
                    <a:lnTo>
                      <a:pt x="57" y="33"/>
                    </a:lnTo>
                    <a:lnTo>
                      <a:pt x="57" y="100"/>
                    </a:lnTo>
                    <a:lnTo>
                      <a:pt x="94" y="68"/>
                    </a:lnTo>
                    <a:lnTo>
                      <a:pt x="113" y="100"/>
                    </a:lnTo>
                    <a:lnTo>
                      <a:pt x="125" y="167"/>
                    </a:lnTo>
                    <a:lnTo>
                      <a:pt x="119" y="212"/>
                    </a:lnTo>
                    <a:lnTo>
                      <a:pt x="88" y="200"/>
                    </a:lnTo>
                    <a:lnTo>
                      <a:pt x="82" y="223"/>
                    </a:lnTo>
                    <a:lnTo>
                      <a:pt x="88" y="288"/>
                    </a:lnTo>
                    <a:lnTo>
                      <a:pt x="44" y="235"/>
                    </a:lnTo>
                    <a:lnTo>
                      <a:pt x="32" y="335"/>
                    </a:lnTo>
                    <a:lnTo>
                      <a:pt x="50" y="434"/>
                    </a:lnTo>
                    <a:lnTo>
                      <a:pt x="75" y="467"/>
                    </a:lnTo>
                    <a:lnTo>
                      <a:pt x="64" y="490"/>
                    </a:lnTo>
                    <a:lnTo>
                      <a:pt x="57" y="456"/>
                    </a:lnTo>
                    <a:lnTo>
                      <a:pt x="44" y="456"/>
                    </a:lnTo>
                    <a:lnTo>
                      <a:pt x="13" y="402"/>
                    </a:lnTo>
                    <a:lnTo>
                      <a:pt x="19" y="346"/>
                    </a:lnTo>
                    <a:lnTo>
                      <a:pt x="38" y="288"/>
                    </a:lnTo>
                    <a:lnTo>
                      <a:pt x="13" y="191"/>
                    </a:lnTo>
                    <a:lnTo>
                      <a:pt x="19" y="144"/>
                    </a:lnTo>
                    <a:lnTo>
                      <a:pt x="0" y="77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14" name="Freeform 735"/>
              <p:cNvSpPr>
                <a:spLocks/>
              </p:cNvSpPr>
              <p:nvPr/>
            </p:nvSpPr>
            <p:spPr bwMode="auto">
              <a:xfrm>
                <a:off x="4458" y="2320"/>
                <a:ext cx="125" cy="245"/>
              </a:xfrm>
              <a:custGeom>
                <a:avLst/>
                <a:gdLst>
                  <a:gd name="T0" fmla="*/ 0 w 125"/>
                  <a:gd name="T1" fmla="*/ 1 h 490"/>
                  <a:gd name="T2" fmla="*/ 13 w 125"/>
                  <a:gd name="T3" fmla="*/ 1 h 490"/>
                  <a:gd name="T4" fmla="*/ 44 w 125"/>
                  <a:gd name="T5" fmla="*/ 0 h 490"/>
                  <a:gd name="T6" fmla="*/ 57 w 125"/>
                  <a:gd name="T7" fmla="*/ 1 h 490"/>
                  <a:gd name="T8" fmla="*/ 57 w 125"/>
                  <a:gd name="T9" fmla="*/ 1 h 490"/>
                  <a:gd name="T10" fmla="*/ 94 w 125"/>
                  <a:gd name="T11" fmla="*/ 1 h 490"/>
                  <a:gd name="T12" fmla="*/ 113 w 125"/>
                  <a:gd name="T13" fmla="*/ 1 h 490"/>
                  <a:gd name="T14" fmla="*/ 125 w 125"/>
                  <a:gd name="T15" fmla="*/ 1 h 490"/>
                  <a:gd name="T16" fmla="*/ 119 w 125"/>
                  <a:gd name="T17" fmla="*/ 1 h 490"/>
                  <a:gd name="T18" fmla="*/ 88 w 125"/>
                  <a:gd name="T19" fmla="*/ 1 h 490"/>
                  <a:gd name="T20" fmla="*/ 82 w 125"/>
                  <a:gd name="T21" fmla="*/ 1 h 490"/>
                  <a:gd name="T22" fmla="*/ 88 w 125"/>
                  <a:gd name="T23" fmla="*/ 1 h 490"/>
                  <a:gd name="T24" fmla="*/ 44 w 125"/>
                  <a:gd name="T25" fmla="*/ 1 h 490"/>
                  <a:gd name="T26" fmla="*/ 32 w 125"/>
                  <a:gd name="T27" fmla="*/ 1 h 490"/>
                  <a:gd name="T28" fmla="*/ 50 w 125"/>
                  <a:gd name="T29" fmla="*/ 1 h 490"/>
                  <a:gd name="T30" fmla="*/ 75 w 125"/>
                  <a:gd name="T31" fmla="*/ 1 h 490"/>
                  <a:gd name="T32" fmla="*/ 64 w 125"/>
                  <a:gd name="T33" fmla="*/ 1 h 490"/>
                  <a:gd name="T34" fmla="*/ 57 w 125"/>
                  <a:gd name="T35" fmla="*/ 1 h 490"/>
                  <a:gd name="T36" fmla="*/ 44 w 125"/>
                  <a:gd name="T37" fmla="*/ 1 h 490"/>
                  <a:gd name="T38" fmla="*/ 13 w 125"/>
                  <a:gd name="T39" fmla="*/ 1 h 490"/>
                  <a:gd name="T40" fmla="*/ 19 w 125"/>
                  <a:gd name="T41" fmla="*/ 1 h 490"/>
                  <a:gd name="T42" fmla="*/ 38 w 125"/>
                  <a:gd name="T43" fmla="*/ 1 h 490"/>
                  <a:gd name="T44" fmla="*/ 13 w 125"/>
                  <a:gd name="T45" fmla="*/ 1 h 490"/>
                  <a:gd name="T46" fmla="*/ 19 w 125"/>
                  <a:gd name="T47" fmla="*/ 1 h 490"/>
                  <a:gd name="T48" fmla="*/ 0 w 125"/>
                  <a:gd name="T49" fmla="*/ 1 h 49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25" h="490">
                    <a:moveTo>
                      <a:pt x="0" y="77"/>
                    </a:moveTo>
                    <a:lnTo>
                      <a:pt x="13" y="33"/>
                    </a:lnTo>
                    <a:lnTo>
                      <a:pt x="44" y="0"/>
                    </a:lnTo>
                    <a:lnTo>
                      <a:pt x="57" y="33"/>
                    </a:lnTo>
                    <a:lnTo>
                      <a:pt x="57" y="100"/>
                    </a:lnTo>
                    <a:lnTo>
                      <a:pt x="94" y="68"/>
                    </a:lnTo>
                    <a:lnTo>
                      <a:pt x="113" y="100"/>
                    </a:lnTo>
                    <a:lnTo>
                      <a:pt x="125" y="167"/>
                    </a:lnTo>
                    <a:lnTo>
                      <a:pt x="119" y="212"/>
                    </a:lnTo>
                    <a:lnTo>
                      <a:pt x="88" y="200"/>
                    </a:lnTo>
                    <a:lnTo>
                      <a:pt x="82" y="223"/>
                    </a:lnTo>
                    <a:lnTo>
                      <a:pt x="88" y="288"/>
                    </a:lnTo>
                    <a:lnTo>
                      <a:pt x="44" y="235"/>
                    </a:lnTo>
                    <a:lnTo>
                      <a:pt x="32" y="335"/>
                    </a:lnTo>
                    <a:lnTo>
                      <a:pt x="50" y="434"/>
                    </a:lnTo>
                    <a:lnTo>
                      <a:pt x="75" y="467"/>
                    </a:lnTo>
                    <a:lnTo>
                      <a:pt x="64" y="490"/>
                    </a:lnTo>
                    <a:lnTo>
                      <a:pt x="57" y="456"/>
                    </a:lnTo>
                    <a:lnTo>
                      <a:pt x="44" y="456"/>
                    </a:lnTo>
                    <a:lnTo>
                      <a:pt x="13" y="402"/>
                    </a:lnTo>
                    <a:lnTo>
                      <a:pt x="19" y="346"/>
                    </a:lnTo>
                    <a:lnTo>
                      <a:pt x="38" y="288"/>
                    </a:lnTo>
                    <a:lnTo>
                      <a:pt x="13" y="191"/>
                    </a:lnTo>
                    <a:lnTo>
                      <a:pt x="19" y="144"/>
                    </a:lnTo>
                    <a:lnTo>
                      <a:pt x="0" y="77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794" name="Freeform 736"/>
            <p:cNvSpPr>
              <a:spLocks/>
            </p:cNvSpPr>
            <p:nvPr>
              <p:custDataLst>
                <p:tags r:id="rId602"/>
              </p:custDataLst>
            </p:nvPr>
          </p:nvSpPr>
          <p:spPr bwMode="auto">
            <a:xfrm>
              <a:off x="3992106" y="4523945"/>
              <a:ext cx="32078" cy="26988"/>
            </a:xfrm>
            <a:custGeom>
              <a:avLst/>
              <a:gdLst>
                <a:gd name="T0" fmla="*/ 0 w 18"/>
                <a:gd name="T1" fmla="*/ 2147483647 h 35"/>
                <a:gd name="T2" fmla="*/ 2147483647 w 18"/>
                <a:gd name="T3" fmla="*/ 2147483647 h 35"/>
                <a:gd name="T4" fmla="*/ 2147483647 w 18"/>
                <a:gd name="T5" fmla="*/ 0 h 35"/>
                <a:gd name="T6" fmla="*/ 0 w 18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5">
                  <a:moveTo>
                    <a:pt x="0" y="35"/>
                  </a:moveTo>
                  <a:lnTo>
                    <a:pt x="18" y="23"/>
                  </a:lnTo>
                  <a:lnTo>
                    <a:pt x="18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95" name="Freeform 737"/>
            <p:cNvSpPr>
              <a:spLocks/>
            </p:cNvSpPr>
            <p:nvPr>
              <p:custDataLst>
                <p:tags r:id="rId603"/>
              </p:custDataLst>
            </p:nvPr>
          </p:nvSpPr>
          <p:spPr bwMode="auto">
            <a:xfrm>
              <a:off x="3992106" y="4523945"/>
              <a:ext cx="32078" cy="26988"/>
            </a:xfrm>
            <a:custGeom>
              <a:avLst/>
              <a:gdLst>
                <a:gd name="T0" fmla="*/ 0 w 18"/>
                <a:gd name="T1" fmla="*/ 2147483647 h 35"/>
                <a:gd name="T2" fmla="*/ 2147483647 w 18"/>
                <a:gd name="T3" fmla="*/ 2147483647 h 35"/>
                <a:gd name="T4" fmla="*/ 2147483647 w 18"/>
                <a:gd name="T5" fmla="*/ 0 h 35"/>
                <a:gd name="T6" fmla="*/ 0 w 18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5">
                  <a:moveTo>
                    <a:pt x="0" y="35"/>
                  </a:moveTo>
                  <a:lnTo>
                    <a:pt x="18" y="23"/>
                  </a:lnTo>
                  <a:lnTo>
                    <a:pt x="18" y="0"/>
                  </a:lnTo>
                  <a:lnTo>
                    <a:pt x="0" y="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96" name="Freeform 738"/>
            <p:cNvSpPr>
              <a:spLocks/>
            </p:cNvSpPr>
            <p:nvPr>
              <p:custDataLst>
                <p:tags r:id="rId604"/>
              </p:custDataLst>
            </p:nvPr>
          </p:nvSpPr>
          <p:spPr bwMode="auto">
            <a:xfrm>
              <a:off x="3992106" y="4523945"/>
              <a:ext cx="32078" cy="26988"/>
            </a:xfrm>
            <a:custGeom>
              <a:avLst/>
              <a:gdLst>
                <a:gd name="T0" fmla="*/ 0 w 18"/>
                <a:gd name="T1" fmla="*/ 2147483647 h 35"/>
                <a:gd name="T2" fmla="*/ 2147483647 w 18"/>
                <a:gd name="T3" fmla="*/ 2147483647 h 35"/>
                <a:gd name="T4" fmla="*/ 2147483647 w 18"/>
                <a:gd name="T5" fmla="*/ 0 h 35"/>
                <a:gd name="T6" fmla="*/ 0 w 18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5">
                  <a:moveTo>
                    <a:pt x="0" y="35"/>
                  </a:moveTo>
                  <a:lnTo>
                    <a:pt x="18" y="23"/>
                  </a:lnTo>
                  <a:lnTo>
                    <a:pt x="18" y="0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97" name="Freeform 739"/>
            <p:cNvSpPr>
              <a:spLocks/>
            </p:cNvSpPr>
            <p:nvPr>
              <p:custDataLst>
                <p:tags r:id="rId605"/>
              </p:custDataLst>
            </p:nvPr>
          </p:nvSpPr>
          <p:spPr bwMode="auto">
            <a:xfrm>
              <a:off x="3992106" y="4523945"/>
              <a:ext cx="32078" cy="26988"/>
            </a:xfrm>
            <a:custGeom>
              <a:avLst/>
              <a:gdLst>
                <a:gd name="T0" fmla="*/ 0 w 18"/>
                <a:gd name="T1" fmla="*/ 2147483647 h 35"/>
                <a:gd name="T2" fmla="*/ 2147483647 w 18"/>
                <a:gd name="T3" fmla="*/ 2147483647 h 35"/>
                <a:gd name="T4" fmla="*/ 2147483647 w 18"/>
                <a:gd name="T5" fmla="*/ 0 h 35"/>
                <a:gd name="T6" fmla="*/ 0 w 18"/>
                <a:gd name="T7" fmla="*/ 2147483647 h 3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5">
                  <a:moveTo>
                    <a:pt x="0" y="35"/>
                  </a:moveTo>
                  <a:lnTo>
                    <a:pt x="18" y="23"/>
                  </a:lnTo>
                  <a:lnTo>
                    <a:pt x="18" y="0"/>
                  </a:lnTo>
                  <a:lnTo>
                    <a:pt x="0" y="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98" name="Freeform 740"/>
            <p:cNvSpPr>
              <a:spLocks/>
            </p:cNvSpPr>
            <p:nvPr>
              <p:custDataLst>
                <p:tags r:id="rId606"/>
              </p:custDataLst>
            </p:nvPr>
          </p:nvSpPr>
          <p:spPr bwMode="auto">
            <a:xfrm>
              <a:off x="7486631" y="4119133"/>
              <a:ext cx="150367" cy="87312"/>
            </a:xfrm>
            <a:custGeom>
              <a:avLst/>
              <a:gdLst>
                <a:gd name="T0" fmla="*/ 0 w 81"/>
                <a:gd name="T1" fmla="*/ 2147483647 h 112"/>
                <a:gd name="T2" fmla="*/ 2147483647 w 81"/>
                <a:gd name="T3" fmla="*/ 2147483647 h 112"/>
                <a:gd name="T4" fmla="*/ 2147483647 w 81"/>
                <a:gd name="T5" fmla="*/ 2147483647 h 112"/>
                <a:gd name="T6" fmla="*/ 2147483647 w 81"/>
                <a:gd name="T7" fmla="*/ 2147483647 h 112"/>
                <a:gd name="T8" fmla="*/ 2147483647 w 81"/>
                <a:gd name="T9" fmla="*/ 0 h 112"/>
                <a:gd name="T10" fmla="*/ 2147483647 w 81"/>
                <a:gd name="T11" fmla="*/ 2147483647 h 112"/>
                <a:gd name="T12" fmla="*/ 2147483647 w 81"/>
                <a:gd name="T13" fmla="*/ 2147483647 h 112"/>
                <a:gd name="T14" fmla="*/ 2147483647 w 81"/>
                <a:gd name="T15" fmla="*/ 2147483647 h 112"/>
                <a:gd name="T16" fmla="*/ 2147483647 w 81"/>
                <a:gd name="T17" fmla="*/ 2147483647 h 112"/>
                <a:gd name="T18" fmla="*/ 2147483647 w 81"/>
                <a:gd name="T19" fmla="*/ 2147483647 h 112"/>
                <a:gd name="T20" fmla="*/ 0 w 81"/>
                <a:gd name="T21" fmla="*/ 2147483647 h 1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12">
                  <a:moveTo>
                    <a:pt x="0" y="54"/>
                  </a:moveTo>
                  <a:lnTo>
                    <a:pt x="7" y="54"/>
                  </a:lnTo>
                  <a:lnTo>
                    <a:pt x="13" y="67"/>
                  </a:lnTo>
                  <a:lnTo>
                    <a:pt x="44" y="67"/>
                  </a:lnTo>
                  <a:lnTo>
                    <a:pt x="76" y="0"/>
                  </a:lnTo>
                  <a:lnTo>
                    <a:pt x="81" y="44"/>
                  </a:lnTo>
                  <a:lnTo>
                    <a:pt x="69" y="44"/>
                  </a:lnTo>
                  <a:lnTo>
                    <a:pt x="76" y="67"/>
                  </a:lnTo>
                  <a:lnTo>
                    <a:pt x="63" y="112"/>
                  </a:lnTo>
                  <a:lnTo>
                    <a:pt x="13" y="112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799" name="Freeform 741"/>
            <p:cNvSpPr>
              <a:spLocks/>
            </p:cNvSpPr>
            <p:nvPr>
              <p:custDataLst>
                <p:tags r:id="rId607"/>
              </p:custDataLst>
            </p:nvPr>
          </p:nvSpPr>
          <p:spPr bwMode="auto">
            <a:xfrm>
              <a:off x="7486631" y="4119133"/>
              <a:ext cx="150367" cy="87312"/>
            </a:xfrm>
            <a:custGeom>
              <a:avLst/>
              <a:gdLst>
                <a:gd name="T0" fmla="*/ 0 w 81"/>
                <a:gd name="T1" fmla="*/ 2147483647 h 112"/>
                <a:gd name="T2" fmla="*/ 2147483647 w 81"/>
                <a:gd name="T3" fmla="*/ 2147483647 h 112"/>
                <a:gd name="T4" fmla="*/ 2147483647 w 81"/>
                <a:gd name="T5" fmla="*/ 2147483647 h 112"/>
                <a:gd name="T6" fmla="*/ 2147483647 w 81"/>
                <a:gd name="T7" fmla="*/ 2147483647 h 112"/>
                <a:gd name="T8" fmla="*/ 2147483647 w 81"/>
                <a:gd name="T9" fmla="*/ 0 h 112"/>
                <a:gd name="T10" fmla="*/ 2147483647 w 81"/>
                <a:gd name="T11" fmla="*/ 2147483647 h 112"/>
                <a:gd name="T12" fmla="*/ 2147483647 w 81"/>
                <a:gd name="T13" fmla="*/ 2147483647 h 112"/>
                <a:gd name="T14" fmla="*/ 2147483647 w 81"/>
                <a:gd name="T15" fmla="*/ 2147483647 h 112"/>
                <a:gd name="T16" fmla="*/ 2147483647 w 81"/>
                <a:gd name="T17" fmla="*/ 2147483647 h 112"/>
                <a:gd name="T18" fmla="*/ 2147483647 w 81"/>
                <a:gd name="T19" fmla="*/ 2147483647 h 112"/>
                <a:gd name="T20" fmla="*/ 0 w 81"/>
                <a:gd name="T21" fmla="*/ 2147483647 h 1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12">
                  <a:moveTo>
                    <a:pt x="0" y="54"/>
                  </a:moveTo>
                  <a:lnTo>
                    <a:pt x="7" y="54"/>
                  </a:lnTo>
                  <a:lnTo>
                    <a:pt x="13" y="67"/>
                  </a:lnTo>
                  <a:lnTo>
                    <a:pt x="44" y="67"/>
                  </a:lnTo>
                  <a:lnTo>
                    <a:pt x="76" y="0"/>
                  </a:lnTo>
                  <a:lnTo>
                    <a:pt x="81" y="44"/>
                  </a:lnTo>
                  <a:lnTo>
                    <a:pt x="69" y="44"/>
                  </a:lnTo>
                  <a:lnTo>
                    <a:pt x="76" y="67"/>
                  </a:lnTo>
                  <a:lnTo>
                    <a:pt x="63" y="112"/>
                  </a:lnTo>
                  <a:lnTo>
                    <a:pt x="13" y="112"/>
                  </a:lnTo>
                  <a:lnTo>
                    <a:pt x="0" y="5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00" name="Freeform 742"/>
            <p:cNvSpPr>
              <a:spLocks/>
            </p:cNvSpPr>
            <p:nvPr>
              <p:custDataLst>
                <p:tags r:id="rId608"/>
              </p:custDataLst>
            </p:nvPr>
          </p:nvSpPr>
          <p:spPr bwMode="auto">
            <a:xfrm>
              <a:off x="7486631" y="4119133"/>
              <a:ext cx="150367" cy="87312"/>
            </a:xfrm>
            <a:custGeom>
              <a:avLst/>
              <a:gdLst>
                <a:gd name="T0" fmla="*/ 0 w 81"/>
                <a:gd name="T1" fmla="*/ 2147483647 h 112"/>
                <a:gd name="T2" fmla="*/ 2147483647 w 81"/>
                <a:gd name="T3" fmla="*/ 2147483647 h 112"/>
                <a:gd name="T4" fmla="*/ 2147483647 w 81"/>
                <a:gd name="T5" fmla="*/ 2147483647 h 112"/>
                <a:gd name="T6" fmla="*/ 2147483647 w 81"/>
                <a:gd name="T7" fmla="*/ 2147483647 h 112"/>
                <a:gd name="T8" fmla="*/ 2147483647 w 81"/>
                <a:gd name="T9" fmla="*/ 0 h 112"/>
                <a:gd name="T10" fmla="*/ 2147483647 w 81"/>
                <a:gd name="T11" fmla="*/ 2147483647 h 112"/>
                <a:gd name="T12" fmla="*/ 2147483647 w 81"/>
                <a:gd name="T13" fmla="*/ 2147483647 h 112"/>
                <a:gd name="T14" fmla="*/ 2147483647 w 81"/>
                <a:gd name="T15" fmla="*/ 2147483647 h 112"/>
                <a:gd name="T16" fmla="*/ 2147483647 w 81"/>
                <a:gd name="T17" fmla="*/ 2147483647 h 112"/>
                <a:gd name="T18" fmla="*/ 2147483647 w 81"/>
                <a:gd name="T19" fmla="*/ 2147483647 h 112"/>
                <a:gd name="T20" fmla="*/ 0 w 81"/>
                <a:gd name="T21" fmla="*/ 2147483647 h 1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12">
                  <a:moveTo>
                    <a:pt x="0" y="54"/>
                  </a:moveTo>
                  <a:lnTo>
                    <a:pt x="7" y="54"/>
                  </a:lnTo>
                  <a:lnTo>
                    <a:pt x="13" y="67"/>
                  </a:lnTo>
                  <a:lnTo>
                    <a:pt x="44" y="67"/>
                  </a:lnTo>
                  <a:lnTo>
                    <a:pt x="76" y="0"/>
                  </a:lnTo>
                  <a:lnTo>
                    <a:pt x="81" y="44"/>
                  </a:lnTo>
                  <a:lnTo>
                    <a:pt x="69" y="44"/>
                  </a:lnTo>
                  <a:lnTo>
                    <a:pt x="76" y="67"/>
                  </a:lnTo>
                  <a:lnTo>
                    <a:pt x="63" y="112"/>
                  </a:lnTo>
                  <a:lnTo>
                    <a:pt x="13" y="112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01" name="Freeform 743"/>
            <p:cNvSpPr>
              <a:spLocks/>
            </p:cNvSpPr>
            <p:nvPr>
              <p:custDataLst>
                <p:tags r:id="rId609"/>
              </p:custDataLst>
            </p:nvPr>
          </p:nvSpPr>
          <p:spPr bwMode="auto">
            <a:xfrm>
              <a:off x="7486631" y="4119133"/>
              <a:ext cx="150367" cy="87312"/>
            </a:xfrm>
            <a:custGeom>
              <a:avLst/>
              <a:gdLst>
                <a:gd name="T0" fmla="*/ 0 w 81"/>
                <a:gd name="T1" fmla="*/ 2147483647 h 112"/>
                <a:gd name="T2" fmla="*/ 2147483647 w 81"/>
                <a:gd name="T3" fmla="*/ 2147483647 h 112"/>
                <a:gd name="T4" fmla="*/ 2147483647 w 81"/>
                <a:gd name="T5" fmla="*/ 2147483647 h 112"/>
                <a:gd name="T6" fmla="*/ 2147483647 w 81"/>
                <a:gd name="T7" fmla="*/ 2147483647 h 112"/>
                <a:gd name="T8" fmla="*/ 2147483647 w 81"/>
                <a:gd name="T9" fmla="*/ 0 h 112"/>
                <a:gd name="T10" fmla="*/ 2147483647 w 81"/>
                <a:gd name="T11" fmla="*/ 2147483647 h 112"/>
                <a:gd name="T12" fmla="*/ 2147483647 w 81"/>
                <a:gd name="T13" fmla="*/ 2147483647 h 112"/>
                <a:gd name="T14" fmla="*/ 2147483647 w 81"/>
                <a:gd name="T15" fmla="*/ 2147483647 h 112"/>
                <a:gd name="T16" fmla="*/ 2147483647 w 81"/>
                <a:gd name="T17" fmla="*/ 2147483647 h 112"/>
                <a:gd name="T18" fmla="*/ 2147483647 w 81"/>
                <a:gd name="T19" fmla="*/ 2147483647 h 112"/>
                <a:gd name="T20" fmla="*/ 0 w 81"/>
                <a:gd name="T21" fmla="*/ 2147483647 h 1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12">
                  <a:moveTo>
                    <a:pt x="0" y="54"/>
                  </a:moveTo>
                  <a:lnTo>
                    <a:pt x="7" y="54"/>
                  </a:lnTo>
                  <a:lnTo>
                    <a:pt x="13" y="67"/>
                  </a:lnTo>
                  <a:lnTo>
                    <a:pt x="44" y="67"/>
                  </a:lnTo>
                  <a:lnTo>
                    <a:pt x="76" y="0"/>
                  </a:lnTo>
                  <a:lnTo>
                    <a:pt x="81" y="44"/>
                  </a:lnTo>
                  <a:lnTo>
                    <a:pt x="69" y="44"/>
                  </a:lnTo>
                  <a:lnTo>
                    <a:pt x="76" y="67"/>
                  </a:lnTo>
                  <a:lnTo>
                    <a:pt x="63" y="112"/>
                  </a:lnTo>
                  <a:lnTo>
                    <a:pt x="13" y="112"/>
                  </a:lnTo>
                  <a:lnTo>
                    <a:pt x="0" y="5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02" name="Freeform 744"/>
            <p:cNvSpPr>
              <a:spLocks/>
            </p:cNvSpPr>
            <p:nvPr>
              <p:custDataLst>
                <p:tags r:id="rId610"/>
              </p:custDataLst>
            </p:nvPr>
          </p:nvSpPr>
          <p:spPr bwMode="auto">
            <a:xfrm>
              <a:off x="6225552" y="3817525"/>
              <a:ext cx="116284" cy="187325"/>
            </a:xfrm>
            <a:custGeom>
              <a:avLst/>
              <a:gdLst>
                <a:gd name="T0" fmla="*/ 0 w 63"/>
                <a:gd name="T1" fmla="*/ 2147483647 h 234"/>
                <a:gd name="T2" fmla="*/ 2147483647 w 63"/>
                <a:gd name="T3" fmla="*/ 2147483647 h 234"/>
                <a:gd name="T4" fmla="*/ 2147483647 w 63"/>
                <a:gd name="T5" fmla="*/ 0 h 234"/>
                <a:gd name="T6" fmla="*/ 2147483647 w 63"/>
                <a:gd name="T7" fmla="*/ 0 h 234"/>
                <a:gd name="T8" fmla="*/ 2147483647 w 63"/>
                <a:gd name="T9" fmla="*/ 2147483647 h 234"/>
                <a:gd name="T10" fmla="*/ 2147483647 w 63"/>
                <a:gd name="T11" fmla="*/ 2147483647 h 234"/>
                <a:gd name="T12" fmla="*/ 2147483647 w 63"/>
                <a:gd name="T13" fmla="*/ 2147483647 h 234"/>
                <a:gd name="T14" fmla="*/ 2147483647 w 63"/>
                <a:gd name="T15" fmla="*/ 2147483647 h 234"/>
                <a:gd name="T16" fmla="*/ 2147483647 w 63"/>
                <a:gd name="T17" fmla="*/ 2147483647 h 234"/>
                <a:gd name="T18" fmla="*/ 2147483647 w 63"/>
                <a:gd name="T19" fmla="*/ 2147483647 h 234"/>
                <a:gd name="T20" fmla="*/ 0 w 63"/>
                <a:gd name="T21" fmla="*/ 2147483647 h 2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3" h="234">
                  <a:moveTo>
                    <a:pt x="0" y="111"/>
                  </a:moveTo>
                  <a:lnTo>
                    <a:pt x="13" y="88"/>
                  </a:lnTo>
                  <a:lnTo>
                    <a:pt x="19" y="0"/>
                  </a:lnTo>
                  <a:lnTo>
                    <a:pt x="56" y="0"/>
                  </a:lnTo>
                  <a:lnTo>
                    <a:pt x="50" y="23"/>
                  </a:lnTo>
                  <a:lnTo>
                    <a:pt x="56" y="67"/>
                  </a:lnTo>
                  <a:lnTo>
                    <a:pt x="38" y="111"/>
                  </a:lnTo>
                  <a:lnTo>
                    <a:pt x="63" y="132"/>
                  </a:lnTo>
                  <a:lnTo>
                    <a:pt x="32" y="234"/>
                  </a:lnTo>
                  <a:lnTo>
                    <a:pt x="26" y="177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03" name="Freeform 745"/>
            <p:cNvSpPr>
              <a:spLocks/>
            </p:cNvSpPr>
            <p:nvPr>
              <p:custDataLst>
                <p:tags r:id="rId611"/>
              </p:custDataLst>
            </p:nvPr>
          </p:nvSpPr>
          <p:spPr bwMode="auto">
            <a:xfrm>
              <a:off x="6225552" y="3817525"/>
              <a:ext cx="116284" cy="187325"/>
            </a:xfrm>
            <a:custGeom>
              <a:avLst/>
              <a:gdLst>
                <a:gd name="T0" fmla="*/ 0 w 63"/>
                <a:gd name="T1" fmla="*/ 2147483647 h 234"/>
                <a:gd name="T2" fmla="*/ 2147483647 w 63"/>
                <a:gd name="T3" fmla="*/ 2147483647 h 234"/>
                <a:gd name="T4" fmla="*/ 2147483647 w 63"/>
                <a:gd name="T5" fmla="*/ 0 h 234"/>
                <a:gd name="T6" fmla="*/ 2147483647 w 63"/>
                <a:gd name="T7" fmla="*/ 0 h 234"/>
                <a:gd name="T8" fmla="*/ 2147483647 w 63"/>
                <a:gd name="T9" fmla="*/ 2147483647 h 234"/>
                <a:gd name="T10" fmla="*/ 2147483647 w 63"/>
                <a:gd name="T11" fmla="*/ 2147483647 h 234"/>
                <a:gd name="T12" fmla="*/ 2147483647 w 63"/>
                <a:gd name="T13" fmla="*/ 2147483647 h 234"/>
                <a:gd name="T14" fmla="*/ 2147483647 w 63"/>
                <a:gd name="T15" fmla="*/ 2147483647 h 234"/>
                <a:gd name="T16" fmla="*/ 2147483647 w 63"/>
                <a:gd name="T17" fmla="*/ 2147483647 h 234"/>
                <a:gd name="T18" fmla="*/ 2147483647 w 63"/>
                <a:gd name="T19" fmla="*/ 2147483647 h 234"/>
                <a:gd name="T20" fmla="*/ 0 w 63"/>
                <a:gd name="T21" fmla="*/ 2147483647 h 2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3" h="234">
                  <a:moveTo>
                    <a:pt x="0" y="111"/>
                  </a:moveTo>
                  <a:lnTo>
                    <a:pt x="13" y="88"/>
                  </a:lnTo>
                  <a:lnTo>
                    <a:pt x="19" y="0"/>
                  </a:lnTo>
                  <a:lnTo>
                    <a:pt x="56" y="0"/>
                  </a:lnTo>
                  <a:lnTo>
                    <a:pt x="50" y="23"/>
                  </a:lnTo>
                  <a:lnTo>
                    <a:pt x="56" y="67"/>
                  </a:lnTo>
                  <a:lnTo>
                    <a:pt x="38" y="111"/>
                  </a:lnTo>
                  <a:lnTo>
                    <a:pt x="63" y="132"/>
                  </a:lnTo>
                  <a:lnTo>
                    <a:pt x="32" y="234"/>
                  </a:lnTo>
                  <a:lnTo>
                    <a:pt x="26" y="177"/>
                  </a:lnTo>
                  <a:lnTo>
                    <a:pt x="0" y="111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04" name="Freeform 746"/>
            <p:cNvSpPr>
              <a:spLocks/>
            </p:cNvSpPr>
            <p:nvPr>
              <p:custDataLst>
                <p:tags r:id="rId612"/>
              </p:custDataLst>
            </p:nvPr>
          </p:nvSpPr>
          <p:spPr bwMode="auto">
            <a:xfrm>
              <a:off x="6225552" y="3817525"/>
              <a:ext cx="116284" cy="187325"/>
            </a:xfrm>
            <a:custGeom>
              <a:avLst/>
              <a:gdLst>
                <a:gd name="T0" fmla="*/ 0 w 63"/>
                <a:gd name="T1" fmla="*/ 2147483647 h 234"/>
                <a:gd name="T2" fmla="*/ 2147483647 w 63"/>
                <a:gd name="T3" fmla="*/ 2147483647 h 234"/>
                <a:gd name="T4" fmla="*/ 2147483647 w 63"/>
                <a:gd name="T5" fmla="*/ 0 h 234"/>
                <a:gd name="T6" fmla="*/ 2147483647 w 63"/>
                <a:gd name="T7" fmla="*/ 0 h 234"/>
                <a:gd name="T8" fmla="*/ 2147483647 w 63"/>
                <a:gd name="T9" fmla="*/ 2147483647 h 234"/>
                <a:gd name="T10" fmla="*/ 2147483647 w 63"/>
                <a:gd name="T11" fmla="*/ 2147483647 h 234"/>
                <a:gd name="T12" fmla="*/ 2147483647 w 63"/>
                <a:gd name="T13" fmla="*/ 2147483647 h 234"/>
                <a:gd name="T14" fmla="*/ 2147483647 w 63"/>
                <a:gd name="T15" fmla="*/ 2147483647 h 234"/>
                <a:gd name="T16" fmla="*/ 2147483647 w 63"/>
                <a:gd name="T17" fmla="*/ 2147483647 h 234"/>
                <a:gd name="T18" fmla="*/ 2147483647 w 63"/>
                <a:gd name="T19" fmla="*/ 2147483647 h 234"/>
                <a:gd name="T20" fmla="*/ 0 w 63"/>
                <a:gd name="T21" fmla="*/ 2147483647 h 2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3" h="234">
                  <a:moveTo>
                    <a:pt x="0" y="111"/>
                  </a:moveTo>
                  <a:lnTo>
                    <a:pt x="13" y="88"/>
                  </a:lnTo>
                  <a:lnTo>
                    <a:pt x="19" y="0"/>
                  </a:lnTo>
                  <a:lnTo>
                    <a:pt x="56" y="0"/>
                  </a:lnTo>
                  <a:lnTo>
                    <a:pt x="50" y="23"/>
                  </a:lnTo>
                  <a:lnTo>
                    <a:pt x="56" y="67"/>
                  </a:lnTo>
                  <a:lnTo>
                    <a:pt x="38" y="111"/>
                  </a:lnTo>
                  <a:lnTo>
                    <a:pt x="63" y="132"/>
                  </a:lnTo>
                  <a:lnTo>
                    <a:pt x="32" y="234"/>
                  </a:lnTo>
                  <a:lnTo>
                    <a:pt x="26" y="177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05" name="Freeform 748"/>
            <p:cNvSpPr>
              <a:spLocks/>
            </p:cNvSpPr>
            <p:nvPr>
              <p:custDataLst>
                <p:tags r:id="rId613"/>
              </p:custDataLst>
            </p:nvPr>
          </p:nvSpPr>
          <p:spPr bwMode="auto">
            <a:xfrm>
              <a:off x="6768901" y="3668283"/>
              <a:ext cx="82200" cy="63500"/>
            </a:xfrm>
            <a:custGeom>
              <a:avLst/>
              <a:gdLst>
                <a:gd name="T0" fmla="*/ 0 w 44"/>
                <a:gd name="T1" fmla="*/ 2147483647 h 78"/>
                <a:gd name="T2" fmla="*/ 2147483647 w 44"/>
                <a:gd name="T3" fmla="*/ 2147483647 h 78"/>
                <a:gd name="T4" fmla="*/ 2147483647 w 44"/>
                <a:gd name="T5" fmla="*/ 0 h 78"/>
                <a:gd name="T6" fmla="*/ 2147483647 w 44"/>
                <a:gd name="T7" fmla="*/ 2147483647 h 78"/>
                <a:gd name="T8" fmla="*/ 2147483647 w 44"/>
                <a:gd name="T9" fmla="*/ 2147483647 h 78"/>
                <a:gd name="T10" fmla="*/ 0 w 44"/>
                <a:gd name="T11" fmla="*/ 2147483647 h 78"/>
                <a:gd name="T12" fmla="*/ 2147483647 w 44"/>
                <a:gd name="T13" fmla="*/ 2147483647 h 78"/>
                <a:gd name="T14" fmla="*/ 0 w 44"/>
                <a:gd name="T15" fmla="*/ 2147483647 h 7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4" h="78">
                  <a:moveTo>
                    <a:pt x="0" y="44"/>
                  </a:moveTo>
                  <a:lnTo>
                    <a:pt x="7" y="9"/>
                  </a:lnTo>
                  <a:lnTo>
                    <a:pt x="25" y="0"/>
                  </a:lnTo>
                  <a:lnTo>
                    <a:pt x="44" y="32"/>
                  </a:lnTo>
                  <a:lnTo>
                    <a:pt x="25" y="32"/>
                  </a:lnTo>
                  <a:lnTo>
                    <a:pt x="0" y="78"/>
                  </a:lnTo>
                  <a:lnTo>
                    <a:pt x="13" y="55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806" name="Group 749"/>
            <p:cNvGrpSpPr>
              <a:grpSpLocks/>
            </p:cNvGrpSpPr>
            <p:nvPr>
              <p:custDataLst>
                <p:tags r:id="rId614"/>
              </p:custDataLst>
            </p:nvPr>
          </p:nvGrpSpPr>
          <p:grpSpPr bwMode="auto">
            <a:xfrm>
              <a:off x="6768901" y="3668283"/>
              <a:ext cx="82200" cy="63500"/>
              <a:chOff x="3351" y="1941"/>
              <a:chExt cx="44" cy="40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11" name="Freeform 750"/>
              <p:cNvSpPr>
                <a:spLocks/>
              </p:cNvSpPr>
              <p:nvPr/>
            </p:nvSpPr>
            <p:spPr bwMode="auto">
              <a:xfrm>
                <a:off x="3351" y="1941"/>
                <a:ext cx="44" cy="40"/>
              </a:xfrm>
              <a:custGeom>
                <a:avLst/>
                <a:gdLst>
                  <a:gd name="T0" fmla="*/ 0 w 44"/>
                  <a:gd name="T1" fmla="*/ 1 h 78"/>
                  <a:gd name="T2" fmla="*/ 7 w 44"/>
                  <a:gd name="T3" fmla="*/ 1 h 78"/>
                  <a:gd name="T4" fmla="*/ 25 w 44"/>
                  <a:gd name="T5" fmla="*/ 0 h 78"/>
                  <a:gd name="T6" fmla="*/ 44 w 44"/>
                  <a:gd name="T7" fmla="*/ 1 h 78"/>
                  <a:gd name="T8" fmla="*/ 25 w 44"/>
                  <a:gd name="T9" fmla="*/ 1 h 78"/>
                  <a:gd name="T10" fmla="*/ 0 w 44"/>
                  <a:gd name="T11" fmla="*/ 1 h 78"/>
                  <a:gd name="T12" fmla="*/ 13 w 44"/>
                  <a:gd name="T13" fmla="*/ 1 h 78"/>
                  <a:gd name="T14" fmla="*/ 0 w 44"/>
                  <a:gd name="T15" fmla="*/ 1 h 7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78">
                    <a:moveTo>
                      <a:pt x="0" y="44"/>
                    </a:moveTo>
                    <a:lnTo>
                      <a:pt x="7" y="9"/>
                    </a:lnTo>
                    <a:lnTo>
                      <a:pt x="25" y="0"/>
                    </a:lnTo>
                    <a:lnTo>
                      <a:pt x="44" y="32"/>
                    </a:lnTo>
                    <a:lnTo>
                      <a:pt x="25" y="32"/>
                    </a:lnTo>
                    <a:lnTo>
                      <a:pt x="0" y="78"/>
                    </a:lnTo>
                    <a:lnTo>
                      <a:pt x="13" y="55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12" name="Freeform 751"/>
              <p:cNvSpPr>
                <a:spLocks/>
              </p:cNvSpPr>
              <p:nvPr/>
            </p:nvSpPr>
            <p:spPr bwMode="auto">
              <a:xfrm>
                <a:off x="3351" y="1941"/>
                <a:ext cx="44" cy="40"/>
              </a:xfrm>
              <a:custGeom>
                <a:avLst/>
                <a:gdLst>
                  <a:gd name="T0" fmla="*/ 0 w 44"/>
                  <a:gd name="T1" fmla="*/ 1 h 78"/>
                  <a:gd name="T2" fmla="*/ 7 w 44"/>
                  <a:gd name="T3" fmla="*/ 1 h 78"/>
                  <a:gd name="T4" fmla="*/ 25 w 44"/>
                  <a:gd name="T5" fmla="*/ 0 h 78"/>
                  <a:gd name="T6" fmla="*/ 44 w 44"/>
                  <a:gd name="T7" fmla="*/ 1 h 78"/>
                  <a:gd name="T8" fmla="*/ 25 w 44"/>
                  <a:gd name="T9" fmla="*/ 1 h 78"/>
                  <a:gd name="T10" fmla="*/ 0 w 44"/>
                  <a:gd name="T11" fmla="*/ 1 h 78"/>
                  <a:gd name="T12" fmla="*/ 13 w 44"/>
                  <a:gd name="T13" fmla="*/ 1 h 78"/>
                  <a:gd name="T14" fmla="*/ 0 w 44"/>
                  <a:gd name="T15" fmla="*/ 1 h 7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78">
                    <a:moveTo>
                      <a:pt x="0" y="44"/>
                    </a:moveTo>
                    <a:lnTo>
                      <a:pt x="7" y="9"/>
                    </a:lnTo>
                    <a:lnTo>
                      <a:pt x="25" y="0"/>
                    </a:lnTo>
                    <a:lnTo>
                      <a:pt x="44" y="32"/>
                    </a:lnTo>
                    <a:lnTo>
                      <a:pt x="25" y="32"/>
                    </a:lnTo>
                    <a:lnTo>
                      <a:pt x="0" y="78"/>
                    </a:lnTo>
                    <a:lnTo>
                      <a:pt x="13" y="55"/>
                    </a:lnTo>
                    <a:lnTo>
                      <a:pt x="0" y="4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807" name="Freeform 752"/>
            <p:cNvSpPr>
              <a:spLocks/>
            </p:cNvSpPr>
            <p:nvPr>
              <p:custDataLst>
                <p:tags r:id="rId615"/>
              </p:custDataLst>
            </p:nvPr>
          </p:nvSpPr>
          <p:spPr bwMode="auto">
            <a:xfrm>
              <a:off x="6768901" y="3668283"/>
              <a:ext cx="82200" cy="63500"/>
            </a:xfrm>
            <a:custGeom>
              <a:avLst/>
              <a:gdLst>
                <a:gd name="T0" fmla="*/ 0 w 44"/>
                <a:gd name="T1" fmla="*/ 2147483647 h 78"/>
                <a:gd name="T2" fmla="*/ 2147483647 w 44"/>
                <a:gd name="T3" fmla="*/ 2147483647 h 78"/>
                <a:gd name="T4" fmla="*/ 2147483647 w 44"/>
                <a:gd name="T5" fmla="*/ 0 h 78"/>
                <a:gd name="T6" fmla="*/ 2147483647 w 44"/>
                <a:gd name="T7" fmla="*/ 2147483647 h 78"/>
                <a:gd name="T8" fmla="*/ 2147483647 w 44"/>
                <a:gd name="T9" fmla="*/ 2147483647 h 78"/>
                <a:gd name="T10" fmla="*/ 0 w 44"/>
                <a:gd name="T11" fmla="*/ 2147483647 h 78"/>
                <a:gd name="T12" fmla="*/ 2147483647 w 44"/>
                <a:gd name="T13" fmla="*/ 2147483647 h 78"/>
                <a:gd name="T14" fmla="*/ 0 w 44"/>
                <a:gd name="T15" fmla="*/ 2147483647 h 7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4" h="78">
                  <a:moveTo>
                    <a:pt x="0" y="44"/>
                  </a:moveTo>
                  <a:lnTo>
                    <a:pt x="7" y="9"/>
                  </a:lnTo>
                  <a:lnTo>
                    <a:pt x="25" y="0"/>
                  </a:lnTo>
                  <a:lnTo>
                    <a:pt x="44" y="32"/>
                  </a:lnTo>
                  <a:lnTo>
                    <a:pt x="25" y="32"/>
                  </a:lnTo>
                  <a:lnTo>
                    <a:pt x="0" y="78"/>
                  </a:lnTo>
                  <a:lnTo>
                    <a:pt x="13" y="55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808" name="Group 753"/>
            <p:cNvGrpSpPr>
              <a:grpSpLocks/>
            </p:cNvGrpSpPr>
            <p:nvPr>
              <p:custDataLst>
                <p:tags r:id="rId616"/>
              </p:custDataLst>
            </p:nvPr>
          </p:nvGrpSpPr>
          <p:grpSpPr bwMode="auto">
            <a:xfrm>
              <a:off x="6768901" y="3668283"/>
              <a:ext cx="82200" cy="63500"/>
              <a:chOff x="3351" y="1941"/>
              <a:chExt cx="44" cy="40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09" name="Freeform 754"/>
              <p:cNvSpPr>
                <a:spLocks/>
              </p:cNvSpPr>
              <p:nvPr/>
            </p:nvSpPr>
            <p:spPr bwMode="auto">
              <a:xfrm>
                <a:off x="3351" y="1941"/>
                <a:ext cx="44" cy="40"/>
              </a:xfrm>
              <a:custGeom>
                <a:avLst/>
                <a:gdLst>
                  <a:gd name="T0" fmla="*/ 0 w 44"/>
                  <a:gd name="T1" fmla="*/ 1 h 78"/>
                  <a:gd name="T2" fmla="*/ 7 w 44"/>
                  <a:gd name="T3" fmla="*/ 1 h 78"/>
                  <a:gd name="T4" fmla="*/ 25 w 44"/>
                  <a:gd name="T5" fmla="*/ 0 h 78"/>
                  <a:gd name="T6" fmla="*/ 44 w 44"/>
                  <a:gd name="T7" fmla="*/ 1 h 78"/>
                  <a:gd name="T8" fmla="*/ 25 w 44"/>
                  <a:gd name="T9" fmla="*/ 1 h 78"/>
                  <a:gd name="T10" fmla="*/ 0 w 44"/>
                  <a:gd name="T11" fmla="*/ 1 h 78"/>
                  <a:gd name="T12" fmla="*/ 13 w 44"/>
                  <a:gd name="T13" fmla="*/ 1 h 78"/>
                  <a:gd name="T14" fmla="*/ 0 w 44"/>
                  <a:gd name="T15" fmla="*/ 1 h 7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78">
                    <a:moveTo>
                      <a:pt x="0" y="44"/>
                    </a:moveTo>
                    <a:lnTo>
                      <a:pt x="7" y="9"/>
                    </a:lnTo>
                    <a:lnTo>
                      <a:pt x="25" y="0"/>
                    </a:lnTo>
                    <a:lnTo>
                      <a:pt x="44" y="32"/>
                    </a:lnTo>
                    <a:lnTo>
                      <a:pt x="25" y="32"/>
                    </a:lnTo>
                    <a:lnTo>
                      <a:pt x="0" y="78"/>
                    </a:lnTo>
                    <a:lnTo>
                      <a:pt x="13" y="55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10" name="Freeform 755"/>
              <p:cNvSpPr>
                <a:spLocks/>
              </p:cNvSpPr>
              <p:nvPr/>
            </p:nvSpPr>
            <p:spPr bwMode="auto">
              <a:xfrm>
                <a:off x="3351" y="1941"/>
                <a:ext cx="44" cy="40"/>
              </a:xfrm>
              <a:custGeom>
                <a:avLst/>
                <a:gdLst>
                  <a:gd name="T0" fmla="*/ 0 w 44"/>
                  <a:gd name="T1" fmla="*/ 1 h 78"/>
                  <a:gd name="T2" fmla="*/ 7 w 44"/>
                  <a:gd name="T3" fmla="*/ 1 h 78"/>
                  <a:gd name="T4" fmla="*/ 25 w 44"/>
                  <a:gd name="T5" fmla="*/ 0 h 78"/>
                  <a:gd name="T6" fmla="*/ 44 w 44"/>
                  <a:gd name="T7" fmla="*/ 1 h 78"/>
                  <a:gd name="T8" fmla="*/ 25 w 44"/>
                  <a:gd name="T9" fmla="*/ 1 h 78"/>
                  <a:gd name="T10" fmla="*/ 0 w 44"/>
                  <a:gd name="T11" fmla="*/ 1 h 78"/>
                  <a:gd name="T12" fmla="*/ 13 w 44"/>
                  <a:gd name="T13" fmla="*/ 1 h 78"/>
                  <a:gd name="T14" fmla="*/ 0 w 44"/>
                  <a:gd name="T15" fmla="*/ 1 h 7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78">
                    <a:moveTo>
                      <a:pt x="0" y="44"/>
                    </a:moveTo>
                    <a:lnTo>
                      <a:pt x="7" y="9"/>
                    </a:lnTo>
                    <a:lnTo>
                      <a:pt x="25" y="0"/>
                    </a:lnTo>
                    <a:lnTo>
                      <a:pt x="44" y="32"/>
                    </a:lnTo>
                    <a:lnTo>
                      <a:pt x="25" y="32"/>
                    </a:lnTo>
                    <a:lnTo>
                      <a:pt x="0" y="78"/>
                    </a:lnTo>
                    <a:lnTo>
                      <a:pt x="13" y="55"/>
                    </a:lnTo>
                    <a:lnTo>
                      <a:pt x="0" y="44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809" name="Freeform 756"/>
            <p:cNvSpPr>
              <a:spLocks/>
            </p:cNvSpPr>
            <p:nvPr>
              <p:custDataLst>
                <p:tags r:id="rId617"/>
              </p:custDataLst>
            </p:nvPr>
          </p:nvSpPr>
          <p:spPr bwMode="auto">
            <a:xfrm>
              <a:off x="6768903" y="3668283"/>
              <a:ext cx="533302" cy="177800"/>
            </a:xfrm>
            <a:custGeom>
              <a:avLst/>
              <a:gdLst>
                <a:gd name="T0" fmla="*/ 0 w 288"/>
                <a:gd name="T1" fmla="*/ 2147483647 h 222"/>
                <a:gd name="T2" fmla="*/ 2147483647 w 288"/>
                <a:gd name="T3" fmla="*/ 2147483647 h 222"/>
                <a:gd name="T4" fmla="*/ 2147483647 w 288"/>
                <a:gd name="T5" fmla="*/ 2147483647 h 222"/>
                <a:gd name="T6" fmla="*/ 2147483647 w 288"/>
                <a:gd name="T7" fmla="*/ 2147483647 h 222"/>
                <a:gd name="T8" fmla="*/ 2147483647 w 288"/>
                <a:gd name="T9" fmla="*/ 2147483647 h 222"/>
                <a:gd name="T10" fmla="*/ 2147483647 w 288"/>
                <a:gd name="T11" fmla="*/ 2147483647 h 222"/>
                <a:gd name="T12" fmla="*/ 2147483647 w 288"/>
                <a:gd name="T13" fmla="*/ 2147483647 h 222"/>
                <a:gd name="T14" fmla="*/ 2147483647 w 288"/>
                <a:gd name="T15" fmla="*/ 2147483647 h 222"/>
                <a:gd name="T16" fmla="*/ 2147483647 w 288"/>
                <a:gd name="T17" fmla="*/ 2147483647 h 222"/>
                <a:gd name="T18" fmla="*/ 2147483647 w 288"/>
                <a:gd name="T19" fmla="*/ 2147483647 h 222"/>
                <a:gd name="T20" fmla="*/ 2147483647 w 288"/>
                <a:gd name="T21" fmla="*/ 2147483647 h 222"/>
                <a:gd name="T22" fmla="*/ 2147483647 w 288"/>
                <a:gd name="T23" fmla="*/ 2147483647 h 222"/>
                <a:gd name="T24" fmla="*/ 2147483647 w 288"/>
                <a:gd name="T25" fmla="*/ 2147483647 h 222"/>
                <a:gd name="T26" fmla="*/ 2147483647 w 288"/>
                <a:gd name="T27" fmla="*/ 2147483647 h 222"/>
                <a:gd name="T28" fmla="*/ 2147483647 w 288"/>
                <a:gd name="T29" fmla="*/ 2147483647 h 222"/>
                <a:gd name="T30" fmla="*/ 2147483647 w 288"/>
                <a:gd name="T31" fmla="*/ 2147483647 h 222"/>
                <a:gd name="T32" fmla="*/ 2147483647 w 288"/>
                <a:gd name="T33" fmla="*/ 2147483647 h 222"/>
                <a:gd name="T34" fmla="*/ 2147483647 w 288"/>
                <a:gd name="T35" fmla="*/ 2147483647 h 222"/>
                <a:gd name="T36" fmla="*/ 2147483647 w 288"/>
                <a:gd name="T37" fmla="*/ 2147483647 h 222"/>
                <a:gd name="T38" fmla="*/ 2147483647 w 288"/>
                <a:gd name="T39" fmla="*/ 2147483647 h 222"/>
                <a:gd name="T40" fmla="*/ 2147483647 w 288"/>
                <a:gd name="T41" fmla="*/ 2147483647 h 222"/>
                <a:gd name="T42" fmla="*/ 2147483647 w 288"/>
                <a:gd name="T43" fmla="*/ 0 h 222"/>
                <a:gd name="T44" fmla="*/ 2147483647 w 288"/>
                <a:gd name="T45" fmla="*/ 0 h 222"/>
                <a:gd name="T46" fmla="*/ 2147483647 w 288"/>
                <a:gd name="T47" fmla="*/ 2147483647 h 222"/>
                <a:gd name="T48" fmla="*/ 2147483647 w 288"/>
                <a:gd name="T49" fmla="*/ 2147483647 h 222"/>
                <a:gd name="T50" fmla="*/ 2147483647 w 288"/>
                <a:gd name="T51" fmla="*/ 2147483647 h 222"/>
                <a:gd name="T52" fmla="*/ 0 w 288"/>
                <a:gd name="T53" fmla="*/ 2147483647 h 22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88" h="222">
                  <a:moveTo>
                    <a:pt x="0" y="78"/>
                  </a:moveTo>
                  <a:lnTo>
                    <a:pt x="14" y="132"/>
                  </a:lnTo>
                  <a:lnTo>
                    <a:pt x="7" y="144"/>
                  </a:lnTo>
                  <a:lnTo>
                    <a:pt x="14" y="144"/>
                  </a:lnTo>
                  <a:lnTo>
                    <a:pt x="19" y="188"/>
                  </a:lnTo>
                  <a:lnTo>
                    <a:pt x="38" y="176"/>
                  </a:lnTo>
                  <a:lnTo>
                    <a:pt x="19" y="199"/>
                  </a:lnTo>
                  <a:lnTo>
                    <a:pt x="38" y="188"/>
                  </a:lnTo>
                  <a:lnTo>
                    <a:pt x="57" y="211"/>
                  </a:lnTo>
                  <a:lnTo>
                    <a:pt x="75" y="188"/>
                  </a:lnTo>
                  <a:lnTo>
                    <a:pt x="107" y="222"/>
                  </a:lnTo>
                  <a:lnTo>
                    <a:pt x="157" y="188"/>
                  </a:lnTo>
                  <a:lnTo>
                    <a:pt x="151" y="222"/>
                  </a:lnTo>
                  <a:lnTo>
                    <a:pt x="163" y="188"/>
                  </a:lnTo>
                  <a:lnTo>
                    <a:pt x="257" y="176"/>
                  </a:lnTo>
                  <a:lnTo>
                    <a:pt x="288" y="176"/>
                  </a:lnTo>
                  <a:lnTo>
                    <a:pt x="282" y="100"/>
                  </a:lnTo>
                  <a:lnTo>
                    <a:pt x="288" y="78"/>
                  </a:lnTo>
                  <a:lnTo>
                    <a:pt x="257" y="9"/>
                  </a:lnTo>
                  <a:lnTo>
                    <a:pt x="238" y="9"/>
                  </a:lnTo>
                  <a:lnTo>
                    <a:pt x="188" y="44"/>
                  </a:lnTo>
                  <a:lnTo>
                    <a:pt x="138" y="0"/>
                  </a:lnTo>
                  <a:lnTo>
                    <a:pt x="114" y="0"/>
                  </a:lnTo>
                  <a:lnTo>
                    <a:pt x="75" y="44"/>
                  </a:lnTo>
                  <a:lnTo>
                    <a:pt x="50" y="21"/>
                  </a:lnTo>
                  <a:lnTo>
                    <a:pt x="57" y="44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810" name="Group 757"/>
            <p:cNvGrpSpPr>
              <a:grpSpLocks/>
            </p:cNvGrpSpPr>
            <p:nvPr>
              <p:custDataLst>
                <p:tags r:id="rId618"/>
              </p:custDataLst>
            </p:nvPr>
          </p:nvGrpSpPr>
          <p:grpSpPr bwMode="auto">
            <a:xfrm>
              <a:off x="6768903" y="3668283"/>
              <a:ext cx="533302" cy="177800"/>
              <a:chOff x="3351" y="1941"/>
              <a:chExt cx="288" cy="112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07" name="Freeform 758"/>
              <p:cNvSpPr>
                <a:spLocks/>
              </p:cNvSpPr>
              <p:nvPr/>
            </p:nvSpPr>
            <p:spPr bwMode="auto">
              <a:xfrm>
                <a:off x="3351" y="1941"/>
                <a:ext cx="288" cy="112"/>
              </a:xfrm>
              <a:custGeom>
                <a:avLst/>
                <a:gdLst>
                  <a:gd name="T0" fmla="*/ 0 w 288"/>
                  <a:gd name="T1" fmla="*/ 1 h 222"/>
                  <a:gd name="T2" fmla="*/ 14 w 288"/>
                  <a:gd name="T3" fmla="*/ 1 h 222"/>
                  <a:gd name="T4" fmla="*/ 7 w 288"/>
                  <a:gd name="T5" fmla="*/ 1 h 222"/>
                  <a:gd name="T6" fmla="*/ 14 w 288"/>
                  <a:gd name="T7" fmla="*/ 1 h 222"/>
                  <a:gd name="T8" fmla="*/ 19 w 288"/>
                  <a:gd name="T9" fmla="*/ 1 h 222"/>
                  <a:gd name="T10" fmla="*/ 38 w 288"/>
                  <a:gd name="T11" fmla="*/ 1 h 222"/>
                  <a:gd name="T12" fmla="*/ 19 w 288"/>
                  <a:gd name="T13" fmla="*/ 1 h 222"/>
                  <a:gd name="T14" fmla="*/ 38 w 288"/>
                  <a:gd name="T15" fmla="*/ 1 h 222"/>
                  <a:gd name="T16" fmla="*/ 57 w 288"/>
                  <a:gd name="T17" fmla="*/ 1 h 222"/>
                  <a:gd name="T18" fmla="*/ 75 w 288"/>
                  <a:gd name="T19" fmla="*/ 1 h 222"/>
                  <a:gd name="T20" fmla="*/ 107 w 288"/>
                  <a:gd name="T21" fmla="*/ 1 h 222"/>
                  <a:gd name="T22" fmla="*/ 157 w 288"/>
                  <a:gd name="T23" fmla="*/ 1 h 222"/>
                  <a:gd name="T24" fmla="*/ 151 w 288"/>
                  <a:gd name="T25" fmla="*/ 1 h 222"/>
                  <a:gd name="T26" fmla="*/ 163 w 288"/>
                  <a:gd name="T27" fmla="*/ 1 h 222"/>
                  <a:gd name="T28" fmla="*/ 257 w 288"/>
                  <a:gd name="T29" fmla="*/ 1 h 222"/>
                  <a:gd name="T30" fmla="*/ 288 w 288"/>
                  <a:gd name="T31" fmla="*/ 1 h 222"/>
                  <a:gd name="T32" fmla="*/ 282 w 288"/>
                  <a:gd name="T33" fmla="*/ 1 h 222"/>
                  <a:gd name="T34" fmla="*/ 288 w 288"/>
                  <a:gd name="T35" fmla="*/ 1 h 222"/>
                  <a:gd name="T36" fmla="*/ 257 w 288"/>
                  <a:gd name="T37" fmla="*/ 1 h 222"/>
                  <a:gd name="T38" fmla="*/ 238 w 288"/>
                  <a:gd name="T39" fmla="*/ 1 h 222"/>
                  <a:gd name="T40" fmla="*/ 188 w 288"/>
                  <a:gd name="T41" fmla="*/ 1 h 222"/>
                  <a:gd name="T42" fmla="*/ 138 w 288"/>
                  <a:gd name="T43" fmla="*/ 0 h 222"/>
                  <a:gd name="T44" fmla="*/ 114 w 288"/>
                  <a:gd name="T45" fmla="*/ 0 h 222"/>
                  <a:gd name="T46" fmla="*/ 75 w 288"/>
                  <a:gd name="T47" fmla="*/ 1 h 222"/>
                  <a:gd name="T48" fmla="*/ 50 w 288"/>
                  <a:gd name="T49" fmla="*/ 1 h 222"/>
                  <a:gd name="T50" fmla="*/ 57 w 288"/>
                  <a:gd name="T51" fmla="*/ 1 h 222"/>
                  <a:gd name="T52" fmla="*/ 0 w 288"/>
                  <a:gd name="T53" fmla="*/ 1 h 2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88" h="222">
                    <a:moveTo>
                      <a:pt x="0" y="78"/>
                    </a:moveTo>
                    <a:lnTo>
                      <a:pt x="14" y="132"/>
                    </a:lnTo>
                    <a:lnTo>
                      <a:pt x="7" y="144"/>
                    </a:lnTo>
                    <a:lnTo>
                      <a:pt x="14" y="144"/>
                    </a:lnTo>
                    <a:lnTo>
                      <a:pt x="19" y="188"/>
                    </a:lnTo>
                    <a:lnTo>
                      <a:pt x="38" y="176"/>
                    </a:lnTo>
                    <a:lnTo>
                      <a:pt x="19" y="199"/>
                    </a:lnTo>
                    <a:lnTo>
                      <a:pt x="38" y="188"/>
                    </a:lnTo>
                    <a:lnTo>
                      <a:pt x="57" y="211"/>
                    </a:lnTo>
                    <a:lnTo>
                      <a:pt x="75" y="188"/>
                    </a:lnTo>
                    <a:lnTo>
                      <a:pt x="107" y="222"/>
                    </a:lnTo>
                    <a:lnTo>
                      <a:pt x="157" y="188"/>
                    </a:lnTo>
                    <a:lnTo>
                      <a:pt x="151" y="222"/>
                    </a:lnTo>
                    <a:lnTo>
                      <a:pt x="163" y="188"/>
                    </a:lnTo>
                    <a:lnTo>
                      <a:pt x="257" y="176"/>
                    </a:lnTo>
                    <a:lnTo>
                      <a:pt x="288" y="176"/>
                    </a:lnTo>
                    <a:lnTo>
                      <a:pt x="282" y="100"/>
                    </a:lnTo>
                    <a:lnTo>
                      <a:pt x="288" y="78"/>
                    </a:lnTo>
                    <a:lnTo>
                      <a:pt x="257" y="9"/>
                    </a:lnTo>
                    <a:lnTo>
                      <a:pt x="238" y="9"/>
                    </a:lnTo>
                    <a:lnTo>
                      <a:pt x="188" y="44"/>
                    </a:lnTo>
                    <a:lnTo>
                      <a:pt x="138" y="0"/>
                    </a:lnTo>
                    <a:lnTo>
                      <a:pt x="114" y="0"/>
                    </a:lnTo>
                    <a:lnTo>
                      <a:pt x="75" y="44"/>
                    </a:lnTo>
                    <a:lnTo>
                      <a:pt x="50" y="21"/>
                    </a:lnTo>
                    <a:lnTo>
                      <a:pt x="57" y="44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08" name="Freeform 759"/>
              <p:cNvSpPr>
                <a:spLocks/>
              </p:cNvSpPr>
              <p:nvPr/>
            </p:nvSpPr>
            <p:spPr bwMode="auto">
              <a:xfrm>
                <a:off x="3351" y="1941"/>
                <a:ext cx="288" cy="112"/>
              </a:xfrm>
              <a:custGeom>
                <a:avLst/>
                <a:gdLst>
                  <a:gd name="T0" fmla="*/ 0 w 288"/>
                  <a:gd name="T1" fmla="*/ 1 h 222"/>
                  <a:gd name="T2" fmla="*/ 14 w 288"/>
                  <a:gd name="T3" fmla="*/ 1 h 222"/>
                  <a:gd name="T4" fmla="*/ 7 w 288"/>
                  <a:gd name="T5" fmla="*/ 1 h 222"/>
                  <a:gd name="T6" fmla="*/ 14 w 288"/>
                  <a:gd name="T7" fmla="*/ 1 h 222"/>
                  <a:gd name="T8" fmla="*/ 19 w 288"/>
                  <a:gd name="T9" fmla="*/ 1 h 222"/>
                  <a:gd name="T10" fmla="*/ 38 w 288"/>
                  <a:gd name="T11" fmla="*/ 1 h 222"/>
                  <a:gd name="T12" fmla="*/ 19 w 288"/>
                  <a:gd name="T13" fmla="*/ 1 h 222"/>
                  <a:gd name="T14" fmla="*/ 38 w 288"/>
                  <a:gd name="T15" fmla="*/ 1 h 222"/>
                  <a:gd name="T16" fmla="*/ 57 w 288"/>
                  <a:gd name="T17" fmla="*/ 1 h 222"/>
                  <a:gd name="T18" fmla="*/ 75 w 288"/>
                  <a:gd name="T19" fmla="*/ 1 h 222"/>
                  <a:gd name="T20" fmla="*/ 107 w 288"/>
                  <a:gd name="T21" fmla="*/ 1 h 222"/>
                  <a:gd name="T22" fmla="*/ 157 w 288"/>
                  <a:gd name="T23" fmla="*/ 1 h 222"/>
                  <a:gd name="T24" fmla="*/ 151 w 288"/>
                  <a:gd name="T25" fmla="*/ 1 h 222"/>
                  <a:gd name="T26" fmla="*/ 163 w 288"/>
                  <a:gd name="T27" fmla="*/ 1 h 222"/>
                  <a:gd name="T28" fmla="*/ 257 w 288"/>
                  <a:gd name="T29" fmla="*/ 1 h 222"/>
                  <a:gd name="T30" fmla="*/ 288 w 288"/>
                  <a:gd name="T31" fmla="*/ 1 h 222"/>
                  <a:gd name="T32" fmla="*/ 282 w 288"/>
                  <a:gd name="T33" fmla="*/ 1 h 222"/>
                  <a:gd name="T34" fmla="*/ 288 w 288"/>
                  <a:gd name="T35" fmla="*/ 1 h 222"/>
                  <a:gd name="T36" fmla="*/ 257 w 288"/>
                  <a:gd name="T37" fmla="*/ 1 h 222"/>
                  <a:gd name="T38" fmla="*/ 238 w 288"/>
                  <a:gd name="T39" fmla="*/ 1 h 222"/>
                  <a:gd name="T40" fmla="*/ 188 w 288"/>
                  <a:gd name="T41" fmla="*/ 1 h 222"/>
                  <a:gd name="T42" fmla="*/ 138 w 288"/>
                  <a:gd name="T43" fmla="*/ 0 h 222"/>
                  <a:gd name="T44" fmla="*/ 114 w 288"/>
                  <a:gd name="T45" fmla="*/ 0 h 222"/>
                  <a:gd name="T46" fmla="*/ 75 w 288"/>
                  <a:gd name="T47" fmla="*/ 1 h 222"/>
                  <a:gd name="T48" fmla="*/ 50 w 288"/>
                  <a:gd name="T49" fmla="*/ 1 h 222"/>
                  <a:gd name="T50" fmla="*/ 57 w 288"/>
                  <a:gd name="T51" fmla="*/ 1 h 222"/>
                  <a:gd name="T52" fmla="*/ 0 w 288"/>
                  <a:gd name="T53" fmla="*/ 1 h 2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88" h="222">
                    <a:moveTo>
                      <a:pt x="0" y="78"/>
                    </a:moveTo>
                    <a:lnTo>
                      <a:pt x="14" y="132"/>
                    </a:lnTo>
                    <a:lnTo>
                      <a:pt x="7" y="144"/>
                    </a:lnTo>
                    <a:lnTo>
                      <a:pt x="14" y="144"/>
                    </a:lnTo>
                    <a:lnTo>
                      <a:pt x="19" y="188"/>
                    </a:lnTo>
                    <a:lnTo>
                      <a:pt x="38" y="176"/>
                    </a:lnTo>
                    <a:lnTo>
                      <a:pt x="19" y="199"/>
                    </a:lnTo>
                    <a:lnTo>
                      <a:pt x="38" y="188"/>
                    </a:lnTo>
                    <a:lnTo>
                      <a:pt x="57" y="211"/>
                    </a:lnTo>
                    <a:lnTo>
                      <a:pt x="75" y="188"/>
                    </a:lnTo>
                    <a:lnTo>
                      <a:pt x="107" y="222"/>
                    </a:lnTo>
                    <a:lnTo>
                      <a:pt x="157" y="188"/>
                    </a:lnTo>
                    <a:lnTo>
                      <a:pt x="151" y="222"/>
                    </a:lnTo>
                    <a:lnTo>
                      <a:pt x="163" y="188"/>
                    </a:lnTo>
                    <a:lnTo>
                      <a:pt x="257" y="176"/>
                    </a:lnTo>
                    <a:lnTo>
                      <a:pt x="288" y="176"/>
                    </a:lnTo>
                    <a:lnTo>
                      <a:pt x="282" y="100"/>
                    </a:lnTo>
                    <a:lnTo>
                      <a:pt x="288" y="78"/>
                    </a:lnTo>
                    <a:lnTo>
                      <a:pt x="257" y="9"/>
                    </a:lnTo>
                    <a:lnTo>
                      <a:pt x="238" y="9"/>
                    </a:lnTo>
                    <a:lnTo>
                      <a:pt x="188" y="44"/>
                    </a:lnTo>
                    <a:lnTo>
                      <a:pt x="138" y="0"/>
                    </a:lnTo>
                    <a:lnTo>
                      <a:pt x="114" y="0"/>
                    </a:lnTo>
                    <a:lnTo>
                      <a:pt x="75" y="44"/>
                    </a:lnTo>
                    <a:lnTo>
                      <a:pt x="50" y="21"/>
                    </a:lnTo>
                    <a:lnTo>
                      <a:pt x="57" y="44"/>
                    </a:lnTo>
                    <a:lnTo>
                      <a:pt x="0" y="78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811" name="Freeform 760"/>
            <p:cNvSpPr>
              <a:spLocks/>
            </p:cNvSpPr>
            <p:nvPr>
              <p:custDataLst>
                <p:tags r:id="rId619"/>
              </p:custDataLst>
            </p:nvPr>
          </p:nvSpPr>
          <p:spPr bwMode="auto">
            <a:xfrm>
              <a:off x="6768903" y="3668283"/>
              <a:ext cx="533302" cy="177800"/>
            </a:xfrm>
            <a:custGeom>
              <a:avLst/>
              <a:gdLst>
                <a:gd name="T0" fmla="*/ 0 w 288"/>
                <a:gd name="T1" fmla="*/ 2147483647 h 222"/>
                <a:gd name="T2" fmla="*/ 2147483647 w 288"/>
                <a:gd name="T3" fmla="*/ 2147483647 h 222"/>
                <a:gd name="T4" fmla="*/ 2147483647 w 288"/>
                <a:gd name="T5" fmla="*/ 2147483647 h 222"/>
                <a:gd name="T6" fmla="*/ 2147483647 w 288"/>
                <a:gd name="T7" fmla="*/ 2147483647 h 222"/>
                <a:gd name="T8" fmla="*/ 2147483647 w 288"/>
                <a:gd name="T9" fmla="*/ 2147483647 h 222"/>
                <a:gd name="T10" fmla="*/ 2147483647 w 288"/>
                <a:gd name="T11" fmla="*/ 2147483647 h 222"/>
                <a:gd name="T12" fmla="*/ 2147483647 w 288"/>
                <a:gd name="T13" fmla="*/ 2147483647 h 222"/>
                <a:gd name="T14" fmla="*/ 2147483647 w 288"/>
                <a:gd name="T15" fmla="*/ 2147483647 h 222"/>
                <a:gd name="T16" fmla="*/ 2147483647 w 288"/>
                <a:gd name="T17" fmla="*/ 2147483647 h 222"/>
                <a:gd name="T18" fmla="*/ 2147483647 w 288"/>
                <a:gd name="T19" fmla="*/ 2147483647 h 222"/>
                <a:gd name="T20" fmla="*/ 2147483647 w 288"/>
                <a:gd name="T21" fmla="*/ 2147483647 h 222"/>
                <a:gd name="T22" fmla="*/ 2147483647 w 288"/>
                <a:gd name="T23" fmla="*/ 2147483647 h 222"/>
                <a:gd name="T24" fmla="*/ 2147483647 w 288"/>
                <a:gd name="T25" fmla="*/ 2147483647 h 222"/>
                <a:gd name="T26" fmla="*/ 2147483647 w 288"/>
                <a:gd name="T27" fmla="*/ 2147483647 h 222"/>
                <a:gd name="T28" fmla="*/ 2147483647 w 288"/>
                <a:gd name="T29" fmla="*/ 2147483647 h 222"/>
                <a:gd name="T30" fmla="*/ 2147483647 w 288"/>
                <a:gd name="T31" fmla="*/ 2147483647 h 222"/>
                <a:gd name="T32" fmla="*/ 2147483647 w 288"/>
                <a:gd name="T33" fmla="*/ 2147483647 h 222"/>
                <a:gd name="T34" fmla="*/ 2147483647 w 288"/>
                <a:gd name="T35" fmla="*/ 2147483647 h 222"/>
                <a:gd name="T36" fmla="*/ 2147483647 w 288"/>
                <a:gd name="T37" fmla="*/ 2147483647 h 222"/>
                <a:gd name="T38" fmla="*/ 2147483647 w 288"/>
                <a:gd name="T39" fmla="*/ 2147483647 h 222"/>
                <a:gd name="T40" fmla="*/ 2147483647 w 288"/>
                <a:gd name="T41" fmla="*/ 2147483647 h 222"/>
                <a:gd name="T42" fmla="*/ 2147483647 w 288"/>
                <a:gd name="T43" fmla="*/ 0 h 222"/>
                <a:gd name="T44" fmla="*/ 2147483647 w 288"/>
                <a:gd name="T45" fmla="*/ 0 h 222"/>
                <a:gd name="T46" fmla="*/ 2147483647 w 288"/>
                <a:gd name="T47" fmla="*/ 2147483647 h 222"/>
                <a:gd name="T48" fmla="*/ 2147483647 w 288"/>
                <a:gd name="T49" fmla="*/ 2147483647 h 222"/>
                <a:gd name="T50" fmla="*/ 2147483647 w 288"/>
                <a:gd name="T51" fmla="*/ 2147483647 h 222"/>
                <a:gd name="T52" fmla="*/ 0 w 288"/>
                <a:gd name="T53" fmla="*/ 2147483647 h 22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288" h="222">
                  <a:moveTo>
                    <a:pt x="0" y="78"/>
                  </a:moveTo>
                  <a:lnTo>
                    <a:pt x="14" y="132"/>
                  </a:lnTo>
                  <a:lnTo>
                    <a:pt x="7" y="144"/>
                  </a:lnTo>
                  <a:lnTo>
                    <a:pt x="14" y="144"/>
                  </a:lnTo>
                  <a:lnTo>
                    <a:pt x="19" y="188"/>
                  </a:lnTo>
                  <a:lnTo>
                    <a:pt x="38" y="176"/>
                  </a:lnTo>
                  <a:lnTo>
                    <a:pt x="19" y="199"/>
                  </a:lnTo>
                  <a:lnTo>
                    <a:pt x="38" y="188"/>
                  </a:lnTo>
                  <a:lnTo>
                    <a:pt x="57" y="211"/>
                  </a:lnTo>
                  <a:lnTo>
                    <a:pt x="75" y="188"/>
                  </a:lnTo>
                  <a:lnTo>
                    <a:pt x="107" y="222"/>
                  </a:lnTo>
                  <a:lnTo>
                    <a:pt x="157" y="188"/>
                  </a:lnTo>
                  <a:lnTo>
                    <a:pt x="151" y="222"/>
                  </a:lnTo>
                  <a:lnTo>
                    <a:pt x="163" y="188"/>
                  </a:lnTo>
                  <a:lnTo>
                    <a:pt x="257" y="176"/>
                  </a:lnTo>
                  <a:lnTo>
                    <a:pt x="288" y="176"/>
                  </a:lnTo>
                  <a:lnTo>
                    <a:pt x="282" y="100"/>
                  </a:lnTo>
                  <a:lnTo>
                    <a:pt x="288" y="78"/>
                  </a:lnTo>
                  <a:lnTo>
                    <a:pt x="257" y="9"/>
                  </a:lnTo>
                  <a:lnTo>
                    <a:pt x="238" y="9"/>
                  </a:lnTo>
                  <a:lnTo>
                    <a:pt x="188" y="44"/>
                  </a:lnTo>
                  <a:lnTo>
                    <a:pt x="138" y="0"/>
                  </a:lnTo>
                  <a:lnTo>
                    <a:pt x="114" y="0"/>
                  </a:lnTo>
                  <a:lnTo>
                    <a:pt x="75" y="44"/>
                  </a:lnTo>
                  <a:lnTo>
                    <a:pt x="50" y="21"/>
                  </a:lnTo>
                  <a:lnTo>
                    <a:pt x="57" y="44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812" name="Group 761"/>
            <p:cNvGrpSpPr>
              <a:grpSpLocks/>
            </p:cNvGrpSpPr>
            <p:nvPr>
              <p:custDataLst>
                <p:tags r:id="rId620"/>
              </p:custDataLst>
            </p:nvPr>
          </p:nvGrpSpPr>
          <p:grpSpPr bwMode="auto">
            <a:xfrm>
              <a:off x="6768903" y="3668283"/>
              <a:ext cx="533302" cy="177800"/>
              <a:chOff x="3351" y="1941"/>
              <a:chExt cx="288" cy="112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05" name="Freeform 762"/>
              <p:cNvSpPr>
                <a:spLocks/>
              </p:cNvSpPr>
              <p:nvPr/>
            </p:nvSpPr>
            <p:spPr bwMode="auto">
              <a:xfrm>
                <a:off x="3351" y="1941"/>
                <a:ext cx="288" cy="112"/>
              </a:xfrm>
              <a:custGeom>
                <a:avLst/>
                <a:gdLst>
                  <a:gd name="T0" fmla="*/ 0 w 288"/>
                  <a:gd name="T1" fmla="*/ 1 h 222"/>
                  <a:gd name="T2" fmla="*/ 14 w 288"/>
                  <a:gd name="T3" fmla="*/ 1 h 222"/>
                  <a:gd name="T4" fmla="*/ 7 w 288"/>
                  <a:gd name="T5" fmla="*/ 1 h 222"/>
                  <a:gd name="T6" fmla="*/ 14 w 288"/>
                  <a:gd name="T7" fmla="*/ 1 h 222"/>
                  <a:gd name="T8" fmla="*/ 19 w 288"/>
                  <a:gd name="T9" fmla="*/ 1 h 222"/>
                  <a:gd name="T10" fmla="*/ 38 w 288"/>
                  <a:gd name="T11" fmla="*/ 1 h 222"/>
                  <a:gd name="T12" fmla="*/ 19 w 288"/>
                  <a:gd name="T13" fmla="*/ 1 h 222"/>
                  <a:gd name="T14" fmla="*/ 38 w 288"/>
                  <a:gd name="T15" fmla="*/ 1 h 222"/>
                  <a:gd name="T16" fmla="*/ 57 w 288"/>
                  <a:gd name="T17" fmla="*/ 1 h 222"/>
                  <a:gd name="T18" fmla="*/ 75 w 288"/>
                  <a:gd name="T19" fmla="*/ 1 h 222"/>
                  <a:gd name="T20" fmla="*/ 107 w 288"/>
                  <a:gd name="T21" fmla="*/ 1 h 222"/>
                  <a:gd name="T22" fmla="*/ 157 w 288"/>
                  <a:gd name="T23" fmla="*/ 1 h 222"/>
                  <a:gd name="T24" fmla="*/ 151 w 288"/>
                  <a:gd name="T25" fmla="*/ 1 h 222"/>
                  <a:gd name="T26" fmla="*/ 163 w 288"/>
                  <a:gd name="T27" fmla="*/ 1 h 222"/>
                  <a:gd name="T28" fmla="*/ 257 w 288"/>
                  <a:gd name="T29" fmla="*/ 1 h 222"/>
                  <a:gd name="T30" fmla="*/ 288 w 288"/>
                  <a:gd name="T31" fmla="*/ 1 h 222"/>
                  <a:gd name="T32" fmla="*/ 282 w 288"/>
                  <a:gd name="T33" fmla="*/ 1 h 222"/>
                  <a:gd name="T34" fmla="*/ 288 w 288"/>
                  <a:gd name="T35" fmla="*/ 1 h 222"/>
                  <a:gd name="T36" fmla="*/ 257 w 288"/>
                  <a:gd name="T37" fmla="*/ 1 h 222"/>
                  <a:gd name="T38" fmla="*/ 238 w 288"/>
                  <a:gd name="T39" fmla="*/ 1 h 222"/>
                  <a:gd name="T40" fmla="*/ 188 w 288"/>
                  <a:gd name="T41" fmla="*/ 1 h 222"/>
                  <a:gd name="T42" fmla="*/ 138 w 288"/>
                  <a:gd name="T43" fmla="*/ 0 h 222"/>
                  <a:gd name="T44" fmla="*/ 114 w 288"/>
                  <a:gd name="T45" fmla="*/ 0 h 222"/>
                  <a:gd name="T46" fmla="*/ 75 w 288"/>
                  <a:gd name="T47" fmla="*/ 1 h 222"/>
                  <a:gd name="T48" fmla="*/ 50 w 288"/>
                  <a:gd name="T49" fmla="*/ 1 h 222"/>
                  <a:gd name="T50" fmla="*/ 57 w 288"/>
                  <a:gd name="T51" fmla="*/ 1 h 222"/>
                  <a:gd name="T52" fmla="*/ 0 w 288"/>
                  <a:gd name="T53" fmla="*/ 1 h 2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88" h="222">
                    <a:moveTo>
                      <a:pt x="0" y="78"/>
                    </a:moveTo>
                    <a:lnTo>
                      <a:pt x="14" y="132"/>
                    </a:lnTo>
                    <a:lnTo>
                      <a:pt x="7" y="144"/>
                    </a:lnTo>
                    <a:lnTo>
                      <a:pt x="14" y="144"/>
                    </a:lnTo>
                    <a:lnTo>
                      <a:pt x="19" y="188"/>
                    </a:lnTo>
                    <a:lnTo>
                      <a:pt x="38" y="176"/>
                    </a:lnTo>
                    <a:lnTo>
                      <a:pt x="19" y="199"/>
                    </a:lnTo>
                    <a:lnTo>
                      <a:pt x="38" y="188"/>
                    </a:lnTo>
                    <a:lnTo>
                      <a:pt x="57" y="211"/>
                    </a:lnTo>
                    <a:lnTo>
                      <a:pt x="75" y="188"/>
                    </a:lnTo>
                    <a:lnTo>
                      <a:pt x="107" y="222"/>
                    </a:lnTo>
                    <a:lnTo>
                      <a:pt x="157" y="188"/>
                    </a:lnTo>
                    <a:lnTo>
                      <a:pt x="151" y="222"/>
                    </a:lnTo>
                    <a:lnTo>
                      <a:pt x="163" y="188"/>
                    </a:lnTo>
                    <a:lnTo>
                      <a:pt x="257" y="176"/>
                    </a:lnTo>
                    <a:lnTo>
                      <a:pt x="288" y="176"/>
                    </a:lnTo>
                    <a:lnTo>
                      <a:pt x="282" y="100"/>
                    </a:lnTo>
                    <a:lnTo>
                      <a:pt x="288" y="78"/>
                    </a:lnTo>
                    <a:lnTo>
                      <a:pt x="257" y="9"/>
                    </a:lnTo>
                    <a:lnTo>
                      <a:pt x="238" y="9"/>
                    </a:lnTo>
                    <a:lnTo>
                      <a:pt x="188" y="44"/>
                    </a:lnTo>
                    <a:lnTo>
                      <a:pt x="138" y="0"/>
                    </a:lnTo>
                    <a:lnTo>
                      <a:pt x="114" y="0"/>
                    </a:lnTo>
                    <a:lnTo>
                      <a:pt x="75" y="44"/>
                    </a:lnTo>
                    <a:lnTo>
                      <a:pt x="50" y="21"/>
                    </a:lnTo>
                    <a:lnTo>
                      <a:pt x="57" y="44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06" name="Freeform 763"/>
              <p:cNvSpPr>
                <a:spLocks/>
              </p:cNvSpPr>
              <p:nvPr/>
            </p:nvSpPr>
            <p:spPr bwMode="auto">
              <a:xfrm>
                <a:off x="3351" y="1941"/>
                <a:ext cx="288" cy="112"/>
              </a:xfrm>
              <a:custGeom>
                <a:avLst/>
                <a:gdLst>
                  <a:gd name="T0" fmla="*/ 0 w 288"/>
                  <a:gd name="T1" fmla="*/ 1 h 222"/>
                  <a:gd name="T2" fmla="*/ 14 w 288"/>
                  <a:gd name="T3" fmla="*/ 1 h 222"/>
                  <a:gd name="T4" fmla="*/ 7 w 288"/>
                  <a:gd name="T5" fmla="*/ 1 h 222"/>
                  <a:gd name="T6" fmla="*/ 14 w 288"/>
                  <a:gd name="T7" fmla="*/ 1 h 222"/>
                  <a:gd name="T8" fmla="*/ 19 w 288"/>
                  <a:gd name="T9" fmla="*/ 1 h 222"/>
                  <a:gd name="T10" fmla="*/ 38 w 288"/>
                  <a:gd name="T11" fmla="*/ 1 h 222"/>
                  <a:gd name="T12" fmla="*/ 19 w 288"/>
                  <a:gd name="T13" fmla="*/ 1 h 222"/>
                  <a:gd name="T14" fmla="*/ 38 w 288"/>
                  <a:gd name="T15" fmla="*/ 1 h 222"/>
                  <a:gd name="T16" fmla="*/ 57 w 288"/>
                  <a:gd name="T17" fmla="*/ 1 h 222"/>
                  <a:gd name="T18" fmla="*/ 75 w 288"/>
                  <a:gd name="T19" fmla="*/ 1 h 222"/>
                  <a:gd name="T20" fmla="*/ 107 w 288"/>
                  <a:gd name="T21" fmla="*/ 1 h 222"/>
                  <a:gd name="T22" fmla="*/ 157 w 288"/>
                  <a:gd name="T23" fmla="*/ 1 h 222"/>
                  <a:gd name="T24" fmla="*/ 151 w 288"/>
                  <a:gd name="T25" fmla="*/ 1 h 222"/>
                  <a:gd name="T26" fmla="*/ 163 w 288"/>
                  <a:gd name="T27" fmla="*/ 1 h 222"/>
                  <a:gd name="T28" fmla="*/ 257 w 288"/>
                  <a:gd name="T29" fmla="*/ 1 h 222"/>
                  <a:gd name="T30" fmla="*/ 288 w 288"/>
                  <a:gd name="T31" fmla="*/ 1 h 222"/>
                  <a:gd name="T32" fmla="*/ 282 w 288"/>
                  <a:gd name="T33" fmla="*/ 1 h 222"/>
                  <a:gd name="T34" fmla="*/ 288 w 288"/>
                  <a:gd name="T35" fmla="*/ 1 h 222"/>
                  <a:gd name="T36" fmla="*/ 257 w 288"/>
                  <a:gd name="T37" fmla="*/ 1 h 222"/>
                  <a:gd name="T38" fmla="*/ 238 w 288"/>
                  <a:gd name="T39" fmla="*/ 1 h 222"/>
                  <a:gd name="T40" fmla="*/ 188 w 288"/>
                  <a:gd name="T41" fmla="*/ 1 h 222"/>
                  <a:gd name="T42" fmla="*/ 138 w 288"/>
                  <a:gd name="T43" fmla="*/ 0 h 222"/>
                  <a:gd name="T44" fmla="*/ 114 w 288"/>
                  <a:gd name="T45" fmla="*/ 0 h 222"/>
                  <a:gd name="T46" fmla="*/ 75 w 288"/>
                  <a:gd name="T47" fmla="*/ 1 h 222"/>
                  <a:gd name="T48" fmla="*/ 50 w 288"/>
                  <a:gd name="T49" fmla="*/ 1 h 222"/>
                  <a:gd name="T50" fmla="*/ 57 w 288"/>
                  <a:gd name="T51" fmla="*/ 1 h 222"/>
                  <a:gd name="T52" fmla="*/ 0 w 288"/>
                  <a:gd name="T53" fmla="*/ 1 h 2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288" h="222">
                    <a:moveTo>
                      <a:pt x="0" y="78"/>
                    </a:moveTo>
                    <a:lnTo>
                      <a:pt x="14" y="132"/>
                    </a:lnTo>
                    <a:lnTo>
                      <a:pt x="7" y="144"/>
                    </a:lnTo>
                    <a:lnTo>
                      <a:pt x="14" y="144"/>
                    </a:lnTo>
                    <a:lnTo>
                      <a:pt x="19" y="188"/>
                    </a:lnTo>
                    <a:lnTo>
                      <a:pt x="38" y="176"/>
                    </a:lnTo>
                    <a:lnTo>
                      <a:pt x="19" y="199"/>
                    </a:lnTo>
                    <a:lnTo>
                      <a:pt x="38" y="188"/>
                    </a:lnTo>
                    <a:lnTo>
                      <a:pt x="57" y="211"/>
                    </a:lnTo>
                    <a:lnTo>
                      <a:pt x="75" y="188"/>
                    </a:lnTo>
                    <a:lnTo>
                      <a:pt x="107" y="222"/>
                    </a:lnTo>
                    <a:lnTo>
                      <a:pt x="157" y="188"/>
                    </a:lnTo>
                    <a:lnTo>
                      <a:pt x="151" y="222"/>
                    </a:lnTo>
                    <a:lnTo>
                      <a:pt x="163" y="188"/>
                    </a:lnTo>
                    <a:lnTo>
                      <a:pt x="257" y="176"/>
                    </a:lnTo>
                    <a:lnTo>
                      <a:pt x="288" y="176"/>
                    </a:lnTo>
                    <a:lnTo>
                      <a:pt x="282" y="100"/>
                    </a:lnTo>
                    <a:lnTo>
                      <a:pt x="288" y="78"/>
                    </a:lnTo>
                    <a:lnTo>
                      <a:pt x="257" y="9"/>
                    </a:lnTo>
                    <a:lnTo>
                      <a:pt x="238" y="9"/>
                    </a:lnTo>
                    <a:lnTo>
                      <a:pt x="188" y="44"/>
                    </a:lnTo>
                    <a:lnTo>
                      <a:pt x="138" y="0"/>
                    </a:lnTo>
                    <a:lnTo>
                      <a:pt x="114" y="0"/>
                    </a:lnTo>
                    <a:lnTo>
                      <a:pt x="75" y="44"/>
                    </a:lnTo>
                    <a:lnTo>
                      <a:pt x="50" y="21"/>
                    </a:lnTo>
                    <a:lnTo>
                      <a:pt x="57" y="44"/>
                    </a:lnTo>
                    <a:lnTo>
                      <a:pt x="0" y="78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813" name="Freeform 764"/>
            <p:cNvSpPr>
              <a:spLocks/>
            </p:cNvSpPr>
            <p:nvPr>
              <p:custDataLst>
                <p:tags r:id="rId621"/>
              </p:custDataLst>
            </p:nvPr>
          </p:nvSpPr>
          <p:spPr bwMode="auto">
            <a:xfrm>
              <a:off x="5716309" y="3242869"/>
              <a:ext cx="116284" cy="115887"/>
            </a:xfrm>
            <a:custGeom>
              <a:avLst/>
              <a:gdLst>
                <a:gd name="T0" fmla="*/ 0 w 63"/>
                <a:gd name="T1" fmla="*/ 2147483647 h 146"/>
                <a:gd name="T2" fmla="*/ 2147483647 w 63"/>
                <a:gd name="T3" fmla="*/ 2147483647 h 146"/>
                <a:gd name="T4" fmla="*/ 2147483647 w 63"/>
                <a:gd name="T5" fmla="*/ 2147483647 h 146"/>
                <a:gd name="T6" fmla="*/ 2147483647 w 63"/>
                <a:gd name="T7" fmla="*/ 2147483647 h 146"/>
                <a:gd name="T8" fmla="*/ 2147483647 w 63"/>
                <a:gd name="T9" fmla="*/ 2147483647 h 146"/>
                <a:gd name="T10" fmla="*/ 2147483647 w 63"/>
                <a:gd name="T11" fmla="*/ 2147483647 h 146"/>
                <a:gd name="T12" fmla="*/ 2147483647 w 63"/>
                <a:gd name="T13" fmla="*/ 2147483647 h 146"/>
                <a:gd name="T14" fmla="*/ 2147483647 w 63"/>
                <a:gd name="T15" fmla="*/ 2147483647 h 146"/>
                <a:gd name="T16" fmla="*/ 2147483647 w 63"/>
                <a:gd name="T17" fmla="*/ 2147483647 h 146"/>
                <a:gd name="T18" fmla="*/ 2147483647 w 63"/>
                <a:gd name="T19" fmla="*/ 0 h 146"/>
                <a:gd name="T20" fmla="*/ 2147483647 w 63"/>
                <a:gd name="T21" fmla="*/ 2147483647 h 146"/>
                <a:gd name="T22" fmla="*/ 2147483647 w 63"/>
                <a:gd name="T23" fmla="*/ 2147483647 h 146"/>
                <a:gd name="T24" fmla="*/ 2147483647 w 63"/>
                <a:gd name="T25" fmla="*/ 2147483647 h 146"/>
                <a:gd name="T26" fmla="*/ 2147483647 w 63"/>
                <a:gd name="T27" fmla="*/ 2147483647 h 146"/>
                <a:gd name="T28" fmla="*/ 2147483647 w 63"/>
                <a:gd name="T29" fmla="*/ 2147483647 h 146"/>
                <a:gd name="T30" fmla="*/ 2147483647 w 63"/>
                <a:gd name="T31" fmla="*/ 2147483647 h 146"/>
                <a:gd name="T32" fmla="*/ 2147483647 w 63"/>
                <a:gd name="T33" fmla="*/ 2147483647 h 146"/>
                <a:gd name="T34" fmla="*/ 0 w 63"/>
                <a:gd name="T35" fmla="*/ 2147483647 h 1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3" h="146">
                  <a:moveTo>
                    <a:pt x="0" y="123"/>
                  </a:moveTo>
                  <a:lnTo>
                    <a:pt x="13" y="146"/>
                  </a:lnTo>
                  <a:lnTo>
                    <a:pt x="8" y="146"/>
                  </a:lnTo>
                  <a:lnTo>
                    <a:pt x="63" y="123"/>
                  </a:lnTo>
                  <a:lnTo>
                    <a:pt x="63" y="44"/>
                  </a:lnTo>
                  <a:lnTo>
                    <a:pt x="57" y="32"/>
                  </a:lnTo>
                  <a:lnTo>
                    <a:pt x="45" y="32"/>
                  </a:lnTo>
                  <a:lnTo>
                    <a:pt x="38" y="23"/>
                  </a:lnTo>
                  <a:lnTo>
                    <a:pt x="45" y="11"/>
                  </a:lnTo>
                  <a:lnTo>
                    <a:pt x="38" y="0"/>
                  </a:lnTo>
                  <a:lnTo>
                    <a:pt x="32" y="32"/>
                  </a:lnTo>
                  <a:lnTo>
                    <a:pt x="8" y="44"/>
                  </a:lnTo>
                  <a:lnTo>
                    <a:pt x="13" y="56"/>
                  </a:lnTo>
                  <a:lnTo>
                    <a:pt x="8" y="79"/>
                  </a:lnTo>
                  <a:lnTo>
                    <a:pt x="26" y="88"/>
                  </a:lnTo>
                  <a:lnTo>
                    <a:pt x="8" y="111"/>
                  </a:lnTo>
                  <a:lnTo>
                    <a:pt x="26" y="10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14" name="Freeform 765"/>
            <p:cNvSpPr>
              <a:spLocks/>
            </p:cNvSpPr>
            <p:nvPr>
              <p:custDataLst>
                <p:tags r:id="rId622"/>
              </p:custDataLst>
            </p:nvPr>
          </p:nvSpPr>
          <p:spPr bwMode="auto">
            <a:xfrm>
              <a:off x="5716309" y="3242869"/>
              <a:ext cx="116284" cy="115887"/>
            </a:xfrm>
            <a:custGeom>
              <a:avLst/>
              <a:gdLst>
                <a:gd name="T0" fmla="*/ 0 w 63"/>
                <a:gd name="T1" fmla="*/ 2147483647 h 146"/>
                <a:gd name="T2" fmla="*/ 2147483647 w 63"/>
                <a:gd name="T3" fmla="*/ 2147483647 h 146"/>
                <a:gd name="T4" fmla="*/ 2147483647 w 63"/>
                <a:gd name="T5" fmla="*/ 2147483647 h 146"/>
                <a:gd name="T6" fmla="*/ 2147483647 w 63"/>
                <a:gd name="T7" fmla="*/ 2147483647 h 146"/>
                <a:gd name="T8" fmla="*/ 2147483647 w 63"/>
                <a:gd name="T9" fmla="*/ 2147483647 h 146"/>
                <a:gd name="T10" fmla="*/ 2147483647 w 63"/>
                <a:gd name="T11" fmla="*/ 2147483647 h 146"/>
                <a:gd name="T12" fmla="*/ 2147483647 w 63"/>
                <a:gd name="T13" fmla="*/ 2147483647 h 146"/>
                <a:gd name="T14" fmla="*/ 2147483647 w 63"/>
                <a:gd name="T15" fmla="*/ 2147483647 h 146"/>
                <a:gd name="T16" fmla="*/ 2147483647 w 63"/>
                <a:gd name="T17" fmla="*/ 2147483647 h 146"/>
                <a:gd name="T18" fmla="*/ 2147483647 w 63"/>
                <a:gd name="T19" fmla="*/ 0 h 146"/>
                <a:gd name="T20" fmla="*/ 2147483647 w 63"/>
                <a:gd name="T21" fmla="*/ 2147483647 h 146"/>
                <a:gd name="T22" fmla="*/ 2147483647 w 63"/>
                <a:gd name="T23" fmla="*/ 2147483647 h 146"/>
                <a:gd name="T24" fmla="*/ 2147483647 w 63"/>
                <a:gd name="T25" fmla="*/ 2147483647 h 146"/>
                <a:gd name="T26" fmla="*/ 2147483647 w 63"/>
                <a:gd name="T27" fmla="*/ 2147483647 h 146"/>
                <a:gd name="T28" fmla="*/ 2147483647 w 63"/>
                <a:gd name="T29" fmla="*/ 2147483647 h 146"/>
                <a:gd name="T30" fmla="*/ 2147483647 w 63"/>
                <a:gd name="T31" fmla="*/ 2147483647 h 146"/>
                <a:gd name="T32" fmla="*/ 2147483647 w 63"/>
                <a:gd name="T33" fmla="*/ 2147483647 h 146"/>
                <a:gd name="T34" fmla="*/ 0 w 63"/>
                <a:gd name="T35" fmla="*/ 2147483647 h 1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3" h="146">
                  <a:moveTo>
                    <a:pt x="0" y="123"/>
                  </a:moveTo>
                  <a:lnTo>
                    <a:pt x="13" y="146"/>
                  </a:lnTo>
                  <a:lnTo>
                    <a:pt x="8" y="146"/>
                  </a:lnTo>
                  <a:lnTo>
                    <a:pt x="63" y="123"/>
                  </a:lnTo>
                  <a:lnTo>
                    <a:pt x="63" y="44"/>
                  </a:lnTo>
                  <a:lnTo>
                    <a:pt x="57" y="32"/>
                  </a:lnTo>
                  <a:lnTo>
                    <a:pt x="45" y="32"/>
                  </a:lnTo>
                  <a:lnTo>
                    <a:pt x="38" y="23"/>
                  </a:lnTo>
                  <a:lnTo>
                    <a:pt x="45" y="11"/>
                  </a:lnTo>
                  <a:lnTo>
                    <a:pt x="38" y="0"/>
                  </a:lnTo>
                  <a:lnTo>
                    <a:pt x="32" y="32"/>
                  </a:lnTo>
                  <a:lnTo>
                    <a:pt x="8" y="44"/>
                  </a:lnTo>
                  <a:lnTo>
                    <a:pt x="13" y="56"/>
                  </a:lnTo>
                  <a:lnTo>
                    <a:pt x="8" y="79"/>
                  </a:lnTo>
                  <a:lnTo>
                    <a:pt x="26" y="88"/>
                  </a:lnTo>
                  <a:lnTo>
                    <a:pt x="8" y="111"/>
                  </a:lnTo>
                  <a:lnTo>
                    <a:pt x="26" y="102"/>
                  </a:lnTo>
                  <a:lnTo>
                    <a:pt x="0" y="123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15" name="Freeform 766"/>
            <p:cNvSpPr>
              <a:spLocks/>
            </p:cNvSpPr>
            <p:nvPr>
              <p:custDataLst>
                <p:tags r:id="rId623"/>
              </p:custDataLst>
            </p:nvPr>
          </p:nvSpPr>
          <p:spPr bwMode="auto">
            <a:xfrm>
              <a:off x="5716309" y="3242869"/>
              <a:ext cx="116284" cy="115887"/>
            </a:xfrm>
            <a:custGeom>
              <a:avLst/>
              <a:gdLst>
                <a:gd name="T0" fmla="*/ 0 w 63"/>
                <a:gd name="T1" fmla="*/ 2147483647 h 146"/>
                <a:gd name="T2" fmla="*/ 2147483647 w 63"/>
                <a:gd name="T3" fmla="*/ 2147483647 h 146"/>
                <a:gd name="T4" fmla="*/ 2147483647 w 63"/>
                <a:gd name="T5" fmla="*/ 2147483647 h 146"/>
                <a:gd name="T6" fmla="*/ 2147483647 w 63"/>
                <a:gd name="T7" fmla="*/ 2147483647 h 146"/>
                <a:gd name="T8" fmla="*/ 2147483647 w 63"/>
                <a:gd name="T9" fmla="*/ 2147483647 h 146"/>
                <a:gd name="T10" fmla="*/ 2147483647 w 63"/>
                <a:gd name="T11" fmla="*/ 2147483647 h 146"/>
                <a:gd name="T12" fmla="*/ 2147483647 w 63"/>
                <a:gd name="T13" fmla="*/ 2147483647 h 146"/>
                <a:gd name="T14" fmla="*/ 2147483647 w 63"/>
                <a:gd name="T15" fmla="*/ 2147483647 h 146"/>
                <a:gd name="T16" fmla="*/ 2147483647 w 63"/>
                <a:gd name="T17" fmla="*/ 2147483647 h 146"/>
                <a:gd name="T18" fmla="*/ 2147483647 w 63"/>
                <a:gd name="T19" fmla="*/ 0 h 146"/>
                <a:gd name="T20" fmla="*/ 2147483647 w 63"/>
                <a:gd name="T21" fmla="*/ 2147483647 h 146"/>
                <a:gd name="T22" fmla="*/ 2147483647 w 63"/>
                <a:gd name="T23" fmla="*/ 2147483647 h 146"/>
                <a:gd name="T24" fmla="*/ 2147483647 w 63"/>
                <a:gd name="T25" fmla="*/ 2147483647 h 146"/>
                <a:gd name="T26" fmla="*/ 2147483647 w 63"/>
                <a:gd name="T27" fmla="*/ 2147483647 h 146"/>
                <a:gd name="T28" fmla="*/ 2147483647 w 63"/>
                <a:gd name="T29" fmla="*/ 2147483647 h 146"/>
                <a:gd name="T30" fmla="*/ 2147483647 w 63"/>
                <a:gd name="T31" fmla="*/ 2147483647 h 146"/>
                <a:gd name="T32" fmla="*/ 2147483647 w 63"/>
                <a:gd name="T33" fmla="*/ 2147483647 h 146"/>
                <a:gd name="T34" fmla="*/ 0 w 63"/>
                <a:gd name="T35" fmla="*/ 2147483647 h 1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3" h="146">
                  <a:moveTo>
                    <a:pt x="0" y="123"/>
                  </a:moveTo>
                  <a:lnTo>
                    <a:pt x="13" y="146"/>
                  </a:lnTo>
                  <a:lnTo>
                    <a:pt x="8" y="146"/>
                  </a:lnTo>
                  <a:lnTo>
                    <a:pt x="63" y="123"/>
                  </a:lnTo>
                  <a:lnTo>
                    <a:pt x="63" y="44"/>
                  </a:lnTo>
                  <a:lnTo>
                    <a:pt x="57" y="32"/>
                  </a:lnTo>
                  <a:lnTo>
                    <a:pt x="45" y="32"/>
                  </a:lnTo>
                  <a:lnTo>
                    <a:pt x="38" y="23"/>
                  </a:lnTo>
                  <a:lnTo>
                    <a:pt x="45" y="11"/>
                  </a:lnTo>
                  <a:lnTo>
                    <a:pt x="38" y="0"/>
                  </a:lnTo>
                  <a:lnTo>
                    <a:pt x="32" y="32"/>
                  </a:lnTo>
                  <a:lnTo>
                    <a:pt x="8" y="44"/>
                  </a:lnTo>
                  <a:lnTo>
                    <a:pt x="13" y="56"/>
                  </a:lnTo>
                  <a:lnTo>
                    <a:pt x="8" y="79"/>
                  </a:lnTo>
                  <a:lnTo>
                    <a:pt x="26" y="88"/>
                  </a:lnTo>
                  <a:lnTo>
                    <a:pt x="8" y="111"/>
                  </a:lnTo>
                  <a:lnTo>
                    <a:pt x="26" y="102"/>
                  </a:lnTo>
                  <a:lnTo>
                    <a:pt x="0" y="12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16" name="Freeform 767"/>
            <p:cNvSpPr>
              <a:spLocks/>
            </p:cNvSpPr>
            <p:nvPr>
              <p:custDataLst>
                <p:tags r:id="rId624"/>
              </p:custDataLst>
            </p:nvPr>
          </p:nvSpPr>
          <p:spPr bwMode="auto">
            <a:xfrm>
              <a:off x="5716309" y="3242869"/>
              <a:ext cx="116284" cy="115887"/>
            </a:xfrm>
            <a:custGeom>
              <a:avLst/>
              <a:gdLst>
                <a:gd name="T0" fmla="*/ 0 w 63"/>
                <a:gd name="T1" fmla="*/ 2147483647 h 146"/>
                <a:gd name="T2" fmla="*/ 2147483647 w 63"/>
                <a:gd name="T3" fmla="*/ 2147483647 h 146"/>
                <a:gd name="T4" fmla="*/ 2147483647 w 63"/>
                <a:gd name="T5" fmla="*/ 2147483647 h 146"/>
                <a:gd name="T6" fmla="*/ 2147483647 w 63"/>
                <a:gd name="T7" fmla="*/ 2147483647 h 146"/>
                <a:gd name="T8" fmla="*/ 2147483647 w 63"/>
                <a:gd name="T9" fmla="*/ 2147483647 h 146"/>
                <a:gd name="T10" fmla="*/ 2147483647 w 63"/>
                <a:gd name="T11" fmla="*/ 2147483647 h 146"/>
                <a:gd name="T12" fmla="*/ 2147483647 w 63"/>
                <a:gd name="T13" fmla="*/ 2147483647 h 146"/>
                <a:gd name="T14" fmla="*/ 2147483647 w 63"/>
                <a:gd name="T15" fmla="*/ 2147483647 h 146"/>
                <a:gd name="T16" fmla="*/ 2147483647 w 63"/>
                <a:gd name="T17" fmla="*/ 2147483647 h 146"/>
                <a:gd name="T18" fmla="*/ 2147483647 w 63"/>
                <a:gd name="T19" fmla="*/ 0 h 146"/>
                <a:gd name="T20" fmla="*/ 2147483647 w 63"/>
                <a:gd name="T21" fmla="*/ 2147483647 h 146"/>
                <a:gd name="T22" fmla="*/ 2147483647 w 63"/>
                <a:gd name="T23" fmla="*/ 2147483647 h 146"/>
                <a:gd name="T24" fmla="*/ 2147483647 w 63"/>
                <a:gd name="T25" fmla="*/ 2147483647 h 146"/>
                <a:gd name="T26" fmla="*/ 2147483647 w 63"/>
                <a:gd name="T27" fmla="*/ 2147483647 h 146"/>
                <a:gd name="T28" fmla="*/ 2147483647 w 63"/>
                <a:gd name="T29" fmla="*/ 2147483647 h 146"/>
                <a:gd name="T30" fmla="*/ 2147483647 w 63"/>
                <a:gd name="T31" fmla="*/ 2147483647 h 146"/>
                <a:gd name="T32" fmla="*/ 2147483647 w 63"/>
                <a:gd name="T33" fmla="*/ 2147483647 h 146"/>
                <a:gd name="T34" fmla="*/ 0 w 63"/>
                <a:gd name="T35" fmla="*/ 2147483647 h 14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3" h="146">
                  <a:moveTo>
                    <a:pt x="0" y="123"/>
                  </a:moveTo>
                  <a:lnTo>
                    <a:pt x="13" y="146"/>
                  </a:lnTo>
                  <a:lnTo>
                    <a:pt x="8" y="146"/>
                  </a:lnTo>
                  <a:lnTo>
                    <a:pt x="63" y="123"/>
                  </a:lnTo>
                  <a:lnTo>
                    <a:pt x="63" y="44"/>
                  </a:lnTo>
                  <a:lnTo>
                    <a:pt x="57" y="32"/>
                  </a:lnTo>
                  <a:lnTo>
                    <a:pt x="45" y="32"/>
                  </a:lnTo>
                  <a:lnTo>
                    <a:pt x="38" y="23"/>
                  </a:lnTo>
                  <a:lnTo>
                    <a:pt x="45" y="11"/>
                  </a:lnTo>
                  <a:lnTo>
                    <a:pt x="38" y="0"/>
                  </a:lnTo>
                  <a:lnTo>
                    <a:pt x="32" y="32"/>
                  </a:lnTo>
                  <a:lnTo>
                    <a:pt x="8" y="44"/>
                  </a:lnTo>
                  <a:lnTo>
                    <a:pt x="13" y="56"/>
                  </a:lnTo>
                  <a:lnTo>
                    <a:pt x="8" y="79"/>
                  </a:lnTo>
                  <a:lnTo>
                    <a:pt x="26" y="88"/>
                  </a:lnTo>
                  <a:lnTo>
                    <a:pt x="8" y="111"/>
                  </a:lnTo>
                  <a:lnTo>
                    <a:pt x="26" y="102"/>
                  </a:lnTo>
                  <a:lnTo>
                    <a:pt x="0" y="1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17" name="Freeform 768"/>
            <p:cNvSpPr>
              <a:spLocks/>
            </p:cNvSpPr>
            <p:nvPr>
              <p:custDataLst>
                <p:tags r:id="rId625"/>
              </p:custDataLst>
            </p:nvPr>
          </p:nvSpPr>
          <p:spPr bwMode="auto">
            <a:xfrm>
              <a:off x="5784498" y="3234895"/>
              <a:ext cx="68166" cy="44450"/>
            </a:xfrm>
            <a:custGeom>
              <a:avLst/>
              <a:gdLst>
                <a:gd name="T0" fmla="*/ 0 w 37"/>
                <a:gd name="T1" fmla="*/ 2147483647 h 56"/>
                <a:gd name="T2" fmla="*/ 2147483647 w 37"/>
                <a:gd name="T3" fmla="*/ 2147483647 h 56"/>
                <a:gd name="T4" fmla="*/ 2147483647 w 37"/>
                <a:gd name="T5" fmla="*/ 2147483647 h 56"/>
                <a:gd name="T6" fmla="*/ 2147483647 w 37"/>
                <a:gd name="T7" fmla="*/ 2147483647 h 56"/>
                <a:gd name="T8" fmla="*/ 2147483647 w 37"/>
                <a:gd name="T9" fmla="*/ 2147483647 h 56"/>
                <a:gd name="T10" fmla="*/ 2147483647 w 37"/>
                <a:gd name="T11" fmla="*/ 2147483647 h 56"/>
                <a:gd name="T12" fmla="*/ 2147483647 w 37"/>
                <a:gd name="T13" fmla="*/ 0 h 56"/>
                <a:gd name="T14" fmla="*/ 2147483647 w 37"/>
                <a:gd name="T15" fmla="*/ 2147483647 h 56"/>
                <a:gd name="T16" fmla="*/ 0 w 37"/>
                <a:gd name="T17" fmla="*/ 2147483647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56">
                  <a:moveTo>
                    <a:pt x="0" y="35"/>
                  </a:moveTo>
                  <a:lnTo>
                    <a:pt x="7" y="56"/>
                  </a:lnTo>
                  <a:lnTo>
                    <a:pt x="26" y="44"/>
                  </a:lnTo>
                  <a:lnTo>
                    <a:pt x="31" y="56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3" y="0"/>
                  </a:lnTo>
                  <a:lnTo>
                    <a:pt x="7" y="23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18" name="Freeform 769"/>
            <p:cNvSpPr>
              <a:spLocks/>
            </p:cNvSpPr>
            <p:nvPr>
              <p:custDataLst>
                <p:tags r:id="rId626"/>
              </p:custDataLst>
            </p:nvPr>
          </p:nvSpPr>
          <p:spPr bwMode="auto">
            <a:xfrm>
              <a:off x="5784498" y="3234895"/>
              <a:ext cx="68166" cy="44450"/>
            </a:xfrm>
            <a:custGeom>
              <a:avLst/>
              <a:gdLst>
                <a:gd name="T0" fmla="*/ 0 w 37"/>
                <a:gd name="T1" fmla="*/ 2147483647 h 56"/>
                <a:gd name="T2" fmla="*/ 2147483647 w 37"/>
                <a:gd name="T3" fmla="*/ 2147483647 h 56"/>
                <a:gd name="T4" fmla="*/ 2147483647 w 37"/>
                <a:gd name="T5" fmla="*/ 2147483647 h 56"/>
                <a:gd name="T6" fmla="*/ 2147483647 w 37"/>
                <a:gd name="T7" fmla="*/ 2147483647 h 56"/>
                <a:gd name="T8" fmla="*/ 2147483647 w 37"/>
                <a:gd name="T9" fmla="*/ 2147483647 h 56"/>
                <a:gd name="T10" fmla="*/ 2147483647 w 37"/>
                <a:gd name="T11" fmla="*/ 2147483647 h 56"/>
                <a:gd name="T12" fmla="*/ 2147483647 w 37"/>
                <a:gd name="T13" fmla="*/ 0 h 56"/>
                <a:gd name="T14" fmla="*/ 2147483647 w 37"/>
                <a:gd name="T15" fmla="*/ 2147483647 h 56"/>
                <a:gd name="T16" fmla="*/ 0 w 37"/>
                <a:gd name="T17" fmla="*/ 2147483647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56">
                  <a:moveTo>
                    <a:pt x="0" y="35"/>
                  </a:moveTo>
                  <a:lnTo>
                    <a:pt x="7" y="56"/>
                  </a:lnTo>
                  <a:lnTo>
                    <a:pt x="26" y="44"/>
                  </a:lnTo>
                  <a:lnTo>
                    <a:pt x="31" y="56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3" y="0"/>
                  </a:lnTo>
                  <a:lnTo>
                    <a:pt x="7" y="23"/>
                  </a:lnTo>
                  <a:lnTo>
                    <a:pt x="0" y="35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19" name="Freeform 770"/>
            <p:cNvSpPr>
              <a:spLocks/>
            </p:cNvSpPr>
            <p:nvPr>
              <p:custDataLst>
                <p:tags r:id="rId627"/>
              </p:custDataLst>
            </p:nvPr>
          </p:nvSpPr>
          <p:spPr bwMode="auto">
            <a:xfrm>
              <a:off x="5784498" y="3234895"/>
              <a:ext cx="68166" cy="44450"/>
            </a:xfrm>
            <a:custGeom>
              <a:avLst/>
              <a:gdLst>
                <a:gd name="T0" fmla="*/ 0 w 37"/>
                <a:gd name="T1" fmla="*/ 2147483647 h 56"/>
                <a:gd name="T2" fmla="*/ 2147483647 w 37"/>
                <a:gd name="T3" fmla="*/ 2147483647 h 56"/>
                <a:gd name="T4" fmla="*/ 2147483647 w 37"/>
                <a:gd name="T5" fmla="*/ 2147483647 h 56"/>
                <a:gd name="T6" fmla="*/ 2147483647 w 37"/>
                <a:gd name="T7" fmla="*/ 2147483647 h 56"/>
                <a:gd name="T8" fmla="*/ 2147483647 w 37"/>
                <a:gd name="T9" fmla="*/ 2147483647 h 56"/>
                <a:gd name="T10" fmla="*/ 2147483647 w 37"/>
                <a:gd name="T11" fmla="*/ 2147483647 h 56"/>
                <a:gd name="T12" fmla="*/ 2147483647 w 37"/>
                <a:gd name="T13" fmla="*/ 0 h 56"/>
                <a:gd name="T14" fmla="*/ 2147483647 w 37"/>
                <a:gd name="T15" fmla="*/ 2147483647 h 56"/>
                <a:gd name="T16" fmla="*/ 0 w 37"/>
                <a:gd name="T17" fmla="*/ 2147483647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56">
                  <a:moveTo>
                    <a:pt x="0" y="35"/>
                  </a:moveTo>
                  <a:lnTo>
                    <a:pt x="7" y="56"/>
                  </a:lnTo>
                  <a:lnTo>
                    <a:pt x="26" y="44"/>
                  </a:lnTo>
                  <a:lnTo>
                    <a:pt x="31" y="56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3" y="0"/>
                  </a:lnTo>
                  <a:lnTo>
                    <a:pt x="7" y="23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20" name="Freeform 771"/>
            <p:cNvSpPr>
              <a:spLocks/>
            </p:cNvSpPr>
            <p:nvPr>
              <p:custDataLst>
                <p:tags r:id="rId628"/>
              </p:custDataLst>
            </p:nvPr>
          </p:nvSpPr>
          <p:spPr bwMode="auto">
            <a:xfrm>
              <a:off x="5784498" y="3234895"/>
              <a:ext cx="68166" cy="44450"/>
            </a:xfrm>
            <a:custGeom>
              <a:avLst/>
              <a:gdLst>
                <a:gd name="T0" fmla="*/ 0 w 37"/>
                <a:gd name="T1" fmla="*/ 2147483647 h 56"/>
                <a:gd name="T2" fmla="*/ 2147483647 w 37"/>
                <a:gd name="T3" fmla="*/ 2147483647 h 56"/>
                <a:gd name="T4" fmla="*/ 2147483647 w 37"/>
                <a:gd name="T5" fmla="*/ 2147483647 h 56"/>
                <a:gd name="T6" fmla="*/ 2147483647 w 37"/>
                <a:gd name="T7" fmla="*/ 2147483647 h 56"/>
                <a:gd name="T8" fmla="*/ 2147483647 w 37"/>
                <a:gd name="T9" fmla="*/ 2147483647 h 56"/>
                <a:gd name="T10" fmla="*/ 2147483647 w 37"/>
                <a:gd name="T11" fmla="*/ 2147483647 h 56"/>
                <a:gd name="T12" fmla="*/ 2147483647 w 37"/>
                <a:gd name="T13" fmla="*/ 0 h 56"/>
                <a:gd name="T14" fmla="*/ 2147483647 w 37"/>
                <a:gd name="T15" fmla="*/ 2147483647 h 56"/>
                <a:gd name="T16" fmla="*/ 0 w 37"/>
                <a:gd name="T17" fmla="*/ 2147483647 h 5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7" h="56">
                  <a:moveTo>
                    <a:pt x="0" y="35"/>
                  </a:moveTo>
                  <a:lnTo>
                    <a:pt x="7" y="56"/>
                  </a:lnTo>
                  <a:lnTo>
                    <a:pt x="26" y="44"/>
                  </a:lnTo>
                  <a:lnTo>
                    <a:pt x="31" y="56"/>
                  </a:lnTo>
                  <a:lnTo>
                    <a:pt x="37" y="35"/>
                  </a:lnTo>
                  <a:lnTo>
                    <a:pt x="31" y="12"/>
                  </a:lnTo>
                  <a:lnTo>
                    <a:pt x="13" y="0"/>
                  </a:lnTo>
                  <a:lnTo>
                    <a:pt x="7" y="23"/>
                  </a:lnTo>
                  <a:lnTo>
                    <a:pt x="0" y="35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21" name="Freeform 772"/>
            <p:cNvSpPr>
              <a:spLocks/>
            </p:cNvSpPr>
            <p:nvPr>
              <p:custDataLst>
                <p:tags r:id="rId629"/>
              </p:custDataLst>
            </p:nvPr>
          </p:nvSpPr>
          <p:spPr bwMode="auto">
            <a:xfrm>
              <a:off x="5820571" y="3128562"/>
              <a:ext cx="32078" cy="26987"/>
            </a:xfrm>
            <a:custGeom>
              <a:avLst/>
              <a:gdLst>
                <a:gd name="T0" fmla="*/ 0 w 18"/>
                <a:gd name="T1" fmla="*/ 2147483647 h 32"/>
                <a:gd name="T2" fmla="*/ 0 w 18"/>
                <a:gd name="T3" fmla="*/ 0 h 32"/>
                <a:gd name="T4" fmla="*/ 2147483647 w 18"/>
                <a:gd name="T5" fmla="*/ 0 h 32"/>
                <a:gd name="T6" fmla="*/ 0 w 18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2">
                  <a:moveTo>
                    <a:pt x="0" y="32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22" name="Freeform 773"/>
            <p:cNvSpPr>
              <a:spLocks/>
            </p:cNvSpPr>
            <p:nvPr>
              <p:custDataLst>
                <p:tags r:id="rId630"/>
              </p:custDataLst>
            </p:nvPr>
          </p:nvSpPr>
          <p:spPr bwMode="auto">
            <a:xfrm>
              <a:off x="5820571" y="3128562"/>
              <a:ext cx="32078" cy="26987"/>
            </a:xfrm>
            <a:custGeom>
              <a:avLst/>
              <a:gdLst>
                <a:gd name="T0" fmla="*/ 0 w 18"/>
                <a:gd name="T1" fmla="*/ 2147483647 h 32"/>
                <a:gd name="T2" fmla="*/ 0 w 18"/>
                <a:gd name="T3" fmla="*/ 0 h 32"/>
                <a:gd name="T4" fmla="*/ 2147483647 w 18"/>
                <a:gd name="T5" fmla="*/ 0 h 32"/>
                <a:gd name="T6" fmla="*/ 0 w 18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2">
                  <a:moveTo>
                    <a:pt x="0" y="32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2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23" name="Freeform 774"/>
            <p:cNvSpPr>
              <a:spLocks/>
            </p:cNvSpPr>
            <p:nvPr>
              <p:custDataLst>
                <p:tags r:id="rId631"/>
              </p:custDataLst>
            </p:nvPr>
          </p:nvSpPr>
          <p:spPr bwMode="auto">
            <a:xfrm>
              <a:off x="5820571" y="3128562"/>
              <a:ext cx="32078" cy="26987"/>
            </a:xfrm>
            <a:custGeom>
              <a:avLst/>
              <a:gdLst>
                <a:gd name="T0" fmla="*/ 0 w 18"/>
                <a:gd name="T1" fmla="*/ 2147483647 h 32"/>
                <a:gd name="T2" fmla="*/ 0 w 18"/>
                <a:gd name="T3" fmla="*/ 0 h 32"/>
                <a:gd name="T4" fmla="*/ 2147483647 w 18"/>
                <a:gd name="T5" fmla="*/ 0 h 32"/>
                <a:gd name="T6" fmla="*/ 0 w 18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2">
                  <a:moveTo>
                    <a:pt x="0" y="32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24" name="Freeform 775"/>
            <p:cNvSpPr>
              <a:spLocks/>
            </p:cNvSpPr>
            <p:nvPr>
              <p:custDataLst>
                <p:tags r:id="rId632"/>
              </p:custDataLst>
            </p:nvPr>
          </p:nvSpPr>
          <p:spPr bwMode="auto">
            <a:xfrm>
              <a:off x="5820571" y="3128562"/>
              <a:ext cx="32078" cy="26987"/>
            </a:xfrm>
            <a:custGeom>
              <a:avLst/>
              <a:gdLst>
                <a:gd name="T0" fmla="*/ 0 w 18"/>
                <a:gd name="T1" fmla="*/ 2147483647 h 32"/>
                <a:gd name="T2" fmla="*/ 0 w 18"/>
                <a:gd name="T3" fmla="*/ 0 h 32"/>
                <a:gd name="T4" fmla="*/ 2147483647 w 18"/>
                <a:gd name="T5" fmla="*/ 0 h 32"/>
                <a:gd name="T6" fmla="*/ 0 w 18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2">
                  <a:moveTo>
                    <a:pt x="0" y="32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0" y="32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25" name="Freeform 776"/>
            <p:cNvSpPr>
              <a:spLocks/>
            </p:cNvSpPr>
            <p:nvPr>
              <p:custDataLst>
                <p:tags r:id="rId633"/>
              </p:custDataLst>
            </p:nvPr>
          </p:nvSpPr>
          <p:spPr bwMode="auto">
            <a:xfrm>
              <a:off x="5820571" y="3147583"/>
              <a:ext cx="32078" cy="25400"/>
            </a:xfrm>
            <a:custGeom>
              <a:avLst/>
              <a:gdLst>
                <a:gd name="T0" fmla="*/ 0 w 18"/>
                <a:gd name="T1" fmla="*/ 2147483647 h 33"/>
                <a:gd name="T2" fmla="*/ 2147483647 w 18"/>
                <a:gd name="T3" fmla="*/ 0 h 33"/>
                <a:gd name="T4" fmla="*/ 2147483647 w 18"/>
                <a:gd name="T5" fmla="*/ 2147483647 h 33"/>
                <a:gd name="T6" fmla="*/ 0 w 18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12" y="0"/>
                  </a:lnTo>
                  <a:lnTo>
                    <a:pt x="18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26" name="Freeform 777"/>
            <p:cNvSpPr>
              <a:spLocks/>
            </p:cNvSpPr>
            <p:nvPr>
              <p:custDataLst>
                <p:tags r:id="rId634"/>
              </p:custDataLst>
            </p:nvPr>
          </p:nvSpPr>
          <p:spPr bwMode="auto">
            <a:xfrm>
              <a:off x="5820571" y="3147583"/>
              <a:ext cx="32078" cy="25400"/>
            </a:xfrm>
            <a:custGeom>
              <a:avLst/>
              <a:gdLst>
                <a:gd name="T0" fmla="*/ 0 w 18"/>
                <a:gd name="T1" fmla="*/ 2147483647 h 33"/>
                <a:gd name="T2" fmla="*/ 2147483647 w 18"/>
                <a:gd name="T3" fmla="*/ 0 h 33"/>
                <a:gd name="T4" fmla="*/ 2147483647 w 18"/>
                <a:gd name="T5" fmla="*/ 2147483647 h 33"/>
                <a:gd name="T6" fmla="*/ 0 w 18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12" y="0"/>
                  </a:lnTo>
                  <a:lnTo>
                    <a:pt x="18" y="33"/>
                  </a:lnTo>
                  <a:lnTo>
                    <a:pt x="0" y="33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27" name="Freeform 778"/>
            <p:cNvSpPr>
              <a:spLocks/>
            </p:cNvSpPr>
            <p:nvPr>
              <p:custDataLst>
                <p:tags r:id="rId635"/>
              </p:custDataLst>
            </p:nvPr>
          </p:nvSpPr>
          <p:spPr bwMode="auto">
            <a:xfrm>
              <a:off x="5820571" y="3147583"/>
              <a:ext cx="32078" cy="25400"/>
            </a:xfrm>
            <a:custGeom>
              <a:avLst/>
              <a:gdLst>
                <a:gd name="T0" fmla="*/ 0 w 18"/>
                <a:gd name="T1" fmla="*/ 2147483647 h 33"/>
                <a:gd name="T2" fmla="*/ 2147483647 w 18"/>
                <a:gd name="T3" fmla="*/ 0 h 33"/>
                <a:gd name="T4" fmla="*/ 2147483647 w 18"/>
                <a:gd name="T5" fmla="*/ 2147483647 h 33"/>
                <a:gd name="T6" fmla="*/ 0 w 18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12" y="0"/>
                  </a:lnTo>
                  <a:lnTo>
                    <a:pt x="18" y="33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28" name="Freeform 779"/>
            <p:cNvSpPr>
              <a:spLocks/>
            </p:cNvSpPr>
            <p:nvPr>
              <p:custDataLst>
                <p:tags r:id="rId636"/>
              </p:custDataLst>
            </p:nvPr>
          </p:nvSpPr>
          <p:spPr bwMode="auto">
            <a:xfrm>
              <a:off x="5820571" y="3147583"/>
              <a:ext cx="32078" cy="25400"/>
            </a:xfrm>
            <a:custGeom>
              <a:avLst/>
              <a:gdLst>
                <a:gd name="T0" fmla="*/ 0 w 18"/>
                <a:gd name="T1" fmla="*/ 2147483647 h 33"/>
                <a:gd name="T2" fmla="*/ 2147483647 w 18"/>
                <a:gd name="T3" fmla="*/ 0 h 33"/>
                <a:gd name="T4" fmla="*/ 2147483647 w 18"/>
                <a:gd name="T5" fmla="*/ 2147483647 h 33"/>
                <a:gd name="T6" fmla="*/ 0 w 18"/>
                <a:gd name="T7" fmla="*/ 2147483647 h 33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33">
                  <a:moveTo>
                    <a:pt x="0" y="33"/>
                  </a:moveTo>
                  <a:lnTo>
                    <a:pt x="12" y="0"/>
                  </a:lnTo>
                  <a:lnTo>
                    <a:pt x="18" y="33"/>
                  </a:lnTo>
                  <a:lnTo>
                    <a:pt x="0" y="33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29" name="Freeform 780"/>
            <p:cNvSpPr>
              <a:spLocks/>
            </p:cNvSpPr>
            <p:nvPr>
              <p:custDataLst>
                <p:tags r:id="rId637"/>
              </p:custDataLst>
            </p:nvPr>
          </p:nvSpPr>
          <p:spPr bwMode="auto">
            <a:xfrm>
              <a:off x="5844645" y="3120595"/>
              <a:ext cx="220539" cy="300038"/>
            </a:xfrm>
            <a:custGeom>
              <a:avLst/>
              <a:gdLst>
                <a:gd name="T0" fmla="*/ 0 w 119"/>
                <a:gd name="T1" fmla="*/ 2147483647 h 379"/>
                <a:gd name="T2" fmla="*/ 2147483647 w 119"/>
                <a:gd name="T3" fmla="*/ 2147483647 h 379"/>
                <a:gd name="T4" fmla="*/ 2147483647 w 119"/>
                <a:gd name="T5" fmla="*/ 0 h 379"/>
                <a:gd name="T6" fmla="*/ 2147483647 w 119"/>
                <a:gd name="T7" fmla="*/ 0 h 379"/>
                <a:gd name="T8" fmla="*/ 2147483647 w 119"/>
                <a:gd name="T9" fmla="*/ 2147483647 h 379"/>
                <a:gd name="T10" fmla="*/ 2147483647 w 119"/>
                <a:gd name="T11" fmla="*/ 2147483647 h 379"/>
                <a:gd name="T12" fmla="*/ 2147483647 w 119"/>
                <a:gd name="T13" fmla="*/ 2147483647 h 379"/>
                <a:gd name="T14" fmla="*/ 2147483647 w 119"/>
                <a:gd name="T15" fmla="*/ 2147483647 h 379"/>
                <a:gd name="T16" fmla="*/ 2147483647 w 119"/>
                <a:gd name="T17" fmla="*/ 2147483647 h 379"/>
                <a:gd name="T18" fmla="*/ 2147483647 w 119"/>
                <a:gd name="T19" fmla="*/ 2147483647 h 379"/>
                <a:gd name="T20" fmla="*/ 2147483647 w 119"/>
                <a:gd name="T21" fmla="*/ 2147483647 h 379"/>
                <a:gd name="T22" fmla="*/ 2147483647 w 119"/>
                <a:gd name="T23" fmla="*/ 2147483647 h 379"/>
                <a:gd name="T24" fmla="*/ 2147483647 w 119"/>
                <a:gd name="T25" fmla="*/ 2147483647 h 379"/>
                <a:gd name="T26" fmla="*/ 2147483647 w 119"/>
                <a:gd name="T27" fmla="*/ 2147483647 h 379"/>
                <a:gd name="T28" fmla="*/ 2147483647 w 119"/>
                <a:gd name="T29" fmla="*/ 2147483647 h 379"/>
                <a:gd name="T30" fmla="*/ 2147483647 w 119"/>
                <a:gd name="T31" fmla="*/ 2147483647 h 379"/>
                <a:gd name="T32" fmla="*/ 2147483647 w 119"/>
                <a:gd name="T33" fmla="*/ 2147483647 h 379"/>
                <a:gd name="T34" fmla="*/ 2147483647 w 119"/>
                <a:gd name="T35" fmla="*/ 2147483647 h 379"/>
                <a:gd name="T36" fmla="*/ 2147483647 w 119"/>
                <a:gd name="T37" fmla="*/ 2147483647 h 379"/>
                <a:gd name="T38" fmla="*/ 2147483647 w 119"/>
                <a:gd name="T39" fmla="*/ 2147483647 h 379"/>
                <a:gd name="T40" fmla="*/ 2147483647 w 119"/>
                <a:gd name="T41" fmla="*/ 2147483647 h 379"/>
                <a:gd name="T42" fmla="*/ 2147483647 w 119"/>
                <a:gd name="T43" fmla="*/ 2147483647 h 379"/>
                <a:gd name="T44" fmla="*/ 2147483647 w 119"/>
                <a:gd name="T45" fmla="*/ 2147483647 h 379"/>
                <a:gd name="T46" fmla="*/ 2147483647 w 119"/>
                <a:gd name="T47" fmla="*/ 2147483647 h 379"/>
                <a:gd name="T48" fmla="*/ 2147483647 w 119"/>
                <a:gd name="T49" fmla="*/ 2147483647 h 379"/>
                <a:gd name="T50" fmla="*/ 2147483647 w 119"/>
                <a:gd name="T51" fmla="*/ 2147483647 h 379"/>
                <a:gd name="T52" fmla="*/ 2147483647 w 119"/>
                <a:gd name="T53" fmla="*/ 2147483647 h 379"/>
                <a:gd name="T54" fmla="*/ 2147483647 w 119"/>
                <a:gd name="T55" fmla="*/ 2147483647 h 379"/>
                <a:gd name="T56" fmla="*/ 2147483647 w 119"/>
                <a:gd name="T57" fmla="*/ 2147483647 h 379"/>
                <a:gd name="T58" fmla="*/ 0 w 119"/>
                <a:gd name="T59" fmla="*/ 2147483647 h 37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19" h="379">
                  <a:moveTo>
                    <a:pt x="0" y="91"/>
                  </a:moveTo>
                  <a:lnTo>
                    <a:pt x="5" y="35"/>
                  </a:lnTo>
                  <a:lnTo>
                    <a:pt x="19" y="0"/>
                  </a:lnTo>
                  <a:lnTo>
                    <a:pt x="44" y="0"/>
                  </a:lnTo>
                  <a:lnTo>
                    <a:pt x="25" y="46"/>
                  </a:lnTo>
                  <a:lnTo>
                    <a:pt x="63" y="56"/>
                  </a:lnTo>
                  <a:lnTo>
                    <a:pt x="44" y="112"/>
                  </a:lnTo>
                  <a:lnTo>
                    <a:pt x="69" y="135"/>
                  </a:lnTo>
                  <a:lnTo>
                    <a:pt x="94" y="213"/>
                  </a:lnTo>
                  <a:lnTo>
                    <a:pt x="88" y="213"/>
                  </a:lnTo>
                  <a:lnTo>
                    <a:pt x="100" y="235"/>
                  </a:lnTo>
                  <a:lnTo>
                    <a:pt x="94" y="258"/>
                  </a:lnTo>
                  <a:lnTo>
                    <a:pt x="119" y="258"/>
                  </a:lnTo>
                  <a:lnTo>
                    <a:pt x="106" y="311"/>
                  </a:lnTo>
                  <a:lnTo>
                    <a:pt x="113" y="323"/>
                  </a:lnTo>
                  <a:lnTo>
                    <a:pt x="5" y="379"/>
                  </a:lnTo>
                  <a:lnTo>
                    <a:pt x="56" y="302"/>
                  </a:lnTo>
                  <a:lnTo>
                    <a:pt x="38" y="311"/>
                  </a:lnTo>
                  <a:lnTo>
                    <a:pt x="13" y="290"/>
                  </a:lnTo>
                  <a:lnTo>
                    <a:pt x="31" y="267"/>
                  </a:lnTo>
                  <a:lnTo>
                    <a:pt x="19" y="258"/>
                  </a:lnTo>
                  <a:lnTo>
                    <a:pt x="44" y="223"/>
                  </a:lnTo>
                  <a:lnTo>
                    <a:pt x="50" y="190"/>
                  </a:lnTo>
                  <a:lnTo>
                    <a:pt x="38" y="179"/>
                  </a:lnTo>
                  <a:lnTo>
                    <a:pt x="44" y="167"/>
                  </a:lnTo>
                  <a:lnTo>
                    <a:pt x="19" y="179"/>
                  </a:lnTo>
                  <a:lnTo>
                    <a:pt x="19" y="123"/>
                  </a:lnTo>
                  <a:lnTo>
                    <a:pt x="5" y="144"/>
                  </a:lnTo>
                  <a:lnTo>
                    <a:pt x="13" y="91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830" name="Group 781"/>
            <p:cNvGrpSpPr>
              <a:grpSpLocks/>
            </p:cNvGrpSpPr>
            <p:nvPr>
              <p:custDataLst>
                <p:tags r:id="rId638"/>
              </p:custDataLst>
            </p:nvPr>
          </p:nvGrpSpPr>
          <p:grpSpPr bwMode="auto">
            <a:xfrm>
              <a:off x="5844645" y="3120595"/>
              <a:ext cx="220539" cy="300038"/>
              <a:chOff x="2851" y="1596"/>
              <a:chExt cx="119" cy="189"/>
            </a:xfrm>
            <a:solidFill>
              <a:srgbClr val="CCFFCC"/>
            </a:solidFill>
          </p:grpSpPr>
          <p:sp>
            <p:nvSpPr>
              <p:cNvPr id="3203" name="Freeform 782"/>
              <p:cNvSpPr>
                <a:spLocks/>
              </p:cNvSpPr>
              <p:nvPr/>
            </p:nvSpPr>
            <p:spPr bwMode="auto">
              <a:xfrm>
                <a:off x="2851" y="1596"/>
                <a:ext cx="119" cy="189"/>
              </a:xfrm>
              <a:custGeom>
                <a:avLst/>
                <a:gdLst>
                  <a:gd name="T0" fmla="*/ 0 w 119"/>
                  <a:gd name="T1" fmla="*/ 0 h 379"/>
                  <a:gd name="T2" fmla="*/ 5 w 119"/>
                  <a:gd name="T3" fmla="*/ 0 h 379"/>
                  <a:gd name="T4" fmla="*/ 19 w 119"/>
                  <a:gd name="T5" fmla="*/ 0 h 379"/>
                  <a:gd name="T6" fmla="*/ 44 w 119"/>
                  <a:gd name="T7" fmla="*/ 0 h 379"/>
                  <a:gd name="T8" fmla="*/ 25 w 119"/>
                  <a:gd name="T9" fmla="*/ 0 h 379"/>
                  <a:gd name="T10" fmla="*/ 63 w 119"/>
                  <a:gd name="T11" fmla="*/ 0 h 379"/>
                  <a:gd name="T12" fmla="*/ 44 w 119"/>
                  <a:gd name="T13" fmla="*/ 0 h 379"/>
                  <a:gd name="T14" fmla="*/ 69 w 119"/>
                  <a:gd name="T15" fmla="*/ 0 h 379"/>
                  <a:gd name="T16" fmla="*/ 94 w 119"/>
                  <a:gd name="T17" fmla="*/ 0 h 379"/>
                  <a:gd name="T18" fmla="*/ 88 w 119"/>
                  <a:gd name="T19" fmla="*/ 0 h 379"/>
                  <a:gd name="T20" fmla="*/ 100 w 119"/>
                  <a:gd name="T21" fmla="*/ 0 h 379"/>
                  <a:gd name="T22" fmla="*/ 94 w 119"/>
                  <a:gd name="T23" fmla="*/ 0 h 379"/>
                  <a:gd name="T24" fmla="*/ 119 w 119"/>
                  <a:gd name="T25" fmla="*/ 0 h 379"/>
                  <a:gd name="T26" fmla="*/ 106 w 119"/>
                  <a:gd name="T27" fmla="*/ 0 h 379"/>
                  <a:gd name="T28" fmla="*/ 113 w 119"/>
                  <a:gd name="T29" fmla="*/ 0 h 379"/>
                  <a:gd name="T30" fmla="*/ 5 w 119"/>
                  <a:gd name="T31" fmla="*/ 0 h 379"/>
                  <a:gd name="T32" fmla="*/ 56 w 119"/>
                  <a:gd name="T33" fmla="*/ 0 h 379"/>
                  <a:gd name="T34" fmla="*/ 38 w 119"/>
                  <a:gd name="T35" fmla="*/ 0 h 379"/>
                  <a:gd name="T36" fmla="*/ 13 w 119"/>
                  <a:gd name="T37" fmla="*/ 0 h 379"/>
                  <a:gd name="T38" fmla="*/ 31 w 119"/>
                  <a:gd name="T39" fmla="*/ 0 h 379"/>
                  <a:gd name="T40" fmla="*/ 19 w 119"/>
                  <a:gd name="T41" fmla="*/ 0 h 379"/>
                  <a:gd name="T42" fmla="*/ 44 w 119"/>
                  <a:gd name="T43" fmla="*/ 0 h 379"/>
                  <a:gd name="T44" fmla="*/ 50 w 119"/>
                  <a:gd name="T45" fmla="*/ 0 h 379"/>
                  <a:gd name="T46" fmla="*/ 38 w 119"/>
                  <a:gd name="T47" fmla="*/ 0 h 379"/>
                  <a:gd name="T48" fmla="*/ 44 w 119"/>
                  <a:gd name="T49" fmla="*/ 0 h 379"/>
                  <a:gd name="T50" fmla="*/ 19 w 119"/>
                  <a:gd name="T51" fmla="*/ 0 h 379"/>
                  <a:gd name="T52" fmla="*/ 19 w 119"/>
                  <a:gd name="T53" fmla="*/ 0 h 379"/>
                  <a:gd name="T54" fmla="*/ 5 w 119"/>
                  <a:gd name="T55" fmla="*/ 0 h 379"/>
                  <a:gd name="T56" fmla="*/ 13 w 119"/>
                  <a:gd name="T57" fmla="*/ 0 h 379"/>
                  <a:gd name="T58" fmla="*/ 0 w 119"/>
                  <a:gd name="T59" fmla="*/ 0 h 3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19" h="379">
                    <a:moveTo>
                      <a:pt x="0" y="91"/>
                    </a:moveTo>
                    <a:lnTo>
                      <a:pt x="5" y="35"/>
                    </a:lnTo>
                    <a:lnTo>
                      <a:pt x="19" y="0"/>
                    </a:lnTo>
                    <a:lnTo>
                      <a:pt x="44" y="0"/>
                    </a:lnTo>
                    <a:lnTo>
                      <a:pt x="25" y="46"/>
                    </a:lnTo>
                    <a:lnTo>
                      <a:pt x="63" y="56"/>
                    </a:lnTo>
                    <a:lnTo>
                      <a:pt x="44" y="112"/>
                    </a:lnTo>
                    <a:lnTo>
                      <a:pt x="69" y="135"/>
                    </a:lnTo>
                    <a:lnTo>
                      <a:pt x="94" y="213"/>
                    </a:lnTo>
                    <a:lnTo>
                      <a:pt x="88" y="213"/>
                    </a:lnTo>
                    <a:lnTo>
                      <a:pt x="100" y="235"/>
                    </a:lnTo>
                    <a:lnTo>
                      <a:pt x="94" y="258"/>
                    </a:lnTo>
                    <a:lnTo>
                      <a:pt x="119" y="258"/>
                    </a:lnTo>
                    <a:lnTo>
                      <a:pt x="106" y="311"/>
                    </a:lnTo>
                    <a:lnTo>
                      <a:pt x="113" y="323"/>
                    </a:lnTo>
                    <a:lnTo>
                      <a:pt x="5" y="379"/>
                    </a:lnTo>
                    <a:lnTo>
                      <a:pt x="56" y="302"/>
                    </a:lnTo>
                    <a:lnTo>
                      <a:pt x="38" y="311"/>
                    </a:lnTo>
                    <a:lnTo>
                      <a:pt x="13" y="290"/>
                    </a:lnTo>
                    <a:lnTo>
                      <a:pt x="31" y="267"/>
                    </a:lnTo>
                    <a:lnTo>
                      <a:pt x="19" y="258"/>
                    </a:lnTo>
                    <a:lnTo>
                      <a:pt x="44" y="223"/>
                    </a:lnTo>
                    <a:lnTo>
                      <a:pt x="50" y="190"/>
                    </a:lnTo>
                    <a:lnTo>
                      <a:pt x="38" y="179"/>
                    </a:lnTo>
                    <a:lnTo>
                      <a:pt x="44" y="167"/>
                    </a:lnTo>
                    <a:lnTo>
                      <a:pt x="19" y="179"/>
                    </a:lnTo>
                    <a:lnTo>
                      <a:pt x="19" y="123"/>
                    </a:lnTo>
                    <a:lnTo>
                      <a:pt x="5" y="144"/>
                    </a:lnTo>
                    <a:lnTo>
                      <a:pt x="13" y="91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04" name="Freeform 783"/>
              <p:cNvSpPr>
                <a:spLocks/>
              </p:cNvSpPr>
              <p:nvPr/>
            </p:nvSpPr>
            <p:spPr bwMode="auto">
              <a:xfrm>
                <a:off x="2851" y="1596"/>
                <a:ext cx="119" cy="189"/>
              </a:xfrm>
              <a:custGeom>
                <a:avLst/>
                <a:gdLst>
                  <a:gd name="T0" fmla="*/ 0 w 119"/>
                  <a:gd name="T1" fmla="*/ 0 h 379"/>
                  <a:gd name="T2" fmla="*/ 5 w 119"/>
                  <a:gd name="T3" fmla="*/ 0 h 379"/>
                  <a:gd name="T4" fmla="*/ 19 w 119"/>
                  <a:gd name="T5" fmla="*/ 0 h 379"/>
                  <a:gd name="T6" fmla="*/ 44 w 119"/>
                  <a:gd name="T7" fmla="*/ 0 h 379"/>
                  <a:gd name="T8" fmla="*/ 25 w 119"/>
                  <a:gd name="T9" fmla="*/ 0 h 379"/>
                  <a:gd name="T10" fmla="*/ 63 w 119"/>
                  <a:gd name="T11" fmla="*/ 0 h 379"/>
                  <a:gd name="T12" fmla="*/ 44 w 119"/>
                  <a:gd name="T13" fmla="*/ 0 h 379"/>
                  <a:gd name="T14" fmla="*/ 69 w 119"/>
                  <a:gd name="T15" fmla="*/ 0 h 379"/>
                  <a:gd name="T16" fmla="*/ 94 w 119"/>
                  <a:gd name="T17" fmla="*/ 0 h 379"/>
                  <a:gd name="T18" fmla="*/ 88 w 119"/>
                  <a:gd name="T19" fmla="*/ 0 h 379"/>
                  <a:gd name="T20" fmla="*/ 100 w 119"/>
                  <a:gd name="T21" fmla="*/ 0 h 379"/>
                  <a:gd name="T22" fmla="*/ 94 w 119"/>
                  <a:gd name="T23" fmla="*/ 0 h 379"/>
                  <a:gd name="T24" fmla="*/ 119 w 119"/>
                  <a:gd name="T25" fmla="*/ 0 h 379"/>
                  <a:gd name="T26" fmla="*/ 106 w 119"/>
                  <a:gd name="T27" fmla="*/ 0 h 379"/>
                  <a:gd name="T28" fmla="*/ 113 w 119"/>
                  <a:gd name="T29" fmla="*/ 0 h 379"/>
                  <a:gd name="T30" fmla="*/ 5 w 119"/>
                  <a:gd name="T31" fmla="*/ 0 h 379"/>
                  <a:gd name="T32" fmla="*/ 56 w 119"/>
                  <a:gd name="T33" fmla="*/ 0 h 379"/>
                  <a:gd name="T34" fmla="*/ 38 w 119"/>
                  <a:gd name="T35" fmla="*/ 0 h 379"/>
                  <a:gd name="T36" fmla="*/ 13 w 119"/>
                  <a:gd name="T37" fmla="*/ 0 h 379"/>
                  <a:gd name="T38" fmla="*/ 31 w 119"/>
                  <a:gd name="T39" fmla="*/ 0 h 379"/>
                  <a:gd name="T40" fmla="*/ 19 w 119"/>
                  <a:gd name="T41" fmla="*/ 0 h 379"/>
                  <a:gd name="T42" fmla="*/ 44 w 119"/>
                  <a:gd name="T43" fmla="*/ 0 h 379"/>
                  <a:gd name="T44" fmla="*/ 50 w 119"/>
                  <a:gd name="T45" fmla="*/ 0 h 379"/>
                  <a:gd name="T46" fmla="*/ 38 w 119"/>
                  <a:gd name="T47" fmla="*/ 0 h 379"/>
                  <a:gd name="T48" fmla="*/ 44 w 119"/>
                  <a:gd name="T49" fmla="*/ 0 h 379"/>
                  <a:gd name="T50" fmla="*/ 19 w 119"/>
                  <a:gd name="T51" fmla="*/ 0 h 379"/>
                  <a:gd name="T52" fmla="*/ 19 w 119"/>
                  <a:gd name="T53" fmla="*/ 0 h 379"/>
                  <a:gd name="T54" fmla="*/ 5 w 119"/>
                  <a:gd name="T55" fmla="*/ 0 h 379"/>
                  <a:gd name="T56" fmla="*/ 13 w 119"/>
                  <a:gd name="T57" fmla="*/ 0 h 379"/>
                  <a:gd name="T58" fmla="*/ 0 w 119"/>
                  <a:gd name="T59" fmla="*/ 0 h 3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19" h="379">
                    <a:moveTo>
                      <a:pt x="0" y="91"/>
                    </a:moveTo>
                    <a:lnTo>
                      <a:pt x="5" y="35"/>
                    </a:lnTo>
                    <a:lnTo>
                      <a:pt x="19" y="0"/>
                    </a:lnTo>
                    <a:lnTo>
                      <a:pt x="44" y="0"/>
                    </a:lnTo>
                    <a:lnTo>
                      <a:pt x="25" y="46"/>
                    </a:lnTo>
                    <a:lnTo>
                      <a:pt x="63" y="56"/>
                    </a:lnTo>
                    <a:lnTo>
                      <a:pt x="44" y="112"/>
                    </a:lnTo>
                    <a:lnTo>
                      <a:pt x="69" y="135"/>
                    </a:lnTo>
                    <a:lnTo>
                      <a:pt x="94" y="213"/>
                    </a:lnTo>
                    <a:lnTo>
                      <a:pt x="88" y="213"/>
                    </a:lnTo>
                    <a:lnTo>
                      <a:pt x="100" y="235"/>
                    </a:lnTo>
                    <a:lnTo>
                      <a:pt x="94" y="258"/>
                    </a:lnTo>
                    <a:lnTo>
                      <a:pt x="119" y="258"/>
                    </a:lnTo>
                    <a:lnTo>
                      <a:pt x="106" y="311"/>
                    </a:lnTo>
                    <a:lnTo>
                      <a:pt x="113" y="323"/>
                    </a:lnTo>
                    <a:lnTo>
                      <a:pt x="5" y="379"/>
                    </a:lnTo>
                    <a:lnTo>
                      <a:pt x="56" y="302"/>
                    </a:lnTo>
                    <a:lnTo>
                      <a:pt x="38" y="311"/>
                    </a:lnTo>
                    <a:lnTo>
                      <a:pt x="13" y="290"/>
                    </a:lnTo>
                    <a:lnTo>
                      <a:pt x="31" y="267"/>
                    </a:lnTo>
                    <a:lnTo>
                      <a:pt x="19" y="258"/>
                    </a:lnTo>
                    <a:lnTo>
                      <a:pt x="44" y="223"/>
                    </a:lnTo>
                    <a:lnTo>
                      <a:pt x="50" y="190"/>
                    </a:lnTo>
                    <a:lnTo>
                      <a:pt x="38" y="179"/>
                    </a:lnTo>
                    <a:lnTo>
                      <a:pt x="44" y="167"/>
                    </a:lnTo>
                    <a:lnTo>
                      <a:pt x="19" y="179"/>
                    </a:lnTo>
                    <a:lnTo>
                      <a:pt x="19" y="123"/>
                    </a:lnTo>
                    <a:lnTo>
                      <a:pt x="5" y="144"/>
                    </a:lnTo>
                    <a:lnTo>
                      <a:pt x="13" y="91"/>
                    </a:lnTo>
                    <a:lnTo>
                      <a:pt x="0" y="91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831" name="Freeform 784"/>
            <p:cNvSpPr>
              <a:spLocks/>
            </p:cNvSpPr>
            <p:nvPr>
              <p:custDataLst>
                <p:tags r:id="rId639"/>
              </p:custDataLst>
            </p:nvPr>
          </p:nvSpPr>
          <p:spPr bwMode="auto">
            <a:xfrm>
              <a:off x="5844645" y="3120595"/>
              <a:ext cx="220539" cy="300038"/>
            </a:xfrm>
            <a:custGeom>
              <a:avLst/>
              <a:gdLst>
                <a:gd name="T0" fmla="*/ 0 w 119"/>
                <a:gd name="T1" fmla="*/ 2147483647 h 379"/>
                <a:gd name="T2" fmla="*/ 2147483647 w 119"/>
                <a:gd name="T3" fmla="*/ 2147483647 h 379"/>
                <a:gd name="T4" fmla="*/ 2147483647 w 119"/>
                <a:gd name="T5" fmla="*/ 0 h 379"/>
                <a:gd name="T6" fmla="*/ 2147483647 w 119"/>
                <a:gd name="T7" fmla="*/ 0 h 379"/>
                <a:gd name="T8" fmla="*/ 2147483647 w 119"/>
                <a:gd name="T9" fmla="*/ 2147483647 h 379"/>
                <a:gd name="T10" fmla="*/ 2147483647 w 119"/>
                <a:gd name="T11" fmla="*/ 2147483647 h 379"/>
                <a:gd name="T12" fmla="*/ 2147483647 w 119"/>
                <a:gd name="T13" fmla="*/ 2147483647 h 379"/>
                <a:gd name="T14" fmla="*/ 2147483647 w 119"/>
                <a:gd name="T15" fmla="*/ 2147483647 h 379"/>
                <a:gd name="T16" fmla="*/ 2147483647 w 119"/>
                <a:gd name="T17" fmla="*/ 2147483647 h 379"/>
                <a:gd name="T18" fmla="*/ 2147483647 w 119"/>
                <a:gd name="T19" fmla="*/ 2147483647 h 379"/>
                <a:gd name="T20" fmla="*/ 2147483647 w 119"/>
                <a:gd name="T21" fmla="*/ 2147483647 h 379"/>
                <a:gd name="T22" fmla="*/ 2147483647 w 119"/>
                <a:gd name="T23" fmla="*/ 2147483647 h 379"/>
                <a:gd name="T24" fmla="*/ 2147483647 w 119"/>
                <a:gd name="T25" fmla="*/ 2147483647 h 379"/>
                <a:gd name="T26" fmla="*/ 2147483647 w 119"/>
                <a:gd name="T27" fmla="*/ 2147483647 h 379"/>
                <a:gd name="T28" fmla="*/ 2147483647 w 119"/>
                <a:gd name="T29" fmla="*/ 2147483647 h 379"/>
                <a:gd name="T30" fmla="*/ 2147483647 w 119"/>
                <a:gd name="T31" fmla="*/ 2147483647 h 379"/>
                <a:gd name="T32" fmla="*/ 2147483647 w 119"/>
                <a:gd name="T33" fmla="*/ 2147483647 h 379"/>
                <a:gd name="T34" fmla="*/ 2147483647 w 119"/>
                <a:gd name="T35" fmla="*/ 2147483647 h 379"/>
                <a:gd name="T36" fmla="*/ 2147483647 w 119"/>
                <a:gd name="T37" fmla="*/ 2147483647 h 379"/>
                <a:gd name="T38" fmla="*/ 2147483647 w 119"/>
                <a:gd name="T39" fmla="*/ 2147483647 h 379"/>
                <a:gd name="T40" fmla="*/ 2147483647 w 119"/>
                <a:gd name="T41" fmla="*/ 2147483647 h 379"/>
                <a:gd name="T42" fmla="*/ 2147483647 w 119"/>
                <a:gd name="T43" fmla="*/ 2147483647 h 379"/>
                <a:gd name="T44" fmla="*/ 2147483647 w 119"/>
                <a:gd name="T45" fmla="*/ 2147483647 h 379"/>
                <a:gd name="T46" fmla="*/ 2147483647 w 119"/>
                <a:gd name="T47" fmla="*/ 2147483647 h 379"/>
                <a:gd name="T48" fmla="*/ 2147483647 w 119"/>
                <a:gd name="T49" fmla="*/ 2147483647 h 379"/>
                <a:gd name="T50" fmla="*/ 2147483647 w 119"/>
                <a:gd name="T51" fmla="*/ 2147483647 h 379"/>
                <a:gd name="T52" fmla="*/ 2147483647 w 119"/>
                <a:gd name="T53" fmla="*/ 2147483647 h 379"/>
                <a:gd name="T54" fmla="*/ 2147483647 w 119"/>
                <a:gd name="T55" fmla="*/ 2147483647 h 379"/>
                <a:gd name="T56" fmla="*/ 2147483647 w 119"/>
                <a:gd name="T57" fmla="*/ 2147483647 h 379"/>
                <a:gd name="T58" fmla="*/ 0 w 119"/>
                <a:gd name="T59" fmla="*/ 2147483647 h 37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119" h="379">
                  <a:moveTo>
                    <a:pt x="0" y="91"/>
                  </a:moveTo>
                  <a:lnTo>
                    <a:pt x="5" y="35"/>
                  </a:lnTo>
                  <a:lnTo>
                    <a:pt x="19" y="0"/>
                  </a:lnTo>
                  <a:lnTo>
                    <a:pt x="44" y="0"/>
                  </a:lnTo>
                  <a:lnTo>
                    <a:pt x="25" y="46"/>
                  </a:lnTo>
                  <a:lnTo>
                    <a:pt x="63" y="56"/>
                  </a:lnTo>
                  <a:lnTo>
                    <a:pt x="44" y="112"/>
                  </a:lnTo>
                  <a:lnTo>
                    <a:pt x="69" y="135"/>
                  </a:lnTo>
                  <a:lnTo>
                    <a:pt x="94" y="213"/>
                  </a:lnTo>
                  <a:lnTo>
                    <a:pt x="88" y="213"/>
                  </a:lnTo>
                  <a:lnTo>
                    <a:pt x="100" y="235"/>
                  </a:lnTo>
                  <a:lnTo>
                    <a:pt x="94" y="258"/>
                  </a:lnTo>
                  <a:lnTo>
                    <a:pt x="119" y="258"/>
                  </a:lnTo>
                  <a:lnTo>
                    <a:pt x="106" y="311"/>
                  </a:lnTo>
                  <a:lnTo>
                    <a:pt x="113" y="323"/>
                  </a:lnTo>
                  <a:lnTo>
                    <a:pt x="5" y="379"/>
                  </a:lnTo>
                  <a:lnTo>
                    <a:pt x="56" y="302"/>
                  </a:lnTo>
                  <a:lnTo>
                    <a:pt x="38" y="311"/>
                  </a:lnTo>
                  <a:lnTo>
                    <a:pt x="13" y="290"/>
                  </a:lnTo>
                  <a:lnTo>
                    <a:pt x="31" y="267"/>
                  </a:lnTo>
                  <a:lnTo>
                    <a:pt x="19" y="258"/>
                  </a:lnTo>
                  <a:lnTo>
                    <a:pt x="44" y="223"/>
                  </a:lnTo>
                  <a:lnTo>
                    <a:pt x="50" y="190"/>
                  </a:lnTo>
                  <a:lnTo>
                    <a:pt x="38" y="179"/>
                  </a:lnTo>
                  <a:lnTo>
                    <a:pt x="44" y="167"/>
                  </a:lnTo>
                  <a:lnTo>
                    <a:pt x="19" y="179"/>
                  </a:lnTo>
                  <a:lnTo>
                    <a:pt x="19" y="123"/>
                  </a:lnTo>
                  <a:lnTo>
                    <a:pt x="5" y="144"/>
                  </a:lnTo>
                  <a:lnTo>
                    <a:pt x="13" y="91"/>
                  </a:lnTo>
                  <a:lnTo>
                    <a:pt x="0" y="91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32" name="Freeform 788"/>
            <p:cNvSpPr>
              <a:spLocks/>
            </p:cNvSpPr>
            <p:nvPr>
              <p:custDataLst>
                <p:tags r:id="rId640"/>
              </p:custDataLst>
            </p:nvPr>
          </p:nvSpPr>
          <p:spPr bwMode="auto">
            <a:xfrm>
              <a:off x="946671" y="2588819"/>
              <a:ext cx="856090" cy="663575"/>
            </a:xfrm>
            <a:custGeom>
              <a:avLst/>
              <a:gdLst>
                <a:gd name="T0" fmla="*/ 2147483647 w 462"/>
                <a:gd name="T1" fmla="*/ 2147483647 h 835"/>
                <a:gd name="T2" fmla="*/ 2147483647 w 462"/>
                <a:gd name="T3" fmla="*/ 2147483647 h 835"/>
                <a:gd name="T4" fmla="*/ 2147483647 w 462"/>
                <a:gd name="T5" fmla="*/ 2147483647 h 835"/>
                <a:gd name="T6" fmla="*/ 2147483647 w 462"/>
                <a:gd name="T7" fmla="*/ 2147483647 h 835"/>
                <a:gd name="T8" fmla="*/ 2147483647 w 462"/>
                <a:gd name="T9" fmla="*/ 2147483647 h 835"/>
                <a:gd name="T10" fmla="*/ 2147483647 w 462"/>
                <a:gd name="T11" fmla="*/ 2147483647 h 835"/>
                <a:gd name="T12" fmla="*/ 2147483647 w 462"/>
                <a:gd name="T13" fmla="*/ 2147483647 h 835"/>
                <a:gd name="T14" fmla="*/ 2147483647 w 462"/>
                <a:gd name="T15" fmla="*/ 2147483647 h 835"/>
                <a:gd name="T16" fmla="*/ 2147483647 w 462"/>
                <a:gd name="T17" fmla="*/ 2147483647 h 835"/>
                <a:gd name="T18" fmla="*/ 2147483647 w 462"/>
                <a:gd name="T19" fmla="*/ 2147483647 h 835"/>
                <a:gd name="T20" fmla="*/ 2147483647 w 462"/>
                <a:gd name="T21" fmla="*/ 2147483647 h 835"/>
                <a:gd name="T22" fmla="*/ 2147483647 w 462"/>
                <a:gd name="T23" fmla="*/ 2147483647 h 835"/>
                <a:gd name="T24" fmla="*/ 2147483647 w 462"/>
                <a:gd name="T25" fmla="*/ 2147483647 h 835"/>
                <a:gd name="T26" fmla="*/ 2147483647 w 462"/>
                <a:gd name="T27" fmla="*/ 2147483647 h 835"/>
                <a:gd name="T28" fmla="*/ 2147483647 w 462"/>
                <a:gd name="T29" fmla="*/ 2147483647 h 835"/>
                <a:gd name="T30" fmla="*/ 2147483647 w 462"/>
                <a:gd name="T31" fmla="*/ 2147483647 h 835"/>
                <a:gd name="T32" fmla="*/ 2147483647 w 462"/>
                <a:gd name="T33" fmla="*/ 2147483647 h 835"/>
                <a:gd name="T34" fmla="*/ 2147483647 w 462"/>
                <a:gd name="T35" fmla="*/ 2147483647 h 835"/>
                <a:gd name="T36" fmla="*/ 2147483647 w 462"/>
                <a:gd name="T37" fmla="*/ 2147483647 h 835"/>
                <a:gd name="T38" fmla="*/ 2147483647 w 462"/>
                <a:gd name="T39" fmla="*/ 2147483647 h 835"/>
                <a:gd name="T40" fmla="*/ 2147483647 w 462"/>
                <a:gd name="T41" fmla="*/ 2147483647 h 835"/>
                <a:gd name="T42" fmla="*/ 2147483647 w 462"/>
                <a:gd name="T43" fmla="*/ 2147483647 h 835"/>
                <a:gd name="T44" fmla="*/ 2147483647 w 462"/>
                <a:gd name="T45" fmla="*/ 2147483647 h 835"/>
                <a:gd name="T46" fmla="*/ 2147483647 w 462"/>
                <a:gd name="T47" fmla="*/ 2147483647 h 835"/>
                <a:gd name="T48" fmla="*/ 2147483647 w 462"/>
                <a:gd name="T49" fmla="*/ 2147483647 h 835"/>
                <a:gd name="T50" fmla="*/ 2147483647 w 462"/>
                <a:gd name="T51" fmla="*/ 2147483647 h 835"/>
                <a:gd name="T52" fmla="*/ 2147483647 w 462"/>
                <a:gd name="T53" fmla="*/ 2147483647 h 835"/>
                <a:gd name="T54" fmla="*/ 2147483647 w 462"/>
                <a:gd name="T55" fmla="*/ 2147483647 h 835"/>
                <a:gd name="T56" fmla="*/ 2147483647 w 462"/>
                <a:gd name="T57" fmla="*/ 2147483647 h 835"/>
                <a:gd name="T58" fmla="*/ 2147483647 w 462"/>
                <a:gd name="T59" fmla="*/ 2147483647 h 835"/>
                <a:gd name="T60" fmla="*/ 2147483647 w 462"/>
                <a:gd name="T61" fmla="*/ 2147483647 h 835"/>
                <a:gd name="T62" fmla="*/ 2147483647 w 462"/>
                <a:gd name="T63" fmla="*/ 2147483647 h 835"/>
                <a:gd name="T64" fmla="*/ 2147483647 w 462"/>
                <a:gd name="T65" fmla="*/ 2147483647 h 835"/>
                <a:gd name="T66" fmla="*/ 2147483647 w 462"/>
                <a:gd name="T67" fmla="*/ 2147483647 h 835"/>
                <a:gd name="T68" fmla="*/ 2147483647 w 462"/>
                <a:gd name="T69" fmla="*/ 2147483647 h 835"/>
                <a:gd name="T70" fmla="*/ 2147483647 w 462"/>
                <a:gd name="T71" fmla="*/ 2147483647 h 835"/>
                <a:gd name="T72" fmla="*/ 2147483647 w 462"/>
                <a:gd name="T73" fmla="*/ 0 h 835"/>
                <a:gd name="T74" fmla="*/ 2147483647 w 462"/>
                <a:gd name="T75" fmla="*/ 2147483647 h 835"/>
                <a:gd name="T76" fmla="*/ 2147483647 w 462"/>
                <a:gd name="T77" fmla="*/ 2147483647 h 835"/>
                <a:gd name="T78" fmla="*/ 2147483647 w 462"/>
                <a:gd name="T79" fmla="*/ 2147483647 h 835"/>
                <a:gd name="T80" fmla="*/ 2147483647 w 462"/>
                <a:gd name="T81" fmla="*/ 2147483647 h 835"/>
                <a:gd name="T82" fmla="*/ 2147483647 w 462"/>
                <a:gd name="T83" fmla="*/ 2147483647 h 835"/>
                <a:gd name="T84" fmla="*/ 2147483647 w 462"/>
                <a:gd name="T85" fmla="*/ 2147483647 h 835"/>
                <a:gd name="T86" fmla="*/ 2147483647 w 462"/>
                <a:gd name="T87" fmla="*/ 2147483647 h 835"/>
                <a:gd name="T88" fmla="*/ 2147483647 w 462"/>
                <a:gd name="T89" fmla="*/ 2147483647 h 835"/>
                <a:gd name="T90" fmla="*/ 2147483647 w 462"/>
                <a:gd name="T91" fmla="*/ 2147483647 h 835"/>
                <a:gd name="T92" fmla="*/ 2147483647 w 462"/>
                <a:gd name="T93" fmla="*/ 2147483647 h 83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62" h="835">
                  <a:moveTo>
                    <a:pt x="0" y="323"/>
                  </a:moveTo>
                  <a:lnTo>
                    <a:pt x="31" y="334"/>
                  </a:lnTo>
                  <a:lnTo>
                    <a:pt x="18" y="344"/>
                  </a:lnTo>
                  <a:lnTo>
                    <a:pt x="31" y="367"/>
                  </a:lnTo>
                  <a:lnTo>
                    <a:pt x="74" y="367"/>
                  </a:lnTo>
                  <a:lnTo>
                    <a:pt x="80" y="388"/>
                  </a:lnTo>
                  <a:lnTo>
                    <a:pt x="111" y="367"/>
                  </a:lnTo>
                  <a:lnTo>
                    <a:pt x="99" y="367"/>
                  </a:lnTo>
                  <a:lnTo>
                    <a:pt x="105" y="422"/>
                  </a:lnTo>
                  <a:lnTo>
                    <a:pt x="43" y="467"/>
                  </a:lnTo>
                  <a:lnTo>
                    <a:pt x="24" y="522"/>
                  </a:lnTo>
                  <a:lnTo>
                    <a:pt x="43" y="522"/>
                  </a:lnTo>
                  <a:lnTo>
                    <a:pt x="31" y="534"/>
                  </a:lnTo>
                  <a:lnTo>
                    <a:pt x="43" y="545"/>
                  </a:lnTo>
                  <a:lnTo>
                    <a:pt x="69" y="557"/>
                  </a:lnTo>
                  <a:lnTo>
                    <a:pt x="55" y="590"/>
                  </a:lnTo>
                  <a:lnTo>
                    <a:pt x="61" y="611"/>
                  </a:lnTo>
                  <a:lnTo>
                    <a:pt x="74" y="611"/>
                  </a:lnTo>
                  <a:lnTo>
                    <a:pt x="99" y="557"/>
                  </a:lnTo>
                  <a:lnTo>
                    <a:pt x="87" y="590"/>
                  </a:lnTo>
                  <a:lnTo>
                    <a:pt x="99" y="645"/>
                  </a:lnTo>
                  <a:lnTo>
                    <a:pt x="93" y="668"/>
                  </a:lnTo>
                  <a:lnTo>
                    <a:pt x="119" y="634"/>
                  </a:lnTo>
                  <a:lnTo>
                    <a:pt x="137" y="668"/>
                  </a:lnTo>
                  <a:lnTo>
                    <a:pt x="143" y="645"/>
                  </a:lnTo>
                  <a:lnTo>
                    <a:pt x="149" y="668"/>
                  </a:lnTo>
                  <a:lnTo>
                    <a:pt x="175" y="645"/>
                  </a:lnTo>
                  <a:lnTo>
                    <a:pt x="143" y="747"/>
                  </a:lnTo>
                  <a:lnTo>
                    <a:pt x="119" y="768"/>
                  </a:lnTo>
                  <a:lnTo>
                    <a:pt x="119" y="791"/>
                  </a:lnTo>
                  <a:lnTo>
                    <a:pt x="93" y="791"/>
                  </a:lnTo>
                  <a:lnTo>
                    <a:pt x="69" y="835"/>
                  </a:lnTo>
                  <a:lnTo>
                    <a:pt x="99" y="801"/>
                  </a:lnTo>
                  <a:lnTo>
                    <a:pt x="124" y="801"/>
                  </a:lnTo>
                  <a:lnTo>
                    <a:pt x="143" y="778"/>
                  </a:lnTo>
                  <a:lnTo>
                    <a:pt x="137" y="757"/>
                  </a:lnTo>
                  <a:lnTo>
                    <a:pt x="156" y="757"/>
                  </a:lnTo>
                  <a:lnTo>
                    <a:pt x="211" y="678"/>
                  </a:lnTo>
                  <a:lnTo>
                    <a:pt x="225" y="657"/>
                  </a:lnTo>
                  <a:lnTo>
                    <a:pt x="211" y="634"/>
                  </a:lnTo>
                  <a:lnTo>
                    <a:pt x="268" y="534"/>
                  </a:lnTo>
                  <a:lnTo>
                    <a:pt x="275" y="490"/>
                  </a:lnTo>
                  <a:lnTo>
                    <a:pt x="268" y="534"/>
                  </a:lnTo>
                  <a:lnTo>
                    <a:pt x="286" y="522"/>
                  </a:lnTo>
                  <a:lnTo>
                    <a:pt x="275" y="545"/>
                  </a:lnTo>
                  <a:lnTo>
                    <a:pt x="294" y="557"/>
                  </a:lnTo>
                  <a:lnTo>
                    <a:pt x="255" y="557"/>
                  </a:lnTo>
                  <a:lnTo>
                    <a:pt x="249" y="611"/>
                  </a:lnTo>
                  <a:lnTo>
                    <a:pt x="262" y="601"/>
                  </a:lnTo>
                  <a:lnTo>
                    <a:pt x="249" y="634"/>
                  </a:lnTo>
                  <a:lnTo>
                    <a:pt x="299" y="601"/>
                  </a:lnTo>
                  <a:lnTo>
                    <a:pt x="305" y="566"/>
                  </a:lnTo>
                  <a:lnTo>
                    <a:pt x="299" y="557"/>
                  </a:lnTo>
                  <a:lnTo>
                    <a:pt x="312" y="534"/>
                  </a:lnTo>
                  <a:lnTo>
                    <a:pt x="305" y="557"/>
                  </a:lnTo>
                  <a:lnTo>
                    <a:pt x="331" y="545"/>
                  </a:lnTo>
                  <a:lnTo>
                    <a:pt x="324" y="566"/>
                  </a:lnTo>
                  <a:lnTo>
                    <a:pt x="368" y="601"/>
                  </a:lnTo>
                  <a:lnTo>
                    <a:pt x="431" y="611"/>
                  </a:lnTo>
                  <a:lnTo>
                    <a:pt x="438" y="590"/>
                  </a:lnTo>
                  <a:lnTo>
                    <a:pt x="450" y="601"/>
                  </a:lnTo>
                  <a:lnTo>
                    <a:pt x="438" y="624"/>
                  </a:lnTo>
                  <a:lnTo>
                    <a:pt x="456" y="645"/>
                  </a:lnTo>
                  <a:lnTo>
                    <a:pt x="462" y="624"/>
                  </a:lnTo>
                  <a:lnTo>
                    <a:pt x="443" y="590"/>
                  </a:lnTo>
                  <a:lnTo>
                    <a:pt x="419" y="590"/>
                  </a:lnTo>
                  <a:lnTo>
                    <a:pt x="419" y="100"/>
                  </a:lnTo>
                  <a:lnTo>
                    <a:pt x="249" y="56"/>
                  </a:lnTo>
                  <a:lnTo>
                    <a:pt x="244" y="33"/>
                  </a:lnTo>
                  <a:lnTo>
                    <a:pt x="199" y="10"/>
                  </a:lnTo>
                  <a:lnTo>
                    <a:pt x="193" y="33"/>
                  </a:lnTo>
                  <a:lnTo>
                    <a:pt x="180" y="33"/>
                  </a:lnTo>
                  <a:lnTo>
                    <a:pt x="193" y="10"/>
                  </a:lnTo>
                  <a:lnTo>
                    <a:pt x="175" y="0"/>
                  </a:lnTo>
                  <a:lnTo>
                    <a:pt x="156" y="33"/>
                  </a:lnTo>
                  <a:lnTo>
                    <a:pt x="124" y="33"/>
                  </a:lnTo>
                  <a:lnTo>
                    <a:pt x="124" y="67"/>
                  </a:lnTo>
                  <a:lnTo>
                    <a:pt x="124" y="44"/>
                  </a:lnTo>
                  <a:lnTo>
                    <a:pt x="93" y="67"/>
                  </a:lnTo>
                  <a:lnTo>
                    <a:pt x="99" y="88"/>
                  </a:lnTo>
                  <a:lnTo>
                    <a:pt x="87" y="77"/>
                  </a:lnTo>
                  <a:lnTo>
                    <a:pt x="69" y="121"/>
                  </a:lnTo>
                  <a:lnTo>
                    <a:pt x="24" y="144"/>
                  </a:lnTo>
                  <a:lnTo>
                    <a:pt x="31" y="167"/>
                  </a:lnTo>
                  <a:lnTo>
                    <a:pt x="18" y="167"/>
                  </a:lnTo>
                  <a:lnTo>
                    <a:pt x="69" y="234"/>
                  </a:lnTo>
                  <a:lnTo>
                    <a:pt x="130" y="278"/>
                  </a:lnTo>
                  <a:lnTo>
                    <a:pt x="93" y="267"/>
                  </a:lnTo>
                  <a:lnTo>
                    <a:pt x="93" y="290"/>
                  </a:lnTo>
                  <a:lnTo>
                    <a:pt x="105" y="290"/>
                  </a:lnTo>
                  <a:lnTo>
                    <a:pt x="93" y="300"/>
                  </a:lnTo>
                  <a:lnTo>
                    <a:pt x="69" y="290"/>
                  </a:lnTo>
                  <a:lnTo>
                    <a:pt x="69" y="267"/>
                  </a:lnTo>
                  <a:lnTo>
                    <a:pt x="50" y="267"/>
                  </a:lnTo>
                  <a:lnTo>
                    <a:pt x="0" y="3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33" name="Freeform 789"/>
            <p:cNvSpPr>
              <a:spLocks/>
            </p:cNvSpPr>
            <p:nvPr>
              <p:custDataLst>
                <p:tags r:id="rId641"/>
              </p:custDataLst>
            </p:nvPr>
          </p:nvSpPr>
          <p:spPr bwMode="auto">
            <a:xfrm>
              <a:off x="946671" y="2588819"/>
              <a:ext cx="856090" cy="663575"/>
            </a:xfrm>
            <a:custGeom>
              <a:avLst/>
              <a:gdLst>
                <a:gd name="T0" fmla="*/ 2147483647 w 462"/>
                <a:gd name="T1" fmla="*/ 2147483647 h 835"/>
                <a:gd name="T2" fmla="*/ 2147483647 w 462"/>
                <a:gd name="T3" fmla="*/ 2147483647 h 835"/>
                <a:gd name="T4" fmla="*/ 2147483647 w 462"/>
                <a:gd name="T5" fmla="*/ 2147483647 h 835"/>
                <a:gd name="T6" fmla="*/ 2147483647 w 462"/>
                <a:gd name="T7" fmla="*/ 2147483647 h 835"/>
                <a:gd name="T8" fmla="*/ 2147483647 w 462"/>
                <a:gd name="T9" fmla="*/ 2147483647 h 835"/>
                <a:gd name="T10" fmla="*/ 2147483647 w 462"/>
                <a:gd name="T11" fmla="*/ 2147483647 h 835"/>
                <a:gd name="T12" fmla="*/ 2147483647 w 462"/>
                <a:gd name="T13" fmla="*/ 2147483647 h 835"/>
                <a:gd name="T14" fmla="*/ 2147483647 w 462"/>
                <a:gd name="T15" fmla="*/ 2147483647 h 835"/>
                <a:gd name="T16" fmla="*/ 2147483647 w 462"/>
                <a:gd name="T17" fmla="*/ 2147483647 h 835"/>
                <a:gd name="T18" fmla="*/ 2147483647 w 462"/>
                <a:gd name="T19" fmla="*/ 2147483647 h 835"/>
                <a:gd name="T20" fmla="*/ 2147483647 w 462"/>
                <a:gd name="T21" fmla="*/ 2147483647 h 835"/>
                <a:gd name="T22" fmla="*/ 2147483647 w 462"/>
                <a:gd name="T23" fmla="*/ 2147483647 h 835"/>
                <a:gd name="T24" fmla="*/ 2147483647 w 462"/>
                <a:gd name="T25" fmla="*/ 2147483647 h 835"/>
                <a:gd name="T26" fmla="*/ 2147483647 w 462"/>
                <a:gd name="T27" fmla="*/ 2147483647 h 835"/>
                <a:gd name="T28" fmla="*/ 2147483647 w 462"/>
                <a:gd name="T29" fmla="*/ 2147483647 h 835"/>
                <a:gd name="T30" fmla="*/ 2147483647 w 462"/>
                <a:gd name="T31" fmla="*/ 2147483647 h 835"/>
                <a:gd name="T32" fmla="*/ 2147483647 w 462"/>
                <a:gd name="T33" fmla="*/ 2147483647 h 835"/>
                <a:gd name="T34" fmla="*/ 2147483647 w 462"/>
                <a:gd name="T35" fmla="*/ 2147483647 h 835"/>
                <a:gd name="T36" fmla="*/ 2147483647 w 462"/>
                <a:gd name="T37" fmla="*/ 2147483647 h 835"/>
                <a:gd name="T38" fmla="*/ 2147483647 w 462"/>
                <a:gd name="T39" fmla="*/ 2147483647 h 835"/>
                <a:gd name="T40" fmla="*/ 2147483647 w 462"/>
                <a:gd name="T41" fmla="*/ 2147483647 h 835"/>
                <a:gd name="T42" fmla="*/ 2147483647 w 462"/>
                <a:gd name="T43" fmla="*/ 2147483647 h 835"/>
                <a:gd name="T44" fmla="*/ 2147483647 w 462"/>
                <a:gd name="T45" fmla="*/ 2147483647 h 835"/>
                <a:gd name="T46" fmla="*/ 2147483647 w 462"/>
                <a:gd name="T47" fmla="*/ 2147483647 h 835"/>
                <a:gd name="T48" fmla="*/ 2147483647 w 462"/>
                <a:gd name="T49" fmla="*/ 2147483647 h 835"/>
                <a:gd name="T50" fmla="*/ 2147483647 w 462"/>
                <a:gd name="T51" fmla="*/ 2147483647 h 835"/>
                <a:gd name="T52" fmla="*/ 2147483647 w 462"/>
                <a:gd name="T53" fmla="*/ 2147483647 h 835"/>
                <a:gd name="T54" fmla="*/ 2147483647 w 462"/>
                <a:gd name="T55" fmla="*/ 2147483647 h 835"/>
                <a:gd name="T56" fmla="*/ 2147483647 w 462"/>
                <a:gd name="T57" fmla="*/ 2147483647 h 835"/>
                <a:gd name="T58" fmla="*/ 2147483647 w 462"/>
                <a:gd name="T59" fmla="*/ 2147483647 h 835"/>
                <a:gd name="T60" fmla="*/ 2147483647 w 462"/>
                <a:gd name="T61" fmla="*/ 2147483647 h 835"/>
                <a:gd name="T62" fmla="*/ 2147483647 w 462"/>
                <a:gd name="T63" fmla="*/ 2147483647 h 835"/>
                <a:gd name="T64" fmla="*/ 2147483647 w 462"/>
                <a:gd name="T65" fmla="*/ 2147483647 h 835"/>
                <a:gd name="T66" fmla="*/ 2147483647 w 462"/>
                <a:gd name="T67" fmla="*/ 2147483647 h 835"/>
                <a:gd name="T68" fmla="*/ 2147483647 w 462"/>
                <a:gd name="T69" fmla="*/ 2147483647 h 835"/>
                <a:gd name="T70" fmla="*/ 2147483647 w 462"/>
                <a:gd name="T71" fmla="*/ 2147483647 h 835"/>
                <a:gd name="T72" fmla="*/ 2147483647 w 462"/>
                <a:gd name="T73" fmla="*/ 0 h 835"/>
                <a:gd name="T74" fmla="*/ 2147483647 w 462"/>
                <a:gd name="T75" fmla="*/ 2147483647 h 835"/>
                <a:gd name="T76" fmla="*/ 2147483647 w 462"/>
                <a:gd name="T77" fmla="*/ 2147483647 h 835"/>
                <a:gd name="T78" fmla="*/ 2147483647 w 462"/>
                <a:gd name="T79" fmla="*/ 2147483647 h 835"/>
                <a:gd name="T80" fmla="*/ 2147483647 w 462"/>
                <a:gd name="T81" fmla="*/ 2147483647 h 835"/>
                <a:gd name="T82" fmla="*/ 2147483647 w 462"/>
                <a:gd name="T83" fmla="*/ 2147483647 h 835"/>
                <a:gd name="T84" fmla="*/ 2147483647 w 462"/>
                <a:gd name="T85" fmla="*/ 2147483647 h 835"/>
                <a:gd name="T86" fmla="*/ 2147483647 w 462"/>
                <a:gd name="T87" fmla="*/ 2147483647 h 835"/>
                <a:gd name="T88" fmla="*/ 2147483647 w 462"/>
                <a:gd name="T89" fmla="*/ 2147483647 h 835"/>
                <a:gd name="T90" fmla="*/ 2147483647 w 462"/>
                <a:gd name="T91" fmla="*/ 2147483647 h 835"/>
                <a:gd name="T92" fmla="*/ 2147483647 w 462"/>
                <a:gd name="T93" fmla="*/ 2147483647 h 83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62" h="835">
                  <a:moveTo>
                    <a:pt x="0" y="323"/>
                  </a:moveTo>
                  <a:lnTo>
                    <a:pt x="31" y="334"/>
                  </a:lnTo>
                  <a:lnTo>
                    <a:pt x="18" y="344"/>
                  </a:lnTo>
                  <a:lnTo>
                    <a:pt x="31" y="367"/>
                  </a:lnTo>
                  <a:lnTo>
                    <a:pt x="74" y="367"/>
                  </a:lnTo>
                  <a:lnTo>
                    <a:pt x="80" y="388"/>
                  </a:lnTo>
                  <a:lnTo>
                    <a:pt x="111" y="367"/>
                  </a:lnTo>
                  <a:lnTo>
                    <a:pt x="99" y="367"/>
                  </a:lnTo>
                  <a:lnTo>
                    <a:pt x="105" y="422"/>
                  </a:lnTo>
                  <a:lnTo>
                    <a:pt x="43" y="467"/>
                  </a:lnTo>
                  <a:lnTo>
                    <a:pt x="24" y="522"/>
                  </a:lnTo>
                  <a:lnTo>
                    <a:pt x="43" y="522"/>
                  </a:lnTo>
                  <a:lnTo>
                    <a:pt x="31" y="534"/>
                  </a:lnTo>
                  <a:lnTo>
                    <a:pt x="43" y="545"/>
                  </a:lnTo>
                  <a:lnTo>
                    <a:pt x="69" y="557"/>
                  </a:lnTo>
                  <a:lnTo>
                    <a:pt x="55" y="590"/>
                  </a:lnTo>
                  <a:lnTo>
                    <a:pt x="61" y="611"/>
                  </a:lnTo>
                  <a:lnTo>
                    <a:pt x="74" y="611"/>
                  </a:lnTo>
                  <a:lnTo>
                    <a:pt x="99" y="557"/>
                  </a:lnTo>
                  <a:lnTo>
                    <a:pt x="87" y="590"/>
                  </a:lnTo>
                  <a:lnTo>
                    <a:pt x="99" y="645"/>
                  </a:lnTo>
                  <a:lnTo>
                    <a:pt x="93" y="668"/>
                  </a:lnTo>
                  <a:lnTo>
                    <a:pt x="119" y="634"/>
                  </a:lnTo>
                  <a:lnTo>
                    <a:pt x="137" y="668"/>
                  </a:lnTo>
                  <a:lnTo>
                    <a:pt x="143" y="645"/>
                  </a:lnTo>
                  <a:lnTo>
                    <a:pt x="149" y="668"/>
                  </a:lnTo>
                  <a:lnTo>
                    <a:pt x="175" y="645"/>
                  </a:lnTo>
                  <a:lnTo>
                    <a:pt x="143" y="747"/>
                  </a:lnTo>
                  <a:lnTo>
                    <a:pt x="119" y="768"/>
                  </a:lnTo>
                  <a:lnTo>
                    <a:pt x="119" y="791"/>
                  </a:lnTo>
                  <a:lnTo>
                    <a:pt x="93" y="791"/>
                  </a:lnTo>
                  <a:lnTo>
                    <a:pt x="69" y="835"/>
                  </a:lnTo>
                  <a:lnTo>
                    <a:pt x="99" y="801"/>
                  </a:lnTo>
                  <a:lnTo>
                    <a:pt x="124" y="801"/>
                  </a:lnTo>
                  <a:lnTo>
                    <a:pt x="143" y="778"/>
                  </a:lnTo>
                  <a:lnTo>
                    <a:pt x="137" y="757"/>
                  </a:lnTo>
                  <a:lnTo>
                    <a:pt x="156" y="757"/>
                  </a:lnTo>
                  <a:lnTo>
                    <a:pt x="211" y="678"/>
                  </a:lnTo>
                  <a:lnTo>
                    <a:pt x="225" y="657"/>
                  </a:lnTo>
                  <a:lnTo>
                    <a:pt x="211" y="634"/>
                  </a:lnTo>
                  <a:lnTo>
                    <a:pt x="268" y="534"/>
                  </a:lnTo>
                  <a:lnTo>
                    <a:pt x="275" y="490"/>
                  </a:lnTo>
                  <a:lnTo>
                    <a:pt x="268" y="534"/>
                  </a:lnTo>
                  <a:lnTo>
                    <a:pt x="286" y="522"/>
                  </a:lnTo>
                  <a:lnTo>
                    <a:pt x="275" y="545"/>
                  </a:lnTo>
                  <a:lnTo>
                    <a:pt x="294" y="557"/>
                  </a:lnTo>
                  <a:lnTo>
                    <a:pt x="255" y="557"/>
                  </a:lnTo>
                  <a:lnTo>
                    <a:pt x="249" y="611"/>
                  </a:lnTo>
                  <a:lnTo>
                    <a:pt x="262" y="601"/>
                  </a:lnTo>
                  <a:lnTo>
                    <a:pt x="249" y="634"/>
                  </a:lnTo>
                  <a:lnTo>
                    <a:pt x="299" y="601"/>
                  </a:lnTo>
                  <a:lnTo>
                    <a:pt x="305" y="566"/>
                  </a:lnTo>
                  <a:lnTo>
                    <a:pt x="299" y="557"/>
                  </a:lnTo>
                  <a:lnTo>
                    <a:pt x="312" y="534"/>
                  </a:lnTo>
                  <a:lnTo>
                    <a:pt x="305" y="557"/>
                  </a:lnTo>
                  <a:lnTo>
                    <a:pt x="331" y="545"/>
                  </a:lnTo>
                  <a:lnTo>
                    <a:pt x="324" y="566"/>
                  </a:lnTo>
                  <a:lnTo>
                    <a:pt x="368" y="601"/>
                  </a:lnTo>
                  <a:lnTo>
                    <a:pt x="431" y="611"/>
                  </a:lnTo>
                  <a:lnTo>
                    <a:pt x="438" y="590"/>
                  </a:lnTo>
                  <a:lnTo>
                    <a:pt x="450" y="601"/>
                  </a:lnTo>
                  <a:lnTo>
                    <a:pt x="438" y="624"/>
                  </a:lnTo>
                  <a:lnTo>
                    <a:pt x="456" y="645"/>
                  </a:lnTo>
                  <a:lnTo>
                    <a:pt x="462" y="624"/>
                  </a:lnTo>
                  <a:lnTo>
                    <a:pt x="443" y="590"/>
                  </a:lnTo>
                  <a:lnTo>
                    <a:pt x="419" y="590"/>
                  </a:lnTo>
                  <a:lnTo>
                    <a:pt x="419" y="100"/>
                  </a:lnTo>
                  <a:lnTo>
                    <a:pt x="249" y="56"/>
                  </a:lnTo>
                  <a:lnTo>
                    <a:pt x="244" y="33"/>
                  </a:lnTo>
                  <a:lnTo>
                    <a:pt x="199" y="10"/>
                  </a:lnTo>
                  <a:lnTo>
                    <a:pt x="193" y="33"/>
                  </a:lnTo>
                  <a:lnTo>
                    <a:pt x="180" y="33"/>
                  </a:lnTo>
                  <a:lnTo>
                    <a:pt x="193" y="10"/>
                  </a:lnTo>
                  <a:lnTo>
                    <a:pt x="175" y="0"/>
                  </a:lnTo>
                  <a:lnTo>
                    <a:pt x="156" y="33"/>
                  </a:lnTo>
                  <a:lnTo>
                    <a:pt x="124" y="33"/>
                  </a:lnTo>
                  <a:lnTo>
                    <a:pt x="124" y="67"/>
                  </a:lnTo>
                  <a:lnTo>
                    <a:pt x="124" y="44"/>
                  </a:lnTo>
                  <a:lnTo>
                    <a:pt x="93" y="67"/>
                  </a:lnTo>
                  <a:lnTo>
                    <a:pt x="99" y="88"/>
                  </a:lnTo>
                  <a:lnTo>
                    <a:pt x="87" y="77"/>
                  </a:lnTo>
                  <a:lnTo>
                    <a:pt x="69" y="121"/>
                  </a:lnTo>
                  <a:lnTo>
                    <a:pt x="24" y="144"/>
                  </a:lnTo>
                  <a:lnTo>
                    <a:pt x="31" y="167"/>
                  </a:lnTo>
                  <a:lnTo>
                    <a:pt x="18" y="167"/>
                  </a:lnTo>
                  <a:lnTo>
                    <a:pt x="69" y="234"/>
                  </a:lnTo>
                  <a:lnTo>
                    <a:pt x="130" y="278"/>
                  </a:lnTo>
                  <a:lnTo>
                    <a:pt x="93" y="267"/>
                  </a:lnTo>
                  <a:lnTo>
                    <a:pt x="93" y="290"/>
                  </a:lnTo>
                  <a:lnTo>
                    <a:pt x="105" y="290"/>
                  </a:lnTo>
                  <a:lnTo>
                    <a:pt x="93" y="300"/>
                  </a:lnTo>
                  <a:lnTo>
                    <a:pt x="69" y="290"/>
                  </a:lnTo>
                  <a:lnTo>
                    <a:pt x="69" y="267"/>
                  </a:lnTo>
                  <a:lnTo>
                    <a:pt x="50" y="267"/>
                  </a:lnTo>
                  <a:lnTo>
                    <a:pt x="0" y="3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34" name="Freeform 790"/>
            <p:cNvSpPr>
              <a:spLocks/>
            </p:cNvSpPr>
            <p:nvPr>
              <p:custDataLst>
                <p:tags r:id="rId642"/>
              </p:custDataLst>
            </p:nvPr>
          </p:nvSpPr>
          <p:spPr bwMode="auto">
            <a:xfrm>
              <a:off x="946671" y="2588819"/>
              <a:ext cx="856090" cy="663575"/>
            </a:xfrm>
            <a:custGeom>
              <a:avLst/>
              <a:gdLst>
                <a:gd name="T0" fmla="*/ 2147483647 w 462"/>
                <a:gd name="T1" fmla="*/ 2147483647 h 835"/>
                <a:gd name="T2" fmla="*/ 2147483647 w 462"/>
                <a:gd name="T3" fmla="*/ 2147483647 h 835"/>
                <a:gd name="T4" fmla="*/ 2147483647 w 462"/>
                <a:gd name="T5" fmla="*/ 2147483647 h 835"/>
                <a:gd name="T6" fmla="*/ 2147483647 w 462"/>
                <a:gd name="T7" fmla="*/ 2147483647 h 835"/>
                <a:gd name="T8" fmla="*/ 2147483647 w 462"/>
                <a:gd name="T9" fmla="*/ 2147483647 h 835"/>
                <a:gd name="T10" fmla="*/ 2147483647 w 462"/>
                <a:gd name="T11" fmla="*/ 2147483647 h 835"/>
                <a:gd name="T12" fmla="*/ 2147483647 w 462"/>
                <a:gd name="T13" fmla="*/ 2147483647 h 835"/>
                <a:gd name="T14" fmla="*/ 2147483647 w 462"/>
                <a:gd name="T15" fmla="*/ 2147483647 h 835"/>
                <a:gd name="T16" fmla="*/ 2147483647 w 462"/>
                <a:gd name="T17" fmla="*/ 2147483647 h 835"/>
                <a:gd name="T18" fmla="*/ 2147483647 w 462"/>
                <a:gd name="T19" fmla="*/ 2147483647 h 835"/>
                <a:gd name="T20" fmla="*/ 2147483647 w 462"/>
                <a:gd name="T21" fmla="*/ 2147483647 h 835"/>
                <a:gd name="T22" fmla="*/ 2147483647 w 462"/>
                <a:gd name="T23" fmla="*/ 2147483647 h 835"/>
                <a:gd name="T24" fmla="*/ 2147483647 w 462"/>
                <a:gd name="T25" fmla="*/ 2147483647 h 835"/>
                <a:gd name="T26" fmla="*/ 2147483647 w 462"/>
                <a:gd name="T27" fmla="*/ 2147483647 h 835"/>
                <a:gd name="T28" fmla="*/ 2147483647 w 462"/>
                <a:gd name="T29" fmla="*/ 2147483647 h 835"/>
                <a:gd name="T30" fmla="*/ 2147483647 w 462"/>
                <a:gd name="T31" fmla="*/ 2147483647 h 835"/>
                <a:gd name="T32" fmla="*/ 2147483647 w 462"/>
                <a:gd name="T33" fmla="*/ 2147483647 h 835"/>
                <a:gd name="T34" fmla="*/ 2147483647 w 462"/>
                <a:gd name="T35" fmla="*/ 2147483647 h 835"/>
                <a:gd name="T36" fmla="*/ 2147483647 w 462"/>
                <a:gd name="T37" fmla="*/ 2147483647 h 835"/>
                <a:gd name="T38" fmla="*/ 2147483647 w 462"/>
                <a:gd name="T39" fmla="*/ 2147483647 h 835"/>
                <a:gd name="T40" fmla="*/ 2147483647 w 462"/>
                <a:gd name="T41" fmla="*/ 2147483647 h 835"/>
                <a:gd name="T42" fmla="*/ 2147483647 w 462"/>
                <a:gd name="T43" fmla="*/ 2147483647 h 835"/>
                <a:gd name="T44" fmla="*/ 2147483647 w 462"/>
                <a:gd name="T45" fmla="*/ 2147483647 h 835"/>
                <a:gd name="T46" fmla="*/ 2147483647 w 462"/>
                <a:gd name="T47" fmla="*/ 2147483647 h 835"/>
                <a:gd name="T48" fmla="*/ 2147483647 w 462"/>
                <a:gd name="T49" fmla="*/ 2147483647 h 835"/>
                <a:gd name="T50" fmla="*/ 2147483647 w 462"/>
                <a:gd name="T51" fmla="*/ 2147483647 h 835"/>
                <a:gd name="T52" fmla="*/ 2147483647 w 462"/>
                <a:gd name="T53" fmla="*/ 2147483647 h 835"/>
                <a:gd name="T54" fmla="*/ 2147483647 w 462"/>
                <a:gd name="T55" fmla="*/ 2147483647 h 835"/>
                <a:gd name="T56" fmla="*/ 2147483647 w 462"/>
                <a:gd name="T57" fmla="*/ 2147483647 h 835"/>
                <a:gd name="T58" fmla="*/ 2147483647 w 462"/>
                <a:gd name="T59" fmla="*/ 2147483647 h 835"/>
                <a:gd name="T60" fmla="*/ 2147483647 w 462"/>
                <a:gd name="T61" fmla="*/ 2147483647 h 835"/>
                <a:gd name="T62" fmla="*/ 2147483647 w 462"/>
                <a:gd name="T63" fmla="*/ 2147483647 h 835"/>
                <a:gd name="T64" fmla="*/ 2147483647 w 462"/>
                <a:gd name="T65" fmla="*/ 2147483647 h 835"/>
                <a:gd name="T66" fmla="*/ 2147483647 w 462"/>
                <a:gd name="T67" fmla="*/ 2147483647 h 835"/>
                <a:gd name="T68" fmla="*/ 2147483647 w 462"/>
                <a:gd name="T69" fmla="*/ 2147483647 h 835"/>
                <a:gd name="T70" fmla="*/ 2147483647 w 462"/>
                <a:gd name="T71" fmla="*/ 2147483647 h 835"/>
                <a:gd name="T72" fmla="*/ 2147483647 w 462"/>
                <a:gd name="T73" fmla="*/ 0 h 835"/>
                <a:gd name="T74" fmla="*/ 2147483647 w 462"/>
                <a:gd name="T75" fmla="*/ 2147483647 h 835"/>
                <a:gd name="T76" fmla="*/ 2147483647 w 462"/>
                <a:gd name="T77" fmla="*/ 2147483647 h 835"/>
                <a:gd name="T78" fmla="*/ 2147483647 w 462"/>
                <a:gd name="T79" fmla="*/ 2147483647 h 835"/>
                <a:gd name="T80" fmla="*/ 2147483647 w 462"/>
                <a:gd name="T81" fmla="*/ 2147483647 h 835"/>
                <a:gd name="T82" fmla="*/ 2147483647 w 462"/>
                <a:gd name="T83" fmla="*/ 2147483647 h 835"/>
                <a:gd name="T84" fmla="*/ 2147483647 w 462"/>
                <a:gd name="T85" fmla="*/ 2147483647 h 835"/>
                <a:gd name="T86" fmla="*/ 2147483647 w 462"/>
                <a:gd name="T87" fmla="*/ 2147483647 h 835"/>
                <a:gd name="T88" fmla="*/ 2147483647 w 462"/>
                <a:gd name="T89" fmla="*/ 2147483647 h 835"/>
                <a:gd name="T90" fmla="*/ 2147483647 w 462"/>
                <a:gd name="T91" fmla="*/ 2147483647 h 835"/>
                <a:gd name="T92" fmla="*/ 2147483647 w 462"/>
                <a:gd name="T93" fmla="*/ 2147483647 h 83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62" h="835">
                  <a:moveTo>
                    <a:pt x="0" y="323"/>
                  </a:moveTo>
                  <a:lnTo>
                    <a:pt x="31" y="334"/>
                  </a:lnTo>
                  <a:lnTo>
                    <a:pt x="18" y="344"/>
                  </a:lnTo>
                  <a:lnTo>
                    <a:pt x="31" y="367"/>
                  </a:lnTo>
                  <a:lnTo>
                    <a:pt x="74" y="367"/>
                  </a:lnTo>
                  <a:lnTo>
                    <a:pt x="80" y="388"/>
                  </a:lnTo>
                  <a:lnTo>
                    <a:pt x="111" y="367"/>
                  </a:lnTo>
                  <a:lnTo>
                    <a:pt x="99" y="367"/>
                  </a:lnTo>
                  <a:lnTo>
                    <a:pt x="105" y="422"/>
                  </a:lnTo>
                  <a:lnTo>
                    <a:pt x="43" y="467"/>
                  </a:lnTo>
                  <a:lnTo>
                    <a:pt x="24" y="522"/>
                  </a:lnTo>
                  <a:lnTo>
                    <a:pt x="43" y="522"/>
                  </a:lnTo>
                  <a:lnTo>
                    <a:pt x="31" y="534"/>
                  </a:lnTo>
                  <a:lnTo>
                    <a:pt x="43" y="545"/>
                  </a:lnTo>
                  <a:lnTo>
                    <a:pt x="69" y="557"/>
                  </a:lnTo>
                  <a:lnTo>
                    <a:pt x="55" y="590"/>
                  </a:lnTo>
                  <a:lnTo>
                    <a:pt x="61" y="611"/>
                  </a:lnTo>
                  <a:lnTo>
                    <a:pt x="74" y="611"/>
                  </a:lnTo>
                  <a:lnTo>
                    <a:pt x="99" y="557"/>
                  </a:lnTo>
                  <a:lnTo>
                    <a:pt x="87" y="590"/>
                  </a:lnTo>
                  <a:lnTo>
                    <a:pt x="99" y="645"/>
                  </a:lnTo>
                  <a:lnTo>
                    <a:pt x="93" y="668"/>
                  </a:lnTo>
                  <a:lnTo>
                    <a:pt x="119" y="634"/>
                  </a:lnTo>
                  <a:lnTo>
                    <a:pt x="137" y="668"/>
                  </a:lnTo>
                  <a:lnTo>
                    <a:pt x="143" y="645"/>
                  </a:lnTo>
                  <a:lnTo>
                    <a:pt x="149" y="668"/>
                  </a:lnTo>
                  <a:lnTo>
                    <a:pt x="175" y="645"/>
                  </a:lnTo>
                  <a:lnTo>
                    <a:pt x="143" y="747"/>
                  </a:lnTo>
                  <a:lnTo>
                    <a:pt x="119" y="768"/>
                  </a:lnTo>
                  <a:lnTo>
                    <a:pt x="119" y="791"/>
                  </a:lnTo>
                  <a:lnTo>
                    <a:pt x="93" y="791"/>
                  </a:lnTo>
                  <a:lnTo>
                    <a:pt x="69" y="835"/>
                  </a:lnTo>
                  <a:lnTo>
                    <a:pt x="99" y="801"/>
                  </a:lnTo>
                  <a:lnTo>
                    <a:pt x="124" y="801"/>
                  </a:lnTo>
                  <a:lnTo>
                    <a:pt x="143" y="778"/>
                  </a:lnTo>
                  <a:lnTo>
                    <a:pt x="137" y="757"/>
                  </a:lnTo>
                  <a:lnTo>
                    <a:pt x="156" y="757"/>
                  </a:lnTo>
                  <a:lnTo>
                    <a:pt x="211" y="678"/>
                  </a:lnTo>
                  <a:lnTo>
                    <a:pt x="225" y="657"/>
                  </a:lnTo>
                  <a:lnTo>
                    <a:pt x="211" y="634"/>
                  </a:lnTo>
                  <a:lnTo>
                    <a:pt x="268" y="534"/>
                  </a:lnTo>
                  <a:lnTo>
                    <a:pt x="275" y="490"/>
                  </a:lnTo>
                  <a:lnTo>
                    <a:pt x="268" y="534"/>
                  </a:lnTo>
                  <a:lnTo>
                    <a:pt x="286" y="522"/>
                  </a:lnTo>
                  <a:lnTo>
                    <a:pt x="275" y="545"/>
                  </a:lnTo>
                  <a:lnTo>
                    <a:pt x="294" y="557"/>
                  </a:lnTo>
                  <a:lnTo>
                    <a:pt x="255" y="557"/>
                  </a:lnTo>
                  <a:lnTo>
                    <a:pt x="249" y="611"/>
                  </a:lnTo>
                  <a:lnTo>
                    <a:pt x="262" y="601"/>
                  </a:lnTo>
                  <a:lnTo>
                    <a:pt x="249" y="634"/>
                  </a:lnTo>
                  <a:lnTo>
                    <a:pt x="299" y="601"/>
                  </a:lnTo>
                  <a:lnTo>
                    <a:pt x="305" y="566"/>
                  </a:lnTo>
                  <a:lnTo>
                    <a:pt x="299" y="557"/>
                  </a:lnTo>
                  <a:lnTo>
                    <a:pt x="312" y="534"/>
                  </a:lnTo>
                  <a:lnTo>
                    <a:pt x="305" y="557"/>
                  </a:lnTo>
                  <a:lnTo>
                    <a:pt x="331" y="545"/>
                  </a:lnTo>
                  <a:lnTo>
                    <a:pt x="324" y="566"/>
                  </a:lnTo>
                  <a:lnTo>
                    <a:pt x="368" y="601"/>
                  </a:lnTo>
                  <a:lnTo>
                    <a:pt x="431" y="611"/>
                  </a:lnTo>
                  <a:lnTo>
                    <a:pt x="438" y="590"/>
                  </a:lnTo>
                  <a:lnTo>
                    <a:pt x="450" y="601"/>
                  </a:lnTo>
                  <a:lnTo>
                    <a:pt x="438" y="624"/>
                  </a:lnTo>
                  <a:lnTo>
                    <a:pt x="456" y="645"/>
                  </a:lnTo>
                  <a:lnTo>
                    <a:pt x="462" y="624"/>
                  </a:lnTo>
                  <a:lnTo>
                    <a:pt x="443" y="590"/>
                  </a:lnTo>
                  <a:lnTo>
                    <a:pt x="419" y="590"/>
                  </a:lnTo>
                  <a:lnTo>
                    <a:pt x="419" y="100"/>
                  </a:lnTo>
                  <a:lnTo>
                    <a:pt x="249" y="56"/>
                  </a:lnTo>
                  <a:lnTo>
                    <a:pt x="244" y="33"/>
                  </a:lnTo>
                  <a:lnTo>
                    <a:pt x="199" y="10"/>
                  </a:lnTo>
                  <a:lnTo>
                    <a:pt x="193" y="33"/>
                  </a:lnTo>
                  <a:lnTo>
                    <a:pt x="180" y="33"/>
                  </a:lnTo>
                  <a:lnTo>
                    <a:pt x="193" y="10"/>
                  </a:lnTo>
                  <a:lnTo>
                    <a:pt x="175" y="0"/>
                  </a:lnTo>
                  <a:lnTo>
                    <a:pt x="156" y="33"/>
                  </a:lnTo>
                  <a:lnTo>
                    <a:pt x="124" y="33"/>
                  </a:lnTo>
                  <a:lnTo>
                    <a:pt x="124" y="67"/>
                  </a:lnTo>
                  <a:lnTo>
                    <a:pt x="124" y="44"/>
                  </a:lnTo>
                  <a:lnTo>
                    <a:pt x="93" y="67"/>
                  </a:lnTo>
                  <a:lnTo>
                    <a:pt x="99" y="88"/>
                  </a:lnTo>
                  <a:lnTo>
                    <a:pt x="87" y="77"/>
                  </a:lnTo>
                  <a:lnTo>
                    <a:pt x="69" y="121"/>
                  </a:lnTo>
                  <a:lnTo>
                    <a:pt x="24" y="144"/>
                  </a:lnTo>
                  <a:lnTo>
                    <a:pt x="31" y="167"/>
                  </a:lnTo>
                  <a:lnTo>
                    <a:pt x="18" y="167"/>
                  </a:lnTo>
                  <a:lnTo>
                    <a:pt x="69" y="234"/>
                  </a:lnTo>
                  <a:lnTo>
                    <a:pt x="130" y="278"/>
                  </a:lnTo>
                  <a:lnTo>
                    <a:pt x="93" y="267"/>
                  </a:lnTo>
                  <a:lnTo>
                    <a:pt x="93" y="290"/>
                  </a:lnTo>
                  <a:lnTo>
                    <a:pt x="105" y="290"/>
                  </a:lnTo>
                  <a:lnTo>
                    <a:pt x="93" y="300"/>
                  </a:lnTo>
                  <a:lnTo>
                    <a:pt x="69" y="290"/>
                  </a:lnTo>
                  <a:lnTo>
                    <a:pt x="69" y="267"/>
                  </a:lnTo>
                  <a:lnTo>
                    <a:pt x="50" y="267"/>
                  </a:lnTo>
                  <a:lnTo>
                    <a:pt x="0" y="3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35" name="Freeform 791"/>
            <p:cNvSpPr>
              <a:spLocks/>
            </p:cNvSpPr>
            <p:nvPr>
              <p:custDataLst>
                <p:tags r:id="rId643"/>
              </p:custDataLst>
            </p:nvPr>
          </p:nvSpPr>
          <p:spPr bwMode="auto">
            <a:xfrm>
              <a:off x="946671" y="2588819"/>
              <a:ext cx="856090" cy="663575"/>
            </a:xfrm>
            <a:custGeom>
              <a:avLst/>
              <a:gdLst>
                <a:gd name="T0" fmla="*/ 2147483647 w 462"/>
                <a:gd name="T1" fmla="*/ 2147483647 h 835"/>
                <a:gd name="T2" fmla="*/ 2147483647 w 462"/>
                <a:gd name="T3" fmla="*/ 2147483647 h 835"/>
                <a:gd name="T4" fmla="*/ 2147483647 w 462"/>
                <a:gd name="T5" fmla="*/ 2147483647 h 835"/>
                <a:gd name="T6" fmla="*/ 2147483647 w 462"/>
                <a:gd name="T7" fmla="*/ 2147483647 h 835"/>
                <a:gd name="T8" fmla="*/ 2147483647 w 462"/>
                <a:gd name="T9" fmla="*/ 2147483647 h 835"/>
                <a:gd name="T10" fmla="*/ 2147483647 w 462"/>
                <a:gd name="T11" fmla="*/ 2147483647 h 835"/>
                <a:gd name="T12" fmla="*/ 2147483647 w 462"/>
                <a:gd name="T13" fmla="*/ 2147483647 h 835"/>
                <a:gd name="T14" fmla="*/ 2147483647 w 462"/>
                <a:gd name="T15" fmla="*/ 2147483647 h 835"/>
                <a:gd name="T16" fmla="*/ 2147483647 w 462"/>
                <a:gd name="T17" fmla="*/ 2147483647 h 835"/>
                <a:gd name="T18" fmla="*/ 2147483647 w 462"/>
                <a:gd name="T19" fmla="*/ 2147483647 h 835"/>
                <a:gd name="T20" fmla="*/ 2147483647 w 462"/>
                <a:gd name="T21" fmla="*/ 2147483647 h 835"/>
                <a:gd name="T22" fmla="*/ 2147483647 w 462"/>
                <a:gd name="T23" fmla="*/ 2147483647 h 835"/>
                <a:gd name="T24" fmla="*/ 2147483647 w 462"/>
                <a:gd name="T25" fmla="*/ 2147483647 h 835"/>
                <a:gd name="T26" fmla="*/ 2147483647 w 462"/>
                <a:gd name="T27" fmla="*/ 2147483647 h 835"/>
                <a:gd name="T28" fmla="*/ 2147483647 w 462"/>
                <a:gd name="T29" fmla="*/ 2147483647 h 835"/>
                <a:gd name="T30" fmla="*/ 2147483647 w 462"/>
                <a:gd name="T31" fmla="*/ 2147483647 h 835"/>
                <a:gd name="T32" fmla="*/ 2147483647 w 462"/>
                <a:gd name="T33" fmla="*/ 2147483647 h 835"/>
                <a:gd name="T34" fmla="*/ 2147483647 w 462"/>
                <a:gd name="T35" fmla="*/ 2147483647 h 835"/>
                <a:gd name="T36" fmla="*/ 2147483647 w 462"/>
                <a:gd name="T37" fmla="*/ 2147483647 h 835"/>
                <a:gd name="T38" fmla="*/ 2147483647 w 462"/>
                <a:gd name="T39" fmla="*/ 2147483647 h 835"/>
                <a:gd name="T40" fmla="*/ 2147483647 w 462"/>
                <a:gd name="T41" fmla="*/ 2147483647 h 835"/>
                <a:gd name="T42" fmla="*/ 2147483647 w 462"/>
                <a:gd name="T43" fmla="*/ 2147483647 h 835"/>
                <a:gd name="T44" fmla="*/ 2147483647 w 462"/>
                <a:gd name="T45" fmla="*/ 2147483647 h 835"/>
                <a:gd name="T46" fmla="*/ 2147483647 w 462"/>
                <a:gd name="T47" fmla="*/ 2147483647 h 835"/>
                <a:gd name="T48" fmla="*/ 2147483647 w 462"/>
                <a:gd name="T49" fmla="*/ 2147483647 h 835"/>
                <a:gd name="T50" fmla="*/ 2147483647 w 462"/>
                <a:gd name="T51" fmla="*/ 2147483647 h 835"/>
                <a:gd name="T52" fmla="*/ 2147483647 w 462"/>
                <a:gd name="T53" fmla="*/ 2147483647 h 835"/>
                <a:gd name="T54" fmla="*/ 2147483647 w 462"/>
                <a:gd name="T55" fmla="*/ 2147483647 h 835"/>
                <a:gd name="T56" fmla="*/ 2147483647 w 462"/>
                <a:gd name="T57" fmla="*/ 2147483647 h 835"/>
                <a:gd name="T58" fmla="*/ 2147483647 w 462"/>
                <a:gd name="T59" fmla="*/ 2147483647 h 835"/>
                <a:gd name="T60" fmla="*/ 2147483647 w 462"/>
                <a:gd name="T61" fmla="*/ 2147483647 h 835"/>
                <a:gd name="T62" fmla="*/ 2147483647 w 462"/>
                <a:gd name="T63" fmla="*/ 2147483647 h 835"/>
                <a:gd name="T64" fmla="*/ 2147483647 w 462"/>
                <a:gd name="T65" fmla="*/ 2147483647 h 835"/>
                <a:gd name="T66" fmla="*/ 2147483647 w 462"/>
                <a:gd name="T67" fmla="*/ 2147483647 h 835"/>
                <a:gd name="T68" fmla="*/ 2147483647 w 462"/>
                <a:gd name="T69" fmla="*/ 2147483647 h 835"/>
                <a:gd name="T70" fmla="*/ 2147483647 w 462"/>
                <a:gd name="T71" fmla="*/ 2147483647 h 835"/>
                <a:gd name="T72" fmla="*/ 2147483647 w 462"/>
                <a:gd name="T73" fmla="*/ 0 h 835"/>
                <a:gd name="T74" fmla="*/ 2147483647 w 462"/>
                <a:gd name="T75" fmla="*/ 2147483647 h 835"/>
                <a:gd name="T76" fmla="*/ 2147483647 w 462"/>
                <a:gd name="T77" fmla="*/ 2147483647 h 835"/>
                <a:gd name="T78" fmla="*/ 2147483647 w 462"/>
                <a:gd name="T79" fmla="*/ 2147483647 h 835"/>
                <a:gd name="T80" fmla="*/ 2147483647 w 462"/>
                <a:gd name="T81" fmla="*/ 2147483647 h 835"/>
                <a:gd name="T82" fmla="*/ 2147483647 w 462"/>
                <a:gd name="T83" fmla="*/ 2147483647 h 835"/>
                <a:gd name="T84" fmla="*/ 2147483647 w 462"/>
                <a:gd name="T85" fmla="*/ 2147483647 h 835"/>
                <a:gd name="T86" fmla="*/ 2147483647 w 462"/>
                <a:gd name="T87" fmla="*/ 2147483647 h 835"/>
                <a:gd name="T88" fmla="*/ 2147483647 w 462"/>
                <a:gd name="T89" fmla="*/ 2147483647 h 835"/>
                <a:gd name="T90" fmla="*/ 2147483647 w 462"/>
                <a:gd name="T91" fmla="*/ 2147483647 h 835"/>
                <a:gd name="T92" fmla="*/ 2147483647 w 462"/>
                <a:gd name="T93" fmla="*/ 2147483647 h 83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62" h="835">
                  <a:moveTo>
                    <a:pt x="0" y="323"/>
                  </a:moveTo>
                  <a:lnTo>
                    <a:pt x="31" y="334"/>
                  </a:lnTo>
                  <a:lnTo>
                    <a:pt x="18" y="344"/>
                  </a:lnTo>
                  <a:lnTo>
                    <a:pt x="31" y="367"/>
                  </a:lnTo>
                  <a:lnTo>
                    <a:pt x="74" y="367"/>
                  </a:lnTo>
                  <a:lnTo>
                    <a:pt x="80" y="388"/>
                  </a:lnTo>
                  <a:lnTo>
                    <a:pt x="111" y="367"/>
                  </a:lnTo>
                  <a:lnTo>
                    <a:pt x="99" y="367"/>
                  </a:lnTo>
                  <a:lnTo>
                    <a:pt x="105" y="422"/>
                  </a:lnTo>
                  <a:lnTo>
                    <a:pt x="43" y="467"/>
                  </a:lnTo>
                  <a:lnTo>
                    <a:pt x="24" y="522"/>
                  </a:lnTo>
                  <a:lnTo>
                    <a:pt x="43" y="522"/>
                  </a:lnTo>
                  <a:lnTo>
                    <a:pt x="31" y="534"/>
                  </a:lnTo>
                  <a:lnTo>
                    <a:pt x="43" y="545"/>
                  </a:lnTo>
                  <a:lnTo>
                    <a:pt x="69" y="557"/>
                  </a:lnTo>
                  <a:lnTo>
                    <a:pt x="55" y="590"/>
                  </a:lnTo>
                  <a:lnTo>
                    <a:pt x="61" y="611"/>
                  </a:lnTo>
                  <a:lnTo>
                    <a:pt x="74" y="611"/>
                  </a:lnTo>
                  <a:lnTo>
                    <a:pt x="99" y="557"/>
                  </a:lnTo>
                  <a:lnTo>
                    <a:pt x="87" y="590"/>
                  </a:lnTo>
                  <a:lnTo>
                    <a:pt x="99" y="645"/>
                  </a:lnTo>
                  <a:lnTo>
                    <a:pt x="93" y="668"/>
                  </a:lnTo>
                  <a:lnTo>
                    <a:pt x="119" y="634"/>
                  </a:lnTo>
                  <a:lnTo>
                    <a:pt x="137" y="668"/>
                  </a:lnTo>
                  <a:lnTo>
                    <a:pt x="143" y="645"/>
                  </a:lnTo>
                  <a:lnTo>
                    <a:pt x="149" y="668"/>
                  </a:lnTo>
                  <a:lnTo>
                    <a:pt x="175" y="645"/>
                  </a:lnTo>
                  <a:lnTo>
                    <a:pt x="143" y="747"/>
                  </a:lnTo>
                  <a:lnTo>
                    <a:pt x="119" y="768"/>
                  </a:lnTo>
                  <a:lnTo>
                    <a:pt x="119" y="791"/>
                  </a:lnTo>
                  <a:lnTo>
                    <a:pt x="93" y="791"/>
                  </a:lnTo>
                  <a:lnTo>
                    <a:pt x="69" y="835"/>
                  </a:lnTo>
                  <a:lnTo>
                    <a:pt x="99" y="801"/>
                  </a:lnTo>
                  <a:lnTo>
                    <a:pt x="124" y="801"/>
                  </a:lnTo>
                  <a:lnTo>
                    <a:pt x="143" y="778"/>
                  </a:lnTo>
                  <a:lnTo>
                    <a:pt x="137" y="757"/>
                  </a:lnTo>
                  <a:lnTo>
                    <a:pt x="156" y="757"/>
                  </a:lnTo>
                  <a:lnTo>
                    <a:pt x="211" y="678"/>
                  </a:lnTo>
                  <a:lnTo>
                    <a:pt x="225" y="657"/>
                  </a:lnTo>
                  <a:lnTo>
                    <a:pt x="211" y="634"/>
                  </a:lnTo>
                  <a:lnTo>
                    <a:pt x="268" y="534"/>
                  </a:lnTo>
                  <a:lnTo>
                    <a:pt x="275" y="490"/>
                  </a:lnTo>
                  <a:lnTo>
                    <a:pt x="268" y="534"/>
                  </a:lnTo>
                  <a:lnTo>
                    <a:pt x="286" y="522"/>
                  </a:lnTo>
                  <a:lnTo>
                    <a:pt x="275" y="545"/>
                  </a:lnTo>
                  <a:lnTo>
                    <a:pt x="294" y="557"/>
                  </a:lnTo>
                  <a:lnTo>
                    <a:pt x="255" y="557"/>
                  </a:lnTo>
                  <a:lnTo>
                    <a:pt x="249" y="611"/>
                  </a:lnTo>
                  <a:lnTo>
                    <a:pt x="262" y="601"/>
                  </a:lnTo>
                  <a:lnTo>
                    <a:pt x="249" y="634"/>
                  </a:lnTo>
                  <a:lnTo>
                    <a:pt x="299" y="601"/>
                  </a:lnTo>
                  <a:lnTo>
                    <a:pt x="305" y="566"/>
                  </a:lnTo>
                  <a:lnTo>
                    <a:pt x="299" y="557"/>
                  </a:lnTo>
                  <a:lnTo>
                    <a:pt x="312" y="534"/>
                  </a:lnTo>
                  <a:lnTo>
                    <a:pt x="305" y="557"/>
                  </a:lnTo>
                  <a:lnTo>
                    <a:pt x="331" y="545"/>
                  </a:lnTo>
                  <a:lnTo>
                    <a:pt x="324" y="566"/>
                  </a:lnTo>
                  <a:lnTo>
                    <a:pt x="368" y="601"/>
                  </a:lnTo>
                  <a:lnTo>
                    <a:pt x="431" y="611"/>
                  </a:lnTo>
                  <a:lnTo>
                    <a:pt x="438" y="590"/>
                  </a:lnTo>
                  <a:lnTo>
                    <a:pt x="450" y="601"/>
                  </a:lnTo>
                  <a:lnTo>
                    <a:pt x="438" y="624"/>
                  </a:lnTo>
                  <a:lnTo>
                    <a:pt x="456" y="645"/>
                  </a:lnTo>
                  <a:lnTo>
                    <a:pt x="462" y="624"/>
                  </a:lnTo>
                  <a:lnTo>
                    <a:pt x="443" y="590"/>
                  </a:lnTo>
                  <a:lnTo>
                    <a:pt x="419" y="590"/>
                  </a:lnTo>
                  <a:lnTo>
                    <a:pt x="419" y="100"/>
                  </a:lnTo>
                  <a:lnTo>
                    <a:pt x="249" y="56"/>
                  </a:lnTo>
                  <a:lnTo>
                    <a:pt x="244" y="33"/>
                  </a:lnTo>
                  <a:lnTo>
                    <a:pt x="199" y="10"/>
                  </a:lnTo>
                  <a:lnTo>
                    <a:pt x="193" y="33"/>
                  </a:lnTo>
                  <a:lnTo>
                    <a:pt x="180" y="33"/>
                  </a:lnTo>
                  <a:lnTo>
                    <a:pt x="193" y="10"/>
                  </a:lnTo>
                  <a:lnTo>
                    <a:pt x="175" y="0"/>
                  </a:lnTo>
                  <a:lnTo>
                    <a:pt x="156" y="33"/>
                  </a:lnTo>
                  <a:lnTo>
                    <a:pt x="124" y="33"/>
                  </a:lnTo>
                  <a:lnTo>
                    <a:pt x="124" y="67"/>
                  </a:lnTo>
                  <a:lnTo>
                    <a:pt x="124" y="44"/>
                  </a:lnTo>
                  <a:lnTo>
                    <a:pt x="93" y="67"/>
                  </a:lnTo>
                  <a:lnTo>
                    <a:pt x="99" y="88"/>
                  </a:lnTo>
                  <a:lnTo>
                    <a:pt x="87" y="77"/>
                  </a:lnTo>
                  <a:lnTo>
                    <a:pt x="69" y="121"/>
                  </a:lnTo>
                  <a:lnTo>
                    <a:pt x="24" y="144"/>
                  </a:lnTo>
                  <a:lnTo>
                    <a:pt x="31" y="167"/>
                  </a:lnTo>
                  <a:lnTo>
                    <a:pt x="18" y="167"/>
                  </a:lnTo>
                  <a:lnTo>
                    <a:pt x="69" y="234"/>
                  </a:lnTo>
                  <a:lnTo>
                    <a:pt x="130" y="278"/>
                  </a:lnTo>
                  <a:lnTo>
                    <a:pt x="93" y="267"/>
                  </a:lnTo>
                  <a:lnTo>
                    <a:pt x="93" y="290"/>
                  </a:lnTo>
                  <a:lnTo>
                    <a:pt x="105" y="290"/>
                  </a:lnTo>
                  <a:lnTo>
                    <a:pt x="93" y="300"/>
                  </a:lnTo>
                  <a:lnTo>
                    <a:pt x="69" y="290"/>
                  </a:lnTo>
                  <a:lnTo>
                    <a:pt x="69" y="267"/>
                  </a:lnTo>
                  <a:lnTo>
                    <a:pt x="50" y="267"/>
                  </a:lnTo>
                  <a:lnTo>
                    <a:pt x="0" y="3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36" name="Freeform 792"/>
            <p:cNvSpPr>
              <a:spLocks/>
            </p:cNvSpPr>
            <p:nvPr>
              <p:custDataLst>
                <p:tags r:id="rId644"/>
              </p:custDataLst>
            </p:nvPr>
          </p:nvSpPr>
          <p:spPr bwMode="auto">
            <a:xfrm>
              <a:off x="1325595" y="3147616"/>
              <a:ext cx="72176" cy="34925"/>
            </a:xfrm>
            <a:custGeom>
              <a:avLst/>
              <a:gdLst>
                <a:gd name="T0" fmla="*/ 0 w 39"/>
                <a:gd name="T1" fmla="*/ 2147483647 h 44"/>
                <a:gd name="T2" fmla="*/ 2147483647 w 39"/>
                <a:gd name="T3" fmla="*/ 2147483647 h 44"/>
                <a:gd name="T4" fmla="*/ 2147483647 w 39"/>
                <a:gd name="T5" fmla="*/ 2147483647 h 44"/>
                <a:gd name="T6" fmla="*/ 2147483647 w 39"/>
                <a:gd name="T7" fmla="*/ 0 h 44"/>
                <a:gd name="T8" fmla="*/ 2147483647 w 39"/>
                <a:gd name="T9" fmla="*/ 2147483647 h 44"/>
                <a:gd name="T10" fmla="*/ 0 w 39"/>
                <a:gd name="T11" fmla="*/ 2147483647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4">
                  <a:moveTo>
                    <a:pt x="0" y="21"/>
                  </a:moveTo>
                  <a:lnTo>
                    <a:pt x="6" y="44"/>
                  </a:lnTo>
                  <a:lnTo>
                    <a:pt x="39" y="11"/>
                  </a:lnTo>
                  <a:lnTo>
                    <a:pt x="13" y="0"/>
                  </a:lnTo>
                  <a:lnTo>
                    <a:pt x="13" y="1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37" name="Freeform 793"/>
            <p:cNvSpPr>
              <a:spLocks/>
            </p:cNvSpPr>
            <p:nvPr>
              <p:custDataLst>
                <p:tags r:id="rId645"/>
              </p:custDataLst>
            </p:nvPr>
          </p:nvSpPr>
          <p:spPr bwMode="auto">
            <a:xfrm>
              <a:off x="1325595" y="3147616"/>
              <a:ext cx="72176" cy="34925"/>
            </a:xfrm>
            <a:custGeom>
              <a:avLst/>
              <a:gdLst>
                <a:gd name="T0" fmla="*/ 0 w 39"/>
                <a:gd name="T1" fmla="*/ 2147483647 h 44"/>
                <a:gd name="T2" fmla="*/ 2147483647 w 39"/>
                <a:gd name="T3" fmla="*/ 2147483647 h 44"/>
                <a:gd name="T4" fmla="*/ 2147483647 w 39"/>
                <a:gd name="T5" fmla="*/ 2147483647 h 44"/>
                <a:gd name="T6" fmla="*/ 2147483647 w 39"/>
                <a:gd name="T7" fmla="*/ 0 h 44"/>
                <a:gd name="T8" fmla="*/ 2147483647 w 39"/>
                <a:gd name="T9" fmla="*/ 2147483647 h 44"/>
                <a:gd name="T10" fmla="*/ 0 w 39"/>
                <a:gd name="T11" fmla="*/ 2147483647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4">
                  <a:moveTo>
                    <a:pt x="0" y="21"/>
                  </a:moveTo>
                  <a:lnTo>
                    <a:pt x="6" y="44"/>
                  </a:lnTo>
                  <a:lnTo>
                    <a:pt x="39" y="11"/>
                  </a:lnTo>
                  <a:lnTo>
                    <a:pt x="13" y="0"/>
                  </a:lnTo>
                  <a:lnTo>
                    <a:pt x="13" y="11"/>
                  </a:lnTo>
                  <a:lnTo>
                    <a:pt x="0" y="2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38" name="Freeform 794"/>
            <p:cNvSpPr>
              <a:spLocks/>
            </p:cNvSpPr>
            <p:nvPr>
              <p:custDataLst>
                <p:tags r:id="rId646"/>
              </p:custDataLst>
            </p:nvPr>
          </p:nvSpPr>
          <p:spPr bwMode="auto">
            <a:xfrm>
              <a:off x="1325595" y="3147616"/>
              <a:ext cx="72176" cy="34925"/>
            </a:xfrm>
            <a:custGeom>
              <a:avLst/>
              <a:gdLst>
                <a:gd name="T0" fmla="*/ 0 w 39"/>
                <a:gd name="T1" fmla="*/ 2147483647 h 44"/>
                <a:gd name="T2" fmla="*/ 2147483647 w 39"/>
                <a:gd name="T3" fmla="*/ 2147483647 h 44"/>
                <a:gd name="T4" fmla="*/ 2147483647 w 39"/>
                <a:gd name="T5" fmla="*/ 2147483647 h 44"/>
                <a:gd name="T6" fmla="*/ 2147483647 w 39"/>
                <a:gd name="T7" fmla="*/ 0 h 44"/>
                <a:gd name="T8" fmla="*/ 2147483647 w 39"/>
                <a:gd name="T9" fmla="*/ 2147483647 h 44"/>
                <a:gd name="T10" fmla="*/ 0 w 39"/>
                <a:gd name="T11" fmla="*/ 2147483647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4">
                  <a:moveTo>
                    <a:pt x="0" y="21"/>
                  </a:moveTo>
                  <a:lnTo>
                    <a:pt x="6" y="44"/>
                  </a:lnTo>
                  <a:lnTo>
                    <a:pt x="39" y="11"/>
                  </a:lnTo>
                  <a:lnTo>
                    <a:pt x="13" y="0"/>
                  </a:lnTo>
                  <a:lnTo>
                    <a:pt x="13" y="11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39" name="Freeform 795"/>
            <p:cNvSpPr>
              <a:spLocks/>
            </p:cNvSpPr>
            <p:nvPr>
              <p:custDataLst>
                <p:tags r:id="rId647"/>
              </p:custDataLst>
            </p:nvPr>
          </p:nvSpPr>
          <p:spPr bwMode="auto">
            <a:xfrm>
              <a:off x="1325595" y="3147616"/>
              <a:ext cx="72176" cy="34925"/>
            </a:xfrm>
            <a:custGeom>
              <a:avLst/>
              <a:gdLst>
                <a:gd name="T0" fmla="*/ 0 w 39"/>
                <a:gd name="T1" fmla="*/ 2147483647 h 44"/>
                <a:gd name="T2" fmla="*/ 2147483647 w 39"/>
                <a:gd name="T3" fmla="*/ 2147483647 h 44"/>
                <a:gd name="T4" fmla="*/ 2147483647 w 39"/>
                <a:gd name="T5" fmla="*/ 2147483647 h 44"/>
                <a:gd name="T6" fmla="*/ 2147483647 w 39"/>
                <a:gd name="T7" fmla="*/ 0 h 44"/>
                <a:gd name="T8" fmla="*/ 2147483647 w 39"/>
                <a:gd name="T9" fmla="*/ 2147483647 h 44"/>
                <a:gd name="T10" fmla="*/ 0 w 39"/>
                <a:gd name="T11" fmla="*/ 2147483647 h 4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39" h="44">
                  <a:moveTo>
                    <a:pt x="0" y="21"/>
                  </a:moveTo>
                  <a:lnTo>
                    <a:pt x="6" y="44"/>
                  </a:lnTo>
                  <a:lnTo>
                    <a:pt x="39" y="11"/>
                  </a:lnTo>
                  <a:lnTo>
                    <a:pt x="13" y="0"/>
                  </a:lnTo>
                  <a:lnTo>
                    <a:pt x="13" y="11"/>
                  </a:lnTo>
                  <a:lnTo>
                    <a:pt x="0" y="2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40" name="Freeform 796"/>
            <p:cNvSpPr>
              <a:spLocks/>
            </p:cNvSpPr>
            <p:nvPr>
              <p:custDataLst>
                <p:tags r:id="rId648"/>
              </p:custDataLst>
            </p:nvPr>
          </p:nvSpPr>
          <p:spPr bwMode="auto">
            <a:xfrm>
              <a:off x="1802751" y="3066620"/>
              <a:ext cx="232568" cy="185738"/>
            </a:xfrm>
            <a:custGeom>
              <a:avLst/>
              <a:gdLst>
                <a:gd name="T0" fmla="*/ 0 w 126"/>
                <a:gd name="T1" fmla="*/ 2147483647 h 234"/>
                <a:gd name="T2" fmla="*/ 2147483647 w 126"/>
                <a:gd name="T3" fmla="*/ 2147483647 h 234"/>
                <a:gd name="T4" fmla="*/ 2147483647 w 126"/>
                <a:gd name="T5" fmla="*/ 2147483647 h 234"/>
                <a:gd name="T6" fmla="*/ 2147483647 w 126"/>
                <a:gd name="T7" fmla="*/ 2147483647 h 234"/>
                <a:gd name="T8" fmla="*/ 2147483647 w 126"/>
                <a:gd name="T9" fmla="*/ 2147483647 h 234"/>
                <a:gd name="T10" fmla="*/ 2147483647 w 126"/>
                <a:gd name="T11" fmla="*/ 2147483647 h 234"/>
                <a:gd name="T12" fmla="*/ 2147483647 w 126"/>
                <a:gd name="T13" fmla="*/ 2147483647 h 234"/>
                <a:gd name="T14" fmla="*/ 2147483647 w 126"/>
                <a:gd name="T15" fmla="*/ 2147483647 h 234"/>
                <a:gd name="T16" fmla="*/ 2147483647 w 126"/>
                <a:gd name="T17" fmla="*/ 2147483647 h 234"/>
                <a:gd name="T18" fmla="*/ 2147483647 w 126"/>
                <a:gd name="T19" fmla="*/ 2147483647 h 234"/>
                <a:gd name="T20" fmla="*/ 2147483647 w 126"/>
                <a:gd name="T21" fmla="*/ 2147483647 h 234"/>
                <a:gd name="T22" fmla="*/ 2147483647 w 126"/>
                <a:gd name="T23" fmla="*/ 2147483647 h 234"/>
                <a:gd name="T24" fmla="*/ 2147483647 w 126"/>
                <a:gd name="T25" fmla="*/ 2147483647 h 234"/>
                <a:gd name="T26" fmla="*/ 2147483647 w 126"/>
                <a:gd name="T27" fmla="*/ 2147483647 h 234"/>
                <a:gd name="T28" fmla="*/ 2147483647 w 126"/>
                <a:gd name="T29" fmla="*/ 2147483647 h 234"/>
                <a:gd name="T30" fmla="*/ 2147483647 w 126"/>
                <a:gd name="T31" fmla="*/ 2147483647 h 234"/>
                <a:gd name="T32" fmla="*/ 2147483647 w 126"/>
                <a:gd name="T33" fmla="*/ 2147483647 h 234"/>
                <a:gd name="T34" fmla="*/ 2147483647 w 126"/>
                <a:gd name="T35" fmla="*/ 2147483647 h 234"/>
                <a:gd name="T36" fmla="*/ 2147483647 w 126"/>
                <a:gd name="T37" fmla="*/ 0 h 234"/>
                <a:gd name="T38" fmla="*/ 2147483647 w 126"/>
                <a:gd name="T39" fmla="*/ 2147483647 h 234"/>
                <a:gd name="T40" fmla="*/ 0 w 126"/>
                <a:gd name="T41" fmla="*/ 2147483647 h 2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6" h="234">
                  <a:moveTo>
                    <a:pt x="0" y="35"/>
                  </a:moveTo>
                  <a:lnTo>
                    <a:pt x="7" y="67"/>
                  </a:lnTo>
                  <a:lnTo>
                    <a:pt x="26" y="79"/>
                  </a:lnTo>
                  <a:lnTo>
                    <a:pt x="31" y="67"/>
                  </a:lnTo>
                  <a:lnTo>
                    <a:pt x="18" y="44"/>
                  </a:lnTo>
                  <a:lnTo>
                    <a:pt x="31" y="44"/>
                  </a:lnTo>
                  <a:lnTo>
                    <a:pt x="44" y="79"/>
                  </a:lnTo>
                  <a:lnTo>
                    <a:pt x="38" y="23"/>
                  </a:lnTo>
                  <a:lnTo>
                    <a:pt x="50" y="79"/>
                  </a:lnTo>
                  <a:lnTo>
                    <a:pt x="76" y="102"/>
                  </a:lnTo>
                  <a:lnTo>
                    <a:pt x="68" y="133"/>
                  </a:lnTo>
                  <a:lnTo>
                    <a:pt x="100" y="167"/>
                  </a:lnTo>
                  <a:lnTo>
                    <a:pt x="94" y="200"/>
                  </a:lnTo>
                  <a:lnTo>
                    <a:pt x="107" y="177"/>
                  </a:lnTo>
                  <a:lnTo>
                    <a:pt x="113" y="234"/>
                  </a:lnTo>
                  <a:lnTo>
                    <a:pt x="126" y="223"/>
                  </a:lnTo>
                  <a:lnTo>
                    <a:pt x="126" y="177"/>
                  </a:lnTo>
                  <a:lnTo>
                    <a:pt x="94" y="156"/>
                  </a:lnTo>
                  <a:lnTo>
                    <a:pt x="38" y="0"/>
                  </a:lnTo>
                  <a:lnTo>
                    <a:pt x="7" y="44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41" name="Freeform 797"/>
            <p:cNvSpPr>
              <a:spLocks/>
            </p:cNvSpPr>
            <p:nvPr>
              <p:custDataLst>
                <p:tags r:id="rId649"/>
              </p:custDataLst>
            </p:nvPr>
          </p:nvSpPr>
          <p:spPr bwMode="auto">
            <a:xfrm>
              <a:off x="1802751" y="3066620"/>
              <a:ext cx="232568" cy="185738"/>
            </a:xfrm>
            <a:custGeom>
              <a:avLst/>
              <a:gdLst>
                <a:gd name="T0" fmla="*/ 0 w 126"/>
                <a:gd name="T1" fmla="*/ 2147483647 h 234"/>
                <a:gd name="T2" fmla="*/ 2147483647 w 126"/>
                <a:gd name="T3" fmla="*/ 2147483647 h 234"/>
                <a:gd name="T4" fmla="*/ 2147483647 w 126"/>
                <a:gd name="T5" fmla="*/ 2147483647 h 234"/>
                <a:gd name="T6" fmla="*/ 2147483647 w 126"/>
                <a:gd name="T7" fmla="*/ 2147483647 h 234"/>
                <a:gd name="T8" fmla="*/ 2147483647 w 126"/>
                <a:gd name="T9" fmla="*/ 2147483647 h 234"/>
                <a:gd name="T10" fmla="*/ 2147483647 w 126"/>
                <a:gd name="T11" fmla="*/ 2147483647 h 234"/>
                <a:gd name="T12" fmla="*/ 2147483647 w 126"/>
                <a:gd name="T13" fmla="*/ 2147483647 h 234"/>
                <a:gd name="T14" fmla="*/ 2147483647 w 126"/>
                <a:gd name="T15" fmla="*/ 2147483647 h 234"/>
                <a:gd name="T16" fmla="*/ 2147483647 w 126"/>
                <a:gd name="T17" fmla="*/ 2147483647 h 234"/>
                <a:gd name="T18" fmla="*/ 2147483647 w 126"/>
                <a:gd name="T19" fmla="*/ 2147483647 h 234"/>
                <a:gd name="T20" fmla="*/ 2147483647 w 126"/>
                <a:gd name="T21" fmla="*/ 2147483647 h 234"/>
                <a:gd name="T22" fmla="*/ 2147483647 w 126"/>
                <a:gd name="T23" fmla="*/ 2147483647 h 234"/>
                <a:gd name="T24" fmla="*/ 2147483647 w 126"/>
                <a:gd name="T25" fmla="*/ 2147483647 h 234"/>
                <a:gd name="T26" fmla="*/ 2147483647 w 126"/>
                <a:gd name="T27" fmla="*/ 2147483647 h 234"/>
                <a:gd name="T28" fmla="*/ 2147483647 w 126"/>
                <a:gd name="T29" fmla="*/ 2147483647 h 234"/>
                <a:gd name="T30" fmla="*/ 2147483647 w 126"/>
                <a:gd name="T31" fmla="*/ 2147483647 h 234"/>
                <a:gd name="T32" fmla="*/ 2147483647 w 126"/>
                <a:gd name="T33" fmla="*/ 2147483647 h 234"/>
                <a:gd name="T34" fmla="*/ 2147483647 w 126"/>
                <a:gd name="T35" fmla="*/ 2147483647 h 234"/>
                <a:gd name="T36" fmla="*/ 2147483647 w 126"/>
                <a:gd name="T37" fmla="*/ 0 h 234"/>
                <a:gd name="T38" fmla="*/ 2147483647 w 126"/>
                <a:gd name="T39" fmla="*/ 2147483647 h 234"/>
                <a:gd name="T40" fmla="*/ 0 w 126"/>
                <a:gd name="T41" fmla="*/ 2147483647 h 2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6" h="234">
                  <a:moveTo>
                    <a:pt x="0" y="35"/>
                  </a:moveTo>
                  <a:lnTo>
                    <a:pt x="7" y="67"/>
                  </a:lnTo>
                  <a:lnTo>
                    <a:pt x="26" y="79"/>
                  </a:lnTo>
                  <a:lnTo>
                    <a:pt x="31" y="67"/>
                  </a:lnTo>
                  <a:lnTo>
                    <a:pt x="18" y="44"/>
                  </a:lnTo>
                  <a:lnTo>
                    <a:pt x="31" y="44"/>
                  </a:lnTo>
                  <a:lnTo>
                    <a:pt x="44" y="79"/>
                  </a:lnTo>
                  <a:lnTo>
                    <a:pt x="38" y="23"/>
                  </a:lnTo>
                  <a:lnTo>
                    <a:pt x="50" y="79"/>
                  </a:lnTo>
                  <a:lnTo>
                    <a:pt x="76" y="102"/>
                  </a:lnTo>
                  <a:lnTo>
                    <a:pt x="68" y="133"/>
                  </a:lnTo>
                  <a:lnTo>
                    <a:pt x="100" y="167"/>
                  </a:lnTo>
                  <a:lnTo>
                    <a:pt x="94" y="200"/>
                  </a:lnTo>
                  <a:lnTo>
                    <a:pt x="107" y="177"/>
                  </a:lnTo>
                  <a:lnTo>
                    <a:pt x="113" y="234"/>
                  </a:lnTo>
                  <a:lnTo>
                    <a:pt x="126" y="223"/>
                  </a:lnTo>
                  <a:lnTo>
                    <a:pt x="126" y="177"/>
                  </a:lnTo>
                  <a:lnTo>
                    <a:pt x="94" y="156"/>
                  </a:lnTo>
                  <a:lnTo>
                    <a:pt x="38" y="0"/>
                  </a:lnTo>
                  <a:lnTo>
                    <a:pt x="7" y="44"/>
                  </a:lnTo>
                  <a:lnTo>
                    <a:pt x="0" y="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42" name="Freeform 798"/>
            <p:cNvSpPr>
              <a:spLocks/>
            </p:cNvSpPr>
            <p:nvPr>
              <p:custDataLst>
                <p:tags r:id="rId650"/>
              </p:custDataLst>
            </p:nvPr>
          </p:nvSpPr>
          <p:spPr bwMode="auto">
            <a:xfrm>
              <a:off x="1802751" y="3066620"/>
              <a:ext cx="232568" cy="185738"/>
            </a:xfrm>
            <a:custGeom>
              <a:avLst/>
              <a:gdLst>
                <a:gd name="T0" fmla="*/ 0 w 126"/>
                <a:gd name="T1" fmla="*/ 2147483647 h 234"/>
                <a:gd name="T2" fmla="*/ 2147483647 w 126"/>
                <a:gd name="T3" fmla="*/ 2147483647 h 234"/>
                <a:gd name="T4" fmla="*/ 2147483647 w 126"/>
                <a:gd name="T5" fmla="*/ 2147483647 h 234"/>
                <a:gd name="T6" fmla="*/ 2147483647 w 126"/>
                <a:gd name="T7" fmla="*/ 2147483647 h 234"/>
                <a:gd name="T8" fmla="*/ 2147483647 w 126"/>
                <a:gd name="T9" fmla="*/ 2147483647 h 234"/>
                <a:gd name="T10" fmla="*/ 2147483647 w 126"/>
                <a:gd name="T11" fmla="*/ 2147483647 h 234"/>
                <a:gd name="T12" fmla="*/ 2147483647 w 126"/>
                <a:gd name="T13" fmla="*/ 2147483647 h 234"/>
                <a:gd name="T14" fmla="*/ 2147483647 w 126"/>
                <a:gd name="T15" fmla="*/ 2147483647 h 234"/>
                <a:gd name="T16" fmla="*/ 2147483647 w 126"/>
                <a:gd name="T17" fmla="*/ 2147483647 h 234"/>
                <a:gd name="T18" fmla="*/ 2147483647 w 126"/>
                <a:gd name="T19" fmla="*/ 2147483647 h 234"/>
                <a:gd name="T20" fmla="*/ 2147483647 w 126"/>
                <a:gd name="T21" fmla="*/ 2147483647 h 234"/>
                <a:gd name="T22" fmla="*/ 2147483647 w 126"/>
                <a:gd name="T23" fmla="*/ 2147483647 h 234"/>
                <a:gd name="T24" fmla="*/ 2147483647 w 126"/>
                <a:gd name="T25" fmla="*/ 2147483647 h 234"/>
                <a:gd name="T26" fmla="*/ 2147483647 w 126"/>
                <a:gd name="T27" fmla="*/ 2147483647 h 234"/>
                <a:gd name="T28" fmla="*/ 2147483647 w 126"/>
                <a:gd name="T29" fmla="*/ 2147483647 h 234"/>
                <a:gd name="T30" fmla="*/ 2147483647 w 126"/>
                <a:gd name="T31" fmla="*/ 2147483647 h 234"/>
                <a:gd name="T32" fmla="*/ 2147483647 w 126"/>
                <a:gd name="T33" fmla="*/ 2147483647 h 234"/>
                <a:gd name="T34" fmla="*/ 2147483647 w 126"/>
                <a:gd name="T35" fmla="*/ 2147483647 h 234"/>
                <a:gd name="T36" fmla="*/ 2147483647 w 126"/>
                <a:gd name="T37" fmla="*/ 0 h 234"/>
                <a:gd name="T38" fmla="*/ 2147483647 w 126"/>
                <a:gd name="T39" fmla="*/ 2147483647 h 234"/>
                <a:gd name="T40" fmla="*/ 0 w 126"/>
                <a:gd name="T41" fmla="*/ 2147483647 h 2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6" h="234">
                  <a:moveTo>
                    <a:pt x="0" y="35"/>
                  </a:moveTo>
                  <a:lnTo>
                    <a:pt x="7" y="67"/>
                  </a:lnTo>
                  <a:lnTo>
                    <a:pt x="26" y="79"/>
                  </a:lnTo>
                  <a:lnTo>
                    <a:pt x="31" y="67"/>
                  </a:lnTo>
                  <a:lnTo>
                    <a:pt x="18" y="44"/>
                  </a:lnTo>
                  <a:lnTo>
                    <a:pt x="31" y="44"/>
                  </a:lnTo>
                  <a:lnTo>
                    <a:pt x="44" y="79"/>
                  </a:lnTo>
                  <a:lnTo>
                    <a:pt x="38" y="23"/>
                  </a:lnTo>
                  <a:lnTo>
                    <a:pt x="50" y="79"/>
                  </a:lnTo>
                  <a:lnTo>
                    <a:pt x="76" y="102"/>
                  </a:lnTo>
                  <a:lnTo>
                    <a:pt x="68" y="133"/>
                  </a:lnTo>
                  <a:lnTo>
                    <a:pt x="100" y="167"/>
                  </a:lnTo>
                  <a:lnTo>
                    <a:pt x="94" y="200"/>
                  </a:lnTo>
                  <a:lnTo>
                    <a:pt x="107" y="177"/>
                  </a:lnTo>
                  <a:lnTo>
                    <a:pt x="113" y="234"/>
                  </a:lnTo>
                  <a:lnTo>
                    <a:pt x="126" y="223"/>
                  </a:lnTo>
                  <a:lnTo>
                    <a:pt x="126" y="177"/>
                  </a:lnTo>
                  <a:lnTo>
                    <a:pt x="94" y="156"/>
                  </a:lnTo>
                  <a:lnTo>
                    <a:pt x="38" y="0"/>
                  </a:lnTo>
                  <a:lnTo>
                    <a:pt x="7" y="44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43" name="Freeform 799"/>
            <p:cNvSpPr>
              <a:spLocks/>
            </p:cNvSpPr>
            <p:nvPr>
              <p:custDataLst>
                <p:tags r:id="rId651"/>
              </p:custDataLst>
            </p:nvPr>
          </p:nvSpPr>
          <p:spPr bwMode="auto">
            <a:xfrm>
              <a:off x="1802751" y="3066620"/>
              <a:ext cx="232568" cy="185738"/>
            </a:xfrm>
            <a:custGeom>
              <a:avLst/>
              <a:gdLst>
                <a:gd name="T0" fmla="*/ 0 w 126"/>
                <a:gd name="T1" fmla="*/ 2147483647 h 234"/>
                <a:gd name="T2" fmla="*/ 2147483647 w 126"/>
                <a:gd name="T3" fmla="*/ 2147483647 h 234"/>
                <a:gd name="T4" fmla="*/ 2147483647 w 126"/>
                <a:gd name="T5" fmla="*/ 2147483647 h 234"/>
                <a:gd name="T6" fmla="*/ 2147483647 w 126"/>
                <a:gd name="T7" fmla="*/ 2147483647 h 234"/>
                <a:gd name="T8" fmla="*/ 2147483647 w 126"/>
                <a:gd name="T9" fmla="*/ 2147483647 h 234"/>
                <a:gd name="T10" fmla="*/ 2147483647 w 126"/>
                <a:gd name="T11" fmla="*/ 2147483647 h 234"/>
                <a:gd name="T12" fmla="*/ 2147483647 w 126"/>
                <a:gd name="T13" fmla="*/ 2147483647 h 234"/>
                <a:gd name="T14" fmla="*/ 2147483647 w 126"/>
                <a:gd name="T15" fmla="*/ 2147483647 h 234"/>
                <a:gd name="T16" fmla="*/ 2147483647 w 126"/>
                <a:gd name="T17" fmla="*/ 2147483647 h 234"/>
                <a:gd name="T18" fmla="*/ 2147483647 w 126"/>
                <a:gd name="T19" fmla="*/ 2147483647 h 234"/>
                <a:gd name="T20" fmla="*/ 2147483647 w 126"/>
                <a:gd name="T21" fmla="*/ 2147483647 h 234"/>
                <a:gd name="T22" fmla="*/ 2147483647 w 126"/>
                <a:gd name="T23" fmla="*/ 2147483647 h 234"/>
                <a:gd name="T24" fmla="*/ 2147483647 w 126"/>
                <a:gd name="T25" fmla="*/ 2147483647 h 234"/>
                <a:gd name="T26" fmla="*/ 2147483647 w 126"/>
                <a:gd name="T27" fmla="*/ 2147483647 h 234"/>
                <a:gd name="T28" fmla="*/ 2147483647 w 126"/>
                <a:gd name="T29" fmla="*/ 2147483647 h 234"/>
                <a:gd name="T30" fmla="*/ 2147483647 w 126"/>
                <a:gd name="T31" fmla="*/ 2147483647 h 234"/>
                <a:gd name="T32" fmla="*/ 2147483647 w 126"/>
                <a:gd name="T33" fmla="*/ 2147483647 h 234"/>
                <a:gd name="T34" fmla="*/ 2147483647 w 126"/>
                <a:gd name="T35" fmla="*/ 2147483647 h 234"/>
                <a:gd name="T36" fmla="*/ 2147483647 w 126"/>
                <a:gd name="T37" fmla="*/ 0 h 234"/>
                <a:gd name="T38" fmla="*/ 2147483647 w 126"/>
                <a:gd name="T39" fmla="*/ 2147483647 h 234"/>
                <a:gd name="T40" fmla="*/ 0 w 126"/>
                <a:gd name="T41" fmla="*/ 2147483647 h 2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26" h="234">
                  <a:moveTo>
                    <a:pt x="0" y="35"/>
                  </a:moveTo>
                  <a:lnTo>
                    <a:pt x="7" y="67"/>
                  </a:lnTo>
                  <a:lnTo>
                    <a:pt x="26" y="79"/>
                  </a:lnTo>
                  <a:lnTo>
                    <a:pt x="31" y="67"/>
                  </a:lnTo>
                  <a:lnTo>
                    <a:pt x="18" y="44"/>
                  </a:lnTo>
                  <a:lnTo>
                    <a:pt x="31" y="44"/>
                  </a:lnTo>
                  <a:lnTo>
                    <a:pt x="44" y="79"/>
                  </a:lnTo>
                  <a:lnTo>
                    <a:pt x="38" y="23"/>
                  </a:lnTo>
                  <a:lnTo>
                    <a:pt x="50" y="79"/>
                  </a:lnTo>
                  <a:lnTo>
                    <a:pt x="76" y="102"/>
                  </a:lnTo>
                  <a:lnTo>
                    <a:pt x="68" y="133"/>
                  </a:lnTo>
                  <a:lnTo>
                    <a:pt x="100" y="167"/>
                  </a:lnTo>
                  <a:lnTo>
                    <a:pt x="94" y="200"/>
                  </a:lnTo>
                  <a:lnTo>
                    <a:pt x="107" y="177"/>
                  </a:lnTo>
                  <a:lnTo>
                    <a:pt x="113" y="234"/>
                  </a:lnTo>
                  <a:lnTo>
                    <a:pt x="126" y="223"/>
                  </a:lnTo>
                  <a:lnTo>
                    <a:pt x="126" y="177"/>
                  </a:lnTo>
                  <a:lnTo>
                    <a:pt x="94" y="156"/>
                  </a:lnTo>
                  <a:lnTo>
                    <a:pt x="38" y="0"/>
                  </a:lnTo>
                  <a:lnTo>
                    <a:pt x="7" y="44"/>
                  </a:lnTo>
                  <a:lnTo>
                    <a:pt x="0" y="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44" name="Freeform 800"/>
            <p:cNvSpPr>
              <a:spLocks/>
            </p:cNvSpPr>
            <p:nvPr>
              <p:custDataLst>
                <p:tags r:id="rId652"/>
              </p:custDataLst>
            </p:nvPr>
          </p:nvSpPr>
          <p:spPr bwMode="auto">
            <a:xfrm>
              <a:off x="1858890" y="3128562"/>
              <a:ext cx="36088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2147483647 h 32"/>
                <a:gd name="T6" fmla="*/ 2147483647 w 19"/>
                <a:gd name="T7" fmla="*/ 2147483647 h 32"/>
                <a:gd name="T8" fmla="*/ 2147483647 w 19"/>
                <a:gd name="T9" fmla="*/ 2147483647 h 32"/>
                <a:gd name="T10" fmla="*/ 2147483647 w 19"/>
                <a:gd name="T11" fmla="*/ 2147483647 h 32"/>
                <a:gd name="T12" fmla="*/ 0 w 19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7" y="32"/>
                  </a:lnTo>
                  <a:lnTo>
                    <a:pt x="7" y="23"/>
                  </a:lnTo>
                  <a:lnTo>
                    <a:pt x="19" y="32"/>
                  </a:lnTo>
                  <a:lnTo>
                    <a:pt x="7" y="23"/>
                  </a:lnTo>
                  <a:lnTo>
                    <a:pt x="19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45" name="Freeform 801"/>
            <p:cNvSpPr>
              <a:spLocks/>
            </p:cNvSpPr>
            <p:nvPr>
              <p:custDataLst>
                <p:tags r:id="rId653"/>
              </p:custDataLst>
            </p:nvPr>
          </p:nvSpPr>
          <p:spPr bwMode="auto">
            <a:xfrm>
              <a:off x="1858890" y="3128562"/>
              <a:ext cx="36088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2147483647 h 32"/>
                <a:gd name="T6" fmla="*/ 2147483647 w 19"/>
                <a:gd name="T7" fmla="*/ 2147483647 h 32"/>
                <a:gd name="T8" fmla="*/ 2147483647 w 19"/>
                <a:gd name="T9" fmla="*/ 2147483647 h 32"/>
                <a:gd name="T10" fmla="*/ 2147483647 w 19"/>
                <a:gd name="T11" fmla="*/ 2147483647 h 32"/>
                <a:gd name="T12" fmla="*/ 0 w 19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7" y="32"/>
                  </a:lnTo>
                  <a:lnTo>
                    <a:pt x="7" y="23"/>
                  </a:lnTo>
                  <a:lnTo>
                    <a:pt x="19" y="32"/>
                  </a:lnTo>
                  <a:lnTo>
                    <a:pt x="7" y="23"/>
                  </a:lnTo>
                  <a:lnTo>
                    <a:pt x="19" y="9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46" name="Freeform 802"/>
            <p:cNvSpPr>
              <a:spLocks/>
            </p:cNvSpPr>
            <p:nvPr>
              <p:custDataLst>
                <p:tags r:id="rId654"/>
              </p:custDataLst>
            </p:nvPr>
          </p:nvSpPr>
          <p:spPr bwMode="auto">
            <a:xfrm>
              <a:off x="1858890" y="3128562"/>
              <a:ext cx="36088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2147483647 h 32"/>
                <a:gd name="T6" fmla="*/ 2147483647 w 19"/>
                <a:gd name="T7" fmla="*/ 2147483647 h 32"/>
                <a:gd name="T8" fmla="*/ 2147483647 w 19"/>
                <a:gd name="T9" fmla="*/ 2147483647 h 32"/>
                <a:gd name="T10" fmla="*/ 2147483647 w 19"/>
                <a:gd name="T11" fmla="*/ 2147483647 h 32"/>
                <a:gd name="T12" fmla="*/ 0 w 19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7" y="32"/>
                  </a:lnTo>
                  <a:lnTo>
                    <a:pt x="7" y="23"/>
                  </a:lnTo>
                  <a:lnTo>
                    <a:pt x="19" y="32"/>
                  </a:lnTo>
                  <a:lnTo>
                    <a:pt x="7" y="23"/>
                  </a:lnTo>
                  <a:lnTo>
                    <a:pt x="19" y="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47" name="Freeform 803"/>
            <p:cNvSpPr>
              <a:spLocks/>
            </p:cNvSpPr>
            <p:nvPr>
              <p:custDataLst>
                <p:tags r:id="rId655"/>
              </p:custDataLst>
            </p:nvPr>
          </p:nvSpPr>
          <p:spPr bwMode="auto">
            <a:xfrm>
              <a:off x="1858890" y="3128562"/>
              <a:ext cx="36088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2147483647 h 32"/>
                <a:gd name="T6" fmla="*/ 2147483647 w 19"/>
                <a:gd name="T7" fmla="*/ 2147483647 h 32"/>
                <a:gd name="T8" fmla="*/ 2147483647 w 19"/>
                <a:gd name="T9" fmla="*/ 2147483647 h 32"/>
                <a:gd name="T10" fmla="*/ 2147483647 w 19"/>
                <a:gd name="T11" fmla="*/ 2147483647 h 32"/>
                <a:gd name="T12" fmla="*/ 0 w 19"/>
                <a:gd name="T13" fmla="*/ 0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7" y="32"/>
                  </a:lnTo>
                  <a:lnTo>
                    <a:pt x="7" y="23"/>
                  </a:lnTo>
                  <a:lnTo>
                    <a:pt x="19" y="32"/>
                  </a:lnTo>
                  <a:lnTo>
                    <a:pt x="7" y="23"/>
                  </a:lnTo>
                  <a:lnTo>
                    <a:pt x="19" y="9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48" name="Freeform 804"/>
            <p:cNvSpPr>
              <a:spLocks/>
            </p:cNvSpPr>
            <p:nvPr>
              <p:custDataLst>
                <p:tags r:id="rId656"/>
              </p:custDataLst>
            </p:nvPr>
          </p:nvSpPr>
          <p:spPr bwMode="auto">
            <a:xfrm>
              <a:off x="1870917" y="3155520"/>
              <a:ext cx="34084" cy="44450"/>
            </a:xfrm>
            <a:custGeom>
              <a:avLst/>
              <a:gdLst>
                <a:gd name="T0" fmla="*/ 0 w 19"/>
                <a:gd name="T1" fmla="*/ 0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0 w 19"/>
                <a:gd name="T7" fmla="*/ 0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56">
                  <a:moveTo>
                    <a:pt x="0" y="0"/>
                  </a:moveTo>
                  <a:lnTo>
                    <a:pt x="19" y="12"/>
                  </a:lnTo>
                  <a:lnTo>
                    <a:pt x="19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49" name="Freeform 805"/>
            <p:cNvSpPr>
              <a:spLocks/>
            </p:cNvSpPr>
            <p:nvPr>
              <p:custDataLst>
                <p:tags r:id="rId657"/>
              </p:custDataLst>
            </p:nvPr>
          </p:nvSpPr>
          <p:spPr bwMode="auto">
            <a:xfrm>
              <a:off x="1870917" y="3155520"/>
              <a:ext cx="34084" cy="44450"/>
            </a:xfrm>
            <a:custGeom>
              <a:avLst/>
              <a:gdLst>
                <a:gd name="T0" fmla="*/ 0 w 19"/>
                <a:gd name="T1" fmla="*/ 0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0 w 19"/>
                <a:gd name="T7" fmla="*/ 0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56">
                  <a:moveTo>
                    <a:pt x="0" y="0"/>
                  </a:moveTo>
                  <a:lnTo>
                    <a:pt x="19" y="12"/>
                  </a:lnTo>
                  <a:lnTo>
                    <a:pt x="19" y="56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50" name="Freeform 806"/>
            <p:cNvSpPr>
              <a:spLocks/>
            </p:cNvSpPr>
            <p:nvPr>
              <p:custDataLst>
                <p:tags r:id="rId658"/>
              </p:custDataLst>
            </p:nvPr>
          </p:nvSpPr>
          <p:spPr bwMode="auto">
            <a:xfrm>
              <a:off x="1870917" y="3155520"/>
              <a:ext cx="34084" cy="44450"/>
            </a:xfrm>
            <a:custGeom>
              <a:avLst/>
              <a:gdLst>
                <a:gd name="T0" fmla="*/ 0 w 19"/>
                <a:gd name="T1" fmla="*/ 0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0 w 19"/>
                <a:gd name="T7" fmla="*/ 0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56">
                  <a:moveTo>
                    <a:pt x="0" y="0"/>
                  </a:moveTo>
                  <a:lnTo>
                    <a:pt x="19" y="12"/>
                  </a:lnTo>
                  <a:lnTo>
                    <a:pt x="19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51" name="Freeform 807"/>
            <p:cNvSpPr>
              <a:spLocks/>
            </p:cNvSpPr>
            <p:nvPr>
              <p:custDataLst>
                <p:tags r:id="rId659"/>
              </p:custDataLst>
            </p:nvPr>
          </p:nvSpPr>
          <p:spPr bwMode="auto">
            <a:xfrm>
              <a:off x="1870917" y="3155520"/>
              <a:ext cx="34084" cy="44450"/>
            </a:xfrm>
            <a:custGeom>
              <a:avLst/>
              <a:gdLst>
                <a:gd name="T0" fmla="*/ 0 w 19"/>
                <a:gd name="T1" fmla="*/ 0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0 w 19"/>
                <a:gd name="T7" fmla="*/ 0 h 5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56">
                  <a:moveTo>
                    <a:pt x="0" y="0"/>
                  </a:moveTo>
                  <a:lnTo>
                    <a:pt x="19" y="12"/>
                  </a:lnTo>
                  <a:lnTo>
                    <a:pt x="19" y="56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52" name="Freeform 808"/>
            <p:cNvSpPr>
              <a:spLocks/>
            </p:cNvSpPr>
            <p:nvPr>
              <p:custDataLst>
                <p:tags r:id="rId660"/>
              </p:custDataLst>
            </p:nvPr>
          </p:nvSpPr>
          <p:spPr bwMode="auto">
            <a:xfrm>
              <a:off x="1894986" y="3136470"/>
              <a:ext cx="32078" cy="26988"/>
            </a:xfrm>
            <a:custGeom>
              <a:avLst/>
              <a:gdLst>
                <a:gd name="T0" fmla="*/ 0 w 18"/>
                <a:gd name="T1" fmla="*/ 0 h 35"/>
                <a:gd name="T2" fmla="*/ 2147483647 w 18"/>
                <a:gd name="T3" fmla="*/ 2147483647 h 35"/>
                <a:gd name="T4" fmla="*/ 2147483647 w 18"/>
                <a:gd name="T5" fmla="*/ 2147483647 h 35"/>
                <a:gd name="T6" fmla="*/ 2147483647 w 18"/>
                <a:gd name="T7" fmla="*/ 0 h 35"/>
                <a:gd name="T8" fmla="*/ 2147483647 w 18"/>
                <a:gd name="T9" fmla="*/ 2147483647 h 35"/>
                <a:gd name="T10" fmla="*/ 2147483647 w 18"/>
                <a:gd name="T11" fmla="*/ 0 h 35"/>
                <a:gd name="T12" fmla="*/ 0 w 18"/>
                <a:gd name="T13" fmla="*/ 0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35">
                  <a:moveTo>
                    <a:pt x="0" y="0"/>
                  </a:moveTo>
                  <a:lnTo>
                    <a:pt x="6" y="35"/>
                  </a:lnTo>
                  <a:lnTo>
                    <a:pt x="12" y="35"/>
                  </a:lnTo>
                  <a:lnTo>
                    <a:pt x="12" y="0"/>
                  </a:lnTo>
                  <a:lnTo>
                    <a:pt x="18" y="23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53" name="Freeform 809"/>
            <p:cNvSpPr>
              <a:spLocks/>
            </p:cNvSpPr>
            <p:nvPr>
              <p:custDataLst>
                <p:tags r:id="rId661"/>
              </p:custDataLst>
            </p:nvPr>
          </p:nvSpPr>
          <p:spPr bwMode="auto">
            <a:xfrm>
              <a:off x="1894986" y="3136470"/>
              <a:ext cx="32078" cy="26988"/>
            </a:xfrm>
            <a:custGeom>
              <a:avLst/>
              <a:gdLst>
                <a:gd name="T0" fmla="*/ 0 w 18"/>
                <a:gd name="T1" fmla="*/ 0 h 35"/>
                <a:gd name="T2" fmla="*/ 2147483647 w 18"/>
                <a:gd name="T3" fmla="*/ 2147483647 h 35"/>
                <a:gd name="T4" fmla="*/ 2147483647 w 18"/>
                <a:gd name="T5" fmla="*/ 2147483647 h 35"/>
                <a:gd name="T6" fmla="*/ 2147483647 w 18"/>
                <a:gd name="T7" fmla="*/ 0 h 35"/>
                <a:gd name="T8" fmla="*/ 2147483647 w 18"/>
                <a:gd name="T9" fmla="*/ 2147483647 h 35"/>
                <a:gd name="T10" fmla="*/ 2147483647 w 18"/>
                <a:gd name="T11" fmla="*/ 0 h 35"/>
                <a:gd name="T12" fmla="*/ 0 w 18"/>
                <a:gd name="T13" fmla="*/ 0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35">
                  <a:moveTo>
                    <a:pt x="0" y="0"/>
                  </a:moveTo>
                  <a:lnTo>
                    <a:pt x="6" y="35"/>
                  </a:lnTo>
                  <a:lnTo>
                    <a:pt x="12" y="35"/>
                  </a:lnTo>
                  <a:lnTo>
                    <a:pt x="12" y="0"/>
                  </a:lnTo>
                  <a:lnTo>
                    <a:pt x="18" y="23"/>
                  </a:ln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54" name="Freeform 810"/>
            <p:cNvSpPr>
              <a:spLocks/>
            </p:cNvSpPr>
            <p:nvPr>
              <p:custDataLst>
                <p:tags r:id="rId662"/>
              </p:custDataLst>
            </p:nvPr>
          </p:nvSpPr>
          <p:spPr bwMode="auto">
            <a:xfrm>
              <a:off x="1894986" y="3136470"/>
              <a:ext cx="32078" cy="26988"/>
            </a:xfrm>
            <a:custGeom>
              <a:avLst/>
              <a:gdLst>
                <a:gd name="T0" fmla="*/ 0 w 18"/>
                <a:gd name="T1" fmla="*/ 0 h 35"/>
                <a:gd name="T2" fmla="*/ 2147483647 w 18"/>
                <a:gd name="T3" fmla="*/ 2147483647 h 35"/>
                <a:gd name="T4" fmla="*/ 2147483647 w 18"/>
                <a:gd name="T5" fmla="*/ 2147483647 h 35"/>
                <a:gd name="T6" fmla="*/ 2147483647 w 18"/>
                <a:gd name="T7" fmla="*/ 0 h 35"/>
                <a:gd name="T8" fmla="*/ 2147483647 w 18"/>
                <a:gd name="T9" fmla="*/ 2147483647 h 35"/>
                <a:gd name="T10" fmla="*/ 2147483647 w 18"/>
                <a:gd name="T11" fmla="*/ 0 h 35"/>
                <a:gd name="T12" fmla="*/ 0 w 18"/>
                <a:gd name="T13" fmla="*/ 0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35">
                  <a:moveTo>
                    <a:pt x="0" y="0"/>
                  </a:moveTo>
                  <a:lnTo>
                    <a:pt x="6" y="35"/>
                  </a:lnTo>
                  <a:lnTo>
                    <a:pt x="12" y="35"/>
                  </a:lnTo>
                  <a:lnTo>
                    <a:pt x="12" y="0"/>
                  </a:lnTo>
                  <a:lnTo>
                    <a:pt x="18" y="23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55" name="Freeform 811"/>
            <p:cNvSpPr>
              <a:spLocks/>
            </p:cNvSpPr>
            <p:nvPr>
              <p:custDataLst>
                <p:tags r:id="rId663"/>
              </p:custDataLst>
            </p:nvPr>
          </p:nvSpPr>
          <p:spPr bwMode="auto">
            <a:xfrm>
              <a:off x="1894986" y="3136470"/>
              <a:ext cx="32078" cy="26988"/>
            </a:xfrm>
            <a:custGeom>
              <a:avLst/>
              <a:gdLst>
                <a:gd name="T0" fmla="*/ 0 w 18"/>
                <a:gd name="T1" fmla="*/ 0 h 35"/>
                <a:gd name="T2" fmla="*/ 2147483647 w 18"/>
                <a:gd name="T3" fmla="*/ 2147483647 h 35"/>
                <a:gd name="T4" fmla="*/ 2147483647 w 18"/>
                <a:gd name="T5" fmla="*/ 2147483647 h 35"/>
                <a:gd name="T6" fmla="*/ 2147483647 w 18"/>
                <a:gd name="T7" fmla="*/ 0 h 35"/>
                <a:gd name="T8" fmla="*/ 2147483647 w 18"/>
                <a:gd name="T9" fmla="*/ 2147483647 h 35"/>
                <a:gd name="T10" fmla="*/ 2147483647 w 18"/>
                <a:gd name="T11" fmla="*/ 0 h 35"/>
                <a:gd name="T12" fmla="*/ 0 w 18"/>
                <a:gd name="T13" fmla="*/ 0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8" h="35">
                  <a:moveTo>
                    <a:pt x="0" y="0"/>
                  </a:moveTo>
                  <a:lnTo>
                    <a:pt x="6" y="35"/>
                  </a:lnTo>
                  <a:lnTo>
                    <a:pt x="12" y="35"/>
                  </a:lnTo>
                  <a:lnTo>
                    <a:pt x="12" y="0"/>
                  </a:lnTo>
                  <a:lnTo>
                    <a:pt x="18" y="23"/>
                  </a:lnTo>
                  <a:lnTo>
                    <a:pt x="12" y="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56" name="Freeform 812"/>
            <p:cNvSpPr>
              <a:spLocks/>
            </p:cNvSpPr>
            <p:nvPr>
              <p:custDataLst>
                <p:tags r:id="rId664"/>
              </p:custDataLst>
            </p:nvPr>
          </p:nvSpPr>
          <p:spPr bwMode="auto">
            <a:xfrm>
              <a:off x="1917043" y="3173016"/>
              <a:ext cx="34083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19" y="32"/>
                  </a:lnTo>
                  <a:lnTo>
                    <a:pt x="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57" name="Freeform 813"/>
            <p:cNvSpPr>
              <a:spLocks/>
            </p:cNvSpPr>
            <p:nvPr>
              <p:custDataLst>
                <p:tags r:id="rId665"/>
              </p:custDataLst>
            </p:nvPr>
          </p:nvSpPr>
          <p:spPr bwMode="auto">
            <a:xfrm>
              <a:off x="1917043" y="3173016"/>
              <a:ext cx="34083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19" y="32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58" name="Freeform 814"/>
            <p:cNvSpPr>
              <a:spLocks/>
            </p:cNvSpPr>
            <p:nvPr>
              <p:custDataLst>
                <p:tags r:id="rId666"/>
              </p:custDataLst>
            </p:nvPr>
          </p:nvSpPr>
          <p:spPr bwMode="auto">
            <a:xfrm>
              <a:off x="1917043" y="3173016"/>
              <a:ext cx="34083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19" y="32"/>
                  </a:lnTo>
                  <a:lnTo>
                    <a:pt x="1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59" name="Freeform 815"/>
            <p:cNvSpPr>
              <a:spLocks/>
            </p:cNvSpPr>
            <p:nvPr>
              <p:custDataLst>
                <p:tags r:id="rId667"/>
              </p:custDataLst>
            </p:nvPr>
          </p:nvSpPr>
          <p:spPr bwMode="auto">
            <a:xfrm>
              <a:off x="1917043" y="3173016"/>
              <a:ext cx="34083" cy="26987"/>
            </a:xfrm>
            <a:custGeom>
              <a:avLst/>
              <a:gdLst>
                <a:gd name="T0" fmla="*/ 0 w 19"/>
                <a:gd name="T1" fmla="*/ 0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0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0"/>
                  </a:moveTo>
                  <a:lnTo>
                    <a:pt x="19" y="32"/>
                  </a:lnTo>
                  <a:lnTo>
                    <a:pt x="19" y="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60" name="Freeform 816"/>
            <p:cNvSpPr>
              <a:spLocks/>
            </p:cNvSpPr>
            <p:nvPr>
              <p:custDataLst>
                <p:tags r:id="rId668"/>
              </p:custDataLst>
            </p:nvPr>
          </p:nvSpPr>
          <p:spPr bwMode="auto">
            <a:xfrm>
              <a:off x="1927067" y="3201589"/>
              <a:ext cx="34084" cy="41275"/>
            </a:xfrm>
            <a:custGeom>
              <a:avLst/>
              <a:gdLst>
                <a:gd name="T0" fmla="*/ 0 w 18"/>
                <a:gd name="T1" fmla="*/ 0 h 54"/>
                <a:gd name="T2" fmla="*/ 2147483647 w 18"/>
                <a:gd name="T3" fmla="*/ 2147483647 h 54"/>
                <a:gd name="T4" fmla="*/ 2147483647 w 18"/>
                <a:gd name="T5" fmla="*/ 2147483647 h 54"/>
                <a:gd name="T6" fmla="*/ 0 w 18"/>
                <a:gd name="T7" fmla="*/ 0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4">
                  <a:moveTo>
                    <a:pt x="0" y="0"/>
                  </a:moveTo>
                  <a:lnTo>
                    <a:pt x="18" y="21"/>
                  </a:lnTo>
                  <a:lnTo>
                    <a:pt x="18" y="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61" name="Freeform 817"/>
            <p:cNvSpPr>
              <a:spLocks/>
            </p:cNvSpPr>
            <p:nvPr>
              <p:custDataLst>
                <p:tags r:id="rId669"/>
              </p:custDataLst>
            </p:nvPr>
          </p:nvSpPr>
          <p:spPr bwMode="auto">
            <a:xfrm>
              <a:off x="1927067" y="3201589"/>
              <a:ext cx="34084" cy="41275"/>
            </a:xfrm>
            <a:custGeom>
              <a:avLst/>
              <a:gdLst>
                <a:gd name="T0" fmla="*/ 0 w 18"/>
                <a:gd name="T1" fmla="*/ 0 h 54"/>
                <a:gd name="T2" fmla="*/ 2147483647 w 18"/>
                <a:gd name="T3" fmla="*/ 2147483647 h 54"/>
                <a:gd name="T4" fmla="*/ 2147483647 w 18"/>
                <a:gd name="T5" fmla="*/ 2147483647 h 54"/>
                <a:gd name="T6" fmla="*/ 0 w 18"/>
                <a:gd name="T7" fmla="*/ 0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4">
                  <a:moveTo>
                    <a:pt x="0" y="0"/>
                  </a:moveTo>
                  <a:lnTo>
                    <a:pt x="18" y="21"/>
                  </a:lnTo>
                  <a:lnTo>
                    <a:pt x="18" y="54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62" name="Freeform 818"/>
            <p:cNvSpPr>
              <a:spLocks/>
            </p:cNvSpPr>
            <p:nvPr>
              <p:custDataLst>
                <p:tags r:id="rId670"/>
              </p:custDataLst>
            </p:nvPr>
          </p:nvSpPr>
          <p:spPr bwMode="auto">
            <a:xfrm>
              <a:off x="1927067" y="3201589"/>
              <a:ext cx="34084" cy="41275"/>
            </a:xfrm>
            <a:custGeom>
              <a:avLst/>
              <a:gdLst>
                <a:gd name="T0" fmla="*/ 0 w 18"/>
                <a:gd name="T1" fmla="*/ 0 h 54"/>
                <a:gd name="T2" fmla="*/ 2147483647 w 18"/>
                <a:gd name="T3" fmla="*/ 2147483647 h 54"/>
                <a:gd name="T4" fmla="*/ 2147483647 w 18"/>
                <a:gd name="T5" fmla="*/ 2147483647 h 54"/>
                <a:gd name="T6" fmla="*/ 0 w 18"/>
                <a:gd name="T7" fmla="*/ 0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4">
                  <a:moveTo>
                    <a:pt x="0" y="0"/>
                  </a:moveTo>
                  <a:lnTo>
                    <a:pt x="18" y="21"/>
                  </a:lnTo>
                  <a:lnTo>
                    <a:pt x="18" y="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63" name="Freeform 819"/>
            <p:cNvSpPr>
              <a:spLocks/>
            </p:cNvSpPr>
            <p:nvPr>
              <p:custDataLst>
                <p:tags r:id="rId671"/>
              </p:custDataLst>
            </p:nvPr>
          </p:nvSpPr>
          <p:spPr bwMode="auto">
            <a:xfrm>
              <a:off x="1927067" y="3201589"/>
              <a:ext cx="34084" cy="41275"/>
            </a:xfrm>
            <a:custGeom>
              <a:avLst/>
              <a:gdLst>
                <a:gd name="T0" fmla="*/ 0 w 18"/>
                <a:gd name="T1" fmla="*/ 0 h 54"/>
                <a:gd name="T2" fmla="*/ 2147483647 w 18"/>
                <a:gd name="T3" fmla="*/ 2147483647 h 54"/>
                <a:gd name="T4" fmla="*/ 2147483647 w 18"/>
                <a:gd name="T5" fmla="*/ 2147483647 h 54"/>
                <a:gd name="T6" fmla="*/ 0 w 18"/>
                <a:gd name="T7" fmla="*/ 0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54">
                  <a:moveTo>
                    <a:pt x="0" y="0"/>
                  </a:moveTo>
                  <a:lnTo>
                    <a:pt x="18" y="21"/>
                  </a:lnTo>
                  <a:lnTo>
                    <a:pt x="18" y="54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64" name="Freeform 820"/>
            <p:cNvSpPr>
              <a:spLocks/>
            </p:cNvSpPr>
            <p:nvPr>
              <p:custDataLst>
                <p:tags r:id="rId672"/>
              </p:custDataLst>
            </p:nvPr>
          </p:nvSpPr>
          <p:spPr bwMode="auto">
            <a:xfrm>
              <a:off x="1987203" y="3207942"/>
              <a:ext cx="34084" cy="34925"/>
            </a:xfrm>
            <a:custGeom>
              <a:avLst/>
              <a:gdLst>
                <a:gd name="T0" fmla="*/ 0 w 18"/>
                <a:gd name="T1" fmla="*/ 2147483647 h 44"/>
                <a:gd name="T2" fmla="*/ 2147483647 w 18"/>
                <a:gd name="T3" fmla="*/ 0 h 44"/>
                <a:gd name="T4" fmla="*/ 2147483647 w 18"/>
                <a:gd name="T5" fmla="*/ 2147483647 h 44"/>
                <a:gd name="T6" fmla="*/ 0 w 1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44">
                  <a:moveTo>
                    <a:pt x="0" y="23"/>
                  </a:moveTo>
                  <a:lnTo>
                    <a:pt x="5" y="0"/>
                  </a:lnTo>
                  <a:lnTo>
                    <a:pt x="18" y="4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65" name="Freeform 821"/>
            <p:cNvSpPr>
              <a:spLocks/>
            </p:cNvSpPr>
            <p:nvPr>
              <p:custDataLst>
                <p:tags r:id="rId673"/>
              </p:custDataLst>
            </p:nvPr>
          </p:nvSpPr>
          <p:spPr bwMode="auto">
            <a:xfrm>
              <a:off x="1987203" y="3207942"/>
              <a:ext cx="34084" cy="34925"/>
            </a:xfrm>
            <a:custGeom>
              <a:avLst/>
              <a:gdLst>
                <a:gd name="T0" fmla="*/ 0 w 18"/>
                <a:gd name="T1" fmla="*/ 2147483647 h 44"/>
                <a:gd name="T2" fmla="*/ 2147483647 w 18"/>
                <a:gd name="T3" fmla="*/ 0 h 44"/>
                <a:gd name="T4" fmla="*/ 2147483647 w 18"/>
                <a:gd name="T5" fmla="*/ 2147483647 h 44"/>
                <a:gd name="T6" fmla="*/ 0 w 1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44">
                  <a:moveTo>
                    <a:pt x="0" y="23"/>
                  </a:moveTo>
                  <a:lnTo>
                    <a:pt x="5" y="0"/>
                  </a:lnTo>
                  <a:lnTo>
                    <a:pt x="18" y="44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66" name="Freeform 822"/>
            <p:cNvSpPr>
              <a:spLocks/>
            </p:cNvSpPr>
            <p:nvPr>
              <p:custDataLst>
                <p:tags r:id="rId674"/>
              </p:custDataLst>
            </p:nvPr>
          </p:nvSpPr>
          <p:spPr bwMode="auto">
            <a:xfrm>
              <a:off x="1987203" y="3207942"/>
              <a:ext cx="34084" cy="34925"/>
            </a:xfrm>
            <a:custGeom>
              <a:avLst/>
              <a:gdLst>
                <a:gd name="T0" fmla="*/ 0 w 18"/>
                <a:gd name="T1" fmla="*/ 2147483647 h 44"/>
                <a:gd name="T2" fmla="*/ 2147483647 w 18"/>
                <a:gd name="T3" fmla="*/ 0 h 44"/>
                <a:gd name="T4" fmla="*/ 2147483647 w 18"/>
                <a:gd name="T5" fmla="*/ 2147483647 h 44"/>
                <a:gd name="T6" fmla="*/ 0 w 1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44">
                  <a:moveTo>
                    <a:pt x="0" y="23"/>
                  </a:moveTo>
                  <a:lnTo>
                    <a:pt x="5" y="0"/>
                  </a:lnTo>
                  <a:lnTo>
                    <a:pt x="18" y="44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67" name="Freeform 823"/>
            <p:cNvSpPr>
              <a:spLocks/>
            </p:cNvSpPr>
            <p:nvPr>
              <p:custDataLst>
                <p:tags r:id="rId675"/>
              </p:custDataLst>
            </p:nvPr>
          </p:nvSpPr>
          <p:spPr bwMode="auto">
            <a:xfrm>
              <a:off x="1987203" y="3207942"/>
              <a:ext cx="34084" cy="34925"/>
            </a:xfrm>
            <a:custGeom>
              <a:avLst/>
              <a:gdLst>
                <a:gd name="T0" fmla="*/ 0 w 18"/>
                <a:gd name="T1" fmla="*/ 2147483647 h 44"/>
                <a:gd name="T2" fmla="*/ 2147483647 w 18"/>
                <a:gd name="T3" fmla="*/ 0 h 44"/>
                <a:gd name="T4" fmla="*/ 2147483647 w 18"/>
                <a:gd name="T5" fmla="*/ 2147483647 h 44"/>
                <a:gd name="T6" fmla="*/ 0 w 1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8" h="44">
                  <a:moveTo>
                    <a:pt x="0" y="23"/>
                  </a:moveTo>
                  <a:lnTo>
                    <a:pt x="5" y="0"/>
                  </a:lnTo>
                  <a:lnTo>
                    <a:pt x="18" y="44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68" name="Freeform 824"/>
            <p:cNvSpPr>
              <a:spLocks/>
            </p:cNvSpPr>
            <p:nvPr>
              <p:custDataLst>
                <p:tags r:id="rId676"/>
              </p:custDataLst>
            </p:nvPr>
          </p:nvSpPr>
          <p:spPr bwMode="auto">
            <a:xfrm>
              <a:off x="2195724" y="3438095"/>
              <a:ext cx="1654040" cy="706438"/>
            </a:xfrm>
            <a:custGeom>
              <a:avLst/>
              <a:gdLst>
                <a:gd name="T0" fmla="*/ 2147483647 w 893"/>
                <a:gd name="T1" fmla="*/ 2147483647 h 889"/>
                <a:gd name="T2" fmla="*/ 2147483647 w 893"/>
                <a:gd name="T3" fmla="*/ 2147483647 h 889"/>
                <a:gd name="T4" fmla="*/ 2147483647 w 893"/>
                <a:gd name="T5" fmla="*/ 2147483647 h 889"/>
                <a:gd name="T6" fmla="*/ 2147483647 w 893"/>
                <a:gd name="T7" fmla="*/ 2147483647 h 889"/>
                <a:gd name="T8" fmla="*/ 2147483647 w 893"/>
                <a:gd name="T9" fmla="*/ 2147483647 h 889"/>
                <a:gd name="T10" fmla="*/ 2147483647 w 893"/>
                <a:gd name="T11" fmla="*/ 2147483647 h 889"/>
                <a:gd name="T12" fmla="*/ 2147483647 w 893"/>
                <a:gd name="T13" fmla="*/ 2147483647 h 889"/>
                <a:gd name="T14" fmla="*/ 2147483647 w 893"/>
                <a:gd name="T15" fmla="*/ 2147483647 h 889"/>
                <a:gd name="T16" fmla="*/ 2147483647 w 893"/>
                <a:gd name="T17" fmla="*/ 2147483647 h 889"/>
                <a:gd name="T18" fmla="*/ 2147483647 w 893"/>
                <a:gd name="T19" fmla="*/ 2147483647 h 889"/>
                <a:gd name="T20" fmla="*/ 2147483647 w 893"/>
                <a:gd name="T21" fmla="*/ 2147483647 h 889"/>
                <a:gd name="T22" fmla="*/ 2147483647 w 893"/>
                <a:gd name="T23" fmla="*/ 2147483647 h 889"/>
                <a:gd name="T24" fmla="*/ 2147483647 w 893"/>
                <a:gd name="T25" fmla="*/ 2147483647 h 889"/>
                <a:gd name="T26" fmla="*/ 2147483647 w 893"/>
                <a:gd name="T27" fmla="*/ 2147483647 h 889"/>
                <a:gd name="T28" fmla="*/ 2147483647 w 893"/>
                <a:gd name="T29" fmla="*/ 2147483647 h 889"/>
                <a:gd name="T30" fmla="*/ 2147483647 w 893"/>
                <a:gd name="T31" fmla="*/ 2147483647 h 889"/>
                <a:gd name="T32" fmla="*/ 2147483647 w 893"/>
                <a:gd name="T33" fmla="*/ 2147483647 h 889"/>
                <a:gd name="T34" fmla="*/ 2147483647 w 893"/>
                <a:gd name="T35" fmla="*/ 2147483647 h 889"/>
                <a:gd name="T36" fmla="*/ 2147483647 w 893"/>
                <a:gd name="T37" fmla="*/ 2147483647 h 889"/>
                <a:gd name="T38" fmla="*/ 2147483647 w 893"/>
                <a:gd name="T39" fmla="*/ 2147483647 h 889"/>
                <a:gd name="T40" fmla="*/ 2147483647 w 893"/>
                <a:gd name="T41" fmla="*/ 2147483647 h 889"/>
                <a:gd name="T42" fmla="*/ 2147483647 w 893"/>
                <a:gd name="T43" fmla="*/ 2147483647 h 889"/>
                <a:gd name="T44" fmla="*/ 2147483647 w 893"/>
                <a:gd name="T45" fmla="*/ 2147483647 h 889"/>
                <a:gd name="T46" fmla="*/ 2147483647 w 893"/>
                <a:gd name="T47" fmla="*/ 2147483647 h 889"/>
                <a:gd name="T48" fmla="*/ 2147483647 w 893"/>
                <a:gd name="T49" fmla="*/ 2147483647 h 889"/>
                <a:gd name="T50" fmla="*/ 2147483647 w 893"/>
                <a:gd name="T51" fmla="*/ 2147483647 h 889"/>
                <a:gd name="T52" fmla="*/ 2147483647 w 893"/>
                <a:gd name="T53" fmla="*/ 2147483647 h 889"/>
                <a:gd name="T54" fmla="*/ 2147483647 w 893"/>
                <a:gd name="T55" fmla="*/ 2147483647 h 889"/>
                <a:gd name="T56" fmla="*/ 2147483647 w 893"/>
                <a:gd name="T57" fmla="*/ 2147483647 h 889"/>
                <a:gd name="T58" fmla="*/ 2147483647 w 893"/>
                <a:gd name="T59" fmla="*/ 2147483647 h 889"/>
                <a:gd name="T60" fmla="*/ 2147483647 w 893"/>
                <a:gd name="T61" fmla="*/ 2147483647 h 889"/>
                <a:gd name="T62" fmla="*/ 2147483647 w 893"/>
                <a:gd name="T63" fmla="*/ 2147483647 h 889"/>
                <a:gd name="T64" fmla="*/ 2147483647 w 893"/>
                <a:gd name="T65" fmla="*/ 2147483647 h 889"/>
                <a:gd name="T66" fmla="*/ 2147483647 w 893"/>
                <a:gd name="T67" fmla="*/ 2147483647 h 889"/>
                <a:gd name="T68" fmla="*/ 2147483647 w 893"/>
                <a:gd name="T69" fmla="*/ 2147483647 h 889"/>
                <a:gd name="T70" fmla="*/ 2147483647 w 893"/>
                <a:gd name="T71" fmla="*/ 2147483647 h 889"/>
                <a:gd name="T72" fmla="*/ 2147483647 w 893"/>
                <a:gd name="T73" fmla="*/ 2147483647 h 889"/>
                <a:gd name="T74" fmla="*/ 2147483647 w 893"/>
                <a:gd name="T75" fmla="*/ 2147483647 h 889"/>
                <a:gd name="T76" fmla="*/ 2147483647 w 893"/>
                <a:gd name="T77" fmla="*/ 2147483647 h 889"/>
                <a:gd name="T78" fmla="*/ 2147483647 w 893"/>
                <a:gd name="T79" fmla="*/ 2147483647 h 889"/>
                <a:gd name="T80" fmla="*/ 2147483647 w 893"/>
                <a:gd name="T81" fmla="*/ 2147483647 h 889"/>
                <a:gd name="T82" fmla="*/ 2147483647 w 893"/>
                <a:gd name="T83" fmla="*/ 2147483647 h 889"/>
                <a:gd name="T84" fmla="*/ 2147483647 w 893"/>
                <a:gd name="T85" fmla="*/ 2147483647 h 889"/>
                <a:gd name="T86" fmla="*/ 2147483647 w 893"/>
                <a:gd name="T87" fmla="*/ 2147483647 h 889"/>
                <a:gd name="T88" fmla="*/ 2147483647 w 893"/>
                <a:gd name="T89" fmla="*/ 0 h 889"/>
                <a:gd name="T90" fmla="*/ 2147483647 w 893"/>
                <a:gd name="T91" fmla="*/ 2147483647 h 889"/>
                <a:gd name="T92" fmla="*/ 2147483647 w 893"/>
                <a:gd name="T93" fmla="*/ 2147483647 h 889"/>
                <a:gd name="T94" fmla="*/ 0 w 893"/>
                <a:gd name="T95" fmla="*/ 2147483647 h 88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893" h="889">
                  <a:moveTo>
                    <a:pt x="0" y="44"/>
                  </a:moveTo>
                  <a:lnTo>
                    <a:pt x="6" y="123"/>
                  </a:lnTo>
                  <a:lnTo>
                    <a:pt x="19" y="132"/>
                  </a:lnTo>
                  <a:lnTo>
                    <a:pt x="12" y="132"/>
                  </a:lnTo>
                  <a:lnTo>
                    <a:pt x="0" y="355"/>
                  </a:lnTo>
                  <a:lnTo>
                    <a:pt x="25" y="443"/>
                  </a:lnTo>
                  <a:lnTo>
                    <a:pt x="38" y="443"/>
                  </a:lnTo>
                  <a:lnTo>
                    <a:pt x="30" y="466"/>
                  </a:lnTo>
                  <a:lnTo>
                    <a:pt x="62" y="566"/>
                  </a:lnTo>
                  <a:lnTo>
                    <a:pt x="94" y="589"/>
                  </a:lnTo>
                  <a:lnTo>
                    <a:pt x="112" y="645"/>
                  </a:lnTo>
                  <a:lnTo>
                    <a:pt x="149" y="633"/>
                  </a:lnTo>
                  <a:lnTo>
                    <a:pt x="213" y="678"/>
                  </a:lnTo>
                  <a:lnTo>
                    <a:pt x="282" y="668"/>
                  </a:lnTo>
                  <a:lnTo>
                    <a:pt x="324" y="756"/>
                  </a:lnTo>
                  <a:lnTo>
                    <a:pt x="356" y="733"/>
                  </a:lnTo>
                  <a:lnTo>
                    <a:pt x="393" y="845"/>
                  </a:lnTo>
                  <a:lnTo>
                    <a:pt x="424" y="866"/>
                  </a:lnTo>
                  <a:lnTo>
                    <a:pt x="424" y="801"/>
                  </a:lnTo>
                  <a:lnTo>
                    <a:pt x="456" y="768"/>
                  </a:lnTo>
                  <a:lnTo>
                    <a:pt x="456" y="733"/>
                  </a:lnTo>
                  <a:lnTo>
                    <a:pt x="506" y="733"/>
                  </a:lnTo>
                  <a:lnTo>
                    <a:pt x="543" y="756"/>
                  </a:lnTo>
                  <a:lnTo>
                    <a:pt x="543" y="722"/>
                  </a:lnTo>
                  <a:lnTo>
                    <a:pt x="531" y="712"/>
                  </a:lnTo>
                  <a:lnTo>
                    <a:pt x="562" y="712"/>
                  </a:lnTo>
                  <a:lnTo>
                    <a:pt x="569" y="699"/>
                  </a:lnTo>
                  <a:lnTo>
                    <a:pt x="569" y="722"/>
                  </a:lnTo>
                  <a:lnTo>
                    <a:pt x="631" y="722"/>
                  </a:lnTo>
                  <a:lnTo>
                    <a:pt x="650" y="756"/>
                  </a:lnTo>
                  <a:lnTo>
                    <a:pt x="650" y="812"/>
                  </a:lnTo>
                  <a:lnTo>
                    <a:pt x="668" y="889"/>
                  </a:lnTo>
                  <a:lnTo>
                    <a:pt x="681" y="889"/>
                  </a:lnTo>
                  <a:lnTo>
                    <a:pt x="687" y="835"/>
                  </a:lnTo>
                  <a:lnTo>
                    <a:pt x="668" y="699"/>
                  </a:lnTo>
                  <a:lnTo>
                    <a:pt x="681" y="633"/>
                  </a:lnTo>
                  <a:lnTo>
                    <a:pt x="756" y="534"/>
                  </a:lnTo>
                  <a:lnTo>
                    <a:pt x="744" y="511"/>
                  </a:lnTo>
                  <a:lnTo>
                    <a:pt x="756" y="511"/>
                  </a:lnTo>
                  <a:lnTo>
                    <a:pt x="750" y="478"/>
                  </a:lnTo>
                  <a:lnTo>
                    <a:pt x="750" y="443"/>
                  </a:lnTo>
                  <a:lnTo>
                    <a:pt x="737" y="422"/>
                  </a:lnTo>
                  <a:lnTo>
                    <a:pt x="750" y="434"/>
                  </a:lnTo>
                  <a:lnTo>
                    <a:pt x="744" y="399"/>
                  </a:lnTo>
                  <a:lnTo>
                    <a:pt x="756" y="388"/>
                  </a:lnTo>
                  <a:lnTo>
                    <a:pt x="756" y="466"/>
                  </a:lnTo>
                  <a:lnTo>
                    <a:pt x="768" y="422"/>
                  </a:lnTo>
                  <a:lnTo>
                    <a:pt x="762" y="378"/>
                  </a:lnTo>
                  <a:lnTo>
                    <a:pt x="768" y="399"/>
                  </a:lnTo>
                  <a:lnTo>
                    <a:pt x="787" y="334"/>
                  </a:lnTo>
                  <a:lnTo>
                    <a:pt x="850" y="299"/>
                  </a:lnTo>
                  <a:lnTo>
                    <a:pt x="831" y="278"/>
                  </a:lnTo>
                  <a:lnTo>
                    <a:pt x="843" y="234"/>
                  </a:lnTo>
                  <a:lnTo>
                    <a:pt x="893" y="190"/>
                  </a:lnTo>
                  <a:lnTo>
                    <a:pt x="893" y="167"/>
                  </a:lnTo>
                  <a:lnTo>
                    <a:pt x="881" y="144"/>
                  </a:lnTo>
                  <a:lnTo>
                    <a:pt x="881" y="100"/>
                  </a:lnTo>
                  <a:lnTo>
                    <a:pt x="856" y="78"/>
                  </a:lnTo>
                  <a:lnTo>
                    <a:pt x="837" y="167"/>
                  </a:lnTo>
                  <a:lnTo>
                    <a:pt x="756" y="199"/>
                  </a:lnTo>
                  <a:lnTo>
                    <a:pt x="750" y="234"/>
                  </a:lnTo>
                  <a:lnTo>
                    <a:pt x="706" y="246"/>
                  </a:lnTo>
                  <a:lnTo>
                    <a:pt x="712" y="255"/>
                  </a:lnTo>
                  <a:lnTo>
                    <a:pt x="662" y="311"/>
                  </a:lnTo>
                  <a:lnTo>
                    <a:pt x="643" y="311"/>
                  </a:lnTo>
                  <a:lnTo>
                    <a:pt x="643" y="290"/>
                  </a:lnTo>
                  <a:lnTo>
                    <a:pt x="643" y="278"/>
                  </a:lnTo>
                  <a:lnTo>
                    <a:pt x="650" y="267"/>
                  </a:lnTo>
                  <a:lnTo>
                    <a:pt x="657" y="255"/>
                  </a:lnTo>
                  <a:lnTo>
                    <a:pt x="643" y="211"/>
                  </a:lnTo>
                  <a:lnTo>
                    <a:pt x="631" y="221"/>
                  </a:lnTo>
                  <a:lnTo>
                    <a:pt x="637" y="167"/>
                  </a:lnTo>
                  <a:lnTo>
                    <a:pt x="612" y="144"/>
                  </a:lnTo>
                  <a:lnTo>
                    <a:pt x="593" y="190"/>
                  </a:lnTo>
                  <a:lnTo>
                    <a:pt x="588" y="290"/>
                  </a:lnTo>
                  <a:lnTo>
                    <a:pt x="575" y="299"/>
                  </a:lnTo>
                  <a:lnTo>
                    <a:pt x="569" y="246"/>
                  </a:lnTo>
                  <a:lnTo>
                    <a:pt x="581" y="167"/>
                  </a:lnTo>
                  <a:lnTo>
                    <a:pt x="569" y="176"/>
                  </a:lnTo>
                  <a:lnTo>
                    <a:pt x="588" y="144"/>
                  </a:lnTo>
                  <a:lnTo>
                    <a:pt x="631" y="132"/>
                  </a:lnTo>
                  <a:lnTo>
                    <a:pt x="625" y="123"/>
                  </a:lnTo>
                  <a:lnTo>
                    <a:pt x="618" y="123"/>
                  </a:lnTo>
                  <a:lnTo>
                    <a:pt x="562" y="100"/>
                  </a:lnTo>
                  <a:lnTo>
                    <a:pt x="569" y="78"/>
                  </a:lnTo>
                  <a:lnTo>
                    <a:pt x="531" y="111"/>
                  </a:lnTo>
                  <a:lnTo>
                    <a:pt x="506" y="111"/>
                  </a:lnTo>
                  <a:lnTo>
                    <a:pt x="538" y="53"/>
                  </a:lnTo>
                  <a:lnTo>
                    <a:pt x="469" y="23"/>
                  </a:lnTo>
                  <a:lnTo>
                    <a:pt x="456" y="0"/>
                  </a:lnTo>
                  <a:lnTo>
                    <a:pt x="456" y="23"/>
                  </a:lnTo>
                  <a:lnTo>
                    <a:pt x="25" y="23"/>
                  </a:lnTo>
                  <a:lnTo>
                    <a:pt x="38" y="53"/>
                  </a:lnTo>
                  <a:lnTo>
                    <a:pt x="25" y="78"/>
                  </a:lnTo>
                  <a:lnTo>
                    <a:pt x="25" y="5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869" name="Group 825"/>
            <p:cNvGrpSpPr>
              <a:grpSpLocks/>
            </p:cNvGrpSpPr>
            <p:nvPr>
              <p:custDataLst>
                <p:tags r:id="rId677"/>
              </p:custDataLst>
            </p:nvPr>
          </p:nvGrpSpPr>
          <p:grpSpPr bwMode="auto">
            <a:xfrm>
              <a:off x="2195724" y="3438095"/>
              <a:ext cx="1654040" cy="706438"/>
              <a:chOff x="1006" y="1796"/>
              <a:chExt cx="893" cy="44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201" name="Freeform 826"/>
              <p:cNvSpPr>
                <a:spLocks/>
              </p:cNvSpPr>
              <p:nvPr/>
            </p:nvSpPr>
            <p:spPr bwMode="auto">
              <a:xfrm>
                <a:off x="1006" y="1796"/>
                <a:ext cx="893" cy="445"/>
              </a:xfrm>
              <a:custGeom>
                <a:avLst/>
                <a:gdLst>
                  <a:gd name="T0" fmla="*/ 6 w 893"/>
                  <a:gd name="T1" fmla="*/ 1 h 889"/>
                  <a:gd name="T2" fmla="*/ 12 w 893"/>
                  <a:gd name="T3" fmla="*/ 1 h 889"/>
                  <a:gd name="T4" fmla="*/ 25 w 893"/>
                  <a:gd name="T5" fmla="*/ 1 h 889"/>
                  <a:gd name="T6" fmla="*/ 30 w 893"/>
                  <a:gd name="T7" fmla="*/ 1 h 889"/>
                  <a:gd name="T8" fmla="*/ 94 w 893"/>
                  <a:gd name="T9" fmla="*/ 1 h 889"/>
                  <a:gd name="T10" fmla="*/ 149 w 893"/>
                  <a:gd name="T11" fmla="*/ 1 h 889"/>
                  <a:gd name="T12" fmla="*/ 282 w 893"/>
                  <a:gd name="T13" fmla="*/ 1 h 889"/>
                  <a:gd name="T14" fmla="*/ 356 w 893"/>
                  <a:gd name="T15" fmla="*/ 1 h 889"/>
                  <a:gd name="T16" fmla="*/ 424 w 893"/>
                  <a:gd name="T17" fmla="*/ 1 h 889"/>
                  <a:gd name="T18" fmla="*/ 456 w 893"/>
                  <a:gd name="T19" fmla="*/ 1 h 889"/>
                  <a:gd name="T20" fmla="*/ 506 w 893"/>
                  <a:gd name="T21" fmla="*/ 1 h 889"/>
                  <a:gd name="T22" fmla="*/ 543 w 893"/>
                  <a:gd name="T23" fmla="*/ 1 h 889"/>
                  <a:gd name="T24" fmla="*/ 562 w 893"/>
                  <a:gd name="T25" fmla="*/ 1 h 889"/>
                  <a:gd name="T26" fmla="*/ 569 w 893"/>
                  <a:gd name="T27" fmla="*/ 1 h 889"/>
                  <a:gd name="T28" fmla="*/ 650 w 893"/>
                  <a:gd name="T29" fmla="*/ 1 h 889"/>
                  <a:gd name="T30" fmla="*/ 668 w 893"/>
                  <a:gd name="T31" fmla="*/ 1 h 889"/>
                  <a:gd name="T32" fmla="*/ 687 w 893"/>
                  <a:gd name="T33" fmla="*/ 1 h 889"/>
                  <a:gd name="T34" fmla="*/ 681 w 893"/>
                  <a:gd name="T35" fmla="*/ 1 h 889"/>
                  <a:gd name="T36" fmla="*/ 744 w 893"/>
                  <a:gd name="T37" fmla="*/ 1 h 889"/>
                  <a:gd name="T38" fmla="*/ 750 w 893"/>
                  <a:gd name="T39" fmla="*/ 1 h 889"/>
                  <a:gd name="T40" fmla="*/ 737 w 893"/>
                  <a:gd name="T41" fmla="*/ 1 h 889"/>
                  <a:gd name="T42" fmla="*/ 744 w 893"/>
                  <a:gd name="T43" fmla="*/ 1 h 889"/>
                  <a:gd name="T44" fmla="*/ 756 w 893"/>
                  <a:gd name="T45" fmla="*/ 1 h 889"/>
                  <a:gd name="T46" fmla="*/ 762 w 893"/>
                  <a:gd name="T47" fmla="*/ 1 h 889"/>
                  <a:gd name="T48" fmla="*/ 787 w 893"/>
                  <a:gd name="T49" fmla="*/ 1 h 889"/>
                  <a:gd name="T50" fmla="*/ 831 w 893"/>
                  <a:gd name="T51" fmla="*/ 1 h 889"/>
                  <a:gd name="T52" fmla="*/ 893 w 893"/>
                  <a:gd name="T53" fmla="*/ 1 h 889"/>
                  <a:gd name="T54" fmla="*/ 881 w 893"/>
                  <a:gd name="T55" fmla="*/ 1 h 889"/>
                  <a:gd name="T56" fmla="*/ 856 w 893"/>
                  <a:gd name="T57" fmla="*/ 1 h 889"/>
                  <a:gd name="T58" fmla="*/ 756 w 893"/>
                  <a:gd name="T59" fmla="*/ 1 h 889"/>
                  <a:gd name="T60" fmla="*/ 706 w 893"/>
                  <a:gd name="T61" fmla="*/ 1 h 889"/>
                  <a:gd name="T62" fmla="*/ 662 w 893"/>
                  <a:gd name="T63" fmla="*/ 1 h 889"/>
                  <a:gd name="T64" fmla="*/ 643 w 893"/>
                  <a:gd name="T65" fmla="*/ 1 h 889"/>
                  <a:gd name="T66" fmla="*/ 650 w 893"/>
                  <a:gd name="T67" fmla="*/ 1 h 889"/>
                  <a:gd name="T68" fmla="*/ 643 w 893"/>
                  <a:gd name="T69" fmla="*/ 1 h 889"/>
                  <a:gd name="T70" fmla="*/ 637 w 893"/>
                  <a:gd name="T71" fmla="*/ 1 h 889"/>
                  <a:gd name="T72" fmla="*/ 593 w 893"/>
                  <a:gd name="T73" fmla="*/ 1 h 889"/>
                  <a:gd name="T74" fmla="*/ 575 w 893"/>
                  <a:gd name="T75" fmla="*/ 1 h 889"/>
                  <a:gd name="T76" fmla="*/ 581 w 893"/>
                  <a:gd name="T77" fmla="*/ 1 h 889"/>
                  <a:gd name="T78" fmla="*/ 588 w 893"/>
                  <a:gd name="T79" fmla="*/ 1 h 889"/>
                  <a:gd name="T80" fmla="*/ 625 w 893"/>
                  <a:gd name="T81" fmla="*/ 1 h 889"/>
                  <a:gd name="T82" fmla="*/ 562 w 893"/>
                  <a:gd name="T83" fmla="*/ 1 h 889"/>
                  <a:gd name="T84" fmla="*/ 531 w 893"/>
                  <a:gd name="T85" fmla="*/ 1 h 889"/>
                  <a:gd name="T86" fmla="*/ 538 w 893"/>
                  <a:gd name="T87" fmla="*/ 1 h 889"/>
                  <a:gd name="T88" fmla="*/ 456 w 893"/>
                  <a:gd name="T89" fmla="*/ 0 h 889"/>
                  <a:gd name="T90" fmla="*/ 25 w 893"/>
                  <a:gd name="T91" fmla="*/ 1 h 889"/>
                  <a:gd name="T92" fmla="*/ 25 w 893"/>
                  <a:gd name="T93" fmla="*/ 1 h 889"/>
                  <a:gd name="T94" fmla="*/ 0 w 893"/>
                  <a:gd name="T95" fmla="*/ 1 h 88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893" h="889">
                    <a:moveTo>
                      <a:pt x="0" y="44"/>
                    </a:moveTo>
                    <a:lnTo>
                      <a:pt x="6" y="123"/>
                    </a:lnTo>
                    <a:lnTo>
                      <a:pt x="19" y="132"/>
                    </a:lnTo>
                    <a:lnTo>
                      <a:pt x="12" y="132"/>
                    </a:lnTo>
                    <a:lnTo>
                      <a:pt x="0" y="355"/>
                    </a:lnTo>
                    <a:lnTo>
                      <a:pt x="25" y="443"/>
                    </a:lnTo>
                    <a:lnTo>
                      <a:pt x="38" y="443"/>
                    </a:lnTo>
                    <a:lnTo>
                      <a:pt x="30" y="466"/>
                    </a:lnTo>
                    <a:lnTo>
                      <a:pt x="62" y="566"/>
                    </a:lnTo>
                    <a:lnTo>
                      <a:pt x="94" y="589"/>
                    </a:lnTo>
                    <a:lnTo>
                      <a:pt x="112" y="645"/>
                    </a:lnTo>
                    <a:lnTo>
                      <a:pt x="149" y="633"/>
                    </a:lnTo>
                    <a:lnTo>
                      <a:pt x="213" y="678"/>
                    </a:lnTo>
                    <a:lnTo>
                      <a:pt x="282" y="668"/>
                    </a:lnTo>
                    <a:lnTo>
                      <a:pt x="324" y="756"/>
                    </a:lnTo>
                    <a:lnTo>
                      <a:pt x="356" y="733"/>
                    </a:lnTo>
                    <a:lnTo>
                      <a:pt x="393" y="845"/>
                    </a:lnTo>
                    <a:lnTo>
                      <a:pt x="424" y="866"/>
                    </a:lnTo>
                    <a:lnTo>
                      <a:pt x="424" y="801"/>
                    </a:lnTo>
                    <a:lnTo>
                      <a:pt x="456" y="768"/>
                    </a:lnTo>
                    <a:lnTo>
                      <a:pt x="456" y="733"/>
                    </a:lnTo>
                    <a:lnTo>
                      <a:pt x="506" y="733"/>
                    </a:lnTo>
                    <a:lnTo>
                      <a:pt x="543" y="756"/>
                    </a:lnTo>
                    <a:lnTo>
                      <a:pt x="543" y="722"/>
                    </a:lnTo>
                    <a:lnTo>
                      <a:pt x="531" y="712"/>
                    </a:lnTo>
                    <a:lnTo>
                      <a:pt x="562" y="712"/>
                    </a:lnTo>
                    <a:lnTo>
                      <a:pt x="569" y="699"/>
                    </a:lnTo>
                    <a:lnTo>
                      <a:pt x="569" y="722"/>
                    </a:lnTo>
                    <a:lnTo>
                      <a:pt x="631" y="722"/>
                    </a:lnTo>
                    <a:lnTo>
                      <a:pt x="650" y="756"/>
                    </a:lnTo>
                    <a:lnTo>
                      <a:pt x="650" y="812"/>
                    </a:lnTo>
                    <a:lnTo>
                      <a:pt x="668" y="889"/>
                    </a:lnTo>
                    <a:lnTo>
                      <a:pt x="681" y="889"/>
                    </a:lnTo>
                    <a:lnTo>
                      <a:pt x="687" y="835"/>
                    </a:lnTo>
                    <a:lnTo>
                      <a:pt x="668" y="699"/>
                    </a:lnTo>
                    <a:lnTo>
                      <a:pt x="681" y="633"/>
                    </a:lnTo>
                    <a:lnTo>
                      <a:pt x="756" y="534"/>
                    </a:lnTo>
                    <a:lnTo>
                      <a:pt x="744" y="511"/>
                    </a:lnTo>
                    <a:lnTo>
                      <a:pt x="756" y="511"/>
                    </a:lnTo>
                    <a:lnTo>
                      <a:pt x="750" y="478"/>
                    </a:lnTo>
                    <a:lnTo>
                      <a:pt x="750" y="443"/>
                    </a:lnTo>
                    <a:lnTo>
                      <a:pt x="737" y="422"/>
                    </a:lnTo>
                    <a:lnTo>
                      <a:pt x="750" y="434"/>
                    </a:lnTo>
                    <a:lnTo>
                      <a:pt x="744" y="399"/>
                    </a:lnTo>
                    <a:lnTo>
                      <a:pt x="756" y="388"/>
                    </a:lnTo>
                    <a:lnTo>
                      <a:pt x="756" y="466"/>
                    </a:lnTo>
                    <a:lnTo>
                      <a:pt x="768" y="422"/>
                    </a:lnTo>
                    <a:lnTo>
                      <a:pt x="762" y="378"/>
                    </a:lnTo>
                    <a:lnTo>
                      <a:pt x="768" y="399"/>
                    </a:lnTo>
                    <a:lnTo>
                      <a:pt x="787" y="334"/>
                    </a:lnTo>
                    <a:lnTo>
                      <a:pt x="850" y="299"/>
                    </a:lnTo>
                    <a:lnTo>
                      <a:pt x="831" y="278"/>
                    </a:lnTo>
                    <a:lnTo>
                      <a:pt x="843" y="234"/>
                    </a:lnTo>
                    <a:lnTo>
                      <a:pt x="893" y="190"/>
                    </a:lnTo>
                    <a:lnTo>
                      <a:pt x="893" y="167"/>
                    </a:lnTo>
                    <a:lnTo>
                      <a:pt x="881" y="144"/>
                    </a:lnTo>
                    <a:lnTo>
                      <a:pt x="881" y="100"/>
                    </a:lnTo>
                    <a:lnTo>
                      <a:pt x="856" y="78"/>
                    </a:lnTo>
                    <a:lnTo>
                      <a:pt x="837" y="167"/>
                    </a:lnTo>
                    <a:lnTo>
                      <a:pt x="756" y="199"/>
                    </a:lnTo>
                    <a:lnTo>
                      <a:pt x="750" y="234"/>
                    </a:lnTo>
                    <a:lnTo>
                      <a:pt x="706" y="246"/>
                    </a:lnTo>
                    <a:lnTo>
                      <a:pt x="712" y="255"/>
                    </a:lnTo>
                    <a:lnTo>
                      <a:pt x="662" y="311"/>
                    </a:lnTo>
                    <a:lnTo>
                      <a:pt x="643" y="311"/>
                    </a:lnTo>
                    <a:lnTo>
                      <a:pt x="643" y="290"/>
                    </a:lnTo>
                    <a:lnTo>
                      <a:pt x="643" y="278"/>
                    </a:lnTo>
                    <a:lnTo>
                      <a:pt x="650" y="267"/>
                    </a:lnTo>
                    <a:lnTo>
                      <a:pt x="657" y="255"/>
                    </a:lnTo>
                    <a:lnTo>
                      <a:pt x="643" y="211"/>
                    </a:lnTo>
                    <a:lnTo>
                      <a:pt x="631" y="221"/>
                    </a:lnTo>
                    <a:lnTo>
                      <a:pt x="637" y="167"/>
                    </a:lnTo>
                    <a:lnTo>
                      <a:pt x="612" y="144"/>
                    </a:lnTo>
                    <a:lnTo>
                      <a:pt x="593" y="190"/>
                    </a:lnTo>
                    <a:lnTo>
                      <a:pt x="588" y="290"/>
                    </a:lnTo>
                    <a:lnTo>
                      <a:pt x="575" y="299"/>
                    </a:lnTo>
                    <a:lnTo>
                      <a:pt x="569" y="246"/>
                    </a:lnTo>
                    <a:lnTo>
                      <a:pt x="581" y="167"/>
                    </a:lnTo>
                    <a:lnTo>
                      <a:pt x="569" y="176"/>
                    </a:lnTo>
                    <a:lnTo>
                      <a:pt x="588" y="144"/>
                    </a:lnTo>
                    <a:lnTo>
                      <a:pt x="631" y="132"/>
                    </a:lnTo>
                    <a:lnTo>
                      <a:pt x="625" y="123"/>
                    </a:lnTo>
                    <a:lnTo>
                      <a:pt x="618" y="123"/>
                    </a:lnTo>
                    <a:lnTo>
                      <a:pt x="562" y="100"/>
                    </a:lnTo>
                    <a:lnTo>
                      <a:pt x="569" y="78"/>
                    </a:lnTo>
                    <a:lnTo>
                      <a:pt x="531" y="111"/>
                    </a:lnTo>
                    <a:lnTo>
                      <a:pt x="506" y="111"/>
                    </a:lnTo>
                    <a:lnTo>
                      <a:pt x="538" y="53"/>
                    </a:lnTo>
                    <a:lnTo>
                      <a:pt x="469" y="23"/>
                    </a:lnTo>
                    <a:lnTo>
                      <a:pt x="456" y="0"/>
                    </a:lnTo>
                    <a:lnTo>
                      <a:pt x="456" y="23"/>
                    </a:lnTo>
                    <a:lnTo>
                      <a:pt x="25" y="23"/>
                    </a:lnTo>
                    <a:lnTo>
                      <a:pt x="38" y="53"/>
                    </a:lnTo>
                    <a:lnTo>
                      <a:pt x="25" y="78"/>
                    </a:lnTo>
                    <a:lnTo>
                      <a:pt x="25" y="53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02" name="Freeform 827"/>
              <p:cNvSpPr>
                <a:spLocks/>
              </p:cNvSpPr>
              <p:nvPr/>
            </p:nvSpPr>
            <p:spPr bwMode="auto">
              <a:xfrm>
                <a:off x="1006" y="1796"/>
                <a:ext cx="893" cy="445"/>
              </a:xfrm>
              <a:custGeom>
                <a:avLst/>
                <a:gdLst>
                  <a:gd name="T0" fmla="*/ 6 w 893"/>
                  <a:gd name="T1" fmla="*/ 1 h 889"/>
                  <a:gd name="T2" fmla="*/ 12 w 893"/>
                  <a:gd name="T3" fmla="*/ 1 h 889"/>
                  <a:gd name="T4" fmla="*/ 25 w 893"/>
                  <a:gd name="T5" fmla="*/ 1 h 889"/>
                  <a:gd name="T6" fmla="*/ 30 w 893"/>
                  <a:gd name="T7" fmla="*/ 1 h 889"/>
                  <a:gd name="T8" fmla="*/ 94 w 893"/>
                  <a:gd name="T9" fmla="*/ 1 h 889"/>
                  <a:gd name="T10" fmla="*/ 149 w 893"/>
                  <a:gd name="T11" fmla="*/ 1 h 889"/>
                  <a:gd name="T12" fmla="*/ 282 w 893"/>
                  <a:gd name="T13" fmla="*/ 1 h 889"/>
                  <a:gd name="T14" fmla="*/ 356 w 893"/>
                  <a:gd name="T15" fmla="*/ 1 h 889"/>
                  <a:gd name="T16" fmla="*/ 424 w 893"/>
                  <a:gd name="T17" fmla="*/ 1 h 889"/>
                  <a:gd name="T18" fmla="*/ 456 w 893"/>
                  <a:gd name="T19" fmla="*/ 1 h 889"/>
                  <a:gd name="T20" fmla="*/ 506 w 893"/>
                  <a:gd name="T21" fmla="*/ 1 h 889"/>
                  <a:gd name="T22" fmla="*/ 543 w 893"/>
                  <a:gd name="T23" fmla="*/ 1 h 889"/>
                  <a:gd name="T24" fmla="*/ 562 w 893"/>
                  <a:gd name="T25" fmla="*/ 1 h 889"/>
                  <a:gd name="T26" fmla="*/ 569 w 893"/>
                  <a:gd name="T27" fmla="*/ 1 h 889"/>
                  <a:gd name="T28" fmla="*/ 650 w 893"/>
                  <a:gd name="T29" fmla="*/ 1 h 889"/>
                  <a:gd name="T30" fmla="*/ 668 w 893"/>
                  <a:gd name="T31" fmla="*/ 1 h 889"/>
                  <a:gd name="T32" fmla="*/ 687 w 893"/>
                  <a:gd name="T33" fmla="*/ 1 h 889"/>
                  <a:gd name="T34" fmla="*/ 681 w 893"/>
                  <a:gd name="T35" fmla="*/ 1 h 889"/>
                  <a:gd name="T36" fmla="*/ 744 w 893"/>
                  <a:gd name="T37" fmla="*/ 1 h 889"/>
                  <a:gd name="T38" fmla="*/ 750 w 893"/>
                  <a:gd name="T39" fmla="*/ 1 h 889"/>
                  <a:gd name="T40" fmla="*/ 737 w 893"/>
                  <a:gd name="T41" fmla="*/ 1 h 889"/>
                  <a:gd name="T42" fmla="*/ 744 w 893"/>
                  <a:gd name="T43" fmla="*/ 1 h 889"/>
                  <a:gd name="T44" fmla="*/ 756 w 893"/>
                  <a:gd name="T45" fmla="*/ 1 h 889"/>
                  <a:gd name="T46" fmla="*/ 762 w 893"/>
                  <a:gd name="T47" fmla="*/ 1 h 889"/>
                  <a:gd name="T48" fmla="*/ 787 w 893"/>
                  <a:gd name="T49" fmla="*/ 1 h 889"/>
                  <a:gd name="T50" fmla="*/ 831 w 893"/>
                  <a:gd name="T51" fmla="*/ 1 h 889"/>
                  <a:gd name="T52" fmla="*/ 893 w 893"/>
                  <a:gd name="T53" fmla="*/ 1 h 889"/>
                  <a:gd name="T54" fmla="*/ 881 w 893"/>
                  <a:gd name="T55" fmla="*/ 1 h 889"/>
                  <a:gd name="T56" fmla="*/ 856 w 893"/>
                  <a:gd name="T57" fmla="*/ 1 h 889"/>
                  <a:gd name="T58" fmla="*/ 756 w 893"/>
                  <a:gd name="T59" fmla="*/ 1 h 889"/>
                  <a:gd name="T60" fmla="*/ 706 w 893"/>
                  <a:gd name="T61" fmla="*/ 1 h 889"/>
                  <a:gd name="T62" fmla="*/ 662 w 893"/>
                  <a:gd name="T63" fmla="*/ 1 h 889"/>
                  <a:gd name="T64" fmla="*/ 643 w 893"/>
                  <a:gd name="T65" fmla="*/ 1 h 889"/>
                  <a:gd name="T66" fmla="*/ 650 w 893"/>
                  <a:gd name="T67" fmla="*/ 1 h 889"/>
                  <a:gd name="T68" fmla="*/ 643 w 893"/>
                  <a:gd name="T69" fmla="*/ 1 h 889"/>
                  <a:gd name="T70" fmla="*/ 637 w 893"/>
                  <a:gd name="T71" fmla="*/ 1 h 889"/>
                  <a:gd name="T72" fmla="*/ 593 w 893"/>
                  <a:gd name="T73" fmla="*/ 1 h 889"/>
                  <a:gd name="T74" fmla="*/ 575 w 893"/>
                  <a:gd name="T75" fmla="*/ 1 h 889"/>
                  <a:gd name="T76" fmla="*/ 581 w 893"/>
                  <a:gd name="T77" fmla="*/ 1 h 889"/>
                  <a:gd name="T78" fmla="*/ 588 w 893"/>
                  <a:gd name="T79" fmla="*/ 1 h 889"/>
                  <a:gd name="T80" fmla="*/ 625 w 893"/>
                  <a:gd name="T81" fmla="*/ 1 h 889"/>
                  <a:gd name="T82" fmla="*/ 562 w 893"/>
                  <a:gd name="T83" fmla="*/ 1 h 889"/>
                  <a:gd name="T84" fmla="*/ 531 w 893"/>
                  <a:gd name="T85" fmla="*/ 1 h 889"/>
                  <a:gd name="T86" fmla="*/ 538 w 893"/>
                  <a:gd name="T87" fmla="*/ 1 h 889"/>
                  <a:gd name="T88" fmla="*/ 456 w 893"/>
                  <a:gd name="T89" fmla="*/ 0 h 889"/>
                  <a:gd name="T90" fmla="*/ 25 w 893"/>
                  <a:gd name="T91" fmla="*/ 1 h 889"/>
                  <a:gd name="T92" fmla="*/ 25 w 893"/>
                  <a:gd name="T93" fmla="*/ 1 h 889"/>
                  <a:gd name="T94" fmla="*/ 0 w 893"/>
                  <a:gd name="T95" fmla="*/ 1 h 88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893" h="889">
                    <a:moveTo>
                      <a:pt x="0" y="44"/>
                    </a:moveTo>
                    <a:lnTo>
                      <a:pt x="6" y="123"/>
                    </a:lnTo>
                    <a:lnTo>
                      <a:pt x="19" y="132"/>
                    </a:lnTo>
                    <a:lnTo>
                      <a:pt x="12" y="132"/>
                    </a:lnTo>
                    <a:lnTo>
                      <a:pt x="0" y="355"/>
                    </a:lnTo>
                    <a:lnTo>
                      <a:pt x="25" y="443"/>
                    </a:lnTo>
                    <a:lnTo>
                      <a:pt x="38" y="443"/>
                    </a:lnTo>
                    <a:lnTo>
                      <a:pt x="30" y="466"/>
                    </a:lnTo>
                    <a:lnTo>
                      <a:pt x="62" y="566"/>
                    </a:lnTo>
                    <a:lnTo>
                      <a:pt x="94" y="589"/>
                    </a:lnTo>
                    <a:lnTo>
                      <a:pt x="112" y="645"/>
                    </a:lnTo>
                    <a:lnTo>
                      <a:pt x="149" y="633"/>
                    </a:lnTo>
                    <a:lnTo>
                      <a:pt x="213" y="678"/>
                    </a:lnTo>
                    <a:lnTo>
                      <a:pt x="282" y="668"/>
                    </a:lnTo>
                    <a:lnTo>
                      <a:pt x="324" y="756"/>
                    </a:lnTo>
                    <a:lnTo>
                      <a:pt x="356" y="733"/>
                    </a:lnTo>
                    <a:lnTo>
                      <a:pt x="393" y="845"/>
                    </a:lnTo>
                    <a:lnTo>
                      <a:pt x="424" y="866"/>
                    </a:lnTo>
                    <a:lnTo>
                      <a:pt x="424" y="801"/>
                    </a:lnTo>
                    <a:lnTo>
                      <a:pt x="456" y="768"/>
                    </a:lnTo>
                    <a:lnTo>
                      <a:pt x="456" y="733"/>
                    </a:lnTo>
                    <a:lnTo>
                      <a:pt x="506" y="733"/>
                    </a:lnTo>
                    <a:lnTo>
                      <a:pt x="543" y="756"/>
                    </a:lnTo>
                    <a:lnTo>
                      <a:pt x="543" y="722"/>
                    </a:lnTo>
                    <a:lnTo>
                      <a:pt x="531" y="712"/>
                    </a:lnTo>
                    <a:lnTo>
                      <a:pt x="562" y="712"/>
                    </a:lnTo>
                    <a:lnTo>
                      <a:pt x="569" y="699"/>
                    </a:lnTo>
                    <a:lnTo>
                      <a:pt x="569" y="722"/>
                    </a:lnTo>
                    <a:lnTo>
                      <a:pt x="631" y="722"/>
                    </a:lnTo>
                    <a:lnTo>
                      <a:pt x="650" y="756"/>
                    </a:lnTo>
                    <a:lnTo>
                      <a:pt x="650" y="812"/>
                    </a:lnTo>
                    <a:lnTo>
                      <a:pt x="668" y="889"/>
                    </a:lnTo>
                    <a:lnTo>
                      <a:pt x="681" y="889"/>
                    </a:lnTo>
                    <a:lnTo>
                      <a:pt x="687" y="835"/>
                    </a:lnTo>
                    <a:lnTo>
                      <a:pt x="668" y="699"/>
                    </a:lnTo>
                    <a:lnTo>
                      <a:pt x="681" y="633"/>
                    </a:lnTo>
                    <a:lnTo>
                      <a:pt x="756" y="534"/>
                    </a:lnTo>
                    <a:lnTo>
                      <a:pt x="744" y="511"/>
                    </a:lnTo>
                    <a:lnTo>
                      <a:pt x="756" y="511"/>
                    </a:lnTo>
                    <a:lnTo>
                      <a:pt x="750" y="478"/>
                    </a:lnTo>
                    <a:lnTo>
                      <a:pt x="750" y="443"/>
                    </a:lnTo>
                    <a:lnTo>
                      <a:pt x="737" y="422"/>
                    </a:lnTo>
                    <a:lnTo>
                      <a:pt x="750" y="434"/>
                    </a:lnTo>
                    <a:lnTo>
                      <a:pt x="744" y="399"/>
                    </a:lnTo>
                    <a:lnTo>
                      <a:pt x="756" y="388"/>
                    </a:lnTo>
                    <a:lnTo>
                      <a:pt x="756" y="466"/>
                    </a:lnTo>
                    <a:lnTo>
                      <a:pt x="768" y="422"/>
                    </a:lnTo>
                    <a:lnTo>
                      <a:pt x="762" y="378"/>
                    </a:lnTo>
                    <a:lnTo>
                      <a:pt x="768" y="399"/>
                    </a:lnTo>
                    <a:lnTo>
                      <a:pt x="787" y="334"/>
                    </a:lnTo>
                    <a:lnTo>
                      <a:pt x="850" y="299"/>
                    </a:lnTo>
                    <a:lnTo>
                      <a:pt x="831" y="278"/>
                    </a:lnTo>
                    <a:lnTo>
                      <a:pt x="843" y="234"/>
                    </a:lnTo>
                    <a:lnTo>
                      <a:pt x="893" y="190"/>
                    </a:lnTo>
                    <a:lnTo>
                      <a:pt x="893" y="167"/>
                    </a:lnTo>
                    <a:lnTo>
                      <a:pt x="881" y="144"/>
                    </a:lnTo>
                    <a:lnTo>
                      <a:pt x="881" y="100"/>
                    </a:lnTo>
                    <a:lnTo>
                      <a:pt x="856" y="78"/>
                    </a:lnTo>
                    <a:lnTo>
                      <a:pt x="837" y="167"/>
                    </a:lnTo>
                    <a:lnTo>
                      <a:pt x="756" y="199"/>
                    </a:lnTo>
                    <a:lnTo>
                      <a:pt x="750" y="234"/>
                    </a:lnTo>
                    <a:lnTo>
                      <a:pt x="706" y="246"/>
                    </a:lnTo>
                    <a:lnTo>
                      <a:pt x="712" y="255"/>
                    </a:lnTo>
                    <a:lnTo>
                      <a:pt x="662" y="311"/>
                    </a:lnTo>
                    <a:lnTo>
                      <a:pt x="643" y="311"/>
                    </a:lnTo>
                    <a:lnTo>
                      <a:pt x="643" y="290"/>
                    </a:lnTo>
                    <a:lnTo>
                      <a:pt x="643" y="278"/>
                    </a:lnTo>
                    <a:lnTo>
                      <a:pt x="650" y="267"/>
                    </a:lnTo>
                    <a:lnTo>
                      <a:pt x="657" y="255"/>
                    </a:lnTo>
                    <a:lnTo>
                      <a:pt x="643" y="211"/>
                    </a:lnTo>
                    <a:lnTo>
                      <a:pt x="631" y="221"/>
                    </a:lnTo>
                    <a:lnTo>
                      <a:pt x="637" y="167"/>
                    </a:lnTo>
                    <a:lnTo>
                      <a:pt x="612" y="144"/>
                    </a:lnTo>
                    <a:lnTo>
                      <a:pt x="593" y="190"/>
                    </a:lnTo>
                    <a:lnTo>
                      <a:pt x="588" y="290"/>
                    </a:lnTo>
                    <a:lnTo>
                      <a:pt x="575" y="299"/>
                    </a:lnTo>
                    <a:lnTo>
                      <a:pt x="569" y="246"/>
                    </a:lnTo>
                    <a:lnTo>
                      <a:pt x="581" y="167"/>
                    </a:lnTo>
                    <a:lnTo>
                      <a:pt x="569" y="176"/>
                    </a:lnTo>
                    <a:lnTo>
                      <a:pt x="588" y="144"/>
                    </a:lnTo>
                    <a:lnTo>
                      <a:pt x="631" y="132"/>
                    </a:lnTo>
                    <a:lnTo>
                      <a:pt x="625" y="123"/>
                    </a:lnTo>
                    <a:lnTo>
                      <a:pt x="618" y="123"/>
                    </a:lnTo>
                    <a:lnTo>
                      <a:pt x="562" y="100"/>
                    </a:lnTo>
                    <a:lnTo>
                      <a:pt x="569" y="78"/>
                    </a:lnTo>
                    <a:lnTo>
                      <a:pt x="531" y="111"/>
                    </a:lnTo>
                    <a:lnTo>
                      <a:pt x="506" y="111"/>
                    </a:lnTo>
                    <a:lnTo>
                      <a:pt x="538" y="53"/>
                    </a:lnTo>
                    <a:lnTo>
                      <a:pt x="469" y="23"/>
                    </a:lnTo>
                    <a:lnTo>
                      <a:pt x="456" y="0"/>
                    </a:lnTo>
                    <a:lnTo>
                      <a:pt x="456" y="23"/>
                    </a:lnTo>
                    <a:lnTo>
                      <a:pt x="25" y="23"/>
                    </a:lnTo>
                    <a:lnTo>
                      <a:pt x="38" y="53"/>
                    </a:lnTo>
                    <a:lnTo>
                      <a:pt x="25" y="78"/>
                    </a:lnTo>
                    <a:lnTo>
                      <a:pt x="25" y="53"/>
                    </a:lnTo>
                    <a:lnTo>
                      <a:pt x="0" y="4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870" name="Freeform 828"/>
            <p:cNvSpPr>
              <a:spLocks/>
            </p:cNvSpPr>
            <p:nvPr>
              <p:custDataLst>
                <p:tags r:id="rId678"/>
              </p:custDataLst>
            </p:nvPr>
          </p:nvSpPr>
          <p:spPr bwMode="auto">
            <a:xfrm>
              <a:off x="2195724" y="3438095"/>
              <a:ext cx="1654040" cy="706438"/>
            </a:xfrm>
            <a:custGeom>
              <a:avLst/>
              <a:gdLst>
                <a:gd name="T0" fmla="*/ 2147483647 w 893"/>
                <a:gd name="T1" fmla="*/ 2147483647 h 889"/>
                <a:gd name="T2" fmla="*/ 2147483647 w 893"/>
                <a:gd name="T3" fmla="*/ 2147483647 h 889"/>
                <a:gd name="T4" fmla="*/ 2147483647 w 893"/>
                <a:gd name="T5" fmla="*/ 2147483647 h 889"/>
                <a:gd name="T6" fmla="*/ 2147483647 w 893"/>
                <a:gd name="T7" fmla="*/ 2147483647 h 889"/>
                <a:gd name="T8" fmla="*/ 2147483647 w 893"/>
                <a:gd name="T9" fmla="*/ 2147483647 h 889"/>
                <a:gd name="T10" fmla="*/ 2147483647 w 893"/>
                <a:gd name="T11" fmla="*/ 2147483647 h 889"/>
                <a:gd name="T12" fmla="*/ 2147483647 w 893"/>
                <a:gd name="T13" fmla="*/ 2147483647 h 889"/>
                <a:gd name="T14" fmla="*/ 2147483647 w 893"/>
                <a:gd name="T15" fmla="*/ 2147483647 h 889"/>
                <a:gd name="T16" fmla="*/ 2147483647 w 893"/>
                <a:gd name="T17" fmla="*/ 2147483647 h 889"/>
                <a:gd name="T18" fmla="*/ 2147483647 w 893"/>
                <a:gd name="T19" fmla="*/ 2147483647 h 889"/>
                <a:gd name="T20" fmla="*/ 2147483647 w 893"/>
                <a:gd name="T21" fmla="*/ 2147483647 h 889"/>
                <a:gd name="T22" fmla="*/ 2147483647 w 893"/>
                <a:gd name="T23" fmla="*/ 2147483647 h 889"/>
                <a:gd name="T24" fmla="*/ 2147483647 w 893"/>
                <a:gd name="T25" fmla="*/ 2147483647 h 889"/>
                <a:gd name="T26" fmla="*/ 2147483647 w 893"/>
                <a:gd name="T27" fmla="*/ 2147483647 h 889"/>
                <a:gd name="T28" fmla="*/ 2147483647 w 893"/>
                <a:gd name="T29" fmla="*/ 2147483647 h 889"/>
                <a:gd name="T30" fmla="*/ 2147483647 w 893"/>
                <a:gd name="T31" fmla="*/ 2147483647 h 889"/>
                <a:gd name="T32" fmla="*/ 2147483647 w 893"/>
                <a:gd name="T33" fmla="*/ 2147483647 h 889"/>
                <a:gd name="T34" fmla="*/ 2147483647 w 893"/>
                <a:gd name="T35" fmla="*/ 2147483647 h 889"/>
                <a:gd name="T36" fmla="*/ 2147483647 w 893"/>
                <a:gd name="T37" fmla="*/ 2147483647 h 889"/>
                <a:gd name="T38" fmla="*/ 2147483647 w 893"/>
                <a:gd name="T39" fmla="*/ 2147483647 h 889"/>
                <a:gd name="T40" fmla="*/ 2147483647 w 893"/>
                <a:gd name="T41" fmla="*/ 2147483647 h 889"/>
                <a:gd name="T42" fmla="*/ 2147483647 w 893"/>
                <a:gd name="T43" fmla="*/ 2147483647 h 889"/>
                <a:gd name="T44" fmla="*/ 2147483647 w 893"/>
                <a:gd name="T45" fmla="*/ 2147483647 h 889"/>
                <a:gd name="T46" fmla="*/ 2147483647 w 893"/>
                <a:gd name="T47" fmla="*/ 2147483647 h 889"/>
                <a:gd name="T48" fmla="*/ 2147483647 w 893"/>
                <a:gd name="T49" fmla="*/ 2147483647 h 889"/>
                <a:gd name="T50" fmla="*/ 2147483647 w 893"/>
                <a:gd name="T51" fmla="*/ 2147483647 h 889"/>
                <a:gd name="T52" fmla="*/ 2147483647 w 893"/>
                <a:gd name="T53" fmla="*/ 2147483647 h 889"/>
                <a:gd name="T54" fmla="*/ 2147483647 w 893"/>
                <a:gd name="T55" fmla="*/ 2147483647 h 889"/>
                <a:gd name="T56" fmla="*/ 2147483647 w 893"/>
                <a:gd name="T57" fmla="*/ 2147483647 h 889"/>
                <a:gd name="T58" fmla="*/ 2147483647 w 893"/>
                <a:gd name="T59" fmla="*/ 2147483647 h 889"/>
                <a:gd name="T60" fmla="*/ 2147483647 w 893"/>
                <a:gd name="T61" fmla="*/ 2147483647 h 889"/>
                <a:gd name="T62" fmla="*/ 2147483647 w 893"/>
                <a:gd name="T63" fmla="*/ 2147483647 h 889"/>
                <a:gd name="T64" fmla="*/ 2147483647 w 893"/>
                <a:gd name="T65" fmla="*/ 2147483647 h 889"/>
                <a:gd name="T66" fmla="*/ 2147483647 w 893"/>
                <a:gd name="T67" fmla="*/ 2147483647 h 889"/>
                <a:gd name="T68" fmla="*/ 2147483647 w 893"/>
                <a:gd name="T69" fmla="*/ 2147483647 h 889"/>
                <a:gd name="T70" fmla="*/ 2147483647 w 893"/>
                <a:gd name="T71" fmla="*/ 2147483647 h 889"/>
                <a:gd name="T72" fmla="*/ 2147483647 w 893"/>
                <a:gd name="T73" fmla="*/ 2147483647 h 889"/>
                <a:gd name="T74" fmla="*/ 2147483647 w 893"/>
                <a:gd name="T75" fmla="*/ 2147483647 h 889"/>
                <a:gd name="T76" fmla="*/ 2147483647 w 893"/>
                <a:gd name="T77" fmla="*/ 2147483647 h 889"/>
                <a:gd name="T78" fmla="*/ 2147483647 w 893"/>
                <a:gd name="T79" fmla="*/ 2147483647 h 889"/>
                <a:gd name="T80" fmla="*/ 2147483647 w 893"/>
                <a:gd name="T81" fmla="*/ 2147483647 h 889"/>
                <a:gd name="T82" fmla="*/ 2147483647 w 893"/>
                <a:gd name="T83" fmla="*/ 2147483647 h 889"/>
                <a:gd name="T84" fmla="*/ 2147483647 w 893"/>
                <a:gd name="T85" fmla="*/ 2147483647 h 889"/>
                <a:gd name="T86" fmla="*/ 2147483647 w 893"/>
                <a:gd name="T87" fmla="*/ 2147483647 h 889"/>
                <a:gd name="T88" fmla="*/ 2147483647 w 893"/>
                <a:gd name="T89" fmla="*/ 0 h 889"/>
                <a:gd name="T90" fmla="*/ 2147483647 w 893"/>
                <a:gd name="T91" fmla="*/ 2147483647 h 889"/>
                <a:gd name="T92" fmla="*/ 2147483647 w 893"/>
                <a:gd name="T93" fmla="*/ 2147483647 h 889"/>
                <a:gd name="T94" fmla="*/ 0 w 893"/>
                <a:gd name="T95" fmla="*/ 2147483647 h 88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893" h="889">
                  <a:moveTo>
                    <a:pt x="0" y="44"/>
                  </a:moveTo>
                  <a:lnTo>
                    <a:pt x="6" y="123"/>
                  </a:lnTo>
                  <a:lnTo>
                    <a:pt x="19" y="132"/>
                  </a:lnTo>
                  <a:lnTo>
                    <a:pt x="12" y="132"/>
                  </a:lnTo>
                  <a:lnTo>
                    <a:pt x="0" y="355"/>
                  </a:lnTo>
                  <a:lnTo>
                    <a:pt x="25" y="443"/>
                  </a:lnTo>
                  <a:lnTo>
                    <a:pt x="38" y="443"/>
                  </a:lnTo>
                  <a:lnTo>
                    <a:pt x="30" y="466"/>
                  </a:lnTo>
                  <a:lnTo>
                    <a:pt x="62" y="566"/>
                  </a:lnTo>
                  <a:lnTo>
                    <a:pt x="94" y="589"/>
                  </a:lnTo>
                  <a:lnTo>
                    <a:pt x="112" y="645"/>
                  </a:lnTo>
                  <a:lnTo>
                    <a:pt x="149" y="633"/>
                  </a:lnTo>
                  <a:lnTo>
                    <a:pt x="213" y="678"/>
                  </a:lnTo>
                  <a:lnTo>
                    <a:pt x="282" y="668"/>
                  </a:lnTo>
                  <a:lnTo>
                    <a:pt x="324" y="756"/>
                  </a:lnTo>
                  <a:lnTo>
                    <a:pt x="356" y="733"/>
                  </a:lnTo>
                  <a:lnTo>
                    <a:pt x="393" y="845"/>
                  </a:lnTo>
                  <a:lnTo>
                    <a:pt x="424" y="866"/>
                  </a:lnTo>
                  <a:lnTo>
                    <a:pt x="424" y="801"/>
                  </a:lnTo>
                  <a:lnTo>
                    <a:pt x="456" y="768"/>
                  </a:lnTo>
                  <a:lnTo>
                    <a:pt x="456" y="733"/>
                  </a:lnTo>
                  <a:lnTo>
                    <a:pt x="506" y="733"/>
                  </a:lnTo>
                  <a:lnTo>
                    <a:pt x="543" y="756"/>
                  </a:lnTo>
                  <a:lnTo>
                    <a:pt x="543" y="722"/>
                  </a:lnTo>
                  <a:lnTo>
                    <a:pt x="531" y="712"/>
                  </a:lnTo>
                  <a:lnTo>
                    <a:pt x="562" y="712"/>
                  </a:lnTo>
                  <a:lnTo>
                    <a:pt x="569" y="699"/>
                  </a:lnTo>
                  <a:lnTo>
                    <a:pt x="569" y="722"/>
                  </a:lnTo>
                  <a:lnTo>
                    <a:pt x="631" y="722"/>
                  </a:lnTo>
                  <a:lnTo>
                    <a:pt x="650" y="756"/>
                  </a:lnTo>
                  <a:lnTo>
                    <a:pt x="650" y="812"/>
                  </a:lnTo>
                  <a:lnTo>
                    <a:pt x="668" y="889"/>
                  </a:lnTo>
                  <a:lnTo>
                    <a:pt x="681" y="889"/>
                  </a:lnTo>
                  <a:lnTo>
                    <a:pt x="687" y="835"/>
                  </a:lnTo>
                  <a:lnTo>
                    <a:pt x="668" y="699"/>
                  </a:lnTo>
                  <a:lnTo>
                    <a:pt x="681" y="633"/>
                  </a:lnTo>
                  <a:lnTo>
                    <a:pt x="756" y="534"/>
                  </a:lnTo>
                  <a:lnTo>
                    <a:pt x="744" y="511"/>
                  </a:lnTo>
                  <a:lnTo>
                    <a:pt x="756" y="511"/>
                  </a:lnTo>
                  <a:lnTo>
                    <a:pt x="750" y="478"/>
                  </a:lnTo>
                  <a:lnTo>
                    <a:pt x="750" y="443"/>
                  </a:lnTo>
                  <a:lnTo>
                    <a:pt x="737" y="422"/>
                  </a:lnTo>
                  <a:lnTo>
                    <a:pt x="750" y="434"/>
                  </a:lnTo>
                  <a:lnTo>
                    <a:pt x="744" y="399"/>
                  </a:lnTo>
                  <a:lnTo>
                    <a:pt x="756" y="388"/>
                  </a:lnTo>
                  <a:lnTo>
                    <a:pt x="756" y="466"/>
                  </a:lnTo>
                  <a:lnTo>
                    <a:pt x="768" y="422"/>
                  </a:lnTo>
                  <a:lnTo>
                    <a:pt x="762" y="378"/>
                  </a:lnTo>
                  <a:lnTo>
                    <a:pt x="768" y="399"/>
                  </a:lnTo>
                  <a:lnTo>
                    <a:pt x="787" y="334"/>
                  </a:lnTo>
                  <a:lnTo>
                    <a:pt x="850" y="299"/>
                  </a:lnTo>
                  <a:lnTo>
                    <a:pt x="831" y="278"/>
                  </a:lnTo>
                  <a:lnTo>
                    <a:pt x="843" y="234"/>
                  </a:lnTo>
                  <a:lnTo>
                    <a:pt x="893" y="190"/>
                  </a:lnTo>
                  <a:lnTo>
                    <a:pt x="893" y="167"/>
                  </a:lnTo>
                  <a:lnTo>
                    <a:pt x="881" y="144"/>
                  </a:lnTo>
                  <a:lnTo>
                    <a:pt x="881" y="100"/>
                  </a:lnTo>
                  <a:lnTo>
                    <a:pt x="856" y="78"/>
                  </a:lnTo>
                  <a:lnTo>
                    <a:pt x="837" y="167"/>
                  </a:lnTo>
                  <a:lnTo>
                    <a:pt x="756" y="199"/>
                  </a:lnTo>
                  <a:lnTo>
                    <a:pt x="750" y="234"/>
                  </a:lnTo>
                  <a:lnTo>
                    <a:pt x="706" y="246"/>
                  </a:lnTo>
                  <a:lnTo>
                    <a:pt x="712" y="255"/>
                  </a:lnTo>
                  <a:lnTo>
                    <a:pt x="662" y="311"/>
                  </a:lnTo>
                  <a:lnTo>
                    <a:pt x="643" y="311"/>
                  </a:lnTo>
                  <a:lnTo>
                    <a:pt x="643" y="290"/>
                  </a:lnTo>
                  <a:lnTo>
                    <a:pt x="643" y="278"/>
                  </a:lnTo>
                  <a:lnTo>
                    <a:pt x="650" y="267"/>
                  </a:lnTo>
                  <a:lnTo>
                    <a:pt x="657" y="255"/>
                  </a:lnTo>
                  <a:lnTo>
                    <a:pt x="643" y="211"/>
                  </a:lnTo>
                  <a:lnTo>
                    <a:pt x="631" y="221"/>
                  </a:lnTo>
                  <a:lnTo>
                    <a:pt x="637" y="167"/>
                  </a:lnTo>
                  <a:lnTo>
                    <a:pt x="612" y="144"/>
                  </a:lnTo>
                  <a:lnTo>
                    <a:pt x="593" y="190"/>
                  </a:lnTo>
                  <a:lnTo>
                    <a:pt x="588" y="290"/>
                  </a:lnTo>
                  <a:lnTo>
                    <a:pt x="575" y="299"/>
                  </a:lnTo>
                  <a:lnTo>
                    <a:pt x="569" y="246"/>
                  </a:lnTo>
                  <a:lnTo>
                    <a:pt x="581" y="167"/>
                  </a:lnTo>
                  <a:lnTo>
                    <a:pt x="569" y="176"/>
                  </a:lnTo>
                  <a:lnTo>
                    <a:pt x="588" y="144"/>
                  </a:lnTo>
                  <a:lnTo>
                    <a:pt x="631" y="132"/>
                  </a:lnTo>
                  <a:lnTo>
                    <a:pt x="625" y="123"/>
                  </a:lnTo>
                  <a:lnTo>
                    <a:pt x="618" y="123"/>
                  </a:lnTo>
                  <a:lnTo>
                    <a:pt x="562" y="100"/>
                  </a:lnTo>
                  <a:lnTo>
                    <a:pt x="569" y="78"/>
                  </a:lnTo>
                  <a:lnTo>
                    <a:pt x="531" y="111"/>
                  </a:lnTo>
                  <a:lnTo>
                    <a:pt x="506" y="111"/>
                  </a:lnTo>
                  <a:lnTo>
                    <a:pt x="538" y="53"/>
                  </a:lnTo>
                  <a:lnTo>
                    <a:pt x="469" y="23"/>
                  </a:lnTo>
                  <a:lnTo>
                    <a:pt x="456" y="0"/>
                  </a:lnTo>
                  <a:lnTo>
                    <a:pt x="456" y="23"/>
                  </a:lnTo>
                  <a:lnTo>
                    <a:pt x="25" y="23"/>
                  </a:lnTo>
                  <a:lnTo>
                    <a:pt x="38" y="53"/>
                  </a:lnTo>
                  <a:lnTo>
                    <a:pt x="25" y="78"/>
                  </a:lnTo>
                  <a:lnTo>
                    <a:pt x="25" y="5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871" name="Group 829"/>
            <p:cNvGrpSpPr>
              <a:grpSpLocks/>
            </p:cNvGrpSpPr>
            <p:nvPr>
              <p:custDataLst>
                <p:tags r:id="rId679"/>
              </p:custDataLst>
            </p:nvPr>
          </p:nvGrpSpPr>
          <p:grpSpPr bwMode="auto">
            <a:xfrm>
              <a:off x="2195724" y="3438095"/>
              <a:ext cx="1654040" cy="706438"/>
              <a:chOff x="1006" y="1796"/>
              <a:chExt cx="893" cy="44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199" name="Freeform 830"/>
              <p:cNvSpPr>
                <a:spLocks/>
              </p:cNvSpPr>
              <p:nvPr/>
            </p:nvSpPr>
            <p:spPr bwMode="auto">
              <a:xfrm>
                <a:off x="1006" y="1796"/>
                <a:ext cx="893" cy="445"/>
              </a:xfrm>
              <a:custGeom>
                <a:avLst/>
                <a:gdLst>
                  <a:gd name="T0" fmla="*/ 6 w 893"/>
                  <a:gd name="T1" fmla="*/ 1 h 889"/>
                  <a:gd name="T2" fmla="*/ 12 w 893"/>
                  <a:gd name="T3" fmla="*/ 1 h 889"/>
                  <a:gd name="T4" fmla="*/ 25 w 893"/>
                  <a:gd name="T5" fmla="*/ 1 h 889"/>
                  <a:gd name="T6" fmla="*/ 30 w 893"/>
                  <a:gd name="T7" fmla="*/ 1 h 889"/>
                  <a:gd name="T8" fmla="*/ 94 w 893"/>
                  <a:gd name="T9" fmla="*/ 1 h 889"/>
                  <a:gd name="T10" fmla="*/ 149 w 893"/>
                  <a:gd name="T11" fmla="*/ 1 h 889"/>
                  <a:gd name="T12" fmla="*/ 282 w 893"/>
                  <a:gd name="T13" fmla="*/ 1 h 889"/>
                  <a:gd name="T14" fmla="*/ 356 w 893"/>
                  <a:gd name="T15" fmla="*/ 1 h 889"/>
                  <a:gd name="T16" fmla="*/ 424 w 893"/>
                  <a:gd name="T17" fmla="*/ 1 h 889"/>
                  <a:gd name="T18" fmla="*/ 456 w 893"/>
                  <a:gd name="T19" fmla="*/ 1 h 889"/>
                  <a:gd name="T20" fmla="*/ 506 w 893"/>
                  <a:gd name="T21" fmla="*/ 1 h 889"/>
                  <a:gd name="T22" fmla="*/ 543 w 893"/>
                  <a:gd name="T23" fmla="*/ 1 h 889"/>
                  <a:gd name="T24" fmla="*/ 562 w 893"/>
                  <a:gd name="T25" fmla="*/ 1 h 889"/>
                  <a:gd name="T26" fmla="*/ 569 w 893"/>
                  <a:gd name="T27" fmla="*/ 1 h 889"/>
                  <a:gd name="T28" fmla="*/ 650 w 893"/>
                  <a:gd name="T29" fmla="*/ 1 h 889"/>
                  <a:gd name="T30" fmla="*/ 668 w 893"/>
                  <a:gd name="T31" fmla="*/ 1 h 889"/>
                  <a:gd name="T32" fmla="*/ 687 w 893"/>
                  <a:gd name="T33" fmla="*/ 1 h 889"/>
                  <a:gd name="T34" fmla="*/ 681 w 893"/>
                  <a:gd name="T35" fmla="*/ 1 h 889"/>
                  <a:gd name="T36" fmla="*/ 744 w 893"/>
                  <a:gd name="T37" fmla="*/ 1 h 889"/>
                  <a:gd name="T38" fmla="*/ 750 w 893"/>
                  <a:gd name="T39" fmla="*/ 1 h 889"/>
                  <a:gd name="T40" fmla="*/ 737 w 893"/>
                  <a:gd name="T41" fmla="*/ 1 h 889"/>
                  <a:gd name="T42" fmla="*/ 744 w 893"/>
                  <a:gd name="T43" fmla="*/ 1 h 889"/>
                  <a:gd name="T44" fmla="*/ 756 w 893"/>
                  <a:gd name="T45" fmla="*/ 1 h 889"/>
                  <a:gd name="T46" fmla="*/ 762 w 893"/>
                  <a:gd name="T47" fmla="*/ 1 h 889"/>
                  <a:gd name="T48" fmla="*/ 787 w 893"/>
                  <a:gd name="T49" fmla="*/ 1 h 889"/>
                  <a:gd name="T50" fmla="*/ 831 w 893"/>
                  <a:gd name="T51" fmla="*/ 1 h 889"/>
                  <a:gd name="T52" fmla="*/ 893 w 893"/>
                  <a:gd name="T53" fmla="*/ 1 h 889"/>
                  <a:gd name="T54" fmla="*/ 881 w 893"/>
                  <a:gd name="T55" fmla="*/ 1 h 889"/>
                  <a:gd name="T56" fmla="*/ 856 w 893"/>
                  <a:gd name="T57" fmla="*/ 1 h 889"/>
                  <a:gd name="T58" fmla="*/ 756 w 893"/>
                  <a:gd name="T59" fmla="*/ 1 h 889"/>
                  <a:gd name="T60" fmla="*/ 706 w 893"/>
                  <a:gd name="T61" fmla="*/ 1 h 889"/>
                  <a:gd name="T62" fmla="*/ 662 w 893"/>
                  <a:gd name="T63" fmla="*/ 1 h 889"/>
                  <a:gd name="T64" fmla="*/ 643 w 893"/>
                  <a:gd name="T65" fmla="*/ 1 h 889"/>
                  <a:gd name="T66" fmla="*/ 650 w 893"/>
                  <a:gd name="T67" fmla="*/ 1 h 889"/>
                  <a:gd name="T68" fmla="*/ 643 w 893"/>
                  <a:gd name="T69" fmla="*/ 1 h 889"/>
                  <a:gd name="T70" fmla="*/ 637 w 893"/>
                  <a:gd name="T71" fmla="*/ 1 h 889"/>
                  <a:gd name="T72" fmla="*/ 593 w 893"/>
                  <a:gd name="T73" fmla="*/ 1 h 889"/>
                  <a:gd name="T74" fmla="*/ 575 w 893"/>
                  <a:gd name="T75" fmla="*/ 1 h 889"/>
                  <a:gd name="T76" fmla="*/ 581 w 893"/>
                  <a:gd name="T77" fmla="*/ 1 h 889"/>
                  <a:gd name="T78" fmla="*/ 588 w 893"/>
                  <a:gd name="T79" fmla="*/ 1 h 889"/>
                  <a:gd name="T80" fmla="*/ 625 w 893"/>
                  <a:gd name="T81" fmla="*/ 1 h 889"/>
                  <a:gd name="T82" fmla="*/ 562 w 893"/>
                  <a:gd name="T83" fmla="*/ 1 h 889"/>
                  <a:gd name="T84" fmla="*/ 531 w 893"/>
                  <a:gd name="T85" fmla="*/ 1 h 889"/>
                  <a:gd name="T86" fmla="*/ 538 w 893"/>
                  <a:gd name="T87" fmla="*/ 1 h 889"/>
                  <a:gd name="T88" fmla="*/ 456 w 893"/>
                  <a:gd name="T89" fmla="*/ 0 h 889"/>
                  <a:gd name="T90" fmla="*/ 25 w 893"/>
                  <a:gd name="T91" fmla="*/ 1 h 889"/>
                  <a:gd name="T92" fmla="*/ 25 w 893"/>
                  <a:gd name="T93" fmla="*/ 1 h 889"/>
                  <a:gd name="T94" fmla="*/ 0 w 893"/>
                  <a:gd name="T95" fmla="*/ 1 h 88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893" h="889">
                    <a:moveTo>
                      <a:pt x="0" y="44"/>
                    </a:moveTo>
                    <a:lnTo>
                      <a:pt x="6" y="123"/>
                    </a:lnTo>
                    <a:lnTo>
                      <a:pt x="19" y="132"/>
                    </a:lnTo>
                    <a:lnTo>
                      <a:pt x="12" y="132"/>
                    </a:lnTo>
                    <a:lnTo>
                      <a:pt x="0" y="355"/>
                    </a:lnTo>
                    <a:lnTo>
                      <a:pt x="25" y="443"/>
                    </a:lnTo>
                    <a:lnTo>
                      <a:pt x="38" y="443"/>
                    </a:lnTo>
                    <a:lnTo>
                      <a:pt x="30" y="466"/>
                    </a:lnTo>
                    <a:lnTo>
                      <a:pt x="62" y="566"/>
                    </a:lnTo>
                    <a:lnTo>
                      <a:pt x="94" y="589"/>
                    </a:lnTo>
                    <a:lnTo>
                      <a:pt x="112" y="645"/>
                    </a:lnTo>
                    <a:lnTo>
                      <a:pt x="149" y="633"/>
                    </a:lnTo>
                    <a:lnTo>
                      <a:pt x="213" y="678"/>
                    </a:lnTo>
                    <a:lnTo>
                      <a:pt x="282" y="668"/>
                    </a:lnTo>
                    <a:lnTo>
                      <a:pt x="324" y="756"/>
                    </a:lnTo>
                    <a:lnTo>
                      <a:pt x="356" y="733"/>
                    </a:lnTo>
                    <a:lnTo>
                      <a:pt x="393" y="845"/>
                    </a:lnTo>
                    <a:lnTo>
                      <a:pt x="424" y="866"/>
                    </a:lnTo>
                    <a:lnTo>
                      <a:pt x="424" y="801"/>
                    </a:lnTo>
                    <a:lnTo>
                      <a:pt x="456" y="768"/>
                    </a:lnTo>
                    <a:lnTo>
                      <a:pt x="456" y="733"/>
                    </a:lnTo>
                    <a:lnTo>
                      <a:pt x="506" y="733"/>
                    </a:lnTo>
                    <a:lnTo>
                      <a:pt x="543" y="756"/>
                    </a:lnTo>
                    <a:lnTo>
                      <a:pt x="543" y="722"/>
                    </a:lnTo>
                    <a:lnTo>
                      <a:pt x="531" y="712"/>
                    </a:lnTo>
                    <a:lnTo>
                      <a:pt x="562" y="712"/>
                    </a:lnTo>
                    <a:lnTo>
                      <a:pt x="569" y="699"/>
                    </a:lnTo>
                    <a:lnTo>
                      <a:pt x="569" y="722"/>
                    </a:lnTo>
                    <a:lnTo>
                      <a:pt x="631" y="722"/>
                    </a:lnTo>
                    <a:lnTo>
                      <a:pt x="650" y="756"/>
                    </a:lnTo>
                    <a:lnTo>
                      <a:pt x="650" y="812"/>
                    </a:lnTo>
                    <a:lnTo>
                      <a:pt x="668" y="889"/>
                    </a:lnTo>
                    <a:lnTo>
                      <a:pt x="681" y="889"/>
                    </a:lnTo>
                    <a:lnTo>
                      <a:pt x="687" y="835"/>
                    </a:lnTo>
                    <a:lnTo>
                      <a:pt x="668" y="699"/>
                    </a:lnTo>
                    <a:lnTo>
                      <a:pt x="681" y="633"/>
                    </a:lnTo>
                    <a:lnTo>
                      <a:pt x="756" y="534"/>
                    </a:lnTo>
                    <a:lnTo>
                      <a:pt x="744" y="511"/>
                    </a:lnTo>
                    <a:lnTo>
                      <a:pt x="756" y="511"/>
                    </a:lnTo>
                    <a:lnTo>
                      <a:pt x="750" y="478"/>
                    </a:lnTo>
                    <a:lnTo>
                      <a:pt x="750" y="443"/>
                    </a:lnTo>
                    <a:lnTo>
                      <a:pt x="737" y="422"/>
                    </a:lnTo>
                    <a:lnTo>
                      <a:pt x="750" y="434"/>
                    </a:lnTo>
                    <a:lnTo>
                      <a:pt x="744" y="399"/>
                    </a:lnTo>
                    <a:lnTo>
                      <a:pt x="756" y="388"/>
                    </a:lnTo>
                    <a:lnTo>
                      <a:pt x="756" y="466"/>
                    </a:lnTo>
                    <a:lnTo>
                      <a:pt x="768" y="422"/>
                    </a:lnTo>
                    <a:lnTo>
                      <a:pt x="762" y="378"/>
                    </a:lnTo>
                    <a:lnTo>
                      <a:pt x="768" y="399"/>
                    </a:lnTo>
                    <a:lnTo>
                      <a:pt x="787" y="334"/>
                    </a:lnTo>
                    <a:lnTo>
                      <a:pt x="850" y="299"/>
                    </a:lnTo>
                    <a:lnTo>
                      <a:pt x="831" y="278"/>
                    </a:lnTo>
                    <a:lnTo>
                      <a:pt x="843" y="234"/>
                    </a:lnTo>
                    <a:lnTo>
                      <a:pt x="893" y="190"/>
                    </a:lnTo>
                    <a:lnTo>
                      <a:pt x="893" y="167"/>
                    </a:lnTo>
                    <a:lnTo>
                      <a:pt x="881" y="144"/>
                    </a:lnTo>
                    <a:lnTo>
                      <a:pt x="881" y="100"/>
                    </a:lnTo>
                    <a:lnTo>
                      <a:pt x="856" y="78"/>
                    </a:lnTo>
                    <a:lnTo>
                      <a:pt x="837" y="167"/>
                    </a:lnTo>
                    <a:lnTo>
                      <a:pt x="756" y="199"/>
                    </a:lnTo>
                    <a:lnTo>
                      <a:pt x="750" y="234"/>
                    </a:lnTo>
                    <a:lnTo>
                      <a:pt x="706" y="246"/>
                    </a:lnTo>
                    <a:lnTo>
                      <a:pt x="712" y="255"/>
                    </a:lnTo>
                    <a:lnTo>
                      <a:pt x="662" y="311"/>
                    </a:lnTo>
                    <a:lnTo>
                      <a:pt x="643" y="311"/>
                    </a:lnTo>
                    <a:lnTo>
                      <a:pt x="643" y="290"/>
                    </a:lnTo>
                    <a:lnTo>
                      <a:pt x="643" y="278"/>
                    </a:lnTo>
                    <a:lnTo>
                      <a:pt x="650" y="267"/>
                    </a:lnTo>
                    <a:lnTo>
                      <a:pt x="657" y="255"/>
                    </a:lnTo>
                    <a:lnTo>
                      <a:pt x="643" y="211"/>
                    </a:lnTo>
                    <a:lnTo>
                      <a:pt x="631" y="221"/>
                    </a:lnTo>
                    <a:lnTo>
                      <a:pt x="637" y="167"/>
                    </a:lnTo>
                    <a:lnTo>
                      <a:pt x="612" y="144"/>
                    </a:lnTo>
                    <a:lnTo>
                      <a:pt x="593" y="190"/>
                    </a:lnTo>
                    <a:lnTo>
                      <a:pt x="588" y="290"/>
                    </a:lnTo>
                    <a:lnTo>
                      <a:pt x="575" y="299"/>
                    </a:lnTo>
                    <a:lnTo>
                      <a:pt x="569" y="246"/>
                    </a:lnTo>
                    <a:lnTo>
                      <a:pt x="581" y="167"/>
                    </a:lnTo>
                    <a:lnTo>
                      <a:pt x="569" y="176"/>
                    </a:lnTo>
                    <a:lnTo>
                      <a:pt x="588" y="144"/>
                    </a:lnTo>
                    <a:lnTo>
                      <a:pt x="631" y="132"/>
                    </a:lnTo>
                    <a:lnTo>
                      <a:pt x="625" y="123"/>
                    </a:lnTo>
                    <a:lnTo>
                      <a:pt x="618" y="123"/>
                    </a:lnTo>
                    <a:lnTo>
                      <a:pt x="562" y="100"/>
                    </a:lnTo>
                    <a:lnTo>
                      <a:pt x="569" y="78"/>
                    </a:lnTo>
                    <a:lnTo>
                      <a:pt x="531" y="111"/>
                    </a:lnTo>
                    <a:lnTo>
                      <a:pt x="506" y="111"/>
                    </a:lnTo>
                    <a:lnTo>
                      <a:pt x="538" y="53"/>
                    </a:lnTo>
                    <a:lnTo>
                      <a:pt x="469" y="23"/>
                    </a:lnTo>
                    <a:lnTo>
                      <a:pt x="456" y="0"/>
                    </a:lnTo>
                    <a:lnTo>
                      <a:pt x="456" y="23"/>
                    </a:lnTo>
                    <a:lnTo>
                      <a:pt x="25" y="23"/>
                    </a:lnTo>
                    <a:lnTo>
                      <a:pt x="38" y="53"/>
                    </a:lnTo>
                    <a:lnTo>
                      <a:pt x="25" y="78"/>
                    </a:lnTo>
                    <a:lnTo>
                      <a:pt x="25" y="53"/>
                    </a:lnTo>
                    <a:lnTo>
                      <a:pt x="0" y="44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200" name="Freeform 831"/>
              <p:cNvSpPr>
                <a:spLocks/>
              </p:cNvSpPr>
              <p:nvPr/>
            </p:nvSpPr>
            <p:spPr bwMode="auto">
              <a:xfrm>
                <a:off x="1006" y="1796"/>
                <a:ext cx="893" cy="445"/>
              </a:xfrm>
              <a:custGeom>
                <a:avLst/>
                <a:gdLst>
                  <a:gd name="T0" fmla="*/ 6 w 893"/>
                  <a:gd name="T1" fmla="*/ 1 h 889"/>
                  <a:gd name="T2" fmla="*/ 12 w 893"/>
                  <a:gd name="T3" fmla="*/ 1 h 889"/>
                  <a:gd name="T4" fmla="*/ 25 w 893"/>
                  <a:gd name="T5" fmla="*/ 1 h 889"/>
                  <a:gd name="T6" fmla="*/ 30 w 893"/>
                  <a:gd name="T7" fmla="*/ 1 h 889"/>
                  <a:gd name="T8" fmla="*/ 94 w 893"/>
                  <a:gd name="T9" fmla="*/ 1 h 889"/>
                  <a:gd name="T10" fmla="*/ 149 w 893"/>
                  <a:gd name="T11" fmla="*/ 1 h 889"/>
                  <a:gd name="T12" fmla="*/ 282 w 893"/>
                  <a:gd name="T13" fmla="*/ 1 h 889"/>
                  <a:gd name="T14" fmla="*/ 356 w 893"/>
                  <a:gd name="T15" fmla="*/ 1 h 889"/>
                  <a:gd name="T16" fmla="*/ 424 w 893"/>
                  <a:gd name="T17" fmla="*/ 1 h 889"/>
                  <a:gd name="T18" fmla="*/ 456 w 893"/>
                  <a:gd name="T19" fmla="*/ 1 h 889"/>
                  <a:gd name="T20" fmla="*/ 506 w 893"/>
                  <a:gd name="T21" fmla="*/ 1 h 889"/>
                  <a:gd name="T22" fmla="*/ 543 w 893"/>
                  <a:gd name="T23" fmla="*/ 1 h 889"/>
                  <a:gd name="T24" fmla="*/ 562 w 893"/>
                  <a:gd name="T25" fmla="*/ 1 h 889"/>
                  <a:gd name="T26" fmla="*/ 569 w 893"/>
                  <a:gd name="T27" fmla="*/ 1 h 889"/>
                  <a:gd name="T28" fmla="*/ 650 w 893"/>
                  <a:gd name="T29" fmla="*/ 1 h 889"/>
                  <a:gd name="T30" fmla="*/ 668 w 893"/>
                  <a:gd name="T31" fmla="*/ 1 h 889"/>
                  <a:gd name="T32" fmla="*/ 687 w 893"/>
                  <a:gd name="T33" fmla="*/ 1 h 889"/>
                  <a:gd name="T34" fmla="*/ 681 w 893"/>
                  <a:gd name="T35" fmla="*/ 1 h 889"/>
                  <a:gd name="T36" fmla="*/ 744 w 893"/>
                  <a:gd name="T37" fmla="*/ 1 h 889"/>
                  <a:gd name="T38" fmla="*/ 750 w 893"/>
                  <a:gd name="T39" fmla="*/ 1 h 889"/>
                  <a:gd name="T40" fmla="*/ 737 w 893"/>
                  <a:gd name="T41" fmla="*/ 1 h 889"/>
                  <a:gd name="T42" fmla="*/ 744 w 893"/>
                  <a:gd name="T43" fmla="*/ 1 h 889"/>
                  <a:gd name="T44" fmla="*/ 756 w 893"/>
                  <a:gd name="T45" fmla="*/ 1 h 889"/>
                  <a:gd name="T46" fmla="*/ 762 w 893"/>
                  <a:gd name="T47" fmla="*/ 1 h 889"/>
                  <a:gd name="T48" fmla="*/ 787 w 893"/>
                  <a:gd name="T49" fmla="*/ 1 h 889"/>
                  <a:gd name="T50" fmla="*/ 831 w 893"/>
                  <a:gd name="T51" fmla="*/ 1 h 889"/>
                  <a:gd name="T52" fmla="*/ 893 w 893"/>
                  <a:gd name="T53" fmla="*/ 1 h 889"/>
                  <a:gd name="T54" fmla="*/ 881 w 893"/>
                  <a:gd name="T55" fmla="*/ 1 h 889"/>
                  <a:gd name="T56" fmla="*/ 856 w 893"/>
                  <a:gd name="T57" fmla="*/ 1 h 889"/>
                  <a:gd name="T58" fmla="*/ 756 w 893"/>
                  <a:gd name="T59" fmla="*/ 1 h 889"/>
                  <a:gd name="T60" fmla="*/ 706 w 893"/>
                  <a:gd name="T61" fmla="*/ 1 h 889"/>
                  <a:gd name="T62" fmla="*/ 662 w 893"/>
                  <a:gd name="T63" fmla="*/ 1 h 889"/>
                  <a:gd name="T64" fmla="*/ 643 w 893"/>
                  <a:gd name="T65" fmla="*/ 1 h 889"/>
                  <a:gd name="T66" fmla="*/ 650 w 893"/>
                  <a:gd name="T67" fmla="*/ 1 h 889"/>
                  <a:gd name="T68" fmla="*/ 643 w 893"/>
                  <a:gd name="T69" fmla="*/ 1 h 889"/>
                  <a:gd name="T70" fmla="*/ 637 w 893"/>
                  <a:gd name="T71" fmla="*/ 1 h 889"/>
                  <a:gd name="T72" fmla="*/ 593 w 893"/>
                  <a:gd name="T73" fmla="*/ 1 h 889"/>
                  <a:gd name="T74" fmla="*/ 575 w 893"/>
                  <a:gd name="T75" fmla="*/ 1 h 889"/>
                  <a:gd name="T76" fmla="*/ 581 w 893"/>
                  <a:gd name="T77" fmla="*/ 1 h 889"/>
                  <a:gd name="T78" fmla="*/ 588 w 893"/>
                  <a:gd name="T79" fmla="*/ 1 h 889"/>
                  <a:gd name="T80" fmla="*/ 625 w 893"/>
                  <a:gd name="T81" fmla="*/ 1 h 889"/>
                  <a:gd name="T82" fmla="*/ 562 w 893"/>
                  <a:gd name="T83" fmla="*/ 1 h 889"/>
                  <a:gd name="T84" fmla="*/ 531 w 893"/>
                  <a:gd name="T85" fmla="*/ 1 h 889"/>
                  <a:gd name="T86" fmla="*/ 538 w 893"/>
                  <a:gd name="T87" fmla="*/ 1 h 889"/>
                  <a:gd name="T88" fmla="*/ 456 w 893"/>
                  <a:gd name="T89" fmla="*/ 0 h 889"/>
                  <a:gd name="T90" fmla="*/ 25 w 893"/>
                  <a:gd name="T91" fmla="*/ 1 h 889"/>
                  <a:gd name="T92" fmla="*/ 25 w 893"/>
                  <a:gd name="T93" fmla="*/ 1 h 889"/>
                  <a:gd name="T94" fmla="*/ 0 w 893"/>
                  <a:gd name="T95" fmla="*/ 1 h 88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893" h="889">
                    <a:moveTo>
                      <a:pt x="0" y="44"/>
                    </a:moveTo>
                    <a:lnTo>
                      <a:pt x="6" y="123"/>
                    </a:lnTo>
                    <a:lnTo>
                      <a:pt x="19" y="132"/>
                    </a:lnTo>
                    <a:lnTo>
                      <a:pt x="12" y="132"/>
                    </a:lnTo>
                    <a:lnTo>
                      <a:pt x="0" y="355"/>
                    </a:lnTo>
                    <a:lnTo>
                      <a:pt x="25" y="443"/>
                    </a:lnTo>
                    <a:lnTo>
                      <a:pt x="38" y="443"/>
                    </a:lnTo>
                    <a:lnTo>
                      <a:pt x="30" y="466"/>
                    </a:lnTo>
                    <a:lnTo>
                      <a:pt x="62" y="566"/>
                    </a:lnTo>
                    <a:lnTo>
                      <a:pt x="94" y="589"/>
                    </a:lnTo>
                    <a:lnTo>
                      <a:pt x="112" y="645"/>
                    </a:lnTo>
                    <a:lnTo>
                      <a:pt x="149" y="633"/>
                    </a:lnTo>
                    <a:lnTo>
                      <a:pt x="213" y="678"/>
                    </a:lnTo>
                    <a:lnTo>
                      <a:pt x="282" y="668"/>
                    </a:lnTo>
                    <a:lnTo>
                      <a:pt x="324" y="756"/>
                    </a:lnTo>
                    <a:lnTo>
                      <a:pt x="356" y="733"/>
                    </a:lnTo>
                    <a:lnTo>
                      <a:pt x="393" y="845"/>
                    </a:lnTo>
                    <a:lnTo>
                      <a:pt x="424" y="866"/>
                    </a:lnTo>
                    <a:lnTo>
                      <a:pt x="424" y="801"/>
                    </a:lnTo>
                    <a:lnTo>
                      <a:pt x="456" y="768"/>
                    </a:lnTo>
                    <a:lnTo>
                      <a:pt x="456" y="733"/>
                    </a:lnTo>
                    <a:lnTo>
                      <a:pt x="506" y="733"/>
                    </a:lnTo>
                    <a:lnTo>
                      <a:pt x="543" y="756"/>
                    </a:lnTo>
                    <a:lnTo>
                      <a:pt x="543" y="722"/>
                    </a:lnTo>
                    <a:lnTo>
                      <a:pt x="531" y="712"/>
                    </a:lnTo>
                    <a:lnTo>
                      <a:pt x="562" y="712"/>
                    </a:lnTo>
                    <a:lnTo>
                      <a:pt x="569" y="699"/>
                    </a:lnTo>
                    <a:lnTo>
                      <a:pt x="569" y="722"/>
                    </a:lnTo>
                    <a:lnTo>
                      <a:pt x="631" y="722"/>
                    </a:lnTo>
                    <a:lnTo>
                      <a:pt x="650" y="756"/>
                    </a:lnTo>
                    <a:lnTo>
                      <a:pt x="650" y="812"/>
                    </a:lnTo>
                    <a:lnTo>
                      <a:pt x="668" y="889"/>
                    </a:lnTo>
                    <a:lnTo>
                      <a:pt x="681" y="889"/>
                    </a:lnTo>
                    <a:lnTo>
                      <a:pt x="687" y="835"/>
                    </a:lnTo>
                    <a:lnTo>
                      <a:pt x="668" y="699"/>
                    </a:lnTo>
                    <a:lnTo>
                      <a:pt x="681" y="633"/>
                    </a:lnTo>
                    <a:lnTo>
                      <a:pt x="756" y="534"/>
                    </a:lnTo>
                    <a:lnTo>
                      <a:pt x="744" y="511"/>
                    </a:lnTo>
                    <a:lnTo>
                      <a:pt x="756" y="511"/>
                    </a:lnTo>
                    <a:lnTo>
                      <a:pt x="750" y="478"/>
                    </a:lnTo>
                    <a:lnTo>
                      <a:pt x="750" y="443"/>
                    </a:lnTo>
                    <a:lnTo>
                      <a:pt x="737" y="422"/>
                    </a:lnTo>
                    <a:lnTo>
                      <a:pt x="750" y="434"/>
                    </a:lnTo>
                    <a:lnTo>
                      <a:pt x="744" y="399"/>
                    </a:lnTo>
                    <a:lnTo>
                      <a:pt x="756" y="388"/>
                    </a:lnTo>
                    <a:lnTo>
                      <a:pt x="756" y="466"/>
                    </a:lnTo>
                    <a:lnTo>
                      <a:pt x="768" y="422"/>
                    </a:lnTo>
                    <a:lnTo>
                      <a:pt x="762" y="378"/>
                    </a:lnTo>
                    <a:lnTo>
                      <a:pt x="768" y="399"/>
                    </a:lnTo>
                    <a:lnTo>
                      <a:pt x="787" y="334"/>
                    </a:lnTo>
                    <a:lnTo>
                      <a:pt x="850" y="299"/>
                    </a:lnTo>
                    <a:lnTo>
                      <a:pt x="831" y="278"/>
                    </a:lnTo>
                    <a:lnTo>
                      <a:pt x="843" y="234"/>
                    </a:lnTo>
                    <a:lnTo>
                      <a:pt x="893" y="190"/>
                    </a:lnTo>
                    <a:lnTo>
                      <a:pt x="893" y="167"/>
                    </a:lnTo>
                    <a:lnTo>
                      <a:pt x="881" y="144"/>
                    </a:lnTo>
                    <a:lnTo>
                      <a:pt x="881" y="100"/>
                    </a:lnTo>
                    <a:lnTo>
                      <a:pt x="856" y="78"/>
                    </a:lnTo>
                    <a:lnTo>
                      <a:pt x="837" y="167"/>
                    </a:lnTo>
                    <a:lnTo>
                      <a:pt x="756" y="199"/>
                    </a:lnTo>
                    <a:lnTo>
                      <a:pt x="750" y="234"/>
                    </a:lnTo>
                    <a:lnTo>
                      <a:pt x="706" y="246"/>
                    </a:lnTo>
                    <a:lnTo>
                      <a:pt x="712" y="255"/>
                    </a:lnTo>
                    <a:lnTo>
                      <a:pt x="662" y="311"/>
                    </a:lnTo>
                    <a:lnTo>
                      <a:pt x="643" y="311"/>
                    </a:lnTo>
                    <a:lnTo>
                      <a:pt x="643" y="290"/>
                    </a:lnTo>
                    <a:lnTo>
                      <a:pt x="643" y="278"/>
                    </a:lnTo>
                    <a:lnTo>
                      <a:pt x="650" y="267"/>
                    </a:lnTo>
                    <a:lnTo>
                      <a:pt x="657" y="255"/>
                    </a:lnTo>
                    <a:lnTo>
                      <a:pt x="643" y="211"/>
                    </a:lnTo>
                    <a:lnTo>
                      <a:pt x="631" y="221"/>
                    </a:lnTo>
                    <a:lnTo>
                      <a:pt x="637" y="167"/>
                    </a:lnTo>
                    <a:lnTo>
                      <a:pt x="612" y="144"/>
                    </a:lnTo>
                    <a:lnTo>
                      <a:pt x="593" y="190"/>
                    </a:lnTo>
                    <a:lnTo>
                      <a:pt x="588" y="290"/>
                    </a:lnTo>
                    <a:lnTo>
                      <a:pt x="575" y="299"/>
                    </a:lnTo>
                    <a:lnTo>
                      <a:pt x="569" y="246"/>
                    </a:lnTo>
                    <a:lnTo>
                      <a:pt x="581" y="167"/>
                    </a:lnTo>
                    <a:lnTo>
                      <a:pt x="569" y="176"/>
                    </a:lnTo>
                    <a:lnTo>
                      <a:pt x="588" y="144"/>
                    </a:lnTo>
                    <a:lnTo>
                      <a:pt x="631" y="132"/>
                    </a:lnTo>
                    <a:lnTo>
                      <a:pt x="625" y="123"/>
                    </a:lnTo>
                    <a:lnTo>
                      <a:pt x="618" y="123"/>
                    </a:lnTo>
                    <a:lnTo>
                      <a:pt x="562" y="100"/>
                    </a:lnTo>
                    <a:lnTo>
                      <a:pt x="569" y="78"/>
                    </a:lnTo>
                    <a:lnTo>
                      <a:pt x="531" y="111"/>
                    </a:lnTo>
                    <a:lnTo>
                      <a:pt x="506" y="111"/>
                    </a:lnTo>
                    <a:lnTo>
                      <a:pt x="538" y="53"/>
                    </a:lnTo>
                    <a:lnTo>
                      <a:pt x="469" y="23"/>
                    </a:lnTo>
                    <a:lnTo>
                      <a:pt x="456" y="0"/>
                    </a:lnTo>
                    <a:lnTo>
                      <a:pt x="456" y="23"/>
                    </a:lnTo>
                    <a:lnTo>
                      <a:pt x="25" y="23"/>
                    </a:lnTo>
                    <a:lnTo>
                      <a:pt x="38" y="53"/>
                    </a:lnTo>
                    <a:lnTo>
                      <a:pt x="25" y="78"/>
                    </a:lnTo>
                    <a:lnTo>
                      <a:pt x="25" y="53"/>
                    </a:lnTo>
                    <a:lnTo>
                      <a:pt x="0" y="44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872" name="Freeform 832"/>
            <p:cNvSpPr>
              <a:spLocks/>
            </p:cNvSpPr>
            <p:nvPr>
              <p:custDataLst>
                <p:tags r:id="rId680"/>
              </p:custDataLst>
            </p:nvPr>
          </p:nvSpPr>
          <p:spPr bwMode="auto">
            <a:xfrm>
              <a:off x="11422265" y="2925369"/>
              <a:ext cx="94231" cy="26987"/>
            </a:xfrm>
            <a:custGeom>
              <a:avLst/>
              <a:gdLst>
                <a:gd name="T0" fmla="*/ 0 w 51"/>
                <a:gd name="T1" fmla="*/ 2147483647 h 35"/>
                <a:gd name="T2" fmla="*/ 2147483647 w 51"/>
                <a:gd name="T3" fmla="*/ 0 h 35"/>
                <a:gd name="T4" fmla="*/ 2147483647 w 51"/>
                <a:gd name="T5" fmla="*/ 2147483647 h 35"/>
                <a:gd name="T6" fmla="*/ 2147483647 w 51"/>
                <a:gd name="T7" fmla="*/ 2147483647 h 35"/>
                <a:gd name="T8" fmla="*/ 0 w 51"/>
                <a:gd name="T9" fmla="*/ 2147483647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35">
                  <a:moveTo>
                    <a:pt x="0" y="12"/>
                  </a:moveTo>
                  <a:lnTo>
                    <a:pt x="33" y="0"/>
                  </a:lnTo>
                  <a:lnTo>
                    <a:pt x="51" y="12"/>
                  </a:lnTo>
                  <a:lnTo>
                    <a:pt x="45" y="3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73" name="Freeform 833"/>
            <p:cNvSpPr>
              <a:spLocks/>
            </p:cNvSpPr>
            <p:nvPr>
              <p:custDataLst>
                <p:tags r:id="rId681"/>
              </p:custDataLst>
            </p:nvPr>
          </p:nvSpPr>
          <p:spPr bwMode="auto">
            <a:xfrm>
              <a:off x="11422265" y="2925369"/>
              <a:ext cx="94231" cy="26987"/>
            </a:xfrm>
            <a:custGeom>
              <a:avLst/>
              <a:gdLst>
                <a:gd name="T0" fmla="*/ 0 w 51"/>
                <a:gd name="T1" fmla="*/ 2147483647 h 35"/>
                <a:gd name="T2" fmla="*/ 2147483647 w 51"/>
                <a:gd name="T3" fmla="*/ 0 h 35"/>
                <a:gd name="T4" fmla="*/ 2147483647 w 51"/>
                <a:gd name="T5" fmla="*/ 2147483647 h 35"/>
                <a:gd name="T6" fmla="*/ 2147483647 w 51"/>
                <a:gd name="T7" fmla="*/ 2147483647 h 35"/>
                <a:gd name="T8" fmla="*/ 0 w 51"/>
                <a:gd name="T9" fmla="*/ 2147483647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35">
                  <a:moveTo>
                    <a:pt x="0" y="12"/>
                  </a:moveTo>
                  <a:lnTo>
                    <a:pt x="33" y="0"/>
                  </a:lnTo>
                  <a:lnTo>
                    <a:pt x="51" y="12"/>
                  </a:lnTo>
                  <a:lnTo>
                    <a:pt x="45" y="35"/>
                  </a:lnTo>
                  <a:lnTo>
                    <a:pt x="0" y="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74" name="Freeform 834"/>
            <p:cNvSpPr>
              <a:spLocks/>
            </p:cNvSpPr>
            <p:nvPr>
              <p:custDataLst>
                <p:tags r:id="rId682"/>
              </p:custDataLst>
            </p:nvPr>
          </p:nvSpPr>
          <p:spPr bwMode="auto">
            <a:xfrm>
              <a:off x="11422265" y="2925369"/>
              <a:ext cx="94231" cy="26987"/>
            </a:xfrm>
            <a:custGeom>
              <a:avLst/>
              <a:gdLst>
                <a:gd name="T0" fmla="*/ 0 w 51"/>
                <a:gd name="T1" fmla="*/ 2147483647 h 35"/>
                <a:gd name="T2" fmla="*/ 2147483647 w 51"/>
                <a:gd name="T3" fmla="*/ 0 h 35"/>
                <a:gd name="T4" fmla="*/ 2147483647 w 51"/>
                <a:gd name="T5" fmla="*/ 2147483647 h 35"/>
                <a:gd name="T6" fmla="*/ 2147483647 w 51"/>
                <a:gd name="T7" fmla="*/ 2147483647 h 35"/>
                <a:gd name="T8" fmla="*/ 0 w 51"/>
                <a:gd name="T9" fmla="*/ 2147483647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35">
                  <a:moveTo>
                    <a:pt x="0" y="12"/>
                  </a:moveTo>
                  <a:lnTo>
                    <a:pt x="33" y="0"/>
                  </a:lnTo>
                  <a:lnTo>
                    <a:pt x="51" y="12"/>
                  </a:lnTo>
                  <a:lnTo>
                    <a:pt x="45" y="35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75" name="Freeform 835"/>
            <p:cNvSpPr>
              <a:spLocks/>
            </p:cNvSpPr>
            <p:nvPr>
              <p:custDataLst>
                <p:tags r:id="rId683"/>
              </p:custDataLst>
            </p:nvPr>
          </p:nvSpPr>
          <p:spPr bwMode="auto">
            <a:xfrm>
              <a:off x="11422265" y="2925369"/>
              <a:ext cx="94231" cy="26987"/>
            </a:xfrm>
            <a:custGeom>
              <a:avLst/>
              <a:gdLst>
                <a:gd name="T0" fmla="*/ 0 w 51"/>
                <a:gd name="T1" fmla="*/ 2147483647 h 35"/>
                <a:gd name="T2" fmla="*/ 2147483647 w 51"/>
                <a:gd name="T3" fmla="*/ 0 h 35"/>
                <a:gd name="T4" fmla="*/ 2147483647 w 51"/>
                <a:gd name="T5" fmla="*/ 2147483647 h 35"/>
                <a:gd name="T6" fmla="*/ 2147483647 w 51"/>
                <a:gd name="T7" fmla="*/ 2147483647 h 35"/>
                <a:gd name="T8" fmla="*/ 0 w 51"/>
                <a:gd name="T9" fmla="*/ 2147483647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1" h="35">
                  <a:moveTo>
                    <a:pt x="0" y="12"/>
                  </a:moveTo>
                  <a:lnTo>
                    <a:pt x="33" y="0"/>
                  </a:lnTo>
                  <a:lnTo>
                    <a:pt x="51" y="12"/>
                  </a:lnTo>
                  <a:lnTo>
                    <a:pt x="45" y="35"/>
                  </a:lnTo>
                  <a:lnTo>
                    <a:pt x="0" y="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76" name="Freeform 836"/>
            <p:cNvSpPr>
              <a:spLocks/>
            </p:cNvSpPr>
            <p:nvPr>
              <p:custDataLst>
                <p:tags r:id="rId684"/>
              </p:custDataLst>
            </p:nvPr>
          </p:nvSpPr>
          <p:spPr bwMode="auto">
            <a:xfrm>
              <a:off x="4094349" y="5578045"/>
              <a:ext cx="150367" cy="141288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0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2147483647 h 179"/>
                <a:gd name="T14" fmla="*/ 0 w 81"/>
                <a:gd name="T15" fmla="*/ 2147483647 h 1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1" h="179">
                  <a:moveTo>
                    <a:pt x="0" y="144"/>
                  </a:moveTo>
                  <a:lnTo>
                    <a:pt x="19" y="10"/>
                  </a:lnTo>
                  <a:lnTo>
                    <a:pt x="24" y="0"/>
                  </a:lnTo>
                  <a:lnTo>
                    <a:pt x="74" y="66"/>
                  </a:lnTo>
                  <a:lnTo>
                    <a:pt x="81" y="100"/>
                  </a:lnTo>
                  <a:lnTo>
                    <a:pt x="81" y="135"/>
                  </a:lnTo>
                  <a:lnTo>
                    <a:pt x="55" y="179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77" name="Freeform 837"/>
            <p:cNvSpPr>
              <a:spLocks/>
            </p:cNvSpPr>
            <p:nvPr>
              <p:custDataLst>
                <p:tags r:id="rId685"/>
              </p:custDataLst>
            </p:nvPr>
          </p:nvSpPr>
          <p:spPr bwMode="auto">
            <a:xfrm>
              <a:off x="4094349" y="5578045"/>
              <a:ext cx="150367" cy="141288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0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2147483647 h 179"/>
                <a:gd name="T14" fmla="*/ 0 w 81"/>
                <a:gd name="T15" fmla="*/ 2147483647 h 1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1" h="179">
                  <a:moveTo>
                    <a:pt x="0" y="144"/>
                  </a:moveTo>
                  <a:lnTo>
                    <a:pt x="19" y="10"/>
                  </a:lnTo>
                  <a:lnTo>
                    <a:pt x="24" y="0"/>
                  </a:lnTo>
                  <a:lnTo>
                    <a:pt x="74" y="66"/>
                  </a:lnTo>
                  <a:lnTo>
                    <a:pt x="81" y="100"/>
                  </a:lnTo>
                  <a:lnTo>
                    <a:pt x="81" y="135"/>
                  </a:lnTo>
                  <a:lnTo>
                    <a:pt x="55" y="179"/>
                  </a:lnTo>
                  <a:lnTo>
                    <a:pt x="0" y="1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78" name="Freeform 838"/>
            <p:cNvSpPr>
              <a:spLocks/>
            </p:cNvSpPr>
            <p:nvPr>
              <p:custDataLst>
                <p:tags r:id="rId686"/>
              </p:custDataLst>
            </p:nvPr>
          </p:nvSpPr>
          <p:spPr bwMode="auto">
            <a:xfrm>
              <a:off x="4094349" y="5578045"/>
              <a:ext cx="150367" cy="141288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0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2147483647 h 179"/>
                <a:gd name="T14" fmla="*/ 0 w 81"/>
                <a:gd name="T15" fmla="*/ 2147483647 h 1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1" h="179">
                  <a:moveTo>
                    <a:pt x="0" y="144"/>
                  </a:moveTo>
                  <a:lnTo>
                    <a:pt x="19" y="10"/>
                  </a:lnTo>
                  <a:lnTo>
                    <a:pt x="24" y="0"/>
                  </a:lnTo>
                  <a:lnTo>
                    <a:pt x="74" y="66"/>
                  </a:lnTo>
                  <a:lnTo>
                    <a:pt x="81" y="100"/>
                  </a:lnTo>
                  <a:lnTo>
                    <a:pt x="81" y="135"/>
                  </a:lnTo>
                  <a:lnTo>
                    <a:pt x="55" y="179"/>
                  </a:lnTo>
                  <a:lnTo>
                    <a:pt x="0" y="1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79" name="Freeform 839"/>
            <p:cNvSpPr>
              <a:spLocks/>
            </p:cNvSpPr>
            <p:nvPr>
              <p:custDataLst>
                <p:tags r:id="rId687"/>
              </p:custDataLst>
            </p:nvPr>
          </p:nvSpPr>
          <p:spPr bwMode="auto">
            <a:xfrm>
              <a:off x="4094349" y="5578045"/>
              <a:ext cx="150367" cy="141288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0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2147483647 h 179"/>
                <a:gd name="T14" fmla="*/ 0 w 81"/>
                <a:gd name="T15" fmla="*/ 2147483647 h 1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81" h="179">
                  <a:moveTo>
                    <a:pt x="0" y="144"/>
                  </a:moveTo>
                  <a:lnTo>
                    <a:pt x="19" y="10"/>
                  </a:lnTo>
                  <a:lnTo>
                    <a:pt x="24" y="0"/>
                  </a:lnTo>
                  <a:lnTo>
                    <a:pt x="74" y="66"/>
                  </a:lnTo>
                  <a:lnTo>
                    <a:pt x="81" y="100"/>
                  </a:lnTo>
                  <a:lnTo>
                    <a:pt x="81" y="135"/>
                  </a:lnTo>
                  <a:lnTo>
                    <a:pt x="55" y="179"/>
                  </a:lnTo>
                  <a:lnTo>
                    <a:pt x="0" y="1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80" name="Freeform 840"/>
            <p:cNvSpPr>
              <a:spLocks/>
            </p:cNvSpPr>
            <p:nvPr>
              <p:custDataLst>
                <p:tags r:id="rId688"/>
              </p:custDataLst>
            </p:nvPr>
          </p:nvSpPr>
          <p:spPr bwMode="auto">
            <a:xfrm>
              <a:off x="3677329" y="4489020"/>
              <a:ext cx="382934" cy="292100"/>
            </a:xfrm>
            <a:custGeom>
              <a:avLst/>
              <a:gdLst>
                <a:gd name="T0" fmla="*/ 0 w 207"/>
                <a:gd name="T1" fmla="*/ 2147483647 h 369"/>
                <a:gd name="T2" fmla="*/ 2147483647 w 207"/>
                <a:gd name="T3" fmla="*/ 2147483647 h 369"/>
                <a:gd name="T4" fmla="*/ 2147483647 w 207"/>
                <a:gd name="T5" fmla="*/ 2147483647 h 369"/>
                <a:gd name="T6" fmla="*/ 2147483647 w 207"/>
                <a:gd name="T7" fmla="*/ 2147483647 h 369"/>
                <a:gd name="T8" fmla="*/ 2147483647 w 207"/>
                <a:gd name="T9" fmla="*/ 2147483647 h 369"/>
                <a:gd name="T10" fmla="*/ 2147483647 w 207"/>
                <a:gd name="T11" fmla="*/ 2147483647 h 369"/>
                <a:gd name="T12" fmla="*/ 2147483647 w 207"/>
                <a:gd name="T13" fmla="*/ 2147483647 h 369"/>
                <a:gd name="T14" fmla="*/ 2147483647 w 207"/>
                <a:gd name="T15" fmla="*/ 2147483647 h 369"/>
                <a:gd name="T16" fmla="*/ 2147483647 w 207"/>
                <a:gd name="T17" fmla="*/ 2147483647 h 369"/>
                <a:gd name="T18" fmla="*/ 2147483647 w 207"/>
                <a:gd name="T19" fmla="*/ 2147483647 h 369"/>
                <a:gd name="T20" fmla="*/ 2147483647 w 207"/>
                <a:gd name="T21" fmla="*/ 2147483647 h 369"/>
                <a:gd name="T22" fmla="*/ 2147483647 w 207"/>
                <a:gd name="T23" fmla="*/ 2147483647 h 369"/>
                <a:gd name="T24" fmla="*/ 2147483647 w 207"/>
                <a:gd name="T25" fmla="*/ 2147483647 h 369"/>
                <a:gd name="T26" fmla="*/ 2147483647 w 207"/>
                <a:gd name="T27" fmla="*/ 2147483647 h 369"/>
                <a:gd name="T28" fmla="*/ 2147483647 w 207"/>
                <a:gd name="T29" fmla="*/ 2147483647 h 369"/>
                <a:gd name="T30" fmla="*/ 2147483647 w 207"/>
                <a:gd name="T31" fmla="*/ 2147483647 h 369"/>
                <a:gd name="T32" fmla="*/ 2147483647 w 207"/>
                <a:gd name="T33" fmla="*/ 2147483647 h 369"/>
                <a:gd name="T34" fmla="*/ 2147483647 w 207"/>
                <a:gd name="T35" fmla="*/ 2147483647 h 369"/>
                <a:gd name="T36" fmla="*/ 2147483647 w 207"/>
                <a:gd name="T37" fmla="*/ 2147483647 h 369"/>
                <a:gd name="T38" fmla="*/ 2147483647 w 207"/>
                <a:gd name="T39" fmla="*/ 2147483647 h 369"/>
                <a:gd name="T40" fmla="*/ 2147483647 w 207"/>
                <a:gd name="T41" fmla="*/ 2147483647 h 369"/>
                <a:gd name="T42" fmla="*/ 2147483647 w 207"/>
                <a:gd name="T43" fmla="*/ 2147483647 h 369"/>
                <a:gd name="T44" fmla="*/ 2147483647 w 207"/>
                <a:gd name="T45" fmla="*/ 0 h 369"/>
                <a:gd name="T46" fmla="*/ 2147483647 w 207"/>
                <a:gd name="T47" fmla="*/ 2147483647 h 369"/>
                <a:gd name="T48" fmla="*/ 2147483647 w 207"/>
                <a:gd name="T49" fmla="*/ 2147483647 h 369"/>
                <a:gd name="T50" fmla="*/ 2147483647 w 207"/>
                <a:gd name="T51" fmla="*/ 2147483647 h 369"/>
                <a:gd name="T52" fmla="*/ 2147483647 w 207"/>
                <a:gd name="T53" fmla="*/ 2147483647 h 369"/>
                <a:gd name="T54" fmla="*/ 2147483647 w 207"/>
                <a:gd name="T55" fmla="*/ 2147483647 h 369"/>
                <a:gd name="T56" fmla="*/ 2147483647 w 207"/>
                <a:gd name="T57" fmla="*/ 2147483647 h 369"/>
                <a:gd name="T58" fmla="*/ 0 w 207"/>
                <a:gd name="T59" fmla="*/ 2147483647 h 36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7" h="369">
                  <a:moveTo>
                    <a:pt x="0" y="100"/>
                  </a:moveTo>
                  <a:lnTo>
                    <a:pt x="18" y="157"/>
                  </a:lnTo>
                  <a:lnTo>
                    <a:pt x="50" y="167"/>
                  </a:lnTo>
                  <a:lnTo>
                    <a:pt x="56" y="190"/>
                  </a:lnTo>
                  <a:lnTo>
                    <a:pt x="87" y="190"/>
                  </a:lnTo>
                  <a:lnTo>
                    <a:pt x="82" y="301"/>
                  </a:lnTo>
                  <a:lnTo>
                    <a:pt x="101" y="346"/>
                  </a:lnTo>
                  <a:lnTo>
                    <a:pt x="112" y="369"/>
                  </a:lnTo>
                  <a:lnTo>
                    <a:pt x="151" y="323"/>
                  </a:lnTo>
                  <a:lnTo>
                    <a:pt x="138" y="313"/>
                  </a:lnTo>
                  <a:lnTo>
                    <a:pt x="131" y="257"/>
                  </a:lnTo>
                  <a:lnTo>
                    <a:pt x="157" y="267"/>
                  </a:lnTo>
                  <a:lnTo>
                    <a:pt x="195" y="223"/>
                  </a:lnTo>
                  <a:lnTo>
                    <a:pt x="181" y="190"/>
                  </a:lnTo>
                  <a:lnTo>
                    <a:pt x="200" y="167"/>
                  </a:lnTo>
                  <a:lnTo>
                    <a:pt x="188" y="144"/>
                  </a:lnTo>
                  <a:lnTo>
                    <a:pt x="207" y="123"/>
                  </a:lnTo>
                  <a:lnTo>
                    <a:pt x="188" y="123"/>
                  </a:lnTo>
                  <a:lnTo>
                    <a:pt x="188" y="90"/>
                  </a:lnTo>
                  <a:lnTo>
                    <a:pt x="157" y="56"/>
                  </a:lnTo>
                  <a:lnTo>
                    <a:pt x="170" y="46"/>
                  </a:lnTo>
                  <a:lnTo>
                    <a:pt x="82" y="56"/>
                  </a:lnTo>
                  <a:lnTo>
                    <a:pt x="50" y="0"/>
                  </a:lnTo>
                  <a:lnTo>
                    <a:pt x="50" y="23"/>
                  </a:lnTo>
                  <a:lnTo>
                    <a:pt x="25" y="46"/>
                  </a:lnTo>
                  <a:lnTo>
                    <a:pt x="32" y="90"/>
                  </a:lnTo>
                  <a:lnTo>
                    <a:pt x="25" y="100"/>
                  </a:lnTo>
                  <a:lnTo>
                    <a:pt x="18" y="69"/>
                  </a:lnTo>
                  <a:lnTo>
                    <a:pt x="25" y="11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881" name="Group 841"/>
            <p:cNvGrpSpPr>
              <a:grpSpLocks/>
            </p:cNvGrpSpPr>
            <p:nvPr>
              <p:custDataLst>
                <p:tags r:id="rId689"/>
              </p:custDataLst>
            </p:nvPr>
          </p:nvGrpSpPr>
          <p:grpSpPr bwMode="auto">
            <a:xfrm>
              <a:off x="3677329" y="4489020"/>
              <a:ext cx="382934" cy="292100"/>
              <a:chOff x="1806" y="2458"/>
              <a:chExt cx="207" cy="184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197" name="Freeform 842"/>
              <p:cNvSpPr>
                <a:spLocks/>
              </p:cNvSpPr>
              <p:nvPr/>
            </p:nvSpPr>
            <p:spPr bwMode="auto">
              <a:xfrm>
                <a:off x="1806" y="2458"/>
                <a:ext cx="207" cy="184"/>
              </a:xfrm>
              <a:custGeom>
                <a:avLst/>
                <a:gdLst>
                  <a:gd name="T0" fmla="*/ 0 w 207"/>
                  <a:gd name="T1" fmla="*/ 0 h 369"/>
                  <a:gd name="T2" fmla="*/ 18 w 207"/>
                  <a:gd name="T3" fmla="*/ 0 h 369"/>
                  <a:gd name="T4" fmla="*/ 50 w 207"/>
                  <a:gd name="T5" fmla="*/ 0 h 369"/>
                  <a:gd name="T6" fmla="*/ 56 w 207"/>
                  <a:gd name="T7" fmla="*/ 0 h 369"/>
                  <a:gd name="T8" fmla="*/ 87 w 207"/>
                  <a:gd name="T9" fmla="*/ 0 h 369"/>
                  <a:gd name="T10" fmla="*/ 82 w 207"/>
                  <a:gd name="T11" fmla="*/ 0 h 369"/>
                  <a:gd name="T12" fmla="*/ 101 w 207"/>
                  <a:gd name="T13" fmla="*/ 0 h 369"/>
                  <a:gd name="T14" fmla="*/ 112 w 207"/>
                  <a:gd name="T15" fmla="*/ 0 h 369"/>
                  <a:gd name="T16" fmla="*/ 151 w 207"/>
                  <a:gd name="T17" fmla="*/ 0 h 369"/>
                  <a:gd name="T18" fmla="*/ 138 w 207"/>
                  <a:gd name="T19" fmla="*/ 0 h 369"/>
                  <a:gd name="T20" fmla="*/ 131 w 207"/>
                  <a:gd name="T21" fmla="*/ 0 h 369"/>
                  <a:gd name="T22" fmla="*/ 157 w 207"/>
                  <a:gd name="T23" fmla="*/ 0 h 369"/>
                  <a:gd name="T24" fmla="*/ 195 w 207"/>
                  <a:gd name="T25" fmla="*/ 0 h 369"/>
                  <a:gd name="T26" fmla="*/ 181 w 207"/>
                  <a:gd name="T27" fmla="*/ 0 h 369"/>
                  <a:gd name="T28" fmla="*/ 200 w 207"/>
                  <a:gd name="T29" fmla="*/ 0 h 369"/>
                  <a:gd name="T30" fmla="*/ 188 w 207"/>
                  <a:gd name="T31" fmla="*/ 0 h 369"/>
                  <a:gd name="T32" fmla="*/ 207 w 207"/>
                  <a:gd name="T33" fmla="*/ 0 h 369"/>
                  <a:gd name="T34" fmla="*/ 188 w 207"/>
                  <a:gd name="T35" fmla="*/ 0 h 369"/>
                  <a:gd name="T36" fmla="*/ 188 w 207"/>
                  <a:gd name="T37" fmla="*/ 0 h 369"/>
                  <a:gd name="T38" fmla="*/ 157 w 207"/>
                  <a:gd name="T39" fmla="*/ 0 h 369"/>
                  <a:gd name="T40" fmla="*/ 170 w 207"/>
                  <a:gd name="T41" fmla="*/ 0 h 369"/>
                  <a:gd name="T42" fmla="*/ 82 w 207"/>
                  <a:gd name="T43" fmla="*/ 0 h 369"/>
                  <a:gd name="T44" fmla="*/ 50 w 207"/>
                  <a:gd name="T45" fmla="*/ 0 h 369"/>
                  <a:gd name="T46" fmla="*/ 50 w 207"/>
                  <a:gd name="T47" fmla="*/ 0 h 369"/>
                  <a:gd name="T48" fmla="*/ 25 w 207"/>
                  <a:gd name="T49" fmla="*/ 0 h 369"/>
                  <a:gd name="T50" fmla="*/ 32 w 207"/>
                  <a:gd name="T51" fmla="*/ 0 h 369"/>
                  <a:gd name="T52" fmla="*/ 25 w 207"/>
                  <a:gd name="T53" fmla="*/ 0 h 369"/>
                  <a:gd name="T54" fmla="*/ 18 w 207"/>
                  <a:gd name="T55" fmla="*/ 0 h 369"/>
                  <a:gd name="T56" fmla="*/ 25 w 207"/>
                  <a:gd name="T57" fmla="*/ 0 h 369"/>
                  <a:gd name="T58" fmla="*/ 0 w 207"/>
                  <a:gd name="T59" fmla="*/ 0 h 36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207" h="369">
                    <a:moveTo>
                      <a:pt x="0" y="100"/>
                    </a:moveTo>
                    <a:lnTo>
                      <a:pt x="18" y="157"/>
                    </a:lnTo>
                    <a:lnTo>
                      <a:pt x="50" y="167"/>
                    </a:lnTo>
                    <a:lnTo>
                      <a:pt x="56" y="190"/>
                    </a:lnTo>
                    <a:lnTo>
                      <a:pt x="87" y="190"/>
                    </a:lnTo>
                    <a:lnTo>
                      <a:pt x="82" y="301"/>
                    </a:lnTo>
                    <a:lnTo>
                      <a:pt x="101" y="346"/>
                    </a:lnTo>
                    <a:lnTo>
                      <a:pt x="112" y="369"/>
                    </a:lnTo>
                    <a:lnTo>
                      <a:pt x="151" y="323"/>
                    </a:lnTo>
                    <a:lnTo>
                      <a:pt x="138" y="313"/>
                    </a:lnTo>
                    <a:lnTo>
                      <a:pt x="131" y="257"/>
                    </a:lnTo>
                    <a:lnTo>
                      <a:pt x="157" y="267"/>
                    </a:lnTo>
                    <a:lnTo>
                      <a:pt x="195" y="223"/>
                    </a:lnTo>
                    <a:lnTo>
                      <a:pt x="181" y="190"/>
                    </a:lnTo>
                    <a:lnTo>
                      <a:pt x="200" y="167"/>
                    </a:lnTo>
                    <a:lnTo>
                      <a:pt x="188" y="144"/>
                    </a:lnTo>
                    <a:lnTo>
                      <a:pt x="207" y="123"/>
                    </a:lnTo>
                    <a:lnTo>
                      <a:pt x="188" y="123"/>
                    </a:lnTo>
                    <a:lnTo>
                      <a:pt x="188" y="90"/>
                    </a:lnTo>
                    <a:lnTo>
                      <a:pt x="157" y="56"/>
                    </a:lnTo>
                    <a:lnTo>
                      <a:pt x="170" y="46"/>
                    </a:lnTo>
                    <a:lnTo>
                      <a:pt x="82" y="56"/>
                    </a:lnTo>
                    <a:lnTo>
                      <a:pt x="50" y="0"/>
                    </a:lnTo>
                    <a:lnTo>
                      <a:pt x="50" y="23"/>
                    </a:lnTo>
                    <a:lnTo>
                      <a:pt x="25" y="46"/>
                    </a:lnTo>
                    <a:lnTo>
                      <a:pt x="32" y="90"/>
                    </a:lnTo>
                    <a:lnTo>
                      <a:pt x="25" y="100"/>
                    </a:lnTo>
                    <a:lnTo>
                      <a:pt x="18" y="69"/>
                    </a:lnTo>
                    <a:lnTo>
                      <a:pt x="25" y="11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198" name="Freeform 843"/>
              <p:cNvSpPr>
                <a:spLocks/>
              </p:cNvSpPr>
              <p:nvPr/>
            </p:nvSpPr>
            <p:spPr bwMode="auto">
              <a:xfrm>
                <a:off x="1806" y="2458"/>
                <a:ext cx="207" cy="184"/>
              </a:xfrm>
              <a:custGeom>
                <a:avLst/>
                <a:gdLst>
                  <a:gd name="T0" fmla="*/ 0 w 207"/>
                  <a:gd name="T1" fmla="*/ 0 h 369"/>
                  <a:gd name="T2" fmla="*/ 18 w 207"/>
                  <a:gd name="T3" fmla="*/ 0 h 369"/>
                  <a:gd name="T4" fmla="*/ 50 w 207"/>
                  <a:gd name="T5" fmla="*/ 0 h 369"/>
                  <a:gd name="T6" fmla="*/ 56 w 207"/>
                  <a:gd name="T7" fmla="*/ 0 h 369"/>
                  <a:gd name="T8" fmla="*/ 87 w 207"/>
                  <a:gd name="T9" fmla="*/ 0 h 369"/>
                  <a:gd name="T10" fmla="*/ 82 w 207"/>
                  <a:gd name="T11" fmla="*/ 0 h 369"/>
                  <a:gd name="T12" fmla="*/ 101 w 207"/>
                  <a:gd name="T13" fmla="*/ 0 h 369"/>
                  <a:gd name="T14" fmla="*/ 112 w 207"/>
                  <a:gd name="T15" fmla="*/ 0 h 369"/>
                  <a:gd name="T16" fmla="*/ 151 w 207"/>
                  <a:gd name="T17" fmla="*/ 0 h 369"/>
                  <a:gd name="T18" fmla="*/ 138 w 207"/>
                  <a:gd name="T19" fmla="*/ 0 h 369"/>
                  <a:gd name="T20" fmla="*/ 131 w 207"/>
                  <a:gd name="T21" fmla="*/ 0 h 369"/>
                  <a:gd name="T22" fmla="*/ 157 w 207"/>
                  <a:gd name="T23" fmla="*/ 0 h 369"/>
                  <a:gd name="T24" fmla="*/ 195 w 207"/>
                  <a:gd name="T25" fmla="*/ 0 h 369"/>
                  <a:gd name="T26" fmla="*/ 181 w 207"/>
                  <a:gd name="T27" fmla="*/ 0 h 369"/>
                  <a:gd name="T28" fmla="*/ 200 w 207"/>
                  <a:gd name="T29" fmla="*/ 0 h 369"/>
                  <a:gd name="T30" fmla="*/ 188 w 207"/>
                  <a:gd name="T31" fmla="*/ 0 h 369"/>
                  <a:gd name="T32" fmla="*/ 207 w 207"/>
                  <a:gd name="T33" fmla="*/ 0 h 369"/>
                  <a:gd name="T34" fmla="*/ 188 w 207"/>
                  <a:gd name="T35" fmla="*/ 0 h 369"/>
                  <a:gd name="T36" fmla="*/ 188 w 207"/>
                  <a:gd name="T37" fmla="*/ 0 h 369"/>
                  <a:gd name="T38" fmla="*/ 157 w 207"/>
                  <a:gd name="T39" fmla="*/ 0 h 369"/>
                  <a:gd name="T40" fmla="*/ 170 w 207"/>
                  <a:gd name="T41" fmla="*/ 0 h 369"/>
                  <a:gd name="T42" fmla="*/ 82 w 207"/>
                  <a:gd name="T43" fmla="*/ 0 h 369"/>
                  <a:gd name="T44" fmla="*/ 50 w 207"/>
                  <a:gd name="T45" fmla="*/ 0 h 369"/>
                  <a:gd name="T46" fmla="*/ 50 w 207"/>
                  <a:gd name="T47" fmla="*/ 0 h 369"/>
                  <a:gd name="T48" fmla="*/ 25 w 207"/>
                  <a:gd name="T49" fmla="*/ 0 h 369"/>
                  <a:gd name="T50" fmla="*/ 32 w 207"/>
                  <a:gd name="T51" fmla="*/ 0 h 369"/>
                  <a:gd name="T52" fmla="*/ 25 w 207"/>
                  <a:gd name="T53" fmla="*/ 0 h 369"/>
                  <a:gd name="T54" fmla="*/ 18 w 207"/>
                  <a:gd name="T55" fmla="*/ 0 h 369"/>
                  <a:gd name="T56" fmla="*/ 25 w 207"/>
                  <a:gd name="T57" fmla="*/ 0 h 369"/>
                  <a:gd name="T58" fmla="*/ 0 w 207"/>
                  <a:gd name="T59" fmla="*/ 0 h 36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207" h="369">
                    <a:moveTo>
                      <a:pt x="0" y="100"/>
                    </a:moveTo>
                    <a:lnTo>
                      <a:pt x="18" y="157"/>
                    </a:lnTo>
                    <a:lnTo>
                      <a:pt x="50" y="167"/>
                    </a:lnTo>
                    <a:lnTo>
                      <a:pt x="56" y="190"/>
                    </a:lnTo>
                    <a:lnTo>
                      <a:pt x="87" y="190"/>
                    </a:lnTo>
                    <a:lnTo>
                      <a:pt x="82" y="301"/>
                    </a:lnTo>
                    <a:lnTo>
                      <a:pt x="101" y="346"/>
                    </a:lnTo>
                    <a:lnTo>
                      <a:pt x="112" y="369"/>
                    </a:lnTo>
                    <a:lnTo>
                      <a:pt x="151" y="323"/>
                    </a:lnTo>
                    <a:lnTo>
                      <a:pt x="138" y="313"/>
                    </a:lnTo>
                    <a:lnTo>
                      <a:pt x="131" y="257"/>
                    </a:lnTo>
                    <a:lnTo>
                      <a:pt x="157" y="267"/>
                    </a:lnTo>
                    <a:lnTo>
                      <a:pt x="195" y="223"/>
                    </a:lnTo>
                    <a:lnTo>
                      <a:pt x="181" y="190"/>
                    </a:lnTo>
                    <a:lnTo>
                      <a:pt x="200" y="167"/>
                    </a:lnTo>
                    <a:lnTo>
                      <a:pt x="188" y="144"/>
                    </a:lnTo>
                    <a:lnTo>
                      <a:pt x="207" y="123"/>
                    </a:lnTo>
                    <a:lnTo>
                      <a:pt x="188" y="123"/>
                    </a:lnTo>
                    <a:lnTo>
                      <a:pt x="188" y="90"/>
                    </a:lnTo>
                    <a:lnTo>
                      <a:pt x="157" y="56"/>
                    </a:lnTo>
                    <a:lnTo>
                      <a:pt x="170" y="46"/>
                    </a:lnTo>
                    <a:lnTo>
                      <a:pt x="82" y="56"/>
                    </a:lnTo>
                    <a:lnTo>
                      <a:pt x="50" y="0"/>
                    </a:lnTo>
                    <a:lnTo>
                      <a:pt x="50" y="23"/>
                    </a:lnTo>
                    <a:lnTo>
                      <a:pt x="25" y="46"/>
                    </a:lnTo>
                    <a:lnTo>
                      <a:pt x="32" y="90"/>
                    </a:lnTo>
                    <a:lnTo>
                      <a:pt x="25" y="100"/>
                    </a:lnTo>
                    <a:lnTo>
                      <a:pt x="18" y="69"/>
                    </a:lnTo>
                    <a:lnTo>
                      <a:pt x="25" y="11"/>
                    </a:lnTo>
                    <a:lnTo>
                      <a:pt x="0" y="100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882" name="Freeform 844"/>
            <p:cNvSpPr>
              <a:spLocks/>
            </p:cNvSpPr>
            <p:nvPr>
              <p:custDataLst>
                <p:tags r:id="rId690"/>
              </p:custDataLst>
            </p:nvPr>
          </p:nvSpPr>
          <p:spPr bwMode="auto">
            <a:xfrm>
              <a:off x="3677329" y="4489020"/>
              <a:ext cx="382934" cy="292100"/>
            </a:xfrm>
            <a:custGeom>
              <a:avLst/>
              <a:gdLst>
                <a:gd name="T0" fmla="*/ 0 w 207"/>
                <a:gd name="T1" fmla="*/ 2147483647 h 369"/>
                <a:gd name="T2" fmla="*/ 2147483647 w 207"/>
                <a:gd name="T3" fmla="*/ 2147483647 h 369"/>
                <a:gd name="T4" fmla="*/ 2147483647 w 207"/>
                <a:gd name="T5" fmla="*/ 2147483647 h 369"/>
                <a:gd name="T6" fmla="*/ 2147483647 w 207"/>
                <a:gd name="T7" fmla="*/ 2147483647 h 369"/>
                <a:gd name="T8" fmla="*/ 2147483647 w 207"/>
                <a:gd name="T9" fmla="*/ 2147483647 h 369"/>
                <a:gd name="T10" fmla="*/ 2147483647 w 207"/>
                <a:gd name="T11" fmla="*/ 2147483647 h 369"/>
                <a:gd name="T12" fmla="*/ 2147483647 w 207"/>
                <a:gd name="T13" fmla="*/ 2147483647 h 369"/>
                <a:gd name="T14" fmla="*/ 2147483647 w 207"/>
                <a:gd name="T15" fmla="*/ 2147483647 h 369"/>
                <a:gd name="T16" fmla="*/ 2147483647 w 207"/>
                <a:gd name="T17" fmla="*/ 2147483647 h 369"/>
                <a:gd name="T18" fmla="*/ 2147483647 w 207"/>
                <a:gd name="T19" fmla="*/ 2147483647 h 369"/>
                <a:gd name="T20" fmla="*/ 2147483647 w 207"/>
                <a:gd name="T21" fmla="*/ 2147483647 h 369"/>
                <a:gd name="T22" fmla="*/ 2147483647 w 207"/>
                <a:gd name="T23" fmla="*/ 2147483647 h 369"/>
                <a:gd name="T24" fmla="*/ 2147483647 w 207"/>
                <a:gd name="T25" fmla="*/ 2147483647 h 369"/>
                <a:gd name="T26" fmla="*/ 2147483647 w 207"/>
                <a:gd name="T27" fmla="*/ 2147483647 h 369"/>
                <a:gd name="T28" fmla="*/ 2147483647 w 207"/>
                <a:gd name="T29" fmla="*/ 2147483647 h 369"/>
                <a:gd name="T30" fmla="*/ 2147483647 w 207"/>
                <a:gd name="T31" fmla="*/ 2147483647 h 369"/>
                <a:gd name="T32" fmla="*/ 2147483647 w 207"/>
                <a:gd name="T33" fmla="*/ 2147483647 h 369"/>
                <a:gd name="T34" fmla="*/ 2147483647 w 207"/>
                <a:gd name="T35" fmla="*/ 2147483647 h 369"/>
                <a:gd name="T36" fmla="*/ 2147483647 w 207"/>
                <a:gd name="T37" fmla="*/ 2147483647 h 369"/>
                <a:gd name="T38" fmla="*/ 2147483647 w 207"/>
                <a:gd name="T39" fmla="*/ 2147483647 h 369"/>
                <a:gd name="T40" fmla="*/ 2147483647 w 207"/>
                <a:gd name="T41" fmla="*/ 2147483647 h 369"/>
                <a:gd name="T42" fmla="*/ 2147483647 w 207"/>
                <a:gd name="T43" fmla="*/ 2147483647 h 369"/>
                <a:gd name="T44" fmla="*/ 2147483647 w 207"/>
                <a:gd name="T45" fmla="*/ 0 h 369"/>
                <a:gd name="T46" fmla="*/ 2147483647 w 207"/>
                <a:gd name="T47" fmla="*/ 2147483647 h 369"/>
                <a:gd name="T48" fmla="*/ 2147483647 w 207"/>
                <a:gd name="T49" fmla="*/ 2147483647 h 369"/>
                <a:gd name="T50" fmla="*/ 2147483647 w 207"/>
                <a:gd name="T51" fmla="*/ 2147483647 h 369"/>
                <a:gd name="T52" fmla="*/ 2147483647 w 207"/>
                <a:gd name="T53" fmla="*/ 2147483647 h 369"/>
                <a:gd name="T54" fmla="*/ 2147483647 w 207"/>
                <a:gd name="T55" fmla="*/ 2147483647 h 369"/>
                <a:gd name="T56" fmla="*/ 2147483647 w 207"/>
                <a:gd name="T57" fmla="*/ 2147483647 h 369"/>
                <a:gd name="T58" fmla="*/ 0 w 207"/>
                <a:gd name="T59" fmla="*/ 2147483647 h 36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207" h="369">
                  <a:moveTo>
                    <a:pt x="0" y="100"/>
                  </a:moveTo>
                  <a:lnTo>
                    <a:pt x="18" y="157"/>
                  </a:lnTo>
                  <a:lnTo>
                    <a:pt x="50" y="167"/>
                  </a:lnTo>
                  <a:lnTo>
                    <a:pt x="56" y="190"/>
                  </a:lnTo>
                  <a:lnTo>
                    <a:pt x="87" y="190"/>
                  </a:lnTo>
                  <a:lnTo>
                    <a:pt x="82" y="301"/>
                  </a:lnTo>
                  <a:lnTo>
                    <a:pt x="101" y="346"/>
                  </a:lnTo>
                  <a:lnTo>
                    <a:pt x="112" y="369"/>
                  </a:lnTo>
                  <a:lnTo>
                    <a:pt x="151" y="323"/>
                  </a:lnTo>
                  <a:lnTo>
                    <a:pt x="138" y="313"/>
                  </a:lnTo>
                  <a:lnTo>
                    <a:pt x="131" y="257"/>
                  </a:lnTo>
                  <a:lnTo>
                    <a:pt x="157" y="267"/>
                  </a:lnTo>
                  <a:lnTo>
                    <a:pt x="195" y="223"/>
                  </a:lnTo>
                  <a:lnTo>
                    <a:pt x="181" y="190"/>
                  </a:lnTo>
                  <a:lnTo>
                    <a:pt x="200" y="167"/>
                  </a:lnTo>
                  <a:lnTo>
                    <a:pt x="188" y="144"/>
                  </a:lnTo>
                  <a:lnTo>
                    <a:pt x="207" y="123"/>
                  </a:lnTo>
                  <a:lnTo>
                    <a:pt x="188" y="123"/>
                  </a:lnTo>
                  <a:lnTo>
                    <a:pt x="188" y="90"/>
                  </a:lnTo>
                  <a:lnTo>
                    <a:pt x="157" y="56"/>
                  </a:lnTo>
                  <a:lnTo>
                    <a:pt x="170" y="46"/>
                  </a:lnTo>
                  <a:lnTo>
                    <a:pt x="82" y="56"/>
                  </a:lnTo>
                  <a:lnTo>
                    <a:pt x="50" y="0"/>
                  </a:lnTo>
                  <a:lnTo>
                    <a:pt x="50" y="23"/>
                  </a:lnTo>
                  <a:lnTo>
                    <a:pt x="25" y="46"/>
                  </a:lnTo>
                  <a:lnTo>
                    <a:pt x="32" y="90"/>
                  </a:lnTo>
                  <a:lnTo>
                    <a:pt x="25" y="100"/>
                  </a:lnTo>
                  <a:lnTo>
                    <a:pt x="18" y="69"/>
                  </a:lnTo>
                  <a:lnTo>
                    <a:pt x="25" y="11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883" name="Group 845"/>
            <p:cNvGrpSpPr>
              <a:grpSpLocks/>
            </p:cNvGrpSpPr>
            <p:nvPr>
              <p:custDataLst>
                <p:tags r:id="rId691"/>
              </p:custDataLst>
            </p:nvPr>
          </p:nvGrpSpPr>
          <p:grpSpPr bwMode="auto">
            <a:xfrm>
              <a:off x="3677329" y="4489020"/>
              <a:ext cx="382934" cy="292100"/>
              <a:chOff x="1806" y="2458"/>
              <a:chExt cx="207" cy="184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195" name="Freeform 846"/>
              <p:cNvSpPr>
                <a:spLocks/>
              </p:cNvSpPr>
              <p:nvPr/>
            </p:nvSpPr>
            <p:spPr bwMode="auto">
              <a:xfrm>
                <a:off x="1806" y="2458"/>
                <a:ext cx="207" cy="184"/>
              </a:xfrm>
              <a:custGeom>
                <a:avLst/>
                <a:gdLst>
                  <a:gd name="T0" fmla="*/ 0 w 207"/>
                  <a:gd name="T1" fmla="*/ 0 h 369"/>
                  <a:gd name="T2" fmla="*/ 18 w 207"/>
                  <a:gd name="T3" fmla="*/ 0 h 369"/>
                  <a:gd name="T4" fmla="*/ 50 w 207"/>
                  <a:gd name="T5" fmla="*/ 0 h 369"/>
                  <a:gd name="T6" fmla="*/ 56 w 207"/>
                  <a:gd name="T7" fmla="*/ 0 h 369"/>
                  <a:gd name="T8" fmla="*/ 87 w 207"/>
                  <a:gd name="T9" fmla="*/ 0 h 369"/>
                  <a:gd name="T10" fmla="*/ 82 w 207"/>
                  <a:gd name="T11" fmla="*/ 0 h 369"/>
                  <a:gd name="T12" fmla="*/ 101 w 207"/>
                  <a:gd name="T13" fmla="*/ 0 h 369"/>
                  <a:gd name="T14" fmla="*/ 112 w 207"/>
                  <a:gd name="T15" fmla="*/ 0 h 369"/>
                  <a:gd name="T16" fmla="*/ 151 w 207"/>
                  <a:gd name="T17" fmla="*/ 0 h 369"/>
                  <a:gd name="T18" fmla="*/ 138 w 207"/>
                  <a:gd name="T19" fmla="*/ 0 h 369"/>
                  <a:gd name="T20" fmla="*/ 131 w 207"/>
                  <a:gd name="T21" fmla="*/ 0 h 369"/>
                  <a:gd name="T22" fmla="*/ 157 w 207"/>
                  <a:gd name="T23" fmla="*/ 0 h 369"/>
                  <a:gd name="T24" fmla="*/ 195 w 207"/>
                  <a:gd name="T25" fmla="*/ 0 h 369"/>
                  <a:gd name="T26" fmla="*/ 181 w 207"/>
                  <a:gd name="T27" fmla="*/ 0 h 369"/>
                  <a:gd name="T28" fmla="*/ 200 w 207"/>
                  <a:gd name="T29" fmla="*/ 0 h 369"/>
                  <a:gd name="T30" fmla="*/ 188 w 207"/>
                  <a:gd name="T31" fmla="*/ 0 h 369"/>
                  <a:gd name="T32" fmla="*/ 207 w 207"/>
                  <a:gd name="T33" fmla="*/ 0 h 369"/>
                  <a:gd name="T34" fmla="*/ 188 w 207"/>
                  <a:gd name="T35" fmla="*/ 0 h 369"/>
                  <a:gd name="T36" fmla="*/ 188 w 207"/>
                  <a:gd name="T37" fmla="*/ 0 h 369"/>
                  <a:gd name="T38" fmla="*/ 157 w 207"/>
                  <a:gd name="T39" fmla="*/ 0 h 369"/>
                  <a:gd name="T40" fmla="*/ 170 w 207"/>
                  <a:gd name="T41" fmla="*/ 0 h 369"/>
                  <a:gd name="T42" fmla="*/ 82 w 207"/>
                  <a:gd name="T43" fmla="*/ 0 h 369"/>
                  <a:gd name="T44" fmla="*/ 50 w 207"/>
                  <a:gd name="T45" fmla="*/ 0 h 369"/>
                  <a:gd name="T46" fmla="*/ 50 w 207"/>
                  <a:gd name="T47" fmla="*/ 0 h 369"/>
                  <a:gd name="T48" fmla="*/ 25 w 207"/>
                  <a:gd name="T49" fmla="*/ 0 h 369"/>
                  <a:gd name="T50" fmla="*/ 32 w 207"/>
                  <a:gd name="T51" fmla="*/ 0 h 369"/>
                  <a:gd name="T52" fmla="*/ 25 w 207"/>
                  <a:gd name="T53" fmla="*/ 0 h 369"/>
                  <a:gd name="T54" fmla="*/ 18 w 207"/>
                  <a:gd name="T55" fmla="*/ 0 h 369"/>
                  <a:gd name="T56" fmla="*/ 25 w 207"/>
                  <a:gd name="T57" fmla="*/ 0 h 369"/>
                  <a:gd name="T58" fmla="*/ 0 w 207"/>
                  <a:gd name="T59" fmla="*/ 0 h 36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207" h="369">
                    <a:moveTo>
                      <a:pt x="0" y="100"/>
                    </a:moveTo>
                    <a:lnTo>
                      <a:pt x="18" y="157"/>
                    </a:lnTo>
                    <a:lnTo>
                      <a:pt x="50" y="167"/>
                    </a:lnTo>
                    <a:lnTo>
                      <a:pt x="56" y="190"/>
                    </a:lnTo>
                    <a:lnTo>
                      <a:pt x="87" y="190"/>
                    </a:lnTo>
                    <a:lnTo>
                      <a:pt x="82" y="301"/>
                    </a:lnTo>
                    <a:lnTo>
                      <a:pt x="101" y="346"/>
                    </a:lnTo>
                    <a:lnTo>
                      <a:pt x="112" y="369"/>
                    </a:lnTo>
                    <a:lnTo>
                      <a:pt x="151" y="323"/>
                    </a:lnTo>
                    <a:lnTo>
                      <a:pt x="138" y="313"/>
                    </a:lnTo>
                    <a:lnTo>
                      <a:pt x="131" y="257"/>
                    </a:lnTo>
                    <a:lnTo>
                      <a:pt x="157" y="267"/>
                    </a:lnTo>
                    <a:lnTo>
                      <a:pt x="195" y="223"/>
                    </a:lnTo>
                    <a:lnTo>
                      <a:pt x="181" y="190"/>
                    </a:lnTo>
                    <a:lnTo>
                      <a:pt x="200" y="167"/>
                    </a:lnTo>
                    <a:lnTo>
                      <a:pt x="188" y="144"/>
                    </a:lnTo>
                    <a:lnTo>
                      <a:pt x="207" y="123"/>
                    </a:lnTo>
                    <a:lnTo>
                      <a:pt x="188" y="123"/>
                    </a:lnTo>
                    <a:lnTo>
                      <a:pt x="188" y="90"/>
                    </a:lnTo>
                    <a:lnTo>
                      <a:pt x="157" y="56"/>
                    </a:lnTo>
                    <a:lnTo>
                      <a:pt x="170" y="46"/>
                    </a:lnTo>
                    <a:lnTo>
                      <a:pt x="82" y="56"/>
                    </a:lnTo>
                    <a:lnTo>
                      <a:pt x="50" y="0"/>
                    </a:lnTo>
                    <a:lnTo>
                      <a:pt x="50" y="23"/>
                    </a:lnTo>
                    <a:lnTo>
                      <a:pt x="25" y="46"/>
                    </a:lnTo>
                    <a:lnTo>
                      <a:pt x="32" y="90"/>
                    </a:lnTo>
                    <a:lnTo>
                      <a:pt x="25" y="100"/>
                    </a:lnTo>
                    <a:lnTo>
                      <a:pt x="18" y="69"/>
                    </a:lnTo>
                    <a:lnTo>
                      <a:pt x="25" y="11"/>
                    </a:lnTo>
                    <a:lnTo>
                      <a:pt x="0" y="100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196" name="Freeform 847"/>
              <p:cNvSpPr>
                <a:spLocks/>
              </p:cNvSpPr>
              <p:nvPr/>
            </p:nvSpPr>
            <p:spPr bwMode="auto">
              <a:xfrm>
                <a:off x="1806" y="2458"/>
                <a:ext cx="207" cy="184"/>
              </a:xfrm>
              <a:custGeom>
                <a:avLst/>
                <a:gdLst>
                  <a:gd name="T0" fmla="*/ 0 w 207"/>
                  <a:gd name="T1" fmla="*/ 0 h 369"/>
                  <a:gd name="T2" fmla="*/ 18 w 207"/>
                  <a:gd name="T3" fmla="*/ 0 h 369"/>
                  <a:gd name="T4" fmla="*/ 50 w 207"/>
                  <a:gd name="T5" fmla="*/ 0 h 369"/>
                  <a:gd name="T6" fmla="*/ 56 w 207"/>
                  <a:gd name="T7" fmla="*/ 0 h 369"/>
                  <a:gd name="T8" fmla="*/ 87 w 207"/>
                  <a:gd name="T9" fmla="*/ 0 h 369"/>
                  <a:gd name="T10" fmla="*/ 82 w 207"/>
                  <a:gd name="T11" fmla="*/ 0 h 369"/>
                  <a:gd name="T12" fmla="*/ 101 w 207"/>
                  <a:gd name="T13" fmla="*/ 0 h 369"/>
                  <a:gd name="T14" fmla="*/ 112 w 207"/>
                  <a:gd name="T15" fmla="*/ 0 h 369"/>
                  <a:gd name="T16" fmla="*/ 151 w 207"/>
                  <a:gd name="T17" fmla="*/ 0 h 369"/>
                  <a:gd name="T18" fmla="*/ 138 w 207"/>
                  <a:gd name="T19" fmla="*/ 0 h 369"/>
                  <a:gd name="T20" fmla="*/ 131 w 207"/>
                  <a:gd name="T21" fmla="*/ 0 h 369"/>
                  <a:gd name="T22" fmla="*/ 157 w 207"/>
                  <a:gd name="T23" fmla="*/ 0 h 369"/>
                  <a:gd name="T24" fmla="*/ 195 w 207"/>
                  <a:gd name="T25" fmla="*/ 0 h 369"/>
                  <a:gd name="T26" fmla="*/ 181 w 207"/>
                  <a:gd name="T27" fmla="*/ 0 h 369"/>
                  <a:gd name="T28" fmla="*/ 200 w 207"/>
                  <a:gd name="T29" fmla="*/ 0 h 369"/>
                  <a:gd name="T30" fmla="*/ 188 w 207"/>
                  <a:gd name="T31" fmla="*/ 0 h 369"/>
                  <a:gd name="T32" fmla="*/ 207 w 207"/>
                  <a:gd name="T33" fmla="*/ 0 h 369"/>
                  <a:gd name="T34" fmla="*/ 188 w 207"/>
                  <a:gd name="T35" fmla="*/ 0 h 369"/>
                  <a:gd name="T36" fmla="*/ 188 w 207"/>
                  <a:gd name="T37" fmla="*/ 0 h 369"/>
                  <a:gd name="T38" fmla="*/ 157 w 207"/>
                  <a:gd name="T39" fmla="*/ 0 h 369"/>
                  <a:gd name="T40" fmla="*/ 170 w 207"/>
                  <a:gd name="T41" fmla="*/ 0 h 369"/>
                  <a:gd name="T42" fmla="*/ 82 w 207"/>
                  <a:gd name="T43" fmla="*/ 0 h 369"/>
                  <a:gd name="T44" fmla="*/ 50 w 207"/>
                  <a:gd name="T45" fmla="*/ 0 h 369"/>
                  <a:gd name="T46" fmla="*/ 50 w 207"/>
                  <a:gd name="T47" fmla="*/ 0 h 369"/>
                  <a:gd name="T48" fmla="*/ 25 w 207"/>
                  <a:gd name="T49" fmla="*/ 0 h 369"/>
                  <a:gd name="T50" fmla="*/ 32 w 207"/>
                  <a:gd name="T51" fmla="*/ 0 h 369"/>
                  <a:gd name="T52" fmla="*/ 25 w 207"/>
                  <a:gd name="T53" fmla="*/ 0 h 369"/>
                  <a:gd name="T54" fmla="*/ 18 w 207"/>
                  <a:gd name="T55" fmla="*/ 0 h 369"/>
                  <a:gd name="T56" fmla="*/ 25 w 207"/>
                  <a:gd name="T57" fmla="*/ 0 h 369"/>
                  <a:gd name="T58" fmla="*/ 0 w 207"/>
                  <a:gd name="T59" fmla="*/ 0 h 36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207" h="369">
                    <a:moveTo>
                      <a:pt x="0" y="100"/>
                    </a:moveTo>
                    <a:lnTo>
                      <a:pt x="18" y="157"/>
                    </a:lnTo>
                    <a:lnTo>
                      <a:pt x="50" y="167"/>
                    </a:lnTo>
                    <a:lnTo>
                      <a:pt x="56" y="190"/>
                    </a:lnTo>
                    <a:lnTo>
                      <a:pt x="87" y="190"/>
                    </a:lnTo>
                    <a:lnTo>
                      <a:pt x="82" y="301"/>
                    </a:lnTo>
                    <a:lnTo>
                      <a:pt x="101" y="346"/>
                    </a:lnTo>
                    <a:lnTo>
                      <a:pt x="112" y="369"/>
                    </a:lnTo>
                    <a:lnTo>
                      <a:pt x="151" y="323"/>
                    </a:lnTo>
                    <a:lnTo>
                      <a:pt x="138" y="313"/>
                    </a:lnTo>
                    <a:lnTo>
                      <a:pt x="131" y="257"/>
                    </a:lnTo>
                    <a:lnTo>
                      <a:pt x="157" y="267"/>
                    </a:lnTo>
                    <a:lnTo>
                      <a:pt x="195" y="223"/>
                    </a:lnTo>
                    <a:lnTo>
                      <a:pt x="181" y="190"/>
                    </a:lnTo>
                    <a:lnTo>
                      <a:pt x="200" y="167"/>
                    </a:lnTo>
                    <a:lnTo>
                      <a:pt x="188" y="144"/>
                    </a:lnTo>
                    <a:lnTo>
                      <a:pt x="207" y="123"/>
                    </a:lnTo>
                    <a:lnTo>
                      <a:pt x="188" y="123"/>
                    </a:lnTo>
                    <a:lnTo>
                      <a:pt x="188" y="90"/>
                    </a:lnTo>
                    <a:lnTo>
                      <a:pt x="157" y="56"/>
                    </a:lnTo>
                    <a:lnTo>
                      <a:pt x="170" y="46"/>
                    </a:lnTo>
                    <a:lnTo>
                      <a:pt x="82" y="56"/>
                    </a:lnTo>
                    <a:lnTo>
                      <a:pt x="50" y="0"/>
                    </a:lnTo>
                    <a:lnTo>
                      <a:pt x="50" y="23"/>
                    </a:lnTo>
                    <a:lnTo>
                      <a:pt x="25" y="46"/>
                    </a:lnTo>
                    <a:lnTo>
                      <a:pt x="32" y="90"/>
                    </a:lnTo>
                    <a:lnTo>
                      <a:pt x="25" y="100"/>
                    </a:lnTo>
                    <a:lnTo>
                      <a:pt x="18" y="69"/>
                    </a:lnTo>
                    <a:lnTo>
                      <a:pt x="25" y="11"/>
                    </a:lnTo>
                    <a:lnTo>
                      <a:pt x="0" y="100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884" name="Freeform 848"/>
            <p:cNvSpPr>
              <a:spLocks/>
            </p:cNvSpPr>
            <p:nvPr>
              <p:custDataLst>
                <p:tags r:id="rId692"/>
              </p:custDataLst>
            </p:nvPr>
          </p:nvSpPr>
          <p:spPr bwMode="auto">
            <a:xfrm>
              <a:off x="8956232" y="4198508"/>
              <a:ext cx="198485" cy="381000"/>
            </a:xfrm>
            <a:custGeom>
              <a:avLst/>
              <a:gdLst>
                <a:gd name="T0" fmla="*/ 0 w 107"/>
                <a:gd name="T1" fmla="*/ 2147483647 h 480"/>
                <a:gd name="T2" fmla="*/ 2147483647 w 107"/>
                <a:gd name="T3" fmla="*/ 2147483647 h 480"/>
                <a:gd name="T4" fmla="*/ 2147483647 w 107"/>
                <a:gd name="T5" fmla="*/ 2147483647 h 480"/>
                <a:gd name="T6" fmla="*/ 2147483647 w 107"/>
                <a:gd name="T7" fmla="*/ 2147483647 h 480"/>
                <a:gd name="T8" fmla="*/ 2147483647 w 107"/>
                <a:gd name="T9" fmla="*/ 2147483647 h 480"/>
                <a:gd name="T10" fmla="*/ 2147483647 w 107"/>
                <a:gd name="T11" fmla="*/ 2147483647 h 480"/>
                <a:gd name="T12" fmla="*/ 2147483647 w 107"/>
                <a:gd name="T13" fmla="*/ 2147483647 h 480"/>
                <a:gd name="T14" fmla="*/ 2147483647 w 107"/>
                <a:gd name="T15" fmla="*/ 2147483647 h 480"/>
                <a:gd name="T16" fmla="*/ 2147483647 w 107"/>
                <a:gd name="T17" fmla="*/ 2147483647 h 480"/>
                <a:gd name="T18" fmla="*/ 2147483647 w 107"/>
                <a:gd name="T19" fmla="*/ 2147483647 h 480"/>
                <a:gd name="T20" fmla="*/ 2147483647 w 107"/>
                <a:gd name="T21" fmla="*/ 2147483647 h 480"/>
                <a:gd name="T22" fmla="*/ 2147483647 w 107"/>
                <a:gd name="T23" fmla="*/ 2147483647 h 480"/>
                <a:gd name="T24" fmla="*/ 2147483647 w 107"/>
                <a:gd name="T25" fmla="*/ 2147483647 h 480"/>
                <a:gd name="T26" fmla="*/ 2147483647 w 107"/>
                <a:gd name="T27" fmla="*/ 2147483647 h 480"/>
                <a:gd name="T28" fmla="*/ 2147483647 w 107"/>
                <a:gd name="T29" fmla="*/ 2147483647 h 480"/>
                <a:gd name="T30" fmla="*/ 2147483647 w 107"/>
                <a:gd name="T31" fmla="*/ 2147483647 h 480"/>
                <a:gd name="T32" fmla="*/ 2147483647 w 107"/>
                <a:gd name="T33" fmla="*/ 2147483647 h 480"/>
                <a:gd name="T34" fmla="*/ 2147483647 w 107"/>
                <a:gd name="T35" fmla="*/ 0 h 480"/>
                <a:gd name="T36" fmla="*/ 0 w 107"/>
                <a:gd name="T37" fmla="*/ 2147483647 h 4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7" h="480">
                  <a:moveTo>
                    <a:pt x="0" y="33"/>
                  </a:moveTo>
                  <a:lnTo>
                    <a:pt x="19" y="77"/>
                  </a:lnTo>
                  <a:lnTo>
                    <a:pt x="38" y="102"/>
                  </a:lnTo>
                  <a:lnTo>
                    <a:pt x="26" y="135"/>
                  </a:lnTo>
                  <a:lnTo>
                    <a:pt x="64" y="200"/>
                  </a:lnTo>
                  <a:lnTo>
                    <a:pt x="82" y="290"/>
                  </a:lnTo>
                  <a:lnTo>
                    <a:pt x="82" y="357"/>
                  </a:lnTo>
                  <a:lnTo>
                    <a:pt x="38" y="423"/>
                  </a:lnTo>
                  <a:lnTo>
                    <a:pt x="45" y="480"/>
                  </a:lnTo>
                  <a:lnTo>
                    <a:pt x="64" y="436"/>
                  </a:lnTo>
                  <a:lnTo>
                    <a:pt x="69" y="457"/>
                  </a:lnTo>
                  <a:lnTo>
                    <a:pt x="69" y="423"/>
                  </a:lnTo>
                  <a:lnTo>
                    <a:pt x="107" y="378"/>
                  </a:lnTo>
                  <a:lnTo>
                    <a:pt x="100" y="269"/>
                  </a:lnTo>
                  <a:lnTo>
                    <a:pt x="50" y="146"/>
                  </a:lnTo>
                  <a:lnTo>
                    <a:pt x="58" y="112"/>
                  </a:lnTo>
                  <a:lnTo>
                    <a:pt x="88" y="56"/>
                  </a:lnTo>
                  <a:lnTo>
                    <a:pt x="45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85" name="Freeform 849"/>
            <p:cNvSpPr>
              <a:spLocks/>
            </p:cNvSpPr>
            <p:nvPr>
              <p:custDataLst>
                <p:tags r:id="rId693"/>
              </p:custDataLst>
            </p:nvPr>
          </p:nvSpPr>
          <p:spPr bwMode="auto">
            <a:xfrm>
              <a:off x="8956232" y="4198508"/>
              <a:ext cx="198485" cy="381000"/>
            </a:xfrm>
            <a:custGeom>
              <a:avLst/>
              <a:gdLst>
                <a:gd name="T0" fmla="*/ 0 w 107"/>
                <a:gd name="T1" fmla="*/ 2147483647 h 480"/>
                <a:gd name="T2" fmla="*/ 2147483647 w 107"/>
                <a:gd name="T3" fmla="*/ 2147483647 h 480"/>
                <a:gd name="T4" fmla="*/ 2147483647 w 107"/>
                <a:gd name="T5" fmla="*/ 2147483647 h 480"/>
                <a:gd name="T6" fmla="*/ 2147483647 w 107"/>
                <a:gd name="T7" fmla="*/ 2147483647 h 480"/>
                <a:gd name="T8" fmla="*/ 2147483647 w 107"/>
                <a:gd name="T9" fmla="*/ 2147483647 h 480"/>
                <a:gd name="T10" fmla="*/ 2147483647 w 107"/>
                <a:gd name="T11" fmla="*/ 2147483647 h 480"/>
                <a:gd name="T12" fmla="*/ 2147483647 w 107"/>
                <a:gd name="T13" fmla="*/ 2147483647 h 480"/>
                <a:gd name="T14" fmla="*/ 2147483647 w 107"/>
                <a:gd name="T15" fmla="*/ 2147483647 h 480"/>
                <a:gd name="T16" fmla="*/ 2147483647 w 107"/>
                <a:gd name="T17" fmla="*/ 2147483647 h 480"/>
                <a:gd name="T18" fmla="*/ 2147483647 w 107"/>
                <a:gd name="T19" fmla="*/ 2147483647 h 480"/>
                <a:gd name="T20" fmla="*/ 2147483647 w 107"/>
                <a:gd name="T21" fmla="*/ 2147483647 h 480"/>
                <a:gd name="T22" fmla="*/ 2147483647 w 107"/>
                <a:gd name="T23" fmla="*/ 2147483647 h 480"/>
                <a:gd name="T24" fmla="*/ 2147483647 w 107"/>
                <a:gd name="T25" fmla="*/ 2147483647 h 480"/>
                <a:gd name="T26" fmla="*/ 2147483647 w 107"/>
                <a:gd name="T27" fmla="*/ 2147483647 h 480"/>
                <a:gd name="T28" fmla="*/ 2147483647 w 107"/>
                <a:gd name="T29" fmla="*/ 2147483647 h 480"/>
                <a:gd name="T30" fmla="*/ 2147483647 w 107"/>
                <a:gd name="T31" fmla="*/ 2147483647 h 480"/>
                <a:gd name="T32" fmla="*/ 2147483647 w 107"/>
                <a:gd name="T33" fmla="*/ 2147483647 h 480"/>
                <a:gd name="T34" fmla="*/ 2147483647 w 107"/>
                <a:gd name="T35" fmla="*/ 0 h 480"/>
                <a:gd name="T36" fmla="*/ 0 w 107"/>
                <a:gd name="T37" fmla="*/ 2147483647 h 4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7" h="480">
                  <a:moveTo>
                    <a:pt x="0" y="33"/>
                  </a:moveTo>
                  <a:lnTo>
                    <a:pt x="19" y="77"/>
                  </a:lnTo>
                  <a:lnTo>
                    <a:pt x="38" y="102"/>
                  </a:lnTo>
                  <a:lnTo>
                    <a:pt x="26" y="135"/>
                  </a:lnTo>
                  <a:lnTo>
                    <a:pt x="64" y="200"/>
                  </a:lnTo>
                  <a:lnTo>
                    <a:pt x="82" y="290"/>
                  </a:lnTo>
                  <a:lnTo>
                    <a:pt x="82" y="357"/>
                  </a:lnTo>
                  <a:lnTo>
                    <a:pt x="38" y="423"/>
                  </a:lnTo>
                  <a:lnTo>
                    <a:pt x="45" y="480"/>
                  </a:lnTo>
                  <a:lnTo>
                    <a:pt x="64" y="436"/>
                  </a:lnTo>
                  <a:lnTo>
                    <a:pt x="69" y="457"/>
                  </a:lnTo>
                  <a:lnTo>
                    <a:pt x="69" y="423"/>
                  </a:lnTo>
                  <a:lnTo>
                    <a:pt x="107" y="378"/>
                  </a:lnTo>
                  <a:lnTo>
                    <a:pt x="100" y="269"/>
                  </a:lnTo>
                  <a:lnTo>
                    <a:pt x="50" y="146"/>
                  </a:lnTo>
                  <a:lnTo>
                    <a:pt x="58" y="112"/>
                  </a:lnTo>
                  <a:lnTo>
                    <a:pt x="88" y="56"/>
                  </a:lnTo>
                  <a:lnTo>
                    <a:pt x="45" y="0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86" name="Freeform 850"/>
            <p:cNvSpPr>
              <a:spLocks/>
            </p:cNvSpPr>
            <p:nvPr>
              <p:custDataLst>
                <p:tags r:id="rId694"/>
              </p:custDataLst>
            </p:nvPr>
          </p:nvSpPr>
          <p:spPr bwMode="auto">
            <a:xfrm>
              <a:off x="8956232" y="4198508"/>
              <a:ext cx="198485" cy="381000"/>
            </a:xfrm>
            <a:custGeom>
              <a:avLst/>
              <a:gdLst>
                <a:gd name="T0" fmla="*/ 0 w 107"/>
                <a:gd name="T1" fmla="*/ 2147483647 h 480"/>
                <a:gd name="T2" fmla="*/ 2147483647 w 107"/>
                <a:gd name="T3" fmla="*/ 2147483647 h 480"/>
                <a:gd name="T4" fmla="*/ 2147483647 w 107"/>
                <a:gd name="T5" fmla="*/ 2147483647 h 480"/>
                <a:gd name="T6" fmla="*/ 2147483647 w 107"/>
                <a:gd name="T7" fmla="*/ 2147483647 h 480"/>
                <a:gd name="T8" fmla="*/ 2147483647 w 107"/>
                <a:gd name="T9" fmla="*/ 2147483647 h 480"/>
                <a:gd name="T10" fmla="*/ 2147483647 w 107"/>
                <a:gd name="T11" fmla="*/ 2147483647 h 480"/>
                <a:gd name="T12" fmla="*/ 2147483647 w 107"/>
                <a:gd name="T13" fmla="*/ 2147483647 h 480"/>
                <a:gd name="T14" fmla="*/ 2147483647 w 107"/>
                <a:gd name="T15" fmla="*/ 2147483647 h 480"/>
                <a:gd name="T16" fmla="*/ 2147483647 w 107"/>
                <a:gd name="T17" fmla="*/ 2147483647 h 480"/>
                <a:gd name="T18" fmla="*/ 2147483647 w 107"/>
                <a:gd name="T19" fmla="*/ 2147483647 h 480"/>
                <a:gd name="T20" fmla="*/ 2147483647 w 107"/>
                <a:gd name="T21" fmla="*/ 2147483647 h 480"/>
                <a:gd name="T22" fmla="*/ 2147483647 w 107"/>
                <a:gd name="T23" fmla="*/ 2147483647 h 480"/>
                <a:gd name="T24" fmla="*/ 2147483647 w 107"/>
                <a:gd name="T25" fmla="*/ 2147483647 h 480"/>
                <a:gd name="T26" fmla="*/ 2147483647 w 107"/>
                <a:gd name="T27" fmla="*/ 2147483647 h 480"/>
                <a:gd name="T28" fmla="*/ 2147483647 w 107"/>
                <a:gd name="T29" fmla="*/ 2147483647 h 480"/>
                <a:gd name="T30" fmla="*/ 2147483647 w 107"/>
                <a:gd name="T31" fmla="*/ 2147483647 h 480"/>
                <a:gd name="T32" fmla="*/ 2147483647 w 107"/>
                <a:gd name="T33" fmla="*/ 2147483647 h 480"/>
                <a:gd name="T34" fmla="*/ 2147483647 w 107"/>
                <a:gd name="T35" fmla="*/ 0 h 480"/>
                <a:gd name="T36" fmla="*/ 0 w 107"/>
                <a:gd name="T37" fmla="*/ 2147483647 h 4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7" h="480">
                  <a:moveTo>
                    <a:pt x="0" y="33"/>
                  </a:moveTo>
                  <a:lnTo>
                    <a:pt x="19" y="77"/>
                  </a:lnTo>
                  <a:lnTo>
                    <a:pt x="38" y="102"/>
                  </a:lnTo>
                  <a:lnTo>
                    <a:pt x="26" y="135"/>
                  </a:lnTo>
                  <a:lnTo>
                    <a:pt x="64" y="200"/>
                  </a:lnTo>
                  <a:lnTo>
                    <a:pt x="82" y="290"/>
                  </a:lnTo>
                  <a:lnTo>
                    <a:pt x="82" y="357"/>
                  </a:lnTo>
                  <a:lnTo>
                    <a:pt x="38" y="423"/>
                  </a:lnTo>
                  <a:lnTo>
                    <a:pt x="45" y="480"/>
                  </a:lnTo>
                  <a:lnTo>
                    <a:pt x="64" y="436"/>
                  </a:lnTo>
                  <a:lnTo>
                    <a:pt x="69" y="457"/>
                  </a:lnTo>
                  <a:lnTo>
                    <a:pt x="69" y="423"/>
                  </a:lnTo>
                  <a:lnTo>
                    <a:pt x="107" y="378"/>
                  </a:lnTo>
                  <a:lnTo>
                    <a:pt x="100" y="269"/>
                  </a:lnTo>
                  <a:lnTo>
                    <a:pt x="50" y="146"/>
                  </a:lnTo>
                  <a:lnTo>
                    <a:pt x="58" y="112"/>
                  </a:lnTo>
                  <a:lnTo>
                    <a:pt x="88" y="56"/>
                  </a:lnTo>
                  <a:lnTo>
                    <a:pt x="45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87" name="Freeform 851"/>
            <p:cNvSpPr>
              <a:spLocks/>
            </p:cNvSpPr>
            <p:nvPr>
              <p:custDataLst>
                <p:tags r:id="rId695"/>
              </p:custDataLst>
            </p:nvPr>
          </p:nvSpPr>
          <p:spPr bwMode="auto">
            <a:xfrm>
              <a:off x="8956232" y="4198508"/>
              <a:ext cx="198485" cy="381000"/>
            </a:xfrm>
            <a:custGeom>
              <a:avLst/>
              <a:gdLst>
                <a:gd name="T0" fmla="*/ 0 w 107"/>
                <a:gd name="T1" fmla="*/ 2147483647 h 480"/>
                <a:gd name="T2" fmla="*/ 2147483647 w 107"/>
                <a:gd name="T3" fmla="*/ 2147483647 h 480"/>
                <a:gd name="T4" fmla="*/ 2147483647 w 107"/>
                <a:gd name="T5" fmla="*/ 2147483647 h 480"/>
                <a:gd name="T6" fmla="*/ 2147483647 w 107"/>
                <a:gd name="T7" fmla="*/ 2147483647 h 480"/>
                <a:gd name="T8" fmla="*/ 2147483647 w 107"/>
                <a:gd name="T9" fmla="*/ 2147483647 h 480"/>
                <a:gd name="T10" fmla="*/ 2147483647 w 107"/>
                <a:gd name="T11" fmla="*/ 2147483647 h 480"/>
                <a:gd name="T12" fmla="*/ 2147483647 w 107"/>
                <a:gd name="T13" fmla="*/ 2147483647 h 480"/>
                <a:gd name="T14" fmla="*/ 2147483647 w 107"/>
                <a:gd name="T15" fmla="*/ 2147483647 h 480"/>
                <a:gd name="T16" fmla="*/ 2147483647 w 107"/>
                <a:gd name="T17" fmla="*/ 2147483647 h 480"/>
                <a:gd name="T18" fmla="*/ 2147483647 w 107"/>
                <a:gd name="T19" fmla="*/ 2147483647 h 480"/>
                <a:gd name="T20" fmla="*/ 2147483647 w 107"/>
                <a:gd name="T21" fmla="*/ 2147483647 h 480"/>
                <a:gd name="T22" fmla="*/ 2147483647 w 107"/>
                <a:gd name="T23" fmla="*/ 2147483647 h 480"/>
                <a:gd name="T24" fmla="*/ 2147483647 w 107"/>
                <a:gd name="T25" fmla="*/ 2147483647 h 480"/>
                <a:gd name="T26" fmla="*/ 2147483647 w 107"/>
                <a:gd name="T27" fmla="*/ 2147483647 h 480"/>
                <a:gd name="T28" fmla="*/ 2147483647 w 107"/>
                <a:gd name="T29" fmla="*/ 2147483647 h 480"/>
                <a:gd name="T30" fmla="*/ 2147483647 w 107"/>
                <a:gd name="T31" fmla="*/ 2147483647 h 480"/>
                <a:gd name="T32" fmla="*/ 2147483647 w 107"/>
                <a:gd name="T33" fmla="*/ 2147483647 h 480"/>
                <a:gd name="T34" fmla="*/ 2147483647 w 107"/>
                <a:gd name="T35" fmla="*/ 0 h 480"/>
                <a:gd name="T36" fmla="*/ 0 w 107"/>
                <a:gd name="T37" fmla="*/ 2147483647 h 48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07" h="480">
                  <a:moveTo>
                    <a:pt x="0" y="33"/>
                  </a:moveTo>
                  <a:lnTo>
                    <a:pt x="19" y="77"/>
                  </a:lnTo>
                  <a:lnTo>
                    <a:pt x="38" y="102"/>
                  </a:lnTo>
                  <a:lnTo>
                    <a:pt x="26" y="135"/>
                  </a:lnTo>
                  <a:lnTo>
                    <a:pt x="64" y="200"/>
                  </a:lnTo>
                  <a:lnTo>
                    <a:pt x="82" y="290"/>
                  </a:lnTo>
                  <a:lnTo>
                    <a:pt x="82" y="357"/>
                  </a:lnTo>
                  <a:lnTo>
                    <a:pt x="38" y="423"/>
                  </a:lnTo>
                  <a:lnTo>
                    <a:pt x="45" y="480"/>
                  </a:lnTo>
                  <a:lnTo>
                    <a:pt x="64" y="436"/>
                  </a:lnTo>
                  <a:lnTo>
                    <a:pt x="69" y="457"/>
                  </a:lnTo>
                  <a:lnTo>
                    <a:pt x="69" y="423"/>
                  </a:lnTo>
                  <a:lnTo>
                    <a:pt x="107" y="378"/>
                  </a:lnTo>
                  <a:lnTo>
                    <a:pt x="100" y="269"/>
                  </a:lnTo>
                  <a:lnTo>
                    <a:pt x="50" y="146"/>
                  </a:lnTo>
                  <a:lnTo>
                    <a:pt x="58" y="112"/>
                  </a:lnTo>
                  <a:lnTo>
                    <a:pt x="88" y="56"/>
                  </a:lnTo>
                  <a:lnTo>
                    <a:pt x="45" y="0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88" name="Freeform 852"/>
            <p:cNvSpPr>
              <a:spLocks/>
            </p:cNvSpPr>
            <p:nvPr>
              <p:custDataLst>
                <p:tags r:id="rId696"/>
              </p:custDataLst>
            </p:nvPr>
          </p:nvSpPr>
          <p:spPr bwMode="auto">
            <a:xfrm>
              <a:off x="7268121" y="4314395"/>
              <a:ext cx="276676" cy="166688"/>
            </a:xfrm>
            <a:custGeom>
              <a:avLst/>
              <a:gdLst>
                <a:gd name="T0" fmla="*/ 0 w 149"/>
                <a:gd name="T1" fmla="*/ 2147483647 h 211"/>
                <a:gd name="T2" fmla="*/ 2147483647 w 149"/>
                <a:gd name="T3" fmla="*/ 2147483647 h 211"/>
                <a:gd name="T4" fmla="*/ 2147483647 w 149"/>
                <a:gd name="T5" fmla="*/ 2147483647 h 211"/>
                <a:gd name="T6" fmla="*/ 2147483647 w 149"/>
                <a:gd name="T7" fmla="*/ 2147483647 h 211"/>
                <a:gd name="T8" fmla="*/ 2147483647 w 149"/>
                <a:gd name="T9" fmla="*/ 2147483647 h 211"/>
                <a:gd name="T10" fmla="*/ 2147483647 w 149"/>
                <a:gd name="T11" fmla="*/ 0 h 211"/>
                <a:gd name="T12" fmla="*/ 2147483647 w 149"/>
                <a:gd name="T13" fmla="*/ 2147483647 h 211"/>
                <a:gd name="T14" fmla="*/ 2147483647 w 149"/>
                <a:gd name="T15" fmla="*/ 2147483647 h 211"/>
                <a:gd name="T16" fmla="*/ 2147483647 w 149"/>
                <a:gd name="T17" fmla="*/ 2147483647 h 211"/>
                <a:gd name="T18" fmla="*/ 0 w 149"/>
                <a:gd name="T19" fmla="*/ 2147483647 h 2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9" h="211">
                  <a:moveTo>
                    <a:pt x="0" y="211"/>
                  </a:moveTo>
                  <a:lnTo>
                    <a:pt x="37" y="156"/>
                  </a:lnTo>
                  <a:lnTo>
                    <a:pt x="31" y="144"/>
                  </a:lnTo>
                  <a:lnTo>
                    <a:pt x="43" y="110"/>
                  </a:lnTo>
                  <a:lnTo>
                    <a:pt x="81" y="21"/>
                  </a:lnTo>
                  <a:lnTo>
                    <a:pt x="131" y="0"/>
                  </a:lnTo>
                  <a:lnTo>
                    <a:pt x="149" y="79"/>
                  </a:lnTo>
                  <a:lnTo>
                    <a:pt x="138" y="110"/>
                  </a:lnTo>
                  <a:lnTo>
                    <a:pt x="81" y="167"/>
                  </a:lnTo>
                  <a:lnTo>
                    <a:pt x="0" y="2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89" name="Freeform 853"/>
            <p:cNvSpPr>
              <a:spLocks/>
            </p:cNvSpPr>
            <p:nvPr>
              <p:custDataLst>
                <p:tags r:id="rId697"/>
              </p:custDataLst>
            </p:nvPr>
          </p:nvSpPr>
          <p:spPr bwMode="auto">
            <a:xfrm>
              <a:off x="7268121" y="4314395"/>
              <a:ext cx="276676" cy="166688"/>
            </a:xfrm>
            <a:custGeom>
              <a:avLst/>
              <a:gdLst>
                <a:gd name="T0" fmla="*/ 0 w 149"/>
                <a:gd name="T1" fmla="*/ 2147483647 h 211"/>
                <a:gd name="T2" fmla="*/ 2147483647 w 149"/>
                <a:gd name="T3" fmla="*/ 2147483647 h 211"/>
                <a:gd name="T4" fmla="*/ 2147483647 w 149"/>
                <a:gd name="T5" fmla="*/ 2147483647 h 211"/>
                <a:gd name="T6" fmla="*/ 2147483647 w 149"/>
                <a:gd name="T7" fmla="*/ 2147483647 h 211"/>
                <a:gd name="T8" fmla="*/ 2147483647 w 149"/>
                <a:gd name="T9" fmla="*/ 2147483647 h 211"/>
                <a:gd name="T10" fmla="*/ 2147483647 w 149"/>
                <a:gd name="T11" fmla="*/ 0 h 211"/>
                <a:gd name="T12" fmla="*/ 2147483647 w 149"/>
                <a:gd name="T13" fmla="*/ 2147483647 h 211"/>
                <a:gd name="T14" fmla="*/ 2147483647 w 149"/>
                <a:gd name="T15" fmla="*/ 2147483647 h 211"/>
                <a:gd name="T16" fmla="*/ 2147483647 w 149"/>
                <a:gd name="T17" fmla="*/ 2147483647 h 211"/>
                <a:gd name="T18" fmla="*/ 0 w 149"/>
                <a:gd name="T19" fmla="*/ 2147483647 h 2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9" h="211">
                  <a:moveTo>
                    <a:pt x="0" y="211"/>
                  </a:moveTo>
                  <a:lnTo>
                    <a:pt x="37" y="156"/>
                  </a:lnTo>
                  <a:lnTo>
                    <a:pt x="31" y="144"/>
                  </a:lnTo>
                  <a:lnTo>
                    <a:pt x="43" y="110"/>
                  </a:lnTo>
                  <a:lnTo>
                    <a:pt x="81" y="21"/>
                  </a:lnTo>
                  <a:lnTo>
                    <a:pt x="131" y="0"/>
                  </a:lnTo>
                  <a:lnTo>
                    <a:pt x="149" y="79"/>
                  </a:lnTo>
                  <a:lnTo>
                    <a:pt x="138" y="110"/>
                  </a:lnTo>
                  <a:lnTo>
                    <a:pt x="81" y="167"/>
                  </a:lnTo>
                  <a:lnTo>
                    <a:pt x="0" y="2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90" name="Freeform 854"/>
            <p:cNvSpPr>
              <a:spLocks/>
            </p:cNvSpPr>
            <p:nvPr>
              <p:custDataLst>
                <p:tags r:id="rId698"/>
              </p:custDataLst>
            </p:nvPr>
          </p:nvSpPr>
          <p:spPr bwMode="auto">
            <a:xfrm>
              <a:off x="7268121" y="4314395"/>
              <a:ext cx="276676" cy="166688"/>
            </a:xfrm>
            <a:custGeom>
              <a:avLst/>
              <a:gdLst>
                <a:gd name="T0" fmla="*/ 0 w 149"/>
                <a:gd name="T1" fmla="*/ 2147483647 h 211"/>
                <a:gd name="T2" fmla="*/ 2147483647 w 149"/>
                <a:gd name="T3" fmla="*/ 2147483647 h 211"/>
                <a:gd name="T4" fmla="*/ 2147483647 w 149"/>
                <a:gd name="T5" fmla="*/ 2147483647 h 211"/>
                <a:gd name="T6" fmla="*/ 2147483647 w 149"/>
                <a:gd name="T7" fmla="*/ 2147483647 h 211"/>
                <a:gd name="T8" fmla="*/ 2147483647 w 149"/>
                <a:gd name="T9" fmla="*/ 2147483647 h 211"/>
                <a:gd name="T10" fmla="*/ 2147483647 w 149"/>
                <a:gd name="T11" fmla="*/ 0 h 211"/>
                <a:gd name="T12" fmla="*/ 2147483647 w 149"/>
                <a:gd name="T13" fmla="*/ 2147483647 h 211"/>
                <a:gd name="T14" fmla="*/ 2147483647 w 149"/>
                <a:gd name="T15" fmla="*/ 2147483647 h 211"/>
                <a:gd name="T16" fmla="*/ 2147483647 w 149"/>
                <a:gd name="T17" fmla="*/ 2147483647 h 211"/>
                <a:gd name="T18" fmla="*/ 0 w 149"/>
                <a:gd name="T19" fmla="*/ 2147483647 h 2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49" h="211">
                  <a:moveTo>
                    <a:pt x="0" y="211"/>
                  </a:moveTo>
                  <a:lnTo>
                    <a:pt x="37" y="156"/>
                  </a:lnTo>
                  <a:lnTo>
                    <a:pt x="31" y="144"/>
                  </a:lnTo>
                  <a:lnTo>
                    <a:pt x="43" y="110"/>
                  </a:lnTo>
                  <a:lnTo>
                    <a:pt x="81" y="21"/>
                  </a:lnTo>
                  <a:lnTo>
                    <a:pt x="131" y="0"/>
                  </a:lnTo>
                  <a:lnTo>
                    <a:pt x="149" y="79"/>
                  </a:lnTo>
                  <a:lnTo>
                    <a:pt x="138" y="110"/>
                  </a:lnTo>
                  <a:lnTo>
                    <a:pt x="81" y="167"/>
                  </a:lnTo>
                  <a:lnTo>
                    <a:pt x="0" y="2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91" name="Freeform 855"/>
            <p:cNvSpPr>
              <a:spLocks/>
            </p:cNvSpPr>
            <p:nvPr>
              <p:custDataLst>
                <p:tags r:id="rId699"/>
              </p:custDataLst>
            </p:nvPr>
          </p:nvSpPr>
          <p:spPr bwMode="auto">
            <a:xfrm>
              <a:off x="7244042" y="4357290"/>
              <a:ext cx="104255" cy="123825"/>
            </a:xfrm>
            <a:custGeom>
              <a:avLst/>
              <a:gdLst>
                <a:gd name="T0" fmla="*/ 0 w 56"/>
                <a:gd name="T1" fmla="*/ 2147483647 h 155"/>
                <a:gd name="T2" fmla="*/ 2147483647 w 56"/>
                <a:gd name="T3" fmla="*/ 2147483647 h 155"/>
                <a:gd name="T4" fmla="*/ 2147483647 w 56"/>
                <a:gd name="T5" fmla="*/ 2147483647 h 155"/>
                <a:gd name="T6" fmla="*/ 2147483647 w 56"/>
                <a:gd name="T7" fmla="*/ 2147483647 h 155"/>
                <a:gd name="T8" fmla="*/ 2147483647 w 56"/>
                <a:gd name="T9" fmla="*/ 2147483647 h 155"/>
                <a:gd name="T10" fmla="*/ 2147483647 w 56"/>
                <a:gd name="T11" fmla="*/ 2147483647 h 155"/>
                <a:gd name="T12" fmla="*/ 2147483647 w 56"/>
                <a:gd name="T13" fmla="*/ 0 h 155"/>
                <a:gd name="T14" fmla="*/ 0 w 56"/>
                <a:gd name="T15" fmla="*/ 2147483647 h 15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155">
                  <a:moveTo>
                    <a:pt x="0" y="32"/>
                  </a:moveTo>
                  <a:lnTo>
                    <a:pt x="12" y="155"/>
                  </a:lnTo>
                  <a:lnTo>
                    <a:pt x="51" y="100"/>
                  </a:lnTo>
                  <a:lnTo>
                    <a:pt x="44" y="88"/>
                  </a:lnTo>
                  <a:lnTo>
                    <a:pt x="56" y="55"/>
                  </a:lnTo>
                  <a:lnTo>
                    <a:pt x="56" y="23"/>
                  </a:lnTo>
                  <a:lnTo>
                    <a:pt x="25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92" name="Freeform 856"/>
            <p:cNvSpPr>
              <a:spLocks/>
            </p:cNvSpPr>
            <p:nvPr>
              <p:custDataLst>
                <p:tags r:id="rId700"/>
              </p:custDataLst>
            </p:nvPr>
          </p:nvSpPr>
          <p:spPr bwMode="auto">
            <a:xfrm>
              <a:off x="7244042" y="4357290"/>
              <a:ext cx="104255" cy="123825"/>
            </a:xfrm>
            <a:custGeom>
              <a:avLst/>
              <a:gdLst>
                <a:gd name="T0" fmla="*/ 0 w 56"/>
                <a:gd name="T1" fmla="*/ 2147483647 h 155"/>
                <a:gd name="T2" fmla="*/ 2147483647 w 56"/>
                <a:gd name="T3" fmla="*/ 2147483647 h 155"/>
                <a:gd name="T4" fmla="*/ 2147483647 w 56"/>
                <a:gd name="T5" fmla="*/ 2147483647 h 155"/>
                <a:gd name="T6" fmla="*/ 2147483647 w 56"/>
                <a:gd name="T7" fmla="*/ 2147483647 h 155"/>
                <a:gd name="T8" fmla="*/ 2147483647 w 56"/>
                <a:gd name="T9" fmla="*/ 2147483647 h 155"/>
                <a:gd name="T10" fmla="*/ 2147483647 w 56"/>
                <a:gd name="T11" fmla="*/ 2147483647 h 155"/>
                <a:gd name="T12" fmla="*/ 2147483647 w 56"/>
                <a:gd name="T13" fmla="*/ 0 h 155"/>
                <a:gd name="T14" fmla="*/ 0 w 56"/>
                <a:gd name="T15" fmla="*/ 2147483647 h 15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155">
                  <a:moveTo>
                    <a:pt x="0" y="32"/>
                  </a:moveTo>
                  <a:lnTo>
                    <a:pt x="12" y="155"/>
                  </a:lnTo>
                  <a:lnTo>
                    <a:pt x="51" y="100"/>
                  </a:lnTo>
                  <a:lnTo>
                    <a:pt x="44" y="88"/>
                  </a:lnTo>
                  <a:lnTo>
                    <a:pt x="56" y="55"/>
                  </a:lnTo>
                  <a:lnTo>
                    <a:pt x="56" y="23"/>
                  </a:lnTo>
                  <a:lnTo>
                    <a:pt x="25" y="0"/>
                  </a:lnTo>
                  <a:lnTo>
                    <a:pt x="0" y="3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93" name="Freeform 857"/>
            <p:cNvSpPr>
              <a:spLocks/>
            </p:cNvSpPr>
            <p:nvPr>
              <p:custDataLst>
                <p:tags r:id="rId701"/>
              </p:custDataLst>
            </p:nvPr>
          </p:nvSpPr>
          <p:spPr bwMode="auto">
            <a:xfrm>
              <a:off x="7244042" y="4357290"/>
              <a:ext cx="104255" cy="123825"/>
            </a:xfrm>
            <a:custGeom>
              <a:avLst/>
              <a:gdLst>
                <a:gd name="T0" fmla="*/ 0 w 56"/>
                <a:gd name="T1" fmla="*/ 2147483647 h 155"/>
                <a:gd name="T2" fmla="*/ 2147483647 w 56"/>
                <a:gd name="T3" fmla="*/ 2147483647 h 155"/>
                <a:gd name="T4" fmla="*/ 2147483647 w 56"/>
                <a:gd name="T5" fmla="*/ 2147483647 h 155"/>
                <a:gd name="T6" fmla="*/ 2147483647 w 56"/>
                <a:gd name="T7" fmla="*/ 2147483647 h 155"/>
                <a:gd name="T8" fmla="*/ 2147483647 w 56"/>
                <a:gd name="T9" fmla="*/ 2147483647 h 155"/>
                <a:gd name="T10" fmla="*/ 2147483647 w 56"/>
                <a:gd name="T11" fmla="*/ 2147483647 h 155"/>
                <a:gd name="T12" fmla="*/ 2147483647 w 56"/>
                <a:gd name="T13" fmla="*/ 0 h 155"/>
                <a:gd name="T14" fmla="*/ 0 w 56"/>
                <a:gd name="T15" fmla="*/ 2147483647 h 15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6" h="155">
                  <a:moveTo>
                    <a:pt x="0" y="32"/>
                  </a:moveTo>
                  <a:lnTo>
                    <a:pt x="12" y="155"/>
                  </a:lnTo>
                  <a:lnTo>
                    <a:pt x="51" y="100"/>
                  </a:lnTo>
                  <a:lnTo>
                    <a:pt x="44" y="88"/>
                  </a:lnTo>
                  <a:lnTo>
                    <a:pt x="56" y="55"/>
                  </a:lnTo>
                  <a:lnTo>
                    <a:pt x="56" y="23"/>
                  </a:lnTo>
                  <a:lnTo>
                    <a:pt x="25" y="0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2894" name="Group 858"/>
            <p:cNvGrpSpPr>
              <a:grpSpLocks/>
            </p:cNvGrpSpPr>
            <p:nvPr>
              <p:custDataLst>
                <p:tags r:id="rId702"/>
              </p:custDataLst>
            </p:nvPr>
          </p:nvGrpSpPr>
          <p:grpSpPr bwMode="auto">
            <a:xfrm>
              <a:off x="7244055" y="4314395"/>
              <a:ext cx="300734" cy="166688"/>
              <a:chOff x="3608" y="2348"/>
              <a:chExt cx="162" cy="105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193" name="Freeform 859"/>
              <p:cNvSpPr>
                <a:spLocks/>
              </p:cNvSpPr>
              <p:nvPr/>
            </p:nvSpPr>
            <p:spPr bwMode="auto">
              <a:xfrm>
                <a:off x="3621" y="2348"/>
                <a:ext cx="149" cy="105"/>
              </a:xfrm>
              <a:custGeom>
                <a:avLst/>
                <a:gdLst>
                  <a:gd name="T0" fmla="*/ 0 w 149"/>
                  <a:gd name="T1" fmla="*/ 0 h 211"/>
                  <a:gd name="T2" fmla="*/ 37 w 149"/>
                  <a:gd name="T3" fmla="*/ 0 h 211"/>
                  <a:gd name="T4" fmla="*/ 31 w 149"/>
                  <a:gd name="T5" fmla="*/ 0 h 211"/>
                  <a:gd name="T6" fmla="*/ 43 w 149"/>
                  <a:gd name="T7" fmla="*/ 0 h 211"/>
                  <a:gd name="T8" fmla="*/ 81 w 149"/>
                  <a:gd name="T9" fmla="*/ 0 h 211"/>
                  <a:gd name="T10" fmla="*/ 131 w 149"/>
                  <a:gd name="T11" fmla="*/ 0 h 211"/>
                  <a:gd name="T12" fmla="*/ 149 w 149"/>
                  <a:gd name="T13" fmla="*/ 0 h 211"/>
                  <a:gd name="T14" fmla="*/ 138 w 149"/>
                  <a:gd name="T15" fmla="*/ 0 h 211"/>
                  <a:gd name="T16" fmla="*/ 81 w 149"/>
                  <a:gd name="T17" fmla="*/ 0 h 211"/>
                  <a:gd name="T18" fmla="*/ 0 w 149"/>
                  <a:gd name="T19" fmla="*/ 0 h 2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49" h="211">
                    <a:moveTo>
                      <a:pt x="0" y="211"/>
                    </a:moveTo>
                    <a:lnTo>
                      <a:pt x="37" y="156"/>
                    </a:lnTo>
                    <a:lnTo>
                      <a:pt x="31" y="144"/>
                    </a:lnTo>
                    <a:lnTo>
                      <a:pt x="43" y="110"/>
                    </a:lnTo>
                    <a:lnTo>
                      <a:pt x="81" y="21"/>
                    </a:lnTo>
                    <a:lnTo>
                      <a:pt x="131" y="0"/>
                    </a:lnTo>
                    <a:lnTo>
                      <a:pt x="149" y="79"/>
                    </a:lnTo>
                    <a:lnTo>
                      <a:pt x="138" y="110"/>
                    </a:lnTo>
                    <a:lnTo>
                      <a:pt x="81" y="167"/>
                    </a:lnTo>
                    <a:lnTo>
                      <a:pt x="0" y="211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194" name="Freeform 860"/>
              <p:cNvSpPr>
                <a:spLocks/>
              </p:cNvSpPr>
              <p:nvPr/>
            </p:nvSpPr>
            <p:spPr bwMode="auto">
              <a:xfrm>
                <a:off x="3608" y="2375"/>
                <a:ext cx="56" cy="78"/>
              </a:xfrm>
              <a:custGeom>
                <a:avLst/>
                <a:gdLst>
                  <a:gd name="T0" fmla="*/ 0 w 56"/>
                  <a:gd name="T1" fmla="*/ 1 h 155"/>
                  <a:gd name="T2" fmla="*/ 12 w 56"/>
                  <a:gd name="T3" fmla="*/ 1 h 155"/>
                  <a:gd name="T4" fmla="*/ 51 w 56"/>
                  <a:gd name="T5" fmla="*/ 1 h 155"/>
                  <a:gd name="T6" fmla="*/ 44 w 56"/>
                  <a:gd name="T7" fmla="*/ 1 h 155"/>
                  <a:gd name="T8" fmla="*/ 56 w 56"/>
                  <a:gd name="T9" fmla="*/ 1 h 155"/>
                  <a:gd name="T10" fmla="*/ 56 w 56"/>
                  <a:gd name="T11" fmla="*/ 1 h 155"/>
                  <a:gd name="T12" fmla="*/ 25 w 56"/>
                  <a:gd name="T13" fmla="*/ 0 h 155"/>
                  <a:gd name="T14" fmla="*/ 0 w 56"/>
                  <a:gd name="T15" fmla="*/ 1 h 15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6" h="155">
                    <a:moveTo>
                      <a:pt x="0" y="32"/>
                    </a:moveTo>
                    <a:lnTo>
                      <a:pt x="12" y="155"/>
                    </a:lnTo>
                    <a:lnTo>
                      <a:pt x="51" y="100"/>
                    </a:lnTo>
                    <a:lnTo>
                      <a:pt x="44" y="88"/>
                    </a:lnTo>
                    <a:lnTo>
                      <a:pt x="56" y="55"/>
                    </a:lnTo>
                    <a:lnTo>
                      <a:pt x="56" y="23"/>
                    </a:lnTo>
                    <a:lnTo>
                      <a:pt x="25" y="0"/>
                    </a:lnTo>
                    <a:lnTo>
                      <a:pt x="0" y="32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2895" name="Freeform 861"/>
            <p:cNvSpPr>
              <a:spLocks/>
            </p:cNvSpPr>
            <p:nvPr>
              <p:custDataLst>
                <p:tags r:id="rId703"/>
              </p:custDataLst>
            </p:nvPr>
          </p:nvSpPr>
          <p:spPr bwMode="auto">
            <a:xfrm>
              <a:off x="6412016" y="3517470"/>
              <a:ext cx="264646" cy="185738"/>
            </a:xfrm>
            <a:custGeom>
              <a:avLst/>
              <a:gdLst>
                <a:gd name="T0" fmla="*/ 0 w 143"/>
                <a:gd name="T1" fmla="*/ 2147483647 h 234"/>
                <a:gd name="T2" fmla="*/ 0 w 143"/>
                <a:gd name="T3" fmla="*/ 2147483647 h 234"/>
                <a:gd name="T4" fmla="*/ 2147483647 w 143"/>
                <a:gd name="T5" fmla="*/ 0 h 234"/>
                <a:gd name="T6" fmla="*/ 2147483647 w 143"/>
                <a:gd name="T7" fmla="*/ 2147483647 h 234"/>
                <a:gd name="T8" fmla="*/ 2147483647 w 143"/>
                <a:gd name="T9" fmla="*/ 2147483647 h 234"/>
                <a:gd name="T10" fmla="*/ 2147483647 w 143"/>
                <a:gd name="T11" fmla="*/ 2147483647 h 234"/>
                <a:gd name="T12" fmla="*/ 2147483647 w 143"/>
                <a:gd name="T13" fmla="*/ 2147483647 h 234"/>
                <a:gd name="T14" fmla="*/ 2147483647 w 143"/>
                <a:gd name="T15" fmla="*/ 2147483647 h 234"/>
                <a:gd name="T16" fmla="*/ 2147483647 w 143"/>
                <a:gd name="T17" fmla="*/ 2147483647 h 234"/>
                <a:gd name="T18" fmla="*/ 2147483647 w 143"/>
                <a:gd name="T19" fmla="*/ 2147483647 h 234"/>
                <a:gd name="T20" fmla="*/ 2147483647 w 143"/>
                <a:gd name="T21" fmla="*/ 2147483647 h 234"/>
                <a:gd name="T22" fmla="*/ 2147483647 w 143"/>
                <a:gd name="T23" fmla="*/ 2147483647 h 234"/>
                <a:gd name="T24" fmla="*/ 2147483647 w 143"/>
                <a:gd name="T25" fmla="*/ 2147483647 h 234"/>
                <a:gd name="T26" fmla="*/ 0 w 143"/>
                <a:gd name="T27" fmla="*/ 2147483647 h 234"/>
                <a:gd name="T28" fmla="*/ 0 w 143"/>
                <a:gd name="T29" fmla="*/ 2147483647 h 2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3" h="234">
                  <a:moveTo>
                    <a:pt x="0" y="55"/>
                  </a:moveTo>
                  <a:lnTo>
                    <a:pt x="0" y="23"/>
                  </a:lnTo>
                  <a:lnTo>
                    <a:pt x="37" y="0"/>
                  </a:lnTo>
                  <a:lnTo>
                    <a:pt x="68" y="44"/>
                  </a:lnTo>
                  <a:lnTo>
                    <a:pt x="100" y="32"/>
                  </a:lnTo>
                  <a:lnTo>
                    <a:pt x="137" y="101"/>
                  </a:lnTo>
                  <a:lnTo>
                    <a:pt x="137" y="178"/>
                  </a:lnTo>
                  <a:lnTo>
                    <a:pt x="143" y="211"/>
                  </a:lnTo>
                  <a:lnTo>
                    <a:pt x="111" y="234"/>
                  </a:lnTo>
                  <a:lnTo>
                    <a:pt x="100" y="167"/>
                  </a:lnTo>
                  <a:lnTo>
                    <a:pt x="87" y="190"/>
                  </a:lnTo>
                  <a:lnTo>
                    <a:pt x="37" y="134"/>
                  </a:lnTo>
                  <a:lnTo>
                    <a:pt x="12" y="67"/>
                  </a:lnTo>
                  <a:lnTo>
                    <a:pt x="0" y="78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96" name="Freeform 862"/>
            <p:cNvSpPr>
              <a:spLocks/>
            </p:cNvSpPr>
            <p:nvPr>
              <p:custDataLst>
                <p:tags r:id="rId704"/>
              </p:custDataLst>
            </p:nvPr>
          </p:nvSpPr>
          <p:spPr bwMode="auto">
            <a:xfrm>
              <a:off x="6412016" y="3517470"/>
              <a:ext cx="264646" cy="185738"/>
            </a:xfrm>
            <a:custGeom>
              <a:avLst/>
              <a:gdLst>
                <a:gd name="T0" fmla="*/ 0 w 143"/>
                <a:gd name="T1" fmla="*/ 2147483647 h 234"/>
                <a:gd name="T2" fmla="*/ 0 w 143"/>
                <a:gd name="T3" fmla="*/ 2147483647 h 234"/>
                <a:gd name="T4" fmla="*/ 2147483647 w 143"/>
                <a:gd name="T5" fmla="*/ 0 h 234"/>
                <a:gd name="T6" fmla="*/ 2147483647 w 143"/>
                <a:gd name="T7" fmla="*/ 2147483647 h 234"/>
                <a:gd name="T8" fmla="*/ 2147483647 w 143"/>
                <a:gd name="T9" fmla="*/ 2147483647 h 234"/>
                <a:gd name="T10" fmla="*/ 2147483647 w 143"/>
                <a:gd name="T11" fmla="*/ 2147483647 h 234"/>
                <a:gd name="T12" fmla="*/ 2147483647 w 143"/>
                <a:gd name="T13" fmla="*/ 2147483647 h 234"/>
                <a:gd name="T14" fmla="*/ 2147483647 w 143"/>
                <a:gd name="T15" fmla="*/ 2147483647 h 234"/>
                <a:gd name="T16" fmla="*/ 2147483647 w 143"/>
                <a:gd name="T17" fmla="*/ 2147483647 h 234"/>
                <a:gd name="T18" fmla="*/ 2147483647 w 143"/>
                <a:gd name="T19" fmla="*/ 2147483647 h 234"/>
                <a:gd name="T20" fmla="*/ 2147483647 w 143"/>
                <a:gd name="T21" fmla="*/ 2147483647 h 234"/>
                <a:gd name="T22" fmla="*/ 2147483647 w 143"/>
                <a:gd name="T23" fmla="*/ 2147483647 h 234"/>
                <a:gd name="T24" fmla="*/ 2147483647 w 143"/>
                <a:gd name="T25" fmla="*/ 2147483647 h 234"/>
                <a:gd name="T26" fmla="*/ 0 w 143"/>
                <a:gd name="T27" fmla="*/ 2147483647 h 234"/>
                <a:gd name="T28" fmla="*/ 0 w 143"/>
                <a:gd name="T29" fmla="*/ 2147483647 h 2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3" h="234">
                  <a:moveTo>
                    <a:pt x="0" y="55"/>
                  </a:moveTo>
                  <a:lnTo>
                    <a:pt x="0" y="23"/>
                  </a:lnTo>
                  <a:lnTo>
                    <a:pt x="37" y="0"/>
                  </a:lnTo>
                  <a:lnTo>
                    <a:pt x="68" y="44"/>
                  </a:lnTo>
                  <a:lnTo>
                    <a:pt x="100" y="32"/>
                  </a:lnTo>
                  <a:lnTo>
                    <a:pt x="137" y="101"/>
                  </a:lnTo>
                  <a:lnTo>
                    <a:pt x="137" y="178"/>
                  </a:lnTo>
                  <a:lnTo>
                    <a:pt x="143" y="211"/>
                  </a:lnTo>
                  <a:lnTo>
                    <a:pt x="111" y="234"/>
                  </a:lnTo>
                  <a:lnTo>
                    <a:pt x="100" y="167"/>
                  </a:lnTo>
                  <a:lnTo>
                    <a:pt x="87" y="190"/>
                  </a:lnTo>
                  <a:lnTo>
                    <a:pt x="37" y="134"/>
                  </a:lnTo>
                  <a:lnTo>
                    <a:pt x="12" y="67"/>
                  </a:lnTo>
                  <a:lnTo>
                    <a:pt x="0" y="78"/>
                  </a:lnTo>
                  <a:lnTo>
                    <a:pt x="0" y="5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97" name="Freeform 863"/>
            <p:cNvSpPr>
              <a:spLocks/>
            </p:cNvSpPr>
            <p:nvPr>
              <p:custDataLst>
                <p:tags r:id="rId705"/>
              </p:custDataLst>
            </p:nvPr>
          </p:nvSpPr>
          <p:spPr bwMode="auto">
            <a:xfrm>
              <a:off x="6412016" y="3517470"/>
              <a:ext cx="264646" cy="185738"/>
            </a:xfrm>
            <a:custGeom>
              <a:avLst/>
              <a:gdLst>
                <a:gd name="T0" fmla="*/ 0 w 143"/>
                <a:gd name="T1" fmla="*/ 2147483647 h 234"/>
                <a:gd name="T2" fmla="*/ 0 w 143"/>
                <a:gd name="T3" fmla="*/ 2147483647 h 234"/>
                <a:gd name="T4" fmla="*/ 2147483647 w 143"/>
                <a:gd name="T5" fmla="*/ 0 h 234"/>
                <a:gd name="T6" fmla="*/ 2147483647 w 143"/>
                <a:gd name="T7" fmla="*/ 2147483647 h 234"/>
                <a:gd name="T8" fmla="*/ 2147483647 w 143"/>
                <a:gd name="T9" fmla="*/ 2147483647 h 234"/>
                <a:gd name="T10" fmla="*/ 2147483647 w 143"/>
                <a:gd name="T11" fmla="*/ 2147483647 h 234"/>
                <a:gd name="T12" fmla="*/ 2147483647 w 143"/>
                <a:gd name="T13" fmla="*/ 2147483647 h 234"/>
                <a:gd name="T14" fmla="*/ 2147483647 w 143"/>
                <a:gd name="T15" fmla="*/ 2147483647 h 234"/>
                <a:gd name="T16" fmla="*/ 2147483647 w 143"/>
                <a:gd name="T17" fmla="*/ 2147483647 h 234"/>
                <a:gd name="T18" fmla="*/ 2147483647 w 143"/>
                <a:gd name="T19" fmla="*/ 2147483647 h 234"/>
                <a:gd name="T20" fmla="*/ 2147483647 w 143"/>
                <a:gd name="T21" fmla="*/ 2147483647 h 234"/>
                <a:gd name="T22" fmla="*/ 2147483647 w 143"/>
                <a:gd name="T23" fmla="*/ 2147483647 h 234"/>
                <a:gd name="T24" fmla="*/ 2147483647 w 143"/>
                <a:gd name="T25" fmla="*/ 2147483647 h 234"/>
                <a:gd name="T26" fmla="*/ 0 w 143"/>
                <a:gd name="T27" fmla="*/ 2147483647 h 234"/>
                <a:gd name="T28" fmla="*/ 0 w 143"/>
                <a:gd name="T29" fmla="*/ 2147483647 h 2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3" h="234">
                  <a:moveTo>
                    <a:pt x="0" y="55"/>
                  </a:moveTo>
                  <a:lnTo>
                    <a:pt x="0" y="23"/>
                  </a:lnTo>
                  <a:lnTo>
                    <a:pt x="37" y="0"/>
                  </a:lnTo>
                  <a:lnTo>
                    <a:pt x="68" y="44"/>
                  </a:lnTo>
                  <a:lnTo>
                    <a:pt x="100" y="32"/>
                  </a:lnTo>
                  <a:lnTo>
                    <a:pt x="137" y="101"/>
                  </a:lnTo>
                  <a:lnTo>
                    <a:pt x="137" y="178"/>
                  </a:lnTo>
                  <a:lnTo>
                    <a:pt x="143" y="211"/>
                  </a:lnTo>
                  <a:lnTo>
                    <a:pt x="111" y="234"/>
                  </a:lnTo>
                  <a:lnTo>
                    <a:pt x="100" y="167"/>
                  </a:lnTo>
                  <a:lnTo>
                    <a:pt x="87" y="190"/>
                  </a:lnTo>
                  <a:lnTo>
                    <a:pt x="37" y="134"/>
                  </a:lnTo>
                  <a:lnTo>
                    <a:pt x="12" y="67"/>
                  </a:lnTo>
                  <a:lnTo>
                    <a:pt x="0" y="78"/>
                  </a:lnTo>
                  <a:lnTo>
                    <a:pt x="0" y="5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98" name="Freeform 864"/>
            <p:cNvSpPr>
              <a:spLocks/>
            </p:cNvSpPr>
            <p:nvPr>
              <p:custDataLst>
                <p:tags r:id="rId706"/>
              </p:custDataLst>
            </p:nvPr>
          </p:nvSpPr>
          <p:spPr bwMode="auto">
            <a:xfrm>
              <a:off x="6412016" y="3517470"/>
              <a:ext cx="264646" cy="185738"/>
            </a:xfrm>
            <a:custGeom>
              <a:avLst/>
              <a:gdLst>
                <a:gd name="T0" fmla="*/ 0 w 143"/>
                <a:gd name="T1" fmla="*/ 2147483647 h 234"/>
                <a:gd name="T2" fmla="*/ 0 w 143"/>
                <a:gd name="T3" fmla="*/ 2147483647 h 234"/>
                <a:gd name="T4" fmla="*/ 2147483647 w 143"/>
                <a:gd name="T5" fmla="*/ 0 h 234"/>
                <a:gd name="T6" fmla="*/ 2147483647 w 143"/>
                <a:gd name="T7" fmla="*/ 2147483647 h 234"/>
                <a:gd name="T8" fmla="*/ 2147483647 w 143"/>
                <a:gd name="T9" fmla="*/ 2147483647 h 234"/>
                <a:gd name="T10" fmla="*/ 2147483647 w 143"/>
                <a:gd name="T11" fmla="*/ 2147483647 h 234"/>
                <a:gd name="T12" fmla="*/ 2147483647 w 143"/>
                <a:gd name="T13" fmla="*/ 2147483647 h 234"/>
                <a:gd name="T14" fmla="*/ 2147483647 w 143"/>
                <a:gd name="T15" fmla="*/ 2147483647 h 234"/>
                <a:gd name="T16" fmla="*/ 2147483647 w 143"/>
                <a:gd name="T17" fmla="*/ 2147483647 h 234"/>
                <a:gd name="T18" fmla="*/ 2147483647 w 143"/>
                <a:gd name="T19" fmla="*/ 2147483647 h 234"/>
                <a:gd name="T20" fmla="*/ 2147483647 w 143"/>
                <a:gd name="T21" fmla="*/ 2147483647 h 234"/>
                <a:gd name="T22" fmla="*/ 2147483647 w 143"/>
                <a:gd name="T23" fmla="*/ 2147483647 h 234"/>
                <a:gd name="T24" fmla="*/ 2147483647 w 143"/>
                <a:gd name="T25" fmla="*/ 2147483647 h 234"/>
                <a:gd name="T26" fmla="*/ 0 w 143"/>
                <a:gd name="T27" fmla="*/ 2147483647 h 234"/>
                <a:gd name="T28" fmla="*/ 0 w 143"/>
                <a:gd name="T29" fmla="*/ 2147483647 h 23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3" h="234">
                  <a:moveTo>
                    <a:pt x="0" y="55"/>
                  </a:moveTo>
                  <a:lnTo>
                    <a:pt x="0" y="23"/>
                  </a:lnTo>
                  <a:lnTo>
                    <a:pt x="37" y="0"/>
                  </a:lnTo>
                  <a:lnTo>
                    <a:pt x="68" y="44"/>
                  </a:lnTo>
                  <a:lnTo>
                    <a:pt x="100" y="32"/>
                  </a:lnTo>
                  <a:lnTo>
                    <a:pt x="137" y="101"/>
                  </a:lnTo>
                  <a:lnTo>
                    <a:pt x="137" y="178"/>
                  </a:lnTo>
                  <a:lnTo>
                    <a:pt x="143" y="211"/>
                  </a:lnTo>
                  <a:lnTo>
                    <a:pt x="111" y="234"/>
                  </a:lnTo>
                  <a:lnTo>
                    <a:pt x="100" y="167"/>
                  </a:lnTo>
                  <a:lnTo>
                    <a:pt x="87" y="190"/>
                  </a:lnTo>
                  <a:lnTo>
                    <a:pt x="37" y="134"/>
                  </a:lnTo>
                  <a:lnTo>
                    <a:pt x="12" y="67"/>
                  </a:lnTo>
                  <a:lnTo>
                    <a:pt x="0" y="78"/>
                  </a:lnTo>
                  <a:lnTo>
                    <a:pt x="0" y="5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899" name="Freeform 865"/>
            <p:cNvSpPr>
              <a:spLocks/>
            </p:cNvSpPr>
            <p:nvPr>
              <p:custDataLst>
                <p:tags r:id="rId707"/>
              </p:custDataLst>
            </p:nvPr>
          </p:nvSpPr>
          <p:spPr bwMode="auto">
            <a:xfrm>
              <a:off x="6343842" y="4939906"/>
              <a:ext cx="366895" cy="320675"/>
            </a:xfrm>
            <a:custGeom>
              <a:avLst/>
              <a:gdLst>
                <a:gd name="T0" fmla="*/ 0 w 198"/>
                <a:gd name="T1" fmla="*/ 2147483647 h 404"/>
                <a:gd name="T2" fmla="*/ 2147483647 w 198"/>
                <a:gd name="T3" fmla="*/ 2147483647 h 404"/>
                <a:gd name="T4" fmla="*/ 2147483647 w 198"/>
                <a:gd name="T5" fmla="*/ 2147483647 h 404"/>
                <a:gd name="T6" fmla="*/ 2147483647 w 198"/>
                <a:gd name="T7" fmla="*/ 2147483647 h 404"/>
                <a:gd name="T8" fmla="*/ 2147483647 w 198"/>
                <a:gd name="T9" fmla="*/ 2147483647 h 404"/>
                <a:gd name="T10" fmla="*/ 2147483647 w 198"/>
                <a:gd name="T11" fmla="*/ 2147483647 h 404"/>
                <a:gd name="T12" fmla="*/ 2147483647 w 198"/>
                <a:gd name="T13" fmla="*/ 2147483647 h 404"/>
                <a:gd name="T14" fmla="*/ 2147483647 w 198"/>
                <a:gd name="T15" fmla="*/ 2147483647 h 404"/>
                <a:gd name="T16" fmla="*/ 2147483647 w 198"/>
                <a:gd name="T17" fmla="*/ 2147483647 h 404"/>
                <a:gd name="T18" fmla="*/ 2147483647 w 198"/>
                <a:gd name="T19" fmla="*/ 2147483647 h 404"/>
                <a:gd name="T20" fmla="*/ 2147483647 w 198"/>
                <a:gd name="T21" fmla="*/ 2147483647 h 404"/>
                <a:gd name="T22" fmla="*/ 2147483647 w 198"/>
                <a:gd name="T23" fmla="*/ 2147483647 h 404"/>
                <a:gd name="T24" fmla="*/ 2147483647 w 198"/>
                <a:gd name="T25" fmla="*/ 2147483647 h 404"/>
                <a:gd name="T26" fmla="*/ 2147483647 w 198"/>
                <a:gd name="T27" fmla="*/ 2147483647 h 404"/>
                <a:gd name="T28" fmla="*/ 2147483647 w 198"/>
                <a:gd name="T29" fmla="*/ 0 h 404"/>
                <a:gd name="T30" fmla="*/ 2147483647 w 198"/>
                <a:gd name="T31" fmla="*/ 2147483647 h 404"/>
                <a:gd name="T32" fmla="*/ 2147483647 w 198"/>
                <a:gd name="T33" fmla="*/ 2147483647 h 404"/>
                <a:gd name="T34" fmla="*/ 0 w 198"/>
                <a:gd name="T35" fmla="*/ 2147483647 h 40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98" h="404">
                  <a:moveTo>
                    <a:pt x="0" y="381"/>
                  </a:moveTo>
                  <a:lnTo>
                    <a:pt x="31" y="369"/>
                  </a:lnTo>
                  <a:lnTo>
                    <a:pt x="155" y="404"/>
                  </a:lnTo>
                  <a:lnTo>
                    <a:pt x="180" y="381"/>
                  </a:lnTo>
                  <a:lnTo>
                    <a:pt x="162" y="358"/>
                  </a:lnTo>
                  <a:lnTo>
                    <a:pt x="162" y="237"/>
                  </a:lnTo>
                  <a:lnTo>
                    <a:pt x="198" y="237"/>
                  </a:lnTo>
                  <a:lnTo>
                    <a:pt x="193" y="168"/>
                  </a:lnTo>
                  <a:lnTo>
                    <a:pt x="162" y="179"/>
                  </a:lnTo>
                  <a:lnTo>
                    <a:pt x="162" y="56"/>
                  </a:lnTo>
                  <a:lnTo>
                    <a:pt x="143" y="45"/>
                  </a:lnTo>
                  <a:lnTo>
                    <a:pt x="124" y="45"/>
                  </a:lnTo>
                  <a:lnTo>
                    <a:pt x="118" y="79"/>
                  </a:lnTo>
                  <a:lnTo>
                    <a:pt x="99" y="79"/>
                  </a:lnTo>
                  <a:lnTo>
                    <a:pt x="74" y="0"/>
                  </a:lnTo>
                  <a:lnTo>
                    <a:pt x="12" y="23"/>
                  </a:lnTo>
                  <a:lnTo>
                    <a:pt x="37" y="168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00" name="Freeform 866"/>
            <p:cNvSpPr>
              <a:spLocks/>
            </p:cNvSpPr>
            <p:nvPr>
              <p:custDataLst>
                <p:tags r:id="rId708"/>
              </p:custDataLst>
            </p:nvPr>
          </p:nvSpPr>
          <p:spPr bwMode="auto">
            <a:xfrm>
              <a:off x="6343842" y="4939906"/>
              <a:ext cx="366895" cy="320675"/>
            </a:xfrm>
            <a:custGeom>
              <a:avLst/>
              <a:gdLst>
                <a:gd name="T0" fmla="*/ 0 w 198"/>
                <a:gd name="T1" fmla="*/ 2147483647 h 404"/>
                <a:gd name="T2" fmla="*/ 2147483647 w 198"/>
                <a:gd name="T3" fmla="*/ 2147483647 h 404"/>
                <a:gd name="T4" fmla="*/ 2147483647 w 198"/>
                <a:gd name="T5" fmla="*/ 2147483647 h 404"/>
                <a:gd name="T6" fmla="*/ 2147483647 w 198"/>
                <a:gd name="T7" fmla="*/ 2147483647 h 404"/>
                <a:gd name="T8" fmla="*/ 2147483647 w 198"/>
                <a:gd name="T9" fmla="*/ 2147483647 h 404"/>
                <a:gd name="T10" fmla="*/ 2147483647 w 198"/>
                <a:gd name="T11" fmla="*/ 2147483647 h 404"/>
                <a:gd name="T12" fmla="*/ 2147483647 w 198"/>
                <a:gd name="T13" fmla="*/ 2147483647 h 404"/>
                <a:gd name="T14" fmla="*/ 2147483647 w 198"/>
                <a:gd name="T15" fmla="*/ 2147483647 h 404"/>
                <a:gd name="T16" fmla="*/ 2147483647 w 198"/>
                <a:gd name="T17" fmla="*/ 2147483647 h 404"/>
                <a:gd name="T18" fmla="*/ 2147483647 w 198"/>
                <a:gd name="T19" fmla="*/ 2147483647 h 404"/>
                <a:gd name="T20" fmla="*/ 2147483647 w 198"/>
                <a:gd name="T21" fmla="*/ 2147483647 h 404"/>
                <a:gd name="T22" fmla="*/ 2147483647 w 198"/>
                <a:gd name="T23" fmla="*/ 2147483647 h 404"/>
                <a:gd name="T24" fmla="*/ 2147483647 w 198"/>
                <a:gd name="T25" fmla="*/ 2147483647 h 404"/>
                <a:gd name="T26" fmla="*/ 2147483647 w 198"/>
                <a:gd name="T27" fmla="*/ 2147483647 h 404"/>
                <a:gd name="T28" fmla="*/ 2147483647 w 198"/>
                <a:gd name="T29" fmla="*/ 0 h 404"/>
                <a:gd name="T30" fmla="*/ 2147483647 w 198"/>
                <a:gd name="T31" fmla="*/ 2147483647 h 404"/>
                <a:gd name="T32" fmla="*/ 2147483647 w 198"/>
                <a:gd name="T33" fmla="*/ 2147483647 h 404"/>
                <a:gd name="T34" fmla="*/ 0 w 198"/>
                <a:gd name="T35" fmla="*/ 2147483647 h 40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98" h="404">
                  <a:moveTo>
                    <a:pt x="0" y="381"/>
                  </a:moveTo>
                  <a:lnTo>
                    <a:pt x="31" y="369"/>
                  </a:lnTo>
                  <a:lnTo>
                    <a:pt x="155" y="404"/>
                  </a:lnTo>
                  <a:lnTo>
                    <a:pt x="180" y="381"/>
                  </a:lnTo>
                  <a:lnTo>
                    <a:pt x="162" y="358"/>
                  </a:lnTo>
                  <a:lnTo>
                    <a:pt x="162" y="237"/>
                  </a:lnTo>
                  <a:lnTo>
                    <a:pt x="198" y="237"/>
                  </a:lnTo>
                  <a:lnTo>
                    <a:pt x="193" y="168"/>
                  </a:lnTo>
                  <a:lnTo>
                    <a:pt x="162" y="179"/>
                  </a:lnTo>
                  <a:lnTo>
                    <a:pt x="162" y="56"/>
                  </a:lnTo>
                  <a:lnTo>
                    <a:pt x="143" y="45"/>
                  </a:lnTo>
                  <a:lnTo>
                    <a:pt x="124" y="45"/>
                  </a:lnTo>
                  <a:lnTo>
                    <a:pt x="118" y="79"/>
                  </a:lnTo>
                  <a:lnTo>
                    <a:pt x="99" y="79"/>
                  </a:lnTo>
                  <a:lnTo>
                    <a:pt x="74" y="0"/>
                  </a:lnTo>
                  <a:lnTo>
                    <a:pt x="12" y="23"/>
                  </a:lnTo>
                  <a:lnTo>
                    <a:pt x="37" y="168"/>
                  </a:lnTo>
                  <a:lnTo>
                    <a:pt x="0" y="38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01" name="Freeform 867"/>
            <p:cNvSpPr>
              <a:spLocks/>
            </p:cNvSpPr>
            <p:nvPr>
              <p:custDataLst>
                <p:tags r:id="rId709"/>
              </p:custDataLst>
            </p:nvPr>
          </p:nvSpPr>
          <p:spPr bwMode="auto">
            <a:xfrm>
              <a:off x="6343842" y="4939906"/>
              <a:ext cx="366895" cy="320675"/>
            </a:xfrm>
            <a:custGeom>
              <a:avLst/>
              <a:gdLst>
                <a:gd name="T0" fmla="*/ 0 w 198"/>
                <a:gd name="T1" fmla="*/ 2147483647 h 404"/>
                <a:gd name="T2" fmla="*/ 2147483647 w 198"/>
                <a:gd name="T3" fmla="*/ 2147483647 h 404"/>
                <a:gd name="T4" fmla="*/ 2147483647 w 198"/>
                <a:gd name="T5" fmla="*/ 2147483647 h 404"/>
                <a:gd name="T6" fmla="*/ 2147483647 w 198"/>
                <a:gd name="T7" fmla="*/ 2147483647 h 404"/>
                <a:gd name="T8" fmla="*/ 2147483647 w 198"/>
                <a:gd name="T9" fmla="*/ 2147483647 h 404"/>
                <a:gd name="T10" fmla="*/ 2147483647 w 198"/>
                <a:gd name="T11" fmla="*/ 2147483647 h 404"/>
                <a:gd name="T12" fmla="*/ 2147483647 w 198"/>
                <a:gd name="T13" fmla="*/ 2147483647 h 404"/>
                <a:gd name="T14" fmla="*/ 2147483647 w 198"/>
                <a:gd name="T15" fmla="*/ 2147483647 h 404"/>
                <a:gd name="T16" fmla="*/ 2147483647 w 198"/>
                <a:gd name="T17" fmla="*/ 2147483647 h 404"/>
                <a:gd name="T18" fmla="*/ 2147483647 w 198"/>
                <a:gd name="T19" fmla="*/ 2147483647 h 404"/>
                <a:gd name="T20" fmla="*/ 2147483647 w 198"/>
                <a:gd name="T21" fmla="*/ 2147483647 h 404"/>
                <a:gd name="T22" fmla="*/ 2147483647 w 198"/>
                <a:gd name="T23" fmla="*/ 2147483647 h 404"/>
                <a:gd name="T24" fmla="*/ 2147483647 w 198"/>
                <a:gd name="T25" fmla="*/ 2147483647 h 404"/>
                <a:gd name="T26" fmla="*/ 2147483647 w 198"/>
                <a:gd name="T27" fmla="*/ 2147483647 h 404"/>
                <a:gd name="T28" fmla="*/ 2147483647 w 198"/>
                <a:gd name="T29" fmla="*/ 0 h 404"/>
                <a:gd name="T30" fmla="*/ 2147483647 w 198"/>
                <a:gd name="T31" fmla="*/ 2147483647 h 404"/>
                <a:gd name="T32" fmla="*/ 2147483647 w 198"/>
                <a:gd name="T33" fmla="*/ 2147483647 h 404"/>
                <a:gd name="T34" fmla="*/ 0 w 198"/>
                <a:gd name="T35" fmla="*/ 2147483647 h 40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98" h="404">
                  <a:moveTo>
                    <a:pt x="0" y="381"/>
                  </a:moveTo>
                  <a:lnTo>
                    <a:pt x="31" y="369"/>
                  </a:lnTo>
                  <a:lnTo>
                    <a:pt x="155" y="404"/>
                  </a:lnTo>
                  <a:lnTo>
                    <a:pt x="180" y="381"/>
                  </a:lnTo>
                  <a:lnTo>
                    <a:pt x="162" y="358"/>
                  </a:lnTo>
                  <a:lnTo>
                    <a:pt x="162" y="237"/>
                  </a:lnTo>
                  <a:lnTo>
                    <a:pt x="198" y="237"/>
                  </a:lnTo>
                  <a:lnTo>
                    <a:pt x="193" y="168"/>
                  </a:lnTo>
                  <a:lnTo>
                    <a:pt x="162" y="179"/>
                  </a:lnTo>
                  <a:lnTo>
                    <a:pt x="162" y="56"/>
                  </a:lnTo>
                  <a:lnTo>
                    <a:pt x="143" y="45"/>
                  </a:lnTo>
                  <a:lnTo>
                    <a:pt x="124" y="45"/>
                  </a:lnTo>
                  <a:lnTo>
                    <a:pt x="118" y="79"/>
                  </a:lnTo>
                  <a:lnTo>
                    <a:pt x="99" y="79"/>
                  </a:lnTo>
                  <a:lnTo>
                    <a:pt x="74" y="0"/>
                  </a:lnTo>
                  <a:lnTo>
                    <a:pt x="12" y="23"/>
                  </a:lnTo>
                  <a:lnTo>
                    <a:pt x="37" y="168"/>
                  </a:lnTo>
                  <a:lnTo>
                    <a:pt x="0" y="38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02" name="Freeform 868"/>
            <p:cNvSpPr>
              <a:spLocks/>
            </p:cNvSpPr>
            <p:nvPr>
              <p:custDataLst>
                <p:tags r:id="rId710"/>
              </p:custDataLst>
            </p:nvPr>
          </p:nvSpPr>
          <p:spPr bwMode="auto">
            <a:xfrm>
              <a:off x="6343842" y="4939906"/>
              <a:ext cx="366895" cy="320675"/>
            </a:xfrm>
            <a:custGeom>
              <a:avLst/>
              <a:gdLst>
                <a:gd name="T0" fmla="*/ 0 w 198"/>
                <a:gd name="T1" fmla="*/ 2147483647 h 404"/>
                <a:gd name="T2" fmla="*/ 2147483647 w 198"/>
                <a:gd name="T3" fmla="*/ 2147483647 h 404"/>
                <a:gd name="T4" fmla="*/ 2147483647 w 198"/>
                <a:gd name="T5" fmla="*/ 2147483647 h 404"/>
                <a:gd name="T6" fmla="*/ 2147483647 w 198"/>
                <a:gd name="T7" fmla="*/ 2147483647 h 404"/>
                <a:gd name="T8" fmla="*/ 2147483647 w 198"/>
                <a:gd name="T9" fmla="*/ 2147483647 h 404"/>
                <a:gd name="T10" fmla="*/ 2147483647 w 198"/>
                <a:gd name="T11" fmla="*/ 2147483647 h 404"/>
                <a:gd name="T12" fmla="*/ 2147483647 w 198"/>
                <a:gd name="T13" fmla="*/ 2147483647 h 404"/>
                <a:gd name="T14" fmla="*/ 2147483647 w 198"/>
                <a:gd name="T15" fmla="*/ 2147483647 h 404"/>
                <a:gd name="T16" fmla="*/ 2147483647 w 198"/>
                <a:gd name="T17" fmla="*/ 2147483647 h 404"/>
                <a:gd name="T18" fmla="*/ 2147483647 w 198"/>
                <a:gd name="T19" fmla="*/ 2147483647 h 404"/>
                <a:gd name="T20" fmla="*/ 2147483647 w 198"/>
                <a:gd name="T21" fmla="*/ 2147483647 h 404"/>
                <a:gd name="T22" fmla="*/ 2147483647 w 198"/>
                <a:gd name="T23" fmla="*/ 2147483647 h 404"/>
                <a:gd name="T24" fmla="*/ 2147483647 w 198"/>
                <a:gd name="T25" fmla="*/ 2147483647 h 404"/>
                <a:gd name="T26" fmla="*/ 2147483647 w 198"/>
                <a:gd name="T27" fmla="*/ 2147483647 h 404"/>
                <a:gd name="T28" fmla="*/ 2147483647 w 198"/>
                <a:gd name="T29" fmla="*/ 0 h 404"/>
                <a:gd name="T30" fmla="*/ 2147483647 w 198"/>
                <a:gd name="T31" fmla="*/ 2147483647 h 404"/>
                <a:gd name="T32" fmla="*/ 2147483647 w 198"/>
                <a:gd name="T33" fmla="*/ 2147483647 h 404"/>
                <a:gd name="T34" fmla="*/ 0 w 198"/>
                <a:gd name="T35" fmla="*/ 2147483647 h 40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98" h="404">
                  <a:moveTo>
                    <a:pt x="0" y="381"/>
                  </a:moveTo>
                  <a:lnTo>
                    <a:pt x="31" y="369"/>
                  </a:lnTo>
                  <a:lnTo>
                    <a:pt x="155" y="404"/>
                  </a:lnTo>
                  <a:lnTo>
                    <a:pt x="180" y="381"/>
                  </a:lnTo>
                  <a:lnTo>
                    <a:pt x="162" y="358"/>
                  </a:lnTo>
                  <a:lnTo>
                    <a:pt x="162" y="237"/>
                  </a:lnTo>
                  <a:lnTo>
                    <a:pt x="198" y="237"/>
                  </a:lnTo>
                  <a:lnTo>
                    <a:pt x="193" y="168"/>
                  </a:lnTo>
                  <a:lnTo>
                    <a:pt x="162" y="179"/>
                  </a:lnTo>
                  <a:lnTo>
                    <a:pt x="162" y="56"/>
                  </a:lnTo>
                  <a:lnTo>
                    <a:pt x="143" y="45"/>
                  </a:lnTo>
                  <a:lnTo>
                    <a:pt x="124" y="45"/>
                  </a:lnTo>
                  <a:lnTo>
                    <a:pt x="118" y="79"/>
                  </a:lnTo>
                  <a:lnTo>
                    <a:pt x="99" y="79"/>
                  </a:lnTo>
                  <a:lnTo>
                    <a:pt x="74" y="0"/>
                  </a:lnTo>
                  <a:lnTo>
                    <a:pt x="12" y="23"/>
                  </a:lnTo>
                  <a:lnTo>
                    <a:pt x="37" y="168"/>
                  </a:lnTo>
                  <a:lnTo>
                    <a:pt x="0" y="38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03" name="Freeform 869"/>
            <p:cNvSpPr>
              <a:spLocks/>
            </p:cNvSpPr>
            <p:nvPr>
              <p:custDataLst>
                <p:tags r:id="rId711"/>
              </p:custDataLst>
            </p:nvPr>
          </p:nvSpPr>
          <p:spPr bwMode="auto">
            <a:xfrm>
              <a:off x="6353877" y="4914470"/>
              <a:ext cx="34084" cy="25400"/>
            </a:xfrm>
            <a:custGeom>
              <a:avLst/>
              <a:gdLst>
                <a:gd name="T0" fmla="*/ 0 w 19"/>
                <a:gd name="T1" fmla="*/ 2147483647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11"/>
                  </a:moveTo>
                  <a:lnTo>
                    <a:pt x="6" y="32"/>
                  </a:lnTo>
                  <a:lnTo>
                    <a:pt x="19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04" name="Freeform 870"/>
            <p:cNvSpPr>
              <a:spLocks/>
            </p:cNvSpPr>
            <p:nvPr>
              <p:custDataLst>
                <p:tags r:id="rId712"/>
              </p:custDataLst>
            </p:nvPr>
          </p:nvSpPr>
          <p:spPr bwMode="auto">
            <a:xfrm>
              <a:off x="6353877" y="4914470"/>
              <a:ext cx="34084" cy="25400"/>
            </a:xfrm>
            <a:custGeom>
              <a:avLst/>
              <a:gdLst>
                <a:gd name="T0" fmla="*/ 0 w 19"/>
                <a:gd name="T1" fmla="*/ 2147483647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11"/>
                  </a:moveTo>
                  <a:lnTo>
                    <a:pt x="6" y="32"/>
                  </a:lnTo>
                  <a:lnTo>
                    <a:pt x="19" y="0"/>
                  </a:lnTo>
                  <a:lnTo>
                    <a:pt x="0" y="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05" name="Freeform 871"/>
            <p:cNvSpPr>
              <a:spLocks/>
            </p:cNvSpPr>
            <p:nvPr>
              <p:custDataLst>
                <p:tags r:id="rId713"/>
              </p:custDataLst>
            </p:nvPr>
          </p:nvSpPr>
          <p:spPr bwMode="auto">
            <a:xfrm>
              <a:off x="6353877" y="4914470"/>
              <a:ext cx="34084" cy="25400"/>
            </a:xfrm>
            <a:custGeom>
              <a:avLst/>
              <a:gdLst>
                <a:gd name="T0" fmla="*/ 0 w 19"/>
                <a:gd name="T1" fmla="*/ 2147483647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11"/>
                  </a:moveTo>
                  <a:lnTo>
                    <a:pt x="6" y="32"/>
                  </a:lnTo>
                  <a:lnTo>
                    <a:pt x="19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06" name="Freeform 872"/>
            <p:cNvSpPr>
              <a:spLocks/>
            </p:cNvSpPr>
            <p:nvPr>
              <p:custDataLst>
                <p:tags r:id="rId714"/>
              </p:custDataLst>
            </p:nvPr>
          </p:nvSpPr>
          <p:spPr bwMode="auto">
            <a:xfrm>
              <a:off x="6353877" y="4914470"/>
              <a:ext cx="34084" cy="25400"/>
            </a:xfrm>
            <a:custGeom>
              <a:avLst/>
              <a:gdLst>
                <a:gd name="T0" fmla="*/ 0 w 19"/>
                <a:gd name="T1" fmla="*/ 2147483647 h 32"/>
                <a:gd name="T2" fmla="*/ 2147483647 w 19"/>
                <a:gd name="T3" fmla="*/ 2147483647 h 32"/>
                <a:gd name="T4" fmla="*/ 2147483647 w 19"/>
                <a:gd name="T5" fmla="*/ 0 h 32"/>
                <a:gd name="T6" fmla="*/ 0 w 19"/>
                <a:gd name="T7" fmla="*/ 2147483647 h 3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" h="32">
                  <a:moveTo>
                    <a:pt x="0" y="11"/>
                  </a:moveTo>
                  <a:lnTo>
                    <a:pt x="6" y="32"/>
                  </a:lnTo>
                  <a:lnTo>
                    <a:pt x="19" y="0"/>
                  </a:lnTo>
                  <a:lnTo>
                    <a:pt x="0" y="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07" name="Freeform 873"/>
            <p:cNvSpPr>
              <a:spLocks/>
            </p:cNvSpPr>
            <p:nvPr>
              <p:custDataLst>
                <p:tags r:id="rId715"/>
              </p:custDataLst>
            </p:nvPr>
          </p:nvSpPr>
          <p:spPr bwMode="auto">
            <a:xfrm>
              <a:off x="6584442" y="5249433"/>
              <a:ext cx="266651" cy="239712"/>
            </a:xfrm>
            <a:custGeom>
              <a:avLst/>
              <a:gdLst>
                <a:gd name="T0" fmla="*/ 0 w 144"/>
                <a:gd name="T1" fmla="*/ 2147483647 h 302"/>
                <a:gd name="T2" fmla="*/ 0 w 144"/>
                <a:gd name="T3" fmla="*/ 2147483647 h 302"/>
                <a:gd name="T4" fmla="*/ 2147483647 w 144"/>
                <a:gd name="T5" fmla="*/ 2147483647 h 302"/>
                <a:gd name="T6" fmla="*/ 2147483647 w 144"/>
                <a:gd name="T7" fmla="*/ 2147483647 h 302"/>
                <a:gd name="T8" fmla="*/ 2147483647 w 144"/>
                <a:gd name="T9" fmla="*/ 2147483647 h 302"/>
                <a:gd name="T10" fmla="*/ 2147483647 w 144"/>
                <a:gd name="T11" fmla="*/ 2147483647 h 302"/>
                <a:gd name="T12" fmla="*/ 2147483647 w 144"/>
                <a:gd name="T13" fmla="*/ 0 h 302"/>
                <a:gd name="T14" fmla="*/ 2147483647 w 144"/>
                <a:gd name="T15" fmla="*/ 2147483647 h 302"/>
                <a:gd name="T16" fmla="*/ 2147483647 w 144"/>
                <a:gd name="T17" fmla="*/ 2147483647 h 302"/>
                <a:gd name="T18" fmla="*/ 2147483647 w 144"/>
                <a:gd name="T19" fmla="*/ 2147483647 h 302"/>
                <a:gd name="T20" fmla="*/ 2147483647 w 144"/>
                <a:gd name="T21" fmla="*/ 2147483647 h 302"/>
                <a:gd name="T22" fmla="*/ 2147483647 w 144"/>
                <a:gd name="T23" fmla="*/ 2147483647 h 302"/>
                <a:gd name="T24" fmla="*/ 2147483647 w 144"/>
                <a:gd name="T25" fmla="*/ 2147483647 h 302"/>
                <a:gd name="T26" fmla="*/ 2147483647 w 144"/>
                <a:gd name="T27" fmla="*/ 2147483647 h 302"/>
                <a:gd name="T28" fmla="*/ 0 w 144"/>
                <a:gd name="T29" fmla="*/ 2147483647 h 30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4" h="302">
                  <a:moveTo>
                    <a:pt x="0" y="235"/>
                  </a:moveTo>
                  <a:lnTo>
                    <a:pt x="0" y="146"/>
                  </a:lnTo>
                  <a:lnTo>
                    <a:pt x="19" y="146"/>
                  </a:lnTo>
                  <a:lnTo>
                    <a:pt x="19" y="23"/>
                  </a:lnTo>
                  <a:lnTo>
                    <a:pt x="50" y="14"/>
                  </a:lnTo>
                  <a:lnTo>
                    <a:pt x="57" y="35"/>
                  </a:lnTo>
                  <a:lnTo>
                    <a:pt x="82" y="0"/>
                  </a:lnTo>
                  <a:lnTo>
                    <a:pt x="124" y="123"/>
                  </a:lnTo>
                  <a:lnTo>
                    <a:pt x="144" y="146"/>
                  </a:lnTo>
                  <a:lnTo>
                    <a:pt x="87" y="258"/>
                  </a:lnTo>
                  <a:lnTo>
                    <a:pt x="57" y="258"/>
                  </a:lnTo>
                  <a:lnTo>
                    <a:pt x="37" y="302"/>
                  </a:lnTo>
                  <a:lnTo>
                    <a:pt x="13" y="302"/>
                  </a:lnTo>
                  <a:lnTo>
                    <a:pt x="19" y="267"/>
                  </a:lnTo>
                  <a:lnTo>
                    <a:pt x="0" y="2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08" name="Freeform 874"/>
            <p:cNvSpPr>
              <a:spLocks/>
            </p:cNvSpPr>
            <p:nvPr>
              <p:custDataLst>
                <p:tags r:id="rId716"/>
              </p:custDataLst>
            </p:nvPr>
          </p:nvSpPr>
          <p:spPr bwMode="auto">
            <a:xfrm>
              <a:off x="6584442" y="5249433"/>
              <a:ext cx="266651" cy="239712"/>
            </a:xfrm>
            <a:custGeom>
              <a:avLst/>
              <a:gdLst>
                <a:gd name="T0" fmla="*/ 0 w 144"/>
                <a:gd name="T1" fmla="*/ 2147483647 h 302"/>
                <a:gd name="T2" fmla="*/ 0 w 144"/>
                <a:gd name="T3" fmla="*/ 2147483647 h 302"/>
                <a:gd name="T4" fmla="*/ 2147483647 w 144"/>
                <a:gd name="T5" fmla="*/ 2147483647 h 302"/>
                <a:gd name="T6" fmla="*/ 2147483647 w 144"/>
                <a:gd name="T7" fmla="*/ 2147483647 h 302"/>
                <a:gd name="T8" fmla="*/ 2147483647 w 144"/>
                <a:gd name="T9" fmla="*/ 2147483647 h 302"/>
                <a:gd name="T10" fmla="*/ 2147483647 w 144"/>
                <a:gd name="T11" fmla="*/ 2147483647 h 302"/>
                <a:gd name="T12" fmla="*/ 2147483647 w 144"/>
                <a:gd name="T13" fmla="*/ 0 h 302"/>
                <a:gd name="T14" fmla="*/ 2147483647 w 144"/>
                <a:gd name="T15" fmla="*/ 2147483647 h 302"/>
                <a:gd name="T16" fmla="*/ 2147483647 w 144"/>
                <a:gd name="T17" fmla="*/ 2147483647 h 302"/>
                <a:gd name="T18" fmla="*/ 2147483647 w 144"/>
                <a:gd name="T19" fmla="*/ 2147483647 h 302"/>
                <a:gd name="T20" fmla="*/ 2147483647 w 144"/>
                <a:gd name="T21" fmla="*/ 2147483647 h 302"/>
                <a:gd name="T22" fmla="*/ 2147483647 w 144"/>
                <a:gd name="T23" fmla="*/ 2147483647 h 302"/>
                <a:gd name="T24" fmla="*/ 2147483647 w 144"/>
                <a:gd name="T25" fmla="*/ 2147483647 h 302"/>
                <a:gd name="T26" fmla="*/ 2147483647 w 144"/>
                <a:gd name="T27" fmla="*/ 2147483647 h 302"/>
                <a:gd name="T28" fmla="*/ 0 w 144"/>
                <a:gd name="T29" fmla="*/ 2147483647 h 30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4" h="302">
                  <a:moveTo>
                    <a:pt x="0" y="235"/>
                  </a:moveTo>
                  <a:lnTo>
                    <a:pt x="0" y="146"/>
                  </a:lnTo>
                  <a:lnTo>
                    <a:pt x="19" y="146"/>
                  </a:lnTo>
                  <a:lnTo>
                    <a:pt x="19" y="23"/>
                  </a:lnTo>
                  <a:lnTo>
                    <a:pt x="50" y="14"/>
                  </a:lnTo>
                  <a:lnTo>
                    <a:pt x="57" y="35"/>
                  </a:lnTo>
                  <a:lnTo>
                    <a:pt x="82" y="0"/>
                  </a:lnTo>
                  <a:lnTo>
                    <a:pt x="124" y="123"/>
                  </a:lnTo>
                  <a:lnTo>
                    <a:pt x="144" y="146"/>
                  </a:lnTo>
                  <a:lnTo>
                    <a:pt x="87" y="258"/>
                  </a:lnTo>
                  <a:lnTo>
                    <a:pt x="57" y="258"/>
                  </a:lnTo>
                  <a:lnTo>
                    <a:pt x="37" y="302"/>
                  </a:lnTo>
                  <a:lnTo>
                    <a:pt x="13" y="302"/>
                  </a:lnTo>
                  <a:lnTo>
                    <a:pt x="19" y="267"/>
                  </a:lnTo>
                  <a:lnTo>
                    <a:pt x="0" y="2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09" name="Freeform 875"/>
            <p:cNvSpPr>
              <a:spLocks/>
            </p:cNvSpPr>
            <p:nvPr>
              <p:custDataLst>
                <p:tags r:id="rId717"/>
              </p:custDataLst>
            </p:nvPr>
          </p:nvSpPr>
          <p:spPr bwMode="auto">
            <a:xfrm>
              <a:off x="6584442" y="5249433"/>
              <a:ext cx="266651" cy="239712"/>
            </a:xfrm>
            <a:custGeom>
              <a:avLst/>
              <a:gdLst>
                <a:gd name="T0" fmla="*/ 0 w 144"/>
                <a:gd name="T1" fmla="*/ 2147483647 h 302"/>
                <a:gd name="T2" fmla="*/ 0 w 144"/>
                <a:gd name="T3" fmla="*/ 2147483647 h 302"/>
                <a:gd name="T4" fmla="*/ 2147483647 w 144"/>
                <a:gd name="T5" fmla="*/ 2147483647 h 302"/>
                <a:gd name="T6" fmla="*/ 2147483647 w 144"/>
                <a:gd name="T7" fmla="*/ 2147483647 h 302"/>
                <a:gd name="T8" fmla="*/ 2147483647 w 144"/>
                <a:gd name="T9" fmla="*/ 2147483647 h 302"/>
                <a:gd name="T10" fmla="*/ 2147483647 w 144"/>
                <a:gd name="T11" fmla="*/ 2147483647 h 302"/>
                <a:gd name="T12" fmla="*/ 2147483647 w 144"/>
                <a:gd name="T13" fmla="*/ 0 h 302"/>
                <a:gd name="T14" fmla="*/ 2147483647 w 144"/>
                <a:gd name="T15" fmla="*/ 2147483647 h 302"/>
                <a:gd name="T16" fmla="*/ 2147483647 w 144"/>
                <a:gd name="T17" fmla="*/ 2147483647 h 302"/>
                <a:gd name="T18" fmla="*/ 2147483647 w 144"/>
                <a:gd name="T19" fmla="*/ 2147483647 h 302"/>
                <a:gd name="T20" fmla="*/ 2147483647 w 144"/>
                <a:gd name="T21" fmla="*/ 2147483647 h 302"/>
                <a:gd name="T22" fmla="*/ 2147483647 w 144"/>
                <a:gd name="T23" fmla="*/ 2147483647 h 302"/>
                <a:gd name="T24" fmla="*/ 2147483647 w 144"/>
                <a:gd name="T25" fmla="*/ 2147483647 h 302"/>
                <a:gd name="T26" fmla="*/ 2147483647 w 144"/>
                <a:gd name="T27" fmla="*/ 2147483647 h 302"/>
                <a:gd name="T28" fmla="*/ 0 w 144"/>
                <a:gd name="T29" fmla="*/ 2147483647 h 30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4" h="302">
                  <a:moveTo>
                    <a:pt x="0" y="235"/>
                  </a:moveTo>
                  <a:lnTo>
                    <a:pt x="0" y="146"/>
                  </a:lnTo>
                  <a:lnTo>
                    <a:pt x="19" y="146"/>
                  </a:lnTo>
                  <a:lnTo>
                    <a:pt x="19" y="23"/>
                  </a:lnTo>
                  <a:lnTo>
                    <a:pt x="50" y="14"/>
                  </a:lnTo>
                  <a:lnTo>
                    <a:pt x="57" y="35"/>
                  </a:lnTo>
                  <a:lnTo>
                    <a:pt x="82" y="0"/>
                  </a:lnTo>
                  <a:lnTo>
                    <a:pt x="124" y="123"/>
                  </a:lnTo>
                  <a:lnTo>
                    <a:pt x="144" y="146"/>
                  </a:lnTo>
                  <a:lnTo>
                    <a:pt x="87" y="258"/>
                  </a:lnTo>
                  <a:lnTo>
                    <a:pt x="57" y="258"/>
                  </a:lnTo>
                  <a:lnTo>
                    <a:pt x="37" y="302"/>
                  </a:lnTo>
                  <a:lnTo>
                    <a:pt x="13" y="302"/>
                  </a:lnTo>
                  <a:lnTo>
                    <a:pt x="19" y="267"/>
                  </a:lnTo>
                  <a:lnTo>
                    <a:pt x="0" y="2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10" name="Freeform 876"/>
            <p:cNvSpPr>
              <a:spLocks/>
            </p:cNvSpPr>
            <p:nvPr>
              <p:custDataLst>
                <p:tags r:id="rId718"/>
              </p:custDataLst>
            </p:nvPr>
          </p:nvSpPr>
          <p:spPr bwMode="auto">
            <a:xfrm>
              <a:off x="6584442" y="5249433"/>
              <a:ext cx="266651" cy="239712"/>
            </a:xfrm>
            <a:custGeom>
              <a:avLst/>
              <a:gdLst>
                <a:gd name="T0" fmla="*/ 0 w 144"/>
                <a:gd name="T1" fmla="*/ 2147483647 h 302"/>
                <a:gd name="T2" fmla="*/ 0 w 144"/>
                <a:gd name="T3" fmla="*/ 2147483647 h 302"/>
                <a:gd name="T4" fmla="*/ 2147483647 w 144"/>
                <a:gd name="T5" fmla="*/ 2147483647 h 302"/>
                <a:gd name="T6" fmla="*/ 2147483647 w 144"/>
                <a:gd name="T7" fmla="*/ 2147483647 h 302"/>
                <a:gd name="T8" fmla="*/ 2147483647 w 144"/>
                <a:gd name="T9" fmla="*/ 2147483647 h 302"/>
                <a:gd name="T10" fmla="*/ 2147483647 w 144"/>
                <a:gd name="T11" fmla="*/ 2147483647 h 302"/>
                <a:gd name="T12" fmla="*/ 2147483647 w 144"/>
                <a:gd name="T13" fmla="*/ 0 h 302"/>
                <a:gd name="T14" fmla="*/ 2147483647 w 144"/>
                <a:gd name="T15" fmla="*/ 2147483647 h 302"/>
                <a:gd name="T16" fmla="*/ 2147483647 w 144"/>
                <a:gd name="T17" fmla="*/ 2147483647 h 302"/>
                <a:gd name="T18" fmla="*/ 2147483647 w 144"/>
                <a:gd name="T19" fmla="*/ 2147483647 h 302"/>
                <a:gd name="T20" fmla="*/ 2147483647 w 144"/>
                <a:gd name="T21" fmla="*/ 2147483647 h 302"/>
                <a:gd name="T22" fmla="*/ 2147483647 w 144"/>
                <a:gd name="T23" fmla="*/ 2147483647 h 302"/>
                <a:gd name="T24" fmla="*/ 2147483647 w 144"/>
                <a:gd name="T25" fmla="*/ 2147483647 h 302"/>
                <a:gd name="T26" fmla="*/ 2147483647 w 144"/>
                <a:gd name="T27" fmla="*/ 2147483647 h 302"/>
                <a:gd name="T28" fmla="*/ 0 w 144"/>
                <a:gd name="T29" fmla="*/ 2147483647 h 30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44" h="302">
                  <a:moveTo>
                    <a:pt x="0" y="235"/>
                  </a:moveTo>
                  <a:lnTo>
                    <a:pt x="0" y="146"/>
                  </a:lnTo>
                  <a:lnTo>
                    <a:pt x="19" y="146"/>
                  </a:lnTo>
                  <a:lnTo>
                    <a:pt x="19" y="23"/>
                  </a:lnTo>
                  <a:lnTo>
                    <a:pt x="50" y="14"/>
                  </a:lnTo>
                  <a:lnTo>
                    <a:pt x="57" y="35"/>
                  </a:lnTo>
                  <a:lnTo>
                    <a:pt x="82" y="0"/>
                  </a:lnTo>
                  <a:lnTo>
                    <a:pt x="124" y="123"/>
                  </a:lnTo>
                  <a:lnTo>
                    <a:pt x="144" y="146"/>
                  </a:lnTo>
                  <a:lnTo>
                    <a:pt x="87" y="258"/>
                  </a:lnTo>
                  <a:lnTo>
                    <a:pt x="57" y="258"/>
                  </a:lnTo>
                  <a:lnTo>
                    <a:pt x="37" y="302"/>
                  </a:lnTo>
                  <a:lnTo>
                    <a:pt x="13" y="302"/>
                  </a:lnTo>
                  <a:lnTo>
                    <a:pt x="19" y="267"/>
                  </a:lnTo>
                  <a:lnTo>
                    <a:pt x="0" y="2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11" name="Freeform 877"/>
            <p:cNvSpPr>
              <a:spLocks/>
            </p:cNvSpPr>
            <p:nvPr>
              <p:custDataLst>
                <p:tags r:id="rId719"/>
              </p:custDataLst>
            </p:nvPr>
          </p:nvSpPr>
          <p:spPr bwMode="auto">
            <a:xfrm>
              <a:off x="6851081" y="4860495"/>
              <a:ext cx="46113" cy="44450"/>
            </a:xfrm>
            <a:custGeom>
              <a:avLst/>
              <a:gdLst>
                <a:gd name="T0" fmla="*/ 0 w 25"/>
                <a:gd name="T1" fmla="*/ 0 h 55"/>
                <a:gd name="T2" fmla="*/ 2147483647 w 25"/>
                <a:gd name="T3" fmla="*/ 2147483647 h 55"/>
                <a:gd name="T4" fmla="*/ 2147483647 w 25"/>
                <a:gd name="T5" fmla="*/ 2147483647 h 55"/>
                <a:gd name="T6" fmla="*/ 2147483647 w 25"/>
                <a:gd name="T7" fmla="*/ 2147483647 h 55"/>
                <a:gd name="T8" fmla="*/ 2147483647 w 25"/>
                <a:gd name="T9" fmla="*/ 0 h 55"/>
                <a:gd name="T10" fmla="*/ 0 w 25"/>
                <a:gd name="T11" fmla="*/ 0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5">
                  <a:moveTo>
                    <a:pt x="0" y="0"/>
                  </a:moveTo>
                  <a:lnTo>
                    <a:pt x="6" y="21"/>
                  </a:lnTo>
                  <a:lnTo>
                    <a:pt x="13" y="55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12" name="Freeform 878"/>
            <p:cNvSpPr>
              <a:spLocks/>
            </p:cNvSpPr>
            <p:nvPr>
              <p:custDataLst>
                <p:tags r:id="rId720"/>
              </p:custDataLst>
            </p:nvPr>
          </p:nvSpPr>
          <p:spPr bwMode="auto">
            <a:xfrm>
              <a:off x="6851081" y="4860495"/>
              <a:ext cx="46113" cy="44450"/>
            </a:xfrm>
            <a:custGeom>
              <a:avLst/>
              <a:gdLst>
                <a:gd name="T0" fmla="*/ 0 w 25"/>
                <a:gd name="T1" fmla="*/ 0 h 55"/>
                <a:gd name="T2" fmla="*/ 2147483647 w 25"/>
                <a:gd name="T3" fmla="*/ 2147483647 h 55"/>
                <a:gd name="T4" fmla="*/ 2147483647 w 25"/>
                <a:gd name="T5" fmla="*/ 2147483647 h 55"/>
                <a:gd name="T6" fmla="*/ 2147483647 w 25"/>
                <a:gd name="T7" fmla="*/ 2147483647 h 55"/>
                <a:gd name="T8" fmla="*/ 2147483647 w 25"/>
                <a:gd name="T9" fmla="*/ 0 h 55"/>
                <a:gd name="T10" fmla="*/ 0 w 25"/>
                <a:gd name="T11" fmla="*/ 0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5">
                  <a:moveTo>
                    <a:pt x="0" y="0"/>
                  </a:moveTo>
                  <a:lnTo>
                    <a:pt x="6" y="21"/>
                  </a:lnTo>
                  <a:lnTo>
                    <a:pt x="13" y="55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13" name="Freeform 879"/>
            <p:cNvSpPr>
              <a:spLocks/>
            </p:cNvSpPr>
            <p:nvPr>
              <p:custDataLst>
                <p:tags r:id="rId721"/>
              </p:custDataLst>
            </p:nvPr>
          </p:nvSpPr>
          <p:spPr bwMode="auto">
            <a:xfrm>
              <a:off x="6851081" y="4860495"/>
              <a:ext cx="46113" cy="44450"/>
            </a:xfrm>
            <a:custGeom>
              <a:avLst/>
              <a:gdLst>
                <a:gd name="T0" fmla="*/ 0 w 25"/>
                <a:gd name="T1" fmla="*/ 0 h 55"/>
                <a:gd name="T2" fmla="*/ 2147483647 w 25"/>
                <a:gd name="T3" fmla="*/ 2147483647 h 55"/>
                <a:gd name="T4" fmla="*/ 2147483647 w 25"/>
                <a:gd name="T5" fmla="*/ 2147483647 h 55"/>
                <a:gd name="T6" fmla="*/ 2147483647 w 25"/>
                <a:gd name="T7" fmla="*/ 2147483647 h 55"/>
                <a:gd name="T8" fmla="*/ 2147483647 w 25"/>
                <a:gd name="T9" fmla="*/ 0 h 55"/>
                <a:gd name="T10" fmla="*/ 0 w 25"/>
                <a:gd name="T11" fmla="*/ 0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5">
                  <a:moveTo>
                    <a:pt x="0" y="0"/>
                  </a:moveTo>
                  <a:lnTo>
                    <a:pt x="6" y="21"/>
                  </a:lnTo>
                  <a:lnTo>
                    <a:pt x="13" y="55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14" name="Freeform 880"/>
            <p:cNvSpPr>
              <a:spLocks/>
            </p:cNvSpPr>
            <p:nvPr>
              <p:custDataLst>
                <p:tags r:id="rId722"/>
              </p:custDataLst>
            </p:nvPr>
          </p:nvSpPr>
          <p:spPr bwMode="auto">
            <a:xfrm>
              <a:off x="6851081" y="4860495"/>
              <a:ext cx="46113" cy="44450"/>
            </a:xfrm>
            <a:custGeom>
              <a:avLst/>
              <a:gdLst>
                <a:gd name="T0" fmla="*/ 0 w 25"/>
                <a:gd name="T1" fmla="*/ 0 h 55"/>
                <a:gd name="T2" fmla="*/ 2147483647 w 25"/>
                <a:gd name="T3" fmla="*/ 2147483647 h 55"/>
                <a:gd name="T4" fmla="*/ 2147483647 w 25"/>
                <a:gd name="T5" fmla="*/ 2147483647 h 55"/>
                <a:gd name="T6" fmla="*/ 2147483647 w 25"/>
                <a:gd name="T7" fmla="*/ 2147483647 h 55"/>
                <a:gd name="T8" fmla="*/ 2147483647 w 25"/>
                <a:gd name="T9" fmla="*/ 0 h 55"/>
                <a:gd name="T10" fmla="*/ 0 w 25"/>
                <a:gd name="T11" fmla="*/ 0 h 5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25" h="55">
                  <a:moveTo>
                    <a:pt x="0" y="0"/>
                  </a:moveTo>
                  <a:lnTo>
                    <a:pt x="6" y="21"/>
                  </a:lnTo>
                  <a:lnTo>
                    <a:pt x="13" y="55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15" name="Freeform 881"/>
            <p:cNvSpPr>
              <a:spLocks/>
            </p:cNvSpPr>
            <p:nvPr>
              <p:custDataLst>
                <p:tags r:id="rId723"/>
              </p:custDataLst>
            </p:nvPr>
          </p:nvSpPr>
          <p:spPr bwMode="auto">
            <a:xfrm>
              <a:off x="6259658" y="4471584"/>
              <a:ext cx="220539" cy="282575"/>
            </a:xfrm>
            <a:custGeom>
              <a:avLst/>
              <a:gdLst>
                <a:gd name="T0" fmla="*/ 0 w 119"/>
                <a:gd name="T1" fmla="*/ 2147483647 h 355"/>
                <a:gd name="T2" fmla="*/ 2147483647 w 119"/>
                <a:gd name="T3" fmla="*/ 2147483647 h 355"/>
                <a:gd name="T4" fmla="*/ 2147483647 w 119"/>
                <a:gd name="T5" fmla="*/ 2147483647 h 355"/>
                <a:gd name="T6" fmla="*/ 2147483647 w 119"/>
                <a:gd name="T7" fmla="*/ 2147483647 h 355"/>
                <a:gd name="T8" fmla="*/ 2147483647 w 119"/>
                <a:gd name="T9" fmla="*/ 2147483647 h 355"/>
                <a:gd name="T10" fmla="*/ 2147483647 w 119"/>
                <a:gd name="T11" fmla="*/ 2147483647 h 355"/>
                <a:gd name="T12" fmla="*/ 2147483647 w 119"/>
                <a:gd name="T13" fmla="*/ 0 h 355"/>
                <a:gd name="T14" fmla="*/ 2147483647 w 119"/>
                <a:gd name="T15" fmla="*/ 2147483647 h 355"/>
                <a:gd name="T16" fmla="*/ 2147483647 w 119"/>
                <a:gd name="T17" fmla="*/ 2147483647 h 355"/>
                <a:gd name="T18" fmla="*/ 2147483647 w 119"/>
                <a:gd name="T19" fmla="*/ 2147483647 h 355"/>
                <a:gd name="T20" fmla="*/ 2147483647 w 119"/>
                <a:gd name="T21" fmla="*/ 2147483647 h 355"/>
                <a:gd name="T22" fmla="*/ 2147483647 w 119"/>
                <a:gd name="T23" fmla="*/ 2147483647 h 355"/>
                <a:gd name="T24" fmla="*/ 2147483647 w 119"/>
                <a:gd name="T25" fmla="*/ 2147483647 h 355"/>
                <a:gd name="T26" fmla="*/ 2147483647 w 119"/>
                <a:gd name="T27" fmla="*/ 2147483647 h 355"/>
                <a:gd name="T28" fmla="*/ 2147483647 w 119"/>
                <a:gd name="T29" fmla="*/ 2147483647 h 355"/>
                <a:gd name="T30" fmla="*/ 2147483647 w 119"/>
                <a:gd name="T31" fmla="*/ 2147483647 h 355"/>
                <a:gd name="T32" fmla="*/ 2147483647 w 119"/>
                <a:gd name="T33" fmla="*/ 2147483647 h 355"/>
                <a:gd name="T34" fmla="*/ 0 w 119"/>
                <a:gd name="T35" fmla="*/ 2147483647 h 35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19" h="355">
                  <a:moveTo>
                    <a:pt x="0" y="255"/>
                  </a:moveTo>
                  <a:lnTo>
                    <a:pt x="13" y="190"/>
                  </a:lnTo>
                  <a:lnTo>
                    <a:pt x="44" y="200"/>
                  </a:lnTo>
                  <a:lnTo>
                    <a:pt x="74" y="67"/>
                  </a:lnTo>
                  <a:lnTo>
                    <a:pt x="94" y="32"/>
                  </a:lnTo>
                  <a:lnTo>
                    <a:pt x="88" y="11"/>
                  </a:lnTo>
                  <a:lnTo>
                    <a:pt x="94" y="0"/>
                  </a:lnTo>
                  <a:lnTo>
                    <a:pt x="106" y="90"/>
                  </a:lnTo>
                  <a:lnTo>
                    <a:pt x="88" y="111"/>
                  </a:lnTo>
                  <a:lnTo>
                    <a:pt x="106" y="178"/>
                  </a:lnTo>
                  <a:lnTo>
                    <a:pt x="94" y="255"/>
                  </a:lnTo>
                  <a:lnTo>
                    <a:pt x="119" y="322"/>
                  </a:lnTo>
                  <a:lnTo>
                    <a:pt x="113" y="355"/>
                  </a:lnTo>
                  <a:lnTo>
                    <a:pt x="74" y="344"/>
                  </a:lnTo>
                  <a:lnTo>
                    <a:pt x="44" y="344"/>
                  </a:lnTo>
                  <a:lnTo>
                    <a:pt x="19" y="344"/>
                  </a:lnTo>
                  <a:lnTo>
                    <a:pt x="19" y="278"/>
                  </a:lnTo>
                  <a:lnTo>
                    <a:pt x="0" y="255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16" name="Freeform 882"/>
            <p:cNvSpPr>
              <a:spLocks/>
            </p:cNvSpPr>
            <p:nvPr>
              <p:custDataLst>
                <p:tags r:id="rId724"/>
              </p:custDataLst>
            </p:nvPr>
          </p:nvSpPr>
          <p:spPr bwMode="auto">
            <a:xfrm>
              <a:off x="6259658" y="4471584"/>
              <a:ext cx="220539" cy="282575"/>
            </a:xfrm>
            <a:custGeom>
              <a:avLst/>
              <a:gdLst>
                <a:gd name="T0" fmla="*/ 0 w 119"/>
                <a:gd name="T1" fmla="*/ 2147483647 h 355"/>
                <a:gd name="T2" fmla="*/ 2147483647 w 119"/>
                <a:gd name="T3" fmla="*/ 2147483647 h 355"/>
                <a:gd name="T4" fmla="*/ 2147483647 w 119"/>
                <a:gd name="T5" fmla="*/ 2147483647 h 355"/>
                <a:gd name="T6" fmla="*/ 2147483647 w 119"/>
                <a:gd name="T7" fmla="*/ 2147483647 h 355"/>
                <a:gd name="T8" fmla="*/ 2147483647 w 119"/>
                <a:gd name="T9" fmla="*/ 2147483647 h 355"/>
                <a:gd name="T10" fmla="*/ 2147483647 w 119"/>
                <a:gd name="T11" fmla="*/ 2147483647 h 355"/>
                <a:gd name="T12" fmla="*/ 2147483647 w 119"/>
                <a:gd name="T13" fmla="*/ 0 h 355"/>
                <a:gd name="T14" fmla="*/ 2147483647 w 119"/>
                <a:gd name="T15" fmla="*/ 2147483647 h 355"/>
                <a:gd name="T16" fmla="*/ 2147483647 w 119"/>
                <a:gd name="T17" fmla="*/ 2147483647 h 355"/>
                <a:gd name="T18" fmla="*/ 2147483647 w 119"/>
                <a:gd name="T19" fmla="*/ 2147483647 h 355"/>
                <a:gd name="T20" fmla="*/ 2147483647 w 119"/>
                <a:gd name="T21" fmla="*/ 2147483647 h 355"/>
                <a:gd name="T22" fmla="*/ 2147483647 w 119"/>
                <a:gd name="T23" fmla="*/ 2147483647 h 355"/>
                <a:gd name="T24" fmla="*/ 2147483647 w 119"/>
                <a:gd name="T25" fmla="*/ 2147483647 h 355"/>
                <a:gd name="T26" fmla="*/ 2147483647 w 119"/>
                <a:gd name="T27" fmla="*/ 2147483647 h 355"/>
                <a:gd name="T28" fmla="*/ 2147483647 w 119"/>
                <a:gd name="T29" fmla="*/ 2147483647 h 355"/>
                <a:gd name="T30" fmla="*/ 2147483647 w 119"/>
                <a:gd name="T31" fmla="*/ 2147483647 h 355"/>
                <a:gd name="T32" fmla="*/ 2147483647 w 119"/>
                <a:gd name="T33" fmla="*/ 2147483647 h 355"/>
                <a:gd name="T34" fmla="*/ 0 w 119"/>
                <a:gd name="T35" fmla="*/ 2147483647 h 35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19" h="355">
                  <a:moveTo>
                    <a:pt x="0" y="255"/>
                  </a:moveTo>
                  <a:lnTo>
                    <a:pt x="13" y="190"/>
                  </a:lnTo>
                  <a:lnTo>
                    <a:pt x="44" y="200"/>
                  </a:lnTo>
                  <a:lnTo>
                    <a:pt x="74" y="67"/>
                  </a:lnTo>
                  <a:lnTo>
                    <a:pt x="94" y="32"/>
                  </a:lnTo>
                  <a:lnTo>
                    <a:pt x="88" y="11"/>
                  </a:lnTo>
                  <a:lnTo>
                    <a:pt x="94" y="0"/>
                  </a:lnTo>
                  <a:lnTo>
                    <a:pt x="106" y="90"/>
                  </a:lnTo>
                  <a:lnTo>
                    <a:pt x="88" y="111"/>
                  </a:lnTo>
                  <a:lnTo>
                    <a:pt x="106" y="178"/>
                  </a:lnTo>
                  <a:lnTo>
                    <a:pt x="94" y="255"/>
                  </a:lnTo>
                  <a:lnTo>
                    <a:pt x="119" y="322"/>
                  </a:lnTo>
                  <a:lnTo>
                    <a:pt x="113" y="355"/>
                  </a:lnTo>
                  <a:lnTo>
                    <a:pt x="74" y="344"/>
                  </a:lnTo>
                  <a:lnTo>
                    <a:pt x="44" y="344"/>
                  </a:lnTo>
                  <a:lnTo>
                    <a:pt x="19" y="344"/>
                  </a:lnTo>
                  <a:lnTo>
                    <a:pt x="19" y="278"/>
                  </a:lnTo>
                  <a:lnTo>
                    <a:pt x="0" y="255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17" name="Freeform 883"/>
            <p:cNvSpPr>
              <a:spLocks/>
            </p:cNvSpPr>
            <p:nvPr>
              <p:custDataLst>
                <p:tags r:id="rId725"/>
              </p:custDataLst>
            </p:nvPr>
          </p:nvSpPr>
          <p:spPr bwMode="auto">
            <a:xfrm>
              <a:off x="6259658" y="4471584"/>
              <a:ext cx="220539" cy="282575"/>
            </a:xfrm>
            <a:custGeom>
              <a:avLst/>
              <a:gdLst>
                <a:gd name="T0" fmla="*/ 0 w 119"/>
                <a:gd name="T1" fmla="*/ 2147483647 h 355"/>
                <a:gd name="T2" fmla="*/ 2147483647 w 119"/>
                <a:gd name="T3" fmla="*/ 2147483647 h 355"/>
                <a:gd name="T4" fmla="*/ 2147483647 w 119"/>
                <a:gd name="T5" fmla="*/ 2147483647 h 355"/>
                <a:gd name="T6" fmla="*/ 2147483647 w 119"/>
                <a:gd name="T7" fmla="*/ 2147483647 h 355"/>
                <a:gd name="T8" fmla="*/ 2147483647 w 119"/>
                <a:gd name="T9" fmla="*/ 2147483647 h 355"/>
                <a:gd name="T10" fmla="*/ 2147483647 w 119"/>
                <a:gd name="T11" fmla="*/ 2147483647 h 355"/>
                <a:gd name="T12" fmla="*/ 2147483647 w 119"/>
                <a:gd name="T13" fmla="*/ 0 h 355"/>
                <a:gd name="T14" fmla="*/ 2147483647 w 119"/>
                <a:gd name="T15" fmla="*/ 2147483647 h 355"/>
                <a:gd name="T16" fmla="*/ 2147483647 w 119"/>
                <a:gd name="T17" fmla="*/ 2147483647 h 355"/>
                <a:gd name="T18" fmla="*/ 2147483647 w 119"/>
                <a:gd name="T19" fmla="*/ 2147483647 h 355"/>
                <a:gd name="T20" fmla="*/ 2147483647 w 119"/>
                <a:gd name="T21" fmla="*/ 2147483647 h 355"/>
                <a:gd name="T22" fmla="*/ 2147483647 w 119"/>
                <a:gd name="T23" fmla="*/ 2147483647 h 355"/>
                <a:gd name="T24" fmla="*/ 2147483647 w 119"/>
                <a:gd name="T25" fmla="*/ 2147483647 h 355"/>
                <a:gd name="T26" fmla="*/ 2147483647 w 119"/>
                <a:gd name="T27" fmla="*/ 2147483647 h 355"/>
                <a:gd name="T28" fmla="*/ 2147483647 w 119"/>
                <a:gd name="T29" fmla="*/ 2147483647 h 355"/>
                <a:gd name="T30" fmla="*/ 2147483647 w 119"/>
                <a:gd name="T31" fmla="*/ 2147483647 h 355"/>
                <a:gd name="T32" fmla="*/ 2147483647 w 119"/>
                <a:gd name="T33" fmla="*/ 2147483647 h 355"/>
                <a:gd name="T34" fmla="*/ 0 w 119"/>
                <a:gd name="T35" fmla="*/ 2147483647 h 35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19" h="355">
                  <a:moveTo>
                    <a:pt x="0" y="255"/>
                  </a:moveTo>
                  <a:lnTo>
                    <a:pt x="13" y="190"/>
                  </a:lnTo>
                  <a:lnTo>
                    <a:pt x="44" y="200"/>
                  </a:lnTo>
                  <a:lnTo>
                    <a:pt x="74" y="67"/>
                  </a:lnTo>
                  <a:lnTo>
                    <a:pt x="94" y="32"/>
                  </a:lnTo>
                  <a:lnTo>
                    <a:pt x="88" y="11"/>
                  </a:lnTo>
                  <a:lnTo>
                    <a:pt x="94" y="0"/>
                  </a:lnTo>
                  <a:lnTo>
                    <a:pt x="106" y="90"/>
                  </a:lnTo>
                  <a:lnTo>
                    <a:pt x="88" y="111"/>
                  </a:lnTo>
                  <a:lnTo>
                    <a:pt x="106" y="178"/>
                  </a:lnTo>
                  <a:lnTo>
                    <a:pt x="94" y="255"/>
                  </a:lnTo>
                  <a:lnTo>
                    <a:pt x="119" y="322"/>
                  </a:lnTo>
                  <a:lnTo>
                    <a:pt x="113" y="355"/>
                  </a:lnTo>
                  <a:lnTo>
                    <a:pt x="74" y="344"/>
                  </a:lnTo>
                  <a:lnTo>
                    <a:pt x="44" y="344"/>
                  </a:lnTo>
                  <a:lnTo>
                    <a:pt x="19" y="344"/>
                  </a:lnTo>
                  <a:lnTo>
                    <a:pt x="19" y="278"/>
                  </a:lnTo>
                  <a:lnTo>
                    <a:pt x="0" y="255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18" name="Freeform 884"/>
            <p:cNvSpPr>
              <a:spLocks/>
            </p:cNvSpPr>
            <p:nvPr>
              <p:custDataLst>
                <p:tags r:id="rId726"/>
              </p:custDataLst>
            </p:nvPr>
          </p:nvSpPr>
          <p:spPr bwMode="auto">
            <a:xfrm>
              <a:off x="6259658" y="4471584"/>
              <a:ext cx="220539" cy="282575"/>
            </a:xfrm>
            <a:custGeom>
              <a:avLst/>
              <a:gdLst>
                <a:gd name="T0" fmla="*/ 0 w 119"/>
                <a:gd name="T1" fmla="*/ 2147483647 h 355"/>
                <a:gd name="T2" fmla="*/ 2147483647 w 119"/>
                <a:gd name="T3" fmla="*/ 2147483647 h 355"/>
                <a:gd name="T4" fmla="*/ 2147483647 w 119"/>
                <a:gd name="T5" fmla="*/ 2147483647 h 355"/>
                <a:gd name="T6" fmla="*/ 2147483647 w 119"/>
                <a:gd name="T7" fmla="*/ 2147483647 h 355"/>
                <a:gd name="T8" fmla="*/ 2147483647 w 119"/>
                <a:gd name="T9" fmla="*/ 2147483647 h 355"/>
                <a:gd name="T10" fmla="*/ 2147483647 w 119"/>
                <a:gd name="T11" fmla="*/ 2147483647 h 355"/>
                <a:gd name="T12" fmla="*/ 2147483647 w 119"/>
                <a:gd name="T13" fmla="*/ 0 h 355"/>
                <a:gd name="T14" fmla="*/ 2147483647 w 119"/>
                <a:gd name="T15" fmla="*/ 2147483647 h 355"/>
                <a:gd name="T16" fmla="*/ 2147483647 w 119"/>
                <a:gd name="T17" fmla="*/ 2147483647 h 355"/>
                <a:gd name="T18" fmla="*/ 2147483647 w 119"/>
                <a:gd name="T19" fmla="*/ 2147483647 h 355"/>
                <a:gd name="T20" fmla="*/ 2147483647 w 119"/>
                <a:gd name="T21" fmla="*/ 2147483647 h 355"/>
                <a:gd name="T22" fmla="*/ 2147483647 w 119"/>
                <a:gd name="T23" fmla="*/ 2147483647 h 355"/>
                <a:gd name="T24" fmla="*/ 2147483647 w 119"/>
                <a:gd name="T25" fmla="*/ 2147483647 h 355"/>
                <a:gd name="T26" fmla="*/ 2147483647 w 119"/>
                <a:gd name="T27" fmla="*/ 2147483647 h 355"/>
                <a:gd name="T28" fmla="*/ 2147483647 w 119"/>
                <a:gd name="T29" fmla="*/ 2147483647 h 355"/>
                <a:gd name="T30" fmla="*/ 2147483647 w 119"/>
                <a:gd name="T31" fmla="*/ 2147483647 h 355"/>
                <a:gd name="T32" fmla="*/ 2147483647 w 119"/>
                <a:gd name="T33" fmla="*/ 2147483647 h 355"/>
                <a:gd name="T34" fmla="*/ 0 w 119"/>
                <a:gd name="T35" fmla="*/ 2147483647 h 35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19" h="355">
                  <a:moveTo>
                    <a:pt x="0" y="255"/>
                  </a:moveTo>
                  <a:lnTo>
                    <a:pt x="13" y="190"/>
                  </a:lnTo>
                  <a:lnTo>
                    <a:pt x="44" y="200"/>
                  </a:lnTo>
                  <a:lnTo>
                    <a:pt x="74" y="67"/>
                  </a:lnTo>
                  <a:lnTo>
                    <a:pt x="94" y="32"/>
                  </a:lnTo>
                  <a:lnTo>
                    <a:pt x="88" y="11"/>
                  </a:lnTo>
                  <a:lnTo>
                    <a:pt x="94" y="0"/>
                  </a:lnTo>
                  <a:lnTo>
                    <a:pt x="106" y="90"/>
                  </a:lnTo>
                  <a:lnTo>
                    <a:pt x="88" y="111"/>
                  </a:lnTo>
                  <a:lnTo>
                    <a:pt x="106" y="178"/>
                  </a:lnTo>
                  <a:lnTo>
                    <a:pt x="94" y="255"/>
                  </a:lnTo>
                  <a:lnTo>
                    <a:pt x="119" y="322"/>
                  </a:lnTo>
                  <a:lnTo>
                    <a:pt x="113" y="355"/>
                  </a:lnTo>
                  <a:lnTo>
                    <a:pt x="74" y="344"/>
                  </a:lnTo>
                  <a:lnTo>
                    <a:pt x="44" y="344"/>
                  </a:lnTo>
                  <a:lnTo>
                    <a:pt x="19" y="344"/>
                  </a:lnTo>
                  <a:lnTo>
                    <a:pt x="19" y="278"/>
                  </a:lnTo>
                  <a:lnTo>
                    <a:pt x="0" y="25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19" name="Freeform 885"/>
            <p:cNvSpPr>
              <a:spLocks/>
            </p:cNvSpPr>
            <p:nvPr>
              <p:custDataLst>
                <p:tags r:id="rId727"/>
              </p:custDataLst>
            </p:nvPr>
          </p:nvSpPr>
          <p:spPr bwMode="auto">
            <a:xfrm>
              <a:off x="6436066" y="4516044"/>
              <a:ext cx="368901" cy="204787"/>
            </a:xfrm>
            <a:custGeom>
              <a:avLst/>
              <a:gdLst>
                <a:gd name="T0" fmla="*/ 0 w 199"/>
                <a:gd name="T1" fmla="*/ 2147483647 h 257"/>
                <a:gd name="T2" fmla="*/ 2147483647 w 199"/>
                <a:gd name="T3" fmla="*/ 2147483647 h 257"/>
                <a:gd name="T4" fmla="*/ 2147483647 w 199"/>
                <a:gd name="T5" fmla="*/ 2147483647 h 257"/>
                <a:gd name="T6" fmla="*/ 2147483647 w 199"/>
                <a:gd name="T7" fmla="*/ 2147483647 h 257"/>
                <a:gd name="T8" fmla="*/ 2147483647 w 199"/>
                <a:gd name="T9" fmla="*/ 2147483647 h 257"/>
                <a:gd name="T10" fmla="*/ 2147483647 w 199"/>
                <a:gd name="T11" fmla="*/ 0 h 257"/>
                <a:gd name="T12" fmla="*/ 2147483647 w 199"/>
                <a:gd name="T13" fmla="*/ 2147483647 h 257"/>
                <a:gd name="T14" fmla="*/ 2147483647 w 199"/>
                <a:gd name="T15" fmla="*/ 2147483647 h 257"/>
                <a:gd name="T16" fmla="*/ 2147483647 w 199"/>
                <a:gd name="T17" fmla="*/ 2147483647 h 257"/>
                <a:gd name="T18" fmla="*/ 2147483647 w 199"/>
                <a:gd name="T19" fmla="*/ 2147483647 h 257"/>
                <a:gd name="T20" fmla="*/ 2147483647 w 199"/>
                <a:gd name="T21" fmla="*/ 2147483647 h 257"/>
                <a:gd name="T22" fmla="*/ 2147483647 w 199"/>
                <a:gd name="T23" fmla="*/ 2147483647 h 257"/>
                <a:gd name="T24" fmla="*/ 2147483647 w 199"/>
                <a:gd name="T25" fmla="*/ 2147483647 h 257"/>
                <a:gd name="T26" fmla="*/ 2147483647 w 199"/>
                <a:gd name="T27" fmla="*/ 2147483647 h 257"/>
                <a:gd name="T28" fmla="*/ 0 w 199"/>
                <a:gd name="T29" fmla="*/ 2147483647 h 2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99" h="257">
                  <a:moveTo>
                    <a:pt x="0" y="199"/>
                  </a:moveTo>
                  <a:lnTo>
                    <a:pt x="12" y="122"/>
                  </a:lnTo>
                  <a:lnTo>
                    <a:pt x="62" y="99"/>
                  </a:lnTo>
                  <a:lnTo>
                    <a:pt x="69" y="65"/>
                  </a:lnTo>
                  <a:lnTo>
                    <a:pt x="93" y="65"/>
                  </a:lnTo>
                  <a:lnTo>
                    <a:pt x="124" y="0"/>
                  </a:lnTo>
                  <a:lnTo>
                    <a:pt x="138" y="65"/>
                  </a:lnTo>
                  <a:lnTo>
                    <a:pt x="162" y="99"/>
                  </a:lnTo>
                  <a:lnTo>
                    <a:pt x="199" y="188"/>
                  </a:lnTo>
                  <a:lnTo>
                    <a:pt x="106" y="211"/>
                  </a:lnTo>
                  <a:lnTo>
                    <a:pt x="74" y="188"/>
                  </a:lnTo>
                  <a:lnTo>
                    <a:pt x="62" y="232"/>
                  </a:lnTo>
                  <a:lnTo>
                    <a:pt x="37" y="232"/>
                  </a:lnTo>
                  <a:lnTo>
                    <a:pt x="24" y="257"/>
                  </a:lnTo>
                  <a:lnTo>
                    <a:pt x="0" y="19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20" name="Freeform 886"/>
            <p:cNvSpPr>
              <a:spLocks/>
            </p:cNvSpPr>
            <p:nvPr>
              <p:custDataLst>
                <p:tags r:id="rId728"/>
              </p:custDataLst>
            </p:nvPr>
          </p:nvSpPr>
          <p:spPr bwMode="auto">
            <a:xfrm>
              <a:off x="6436066" y="4516044"/>
              <a:ext cx="368901" cy="204787"/>
            </a:xfrm>
            <a:custGeom>
              <a:avLst/>
              <a:gdLst>
                <a:gd name="T0" fmla="*/ 0 w 199"/>
                <a:gd name="T1" fmla="*/ 2147483647 h 257"/>
                <a:gd name="T2" fmla="*/ 2147483647 w 199"/>
                <a:gd name="T3" fmla="*/ 2147483647 h 257"/>
                <a:gd name="T4" fmla="*/ 2147483647 w 199"/>
                <a:gd name="T5" fmla="*/ 2147483647 h 257"/>
                <a:gd name="T6" fmla="*/ 2147483647 w 199"/>
                <a:gd name="T7" fmla="*/ 2147483647 h 257"/>
                <a:gd name="T8" fmla="*/ 2147483647 w 199"/>
                <a:gd name="T9" fmla="*/ 2147483647 h 257"/>
                <a:gd name="T10" fmla="*/ 2147483647 w 199"/>
                <a:gd name="T11" fmla="*/ 0 h 257"/>
                <a:gd name="T12" fmla="*/ 2147483647 w 199"/>
                <a:gd name="T13" fmla="*/ 2147483647 h 257"/>
                <a:gd name="T14" fmla="*/ 2147483647 w 199"/>
                <a:gd name="T15" fmla="*/ 2147483647 h 257"/>
                <a:gd name="T16" fmla="*/ 2147483647 w 199"/>
                <a:gd name="T17" fmla="*/ 2147483647 h 257"/>
                <a:gd name="T18" fmla="*/ 2147483647 w 199"/>
                <a:gd name="T19" fmla="*/ 2147483647 h 257"/>
                <a:gd name="T20" fmla="*/ 2147483647 w 199"/>
                <a:gd name="T21" fmla="*/ 2147483647 h 257"/>
                <a:gd name="T22" fmla="*/ 2147483647 w 199"/>
                <a:gd name="T23" fmla="*/ 2147483647 h 257"/>
                <a:gd name="T24" fmla="*/ 2147483647 w 199"/>
                <a:gd name="T25" fmla="*/ 2147483647 h 257"/>
                <a:gd name="T26" fmla="*/ 2147483647 w 199"/>
                <a:gd name="T27" fmla="*/ 2147483647 h 257"/>
                <a:gd name="T28" fmla="*/ 0 w 199"/>
                <a:gd name="T29" fmla="*/ 2147483647 h 2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99" h="257">
                  <a:moveTo>
                    <a:pt x="0" y="199"/>
                  </a:moveTo>
                  <a:lnTo>
                    <a:pt x="12" y="122"/>
                  </a:lnTo>
                  <a:lnTo>
                    <a:pt x="62" y="99"/>
                  </a:lnTo>
                  <a:lnTo>
                    <a:pt x="69" y="65"/>
                  </a:lnTo>
                  <a:lnTo>
                    <a:pt x="93" y="65"/>
                  </a:lnTo>
                  <a:lnTo>
                    <a:pt x="124" y="0"/>
                  </a:lnTo>
                  <a:lnTo>
                    <a:pt x="138" y="65"/>
                  </a:lnTo>
                  <a:lnTo>
                    <a:pt x="162" y="99"/>
                  </a:lnTo>
                  <a:lnTo>
                    <a:pt x="199" y="188"/>
                  </a:lnTo>
                  <a:lnTo>
                    <a:pt x="106" y="211"/>
                  </a:lnTo>
                  <a:lnTo>
                    <a:pt x="74" y="188"/>
                  </a:lnTo>
                  <a:lnTo>
                    <a:pt x="62" y="232"/>
                  </a:lnTo>
                  <a:lnTo>
                    <a:pt x="37" y="232"/>
                  </a:lnTo>
                  <a:lnTo>
                    <a:pt x="24" y="257"/>
                  </a:lnTo>
                  <a:lnTo>
                    <a:pt x="0" y="19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21" name="Freeform 887"/>
            <p:cNvSpPr>
              <a:spLocks/>
            </p:cNvSpPr>
            <p:nvPr>
              <p:custDataLst>
                <p:tags r:id="rId729"/>
              </p:custDataLst>
            </p:nvPr>
          </p:nvSpPr>
          <p:spPr bwMode="auto">
            <a:xfrm>
              <a:off x="6436066" y="4516044"/>
              <a:ext cx="368901" cy="204787"/>
            </a:xfrm>
            <a:custGeom>
              <a:avLst/>
              <a:gdLst>
                <a:gd name="T0" fmla="*/ 0 w 199"/>
                <a:gd name="T1" fmla="*/ 2147483647 h 257"/>
                <a:gd name="T2" fmla="*/ 2147483647 w 199"/>
                <a:gd name="T3" fmla="*/ 2147483647 h 257"/>
                <a:gd name="T4" fmla="*/ 2147483647 w 199"/>
                <a:gd name="T5" fmla="*/ 2147483647 h 257"/>
                <a:gd name="T6" fmla="*/ 2147483647 w 199"/>
                <a:gd name="T7" fmla="*/ 2147483647 h 257"/>
                <a:gd name="T8" fmla="*/ 2147483647 w 199"/>
                <a:gd name="T9" fmla="*/ 2147483647 h 257"/>
                <a:gd name="T10" fmla="*/ 2147483647 w 199"/>
                <a:gd name="T11" fmla="*/ 0 h 257"/>
                <a:gd name="T12" fmla="*/ 2147483647 w 199"/>
                <a:gd name="T13" fmla="*/ 2147483647 h 257"/>
                <a:gd name="T14" fmla="*/ 2147483647 w 199"/>
                <a:gd name="T15" fmla="*/ 2147483647 h 257"/>
                <a:gd name="T16" fmla="*/ 2147483647 w 199"/>
                <a:gd name="T17" fmla="*/ 2147483647 h 257"/>
                <a:gd name="T18" fmla="*/ 2147483647 w 199"/>
                <a:gd name="T19" fmla="*/ 2147483647 h 257"/>
                <a:gd name="T20" fmla="*/ 2147483647 w 199"/>
                <a:gd name="T21" fmla="*/ 2147483647 h 257"/>
                <a:gd name="T22" fmla="*/ 2147483647 w 199"/>
                <a:gd name="T23" fmla="*/ 2147483647 h 257"/>
                <a:gd name="T24" fmla="*/ 2147483647 w 199"/>
                <a:gd name="T25" fmla="*/ 2147483647 h 257"/>
                <a:gd name="T26" fmla="*/ 2147483647 w 199"/>
                <a:gd name="T27" fmla="*/ 2147483647 h 257"/>
                <a:gd name="T28" fmla="*/ 0 w 199"/>
                <a:gd name="T29" fmla="*/ 2147483647 h 2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99" h="257">
                  <a:moveTo>
                    <a:pt x="0" y="199"/>
                  </a:moveTo>
                  <a:lnTo>
                    <a:pt x="12" y="122"/>
                  </a:lnTo>
                  <a:lnTo>
                    <a:pt x="62" y="99"/>
                  </a:lnTo>
                  <a:lnTo>
                    <a:pt x="69" y="65"/>
                  </a:lnTo>
                  <a:lnTo>
                    <a:pt x="93" y="65"/>
                  </a:lnTo>
                  <a:lnTo>
                    <a:pt x="124" y="0"/>
                  </a:lnTo>
                  <a:lnTo>
                    <a:pt x="138" y="65"/>
                  </a:lnTo>
                  <a:lnTo>
                    <a:pt x="162" y="99"/>
                  </a:lnTo>
                  <a:lnTo>
                    <a:pt x="199" y="188"/>
                  </a:lnTo>
                  <a:lnTo>
                    <a:pt x="106" y="211"/>
                  </a:lnTo>
                  <a:lnTo>
                    <a:pt x="74" y="188"/>
                  </a:lnTo>
                  <a:lnTo>
                    <a:pt x="62" y="232"/>
                  </a:lnTo>
                  <a:lnTo>
                    <a:pt x="37" y="232"/>
                  </a:lnTo>
                  <a:lnTo>
                    <a:pt x="24" y="257"/>
                  </a:lnTo>
                  <a:lnTo>
                    <a:pt x="0" y="19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22" name="Freeform 888"/>
            <p:cNvSpPr>
              <a:spLocks/>
            </p:cNvSpPr>
            <p:nvPr>
              <p:custDataLst>
                <p:tags r:id="rId730"/>
              </p:custDataLst>
            </p:nvPr>
          </p:nvSpPr>
          <p:spPr bwMode="auto">
            <a:xfrm>
              <a:off x="6436066" y="4516044"/>
              <a:ext cx="368901" cy="204787"/>
            </a:xfrm>
            <a:custGeom>
              <a:avLst/>
              <a:gdLst>
                <a:gd name="T0" fmla="*/ 0 w 199"/>
                <a:gd name="T1" fmla="*/ 2147483647 h 257"/>
                <a:gd name="T2" fmla="*/ 2147483647 w 199"/>
                <a:gd name="T3" fmla="*/ 2147483647 h 257"/>
                <a:gd name="T4" fmla="*/ 2147483647 w 199"/>
                <a:gd name="T5" fmla="*/ 2147483647 h 257"/>
                <a:gd name="T6" fmla="*/ 2147483647 w 199"/>
                <a:gd name="T7" fmla="*/ 2147483647 h 257"/>
                <a:gd name="T8" fmla="*/ 2147483647 w 199"/>
                <a:gd name="T9" fmla="*/ 2147483647 h 257"/>
                <a:gd name="T10" fmla="*/ 2147483647 w 199"/>
                <a:gd name="T11" fmla="*/ 0 h 257"/>
                <a:gd name="T12" fmla="*/ 2147483647 w 199"/>
                <a:gd name="T13" fmla="*/ 2147483647 h 257"/>
                <a:gd name="T14" fmla="*/ 2147483647 w 199"/>
                <a:gd name="T15" fmla="*/ 2147483647 h 257"/>
                <a:gd name="T16" fmla="*/ 2147483647 w 199"/>
                <a:gd name="T17" fmla="*/ 2147483647 h 257"/>
                <a:gd name="T18" fmla="*/ 2147483647 w 199"/>
                <a:gd name="T19" fmla="*/ 2147483647 h 257"/>
                <a:gd name="T20" fmla="*/ 2147483647 w 199"/>
                <a:gd name="T21" fmla="*/ 2147483647 h 257"/>
                <a:gd name="T22" fmla="*/ 2147483647 w 199"/>
                <a:gd name="T23" fmla="*/ 2147483647 h 257"/>
                <a:gd name="T24" fmla="*/ 2147483647 w 199"/>
                <a:gd name="T25" fmla="*/ 2147483647 h 257"/>
                <a:gd name="T26" fmla="*/ 2147483647 w 199"/>
                <a:gd name="T27" fmla="*/ 2147483647 h 257"/>
                <a:gd name="T28" fmla="*/ 0 w 199"/>
                <a:gd name="T29" fmla="*/ 2147483647 h 2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99" h="257">
                  <a:moveTo>
                    <a:pt x="0" y="199"/>
                  </a:moveTo>
                  <a:lnTo>
                    <a:pt x="12" y="122"/>
                  </a:lnTo>
                  <a:lnTo>
                    <a:pt x="62" y="99"/>
                  </a:lnTo>
                  <a:lnTo>
                    <a:pt x="69" y="65"/>
                  </a:lnTo>
                  <a:lnTo>
                    <a:pt x="93" y="65"/>
                  </a:lnTo>
                  <a:lnTo>
                    <a:pt x="124" y="0"/>
                  </a:lnTo>
                  <a:lnTo>
                    <a:pt x="138" y="65"/>
                  </a:lnTo>
                  <a:lnTo>
                    <a:pt x="162" y="99"/>
                  </a:lnTo>
                  <a:lnTo>
                    <a:pt x="199" y="188"/>
                  </a:lnTo>
                  <a:lnTo>
                    <a:pt x="106" y="211"/>
                  </a:lnTo>
                  <a:lnTo>
                    <a:pt x="74" y="188"/>
                  </a:lnTo>
                  <a:lnTo>
                    <a:pt x="62" y="232"/>
                  </a:lnTo>
                  <a:lnTo>
                    <a:pt x="37" y="232"/>
                  </a:lnTo>
                  <a:lnTo>
                    <a:pt x="24" y="257"/>
                  </a:lnTo>
                  <a:lnTo>
                    <a:pt x="0" y="19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23" name="Freeform 889"/>
            <p:cNvSpPr>
              <a:spLocks/>
            </p:cNvSpPr>
            <p:nvPr>
              <p:custDataLst>
                <p:tags r:id="rId731"/>
              </p:custDataLst>
            </p:nvPr>
          </p:nvSpPr>
          <p:spPr bwMode="auto">
            <a:xfrm>
              <a:off x="6401982" y="4193756"/>
              <a:ext cx="312764" cy="423863"/>
            </a:xfrm>
            <a:custGeom>
              <a:avLst/>
              <a:gdLst>
                <a:gd name="T0" fmla="*/ 0 w 168"/>
                <a:gd name="T1" fmla="*/ 2147483647 h 534"/>
                <a:gd name="T2" fmla="*/ 2147483647 w 168"/>
                <a:gd name="T3" fmla="*/ 2147483647 h 534"/>
                <a:gd name="T4" fmla="*/ 2147483647 w 168"/>
                <a:gd name="T5" fmla="*/ 2147483647 h 534"/>
                <a:gd name="T6" fmla="*/ 2147483647 w 168"/>
                <a:gd name="T7" fmla="*/ 2147483647 h 534"/>
                <a:gd name="T8" fmla="*/ 2147483647 w 168"/>
                <a:gd name="T9" fmla="*/ 2147483647 h 534"/>
                <a:gd name="T10" fmla="*/ 2147483647 w 168"/>
                <a:gd name="T11" fmla="*/ 2147483647 h 534"/>
                <a:gd name="T12" fmla="*/ 2147483647 w 168"/>
                <a:gd name="T13" fmla="*/ 2147483647 h 534"/>
                <a:gd name="T14" fmla="*/ 2147483647 w 168"/>
                <a:gd name="T15" fmla="*/ 2147483647 h 534"/>
                <a:gd name="T16" fmla="*/ 2147483647 w 168"/>
                <a:gd name="T17" fmla="*/ 2147483647 h 534"/>
                <a:gd name="T18" fmla="*/ 2147483647 w 168"/>
                <a:gd name="T19" fmla="*/ 2147483647 h 534"/>
                <a:gd name="T20" fmla="*/ 2147483647 w 168"/>
                <a:gd name="T21" fmla="*/ 2147483647 h 534"/>
                <a:gd name="T22" fmla="*/ 2147483647 w 168"/>
                <a:gd name="T23" fmla="*/ 2147483647 h 534"/>
                <a:gd name="T24" fmla="*/ 2147483647 w 168"/>
                <a:gd name="T25" fmla="*/ 2147483647 h 534"/>
                <a:gd name="T26" fmla="*/ 2147483647 w 168"/>
                <a:gd name="T27" fmla="*/ 2147483647 h 534"/>
                <a:gd name="T28" fmla="*/ 2147483647 w 168"/>
                <a:gd name="T29" fmla="*/ 0 h 534"/>
                <a:gd name="T30" fmla="*/ 2147483647 w 168"/>
                <a:gd name="T31" fmla="*/ 2147483647 h 534"/>
                <a:gd name="T32" fmla="*/ 2147483647 w 168"/>
                <a:gd name="T33" fmla="*/ 2147483647 h 534"/>
                <a:gd name="T34" fmla="*/ 2147483647 w 168"/>
                <a:gd name="T35" fmla="*/ 2147483647 h 534"/>
                <a:gd name="T36" fmla="*/ 2147483647 w 168"/>
                <a:gd name="T37" fmla="*/ 2147483647 h 534"/>
                <a:gd name="T38" fmla="*/ 0 w 168"/>
                <a:gd name="T39" fmla="*/ 2147483647 h 53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8" h="534">
                  <a:moveTo>
                    <a:pt x="0" y="300"/>
                  </a:moveTo>
                  <a:lnTo>
                    <a:pt x="25" y="333"/>
                  </a:lnTo>
                  <a:lnTo>
                    <a:pt x="19" y="354"/>
                  </a:lnTo>
                  <a:lnTo>
                    <a:pt x="31" y="446"/>
                  </a:lnTo>
                  <a:lnTo>
                    <a:pt x="12" y="467"/>
                  </a:lnTo>
                  <a:lnTo>
                    <a:pt x="31" y="534"/>
                  </a:lnTo>
                  <a:lnTo>
                    <a:pt x="81" y="511"/>
                  </a:lnTo>
                  <a:lnTo>
                    <a:pt x="88" y="477"/>
                  </a:lnTo>
                  <a:lnTo>
                    <a:pt x="113" y="477"/>
                  </a:lnTo>
                  <a:lnTo>
                    <a:pt x="144" y="411"/>
                  </a:lnTo>
                  <a:lnTo>
                    <a:pt x="131" y="354"/>
                  </a:lnTo>
                  <a:lnTo>
                    <a:pt x="149" y="265"/>
                  </a:lnTo>
                  <a:lnTo>
                    <a:pt x="163" y="256"/>
                  </a:lnTo>
                  <a:lnTo>
                    <a:pt x="168" y="133"/>
                  </a:lnTo>
                  <a:lnTo>
                    <a:pt x="43" y="0"/>
                  </a:lnTo>
                  <a:lnTo>
                    <a:pt x="25" y="23"/>
                  </a:lnTo>
                  <a:lnTo>
                    <a:pt x="25" y="68"/>
                  </a:lnTo>
                  <a:lnTo>
                    <a:pt x="43" y="112"/>
                  </a:lnTo>
                  <a:lnTo>
                    <a:pt x="31" y="221"/>
                  </a:lnTo>
                  <a:lnTo>
                    <a:pt x="0" y="300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24" name="Freeform 890"/>
            <p:cNvSpPr>
              <a:spLocks/>
            </p:cNvSpPr>
            <p:nvPr>
              <p:custDataLst>
                <p:tags r:id="rId732"/>
              </p:custDataLst>
            </p:nvPr>
          </p:nvSpPr>
          <p:spPr bwMode="auto">
            <a:xfrm>
              <a:off x="6401982" y="4193756"/>
              <a:ext cx="312764" cy="423863"/>
            </a:xfrm>
            <a:custGeom>
              <a:avLst/>
              <a:gdLst>
                <a:gd name="T0" fmla="*/ 0 w 168"/>
                <a:gd name="T1" fmla="*/ 2147483647 h 534"/>
                <a:gd name="T2" fmla="*/ 2147483647 w 168"/>
                <a:gd name="T3" fmla="*/ 2147483647 h 534"/>
                <a:gd name="T4" fmla="*/ 2147483647 w 168"/>
                <a:gd name="T5" fmla="*/ 2147483647 h 534"/>
                <a:gd name="T6" fmla="*/ 2147483647 w 168"/>
                <a:gd name="T7" fmla="*/ 2147483647 h 534"/>
                <a:gd name="T8" fmla="*/ 2147483647 w 168"/>
                <a:gd name="T9" fmla="*/ 2147483647 h 534"/>
                <a:gd name="T10" fmla="*/ 2147483647 w 168"/>
                <a:gd name="T11" fmla="*/ 2147483647 h 534"/>
                <a:gd name="T12" fmla="*/ 2147483647 w 168"/>
                <a:gd name="T13" fmla="*/ 2147483647 h 534"/>
                <a:gd name="T14" fmla="*/ 2147483647 w 168"/>
                <a:gd name="T15" fmla="*/ 2147483647 h 534"/>
                <a:gd name="T16" fmla="*/ 2147483647 w 168"/>
                <a:gd name="T17" fmla="*/ 2147483647 h 534"/>
                <a:gd name="T18" fmla="*/ 2147483647 w 168"/>
                <a:gd name="T19" fmla="*/ 2147483647 h 534"/>
                <a:gd name="T20" fmla="*/ 2147483647 w 168"/>
                <a:gd name="T21" fmla="*/ 2147483647 h 534"/>
                <a:gd name="T22" fmla="*/ 2147483647 w 168"/>
                <a:gd name="T23" fmla="*/ 2147483647 h 534"/>
                <a:gd name="T24" fmla="*/ 2147483647 w 168"/>
                <a:gd name="T25" fmla="*/ 2147483647 h 534"/>
                <a:gd name="T26" fmla="*/ 2147483647 w 168"/>
                <a:gd name="T27" fmla="*/ 2147483647 h 534"/>
                <a:gd name="T28" fmla="*/ 2147483647 w 168"/>
                <a:gd name="T29" fmla="*/ 0 h 534"/>
                <a:gd name="T30" fmla="*/ 2147483647 w 168"/>
                <a:gd name="T31" fmla="*/ 2147483647 h 534"/>
                <a:gd name="T32" fmla="*/ 2147483647 w 168"/>
                <a:gd name="T33" fmla="*/ 2147483647 h 534"/>
                <a:gd name="T34" fmla="*/ 2147483647 w 168"/>
                <a:gd name="T35" fmla="*/ 2147483647 h 534"/>
                <a:gd name="T36" fmla="*/ 2147483647 w 168"/>
                <a:gd name="T37" fmla="*/ 2147483647 h 534"/>
                <a:gd name="T38" fmla="*/ 0 w 168"/>
                <a:gd name="T39" fmla="*/ 2147483647 h 53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8" h="534">
                  <a:moveTo>
                    <a:pt x="0" y="300"/>
                  </a:moveTo>
                  <a:lnTo>
                    <a:pt x="25" y="333"/>
                  </a:lnTo>
                  <a:lnTo>
                    <a:pt x="19" y="354"/>
                  </a:lnTo>
                  <a:lnTo>
                    <a:pt x="31" y="446"/>
                  </a:lnTo>
                  <a:lnTo>
                    <a:pt x="12" y="467"/>
                  </a:lnTo>
                  <a:lnTo>
                    <a:pt x="31" y="534"/>
                  </a:lnTo>
                  <a:lnTo>
                    <a:pt x="81" y="511"/>
                  </a:lnTo>
                  <a:lnTo>
                    <a:pt x="88" y="477"/>
                  </a:lnTo>
                  <a:lnTo>
                    <a:pt x="113" y="477"/>
                  </a:lnTo>
                  <a:lnTo>
                    <a:pt x="144" y="411"/>
                  </a:lnTo>
                  <a:lnTo>
                    <a:pt x="131" y="354"/>
                  </a:lnTo>
                  <a:lnTo>
                    <a:pt x="149" y="265"/>
                  </a:lnTo>
                  <a:lnTo>
                    <a:pt x="163" y="256"/>
                  </a:lnTo>
                  <a:lnTo>
                    <a:pt x="168" y="133"/>
                  </a:lnTo>
                  <a:lnTo>
                    <a:pt x="43" y="0"/>
                  </a:lnTo>
                  <a:lnTo>
                    <a:pt x="25" y="23"/>
                  </a:lnTo>
                  <a:lnTo>
                    <a:pt x="25" y="68"/>
                  </a:lnTo>
                  <a:lnTo>
                    <a:pt x="43" y="112"/>
                  </a:lnTo>
                  <a:lnTo>
                    <a:pt x="31" y="221"/>
                  </a:lnTo>
                  <a:lnTo>
                    <a:pt x="0" y="300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25" name="Freeform 891"/>
            <p:cNvSpPr>
              <a:spLocks/>
            </p:cNvSpPr>
            <p:nvPr>
              <p:custDataLst>
                <p:tags r:id="rId733"/>
              </p:custDataLst>
            </p:nvPr>
          </p:nvSpPr>
          <p:spPr bwMode="auto">
            <a:xfrm>
              <a:off x="6401982" y="4193756"/>
              <a:ext cx="312764" cy="423863"/>
            </a:xfrm>
            <a:custGeom>
              <a:avLst/>
              <a:gdLst>
                <a:gd name="T0" fmla="*/ 0 w 168"/>
                <a:gd name="T1" fmla="*/ 2147483647 h 534"/>
                <a:gd name="T2" fmla="*/ 2147483647 w 168"/>
                <a:gd name="T3" fmla="*/ 2147483647 h 534"/>
                <a:gd name="T4" fmla="*/ 2147483647 w 168"/>
                <a:gd name="T5" fmla="*/ 2147483647 h 534"/>
                <a:gd name="T6" fmla="*/ 2147483647 w 168"/>
                <a:gd name="T7" fmla="*/ 2147483647 h 534"/>
                <a:gd name="T8" fmla="*/ 2147483647 w 168"/>
                <a:gd name="T9" fmla="*/ 2147483647 h 534"/>
                <a:gd name="T10" fmla="*/ 2147483647 w 168"/>
                <a:gd name="T11" fmla="*/ 2147483647 h 534"/>
                <a:gd name="T12" fmla="*/ 2147483647 w 168"/>
                <a:gd name="T13" fmla="*/ 2147483647 h 534"/>
                <a:gd name="T14" fmla="*/ 2147483647 w 168"/>
                <a:gd name="T15" fmla="*/ 2147483647 h 534"/>
                <a:gd name="T16" fmla="*/ 2147483647 w 168"/>
                <a:gd name="T17" fmla="*/ 2147483647 h 534"/>
                <a:gd name="T18" fmla="*/ 2147483647 w 168"/>
                <a:gd name="T19" fmla="*/ 2147483647 h 534"/>
                <a:gd name="T20" fmla="*/ 2147483647 w 168"/>
                <a:gd name="T21" fmla="*/ 2147483647 h 534"/>
                <a:gd name="T22" fmla="*/ 2147483647 w 168"/>
                <a:gd name="T23" fmla="*/ 2147483647 h 534"/>
                <a:gd name="T24" fmla="*/ 2147483647 w 168"/>
                <a:gd name="T25" fmla="*/ 2147483647 h 534"/>
                <a:gd name="T26" fmla="*/ 2147483647 w 168"/>
                <a:gd name="T27" fmla="*/ 2147483647 h 534"/>
                <a:gd name="T28" fmla="*/ 2147483647 w 168"/>
                <a:gd name="T29" fmla="*/ 0 h 534"/>
                <a:gd name="T30" fmla="*/ 2147483647 w 168"/>
                <a:gd name="T31" fmla="*/ 2147483647 h 534"/>
                <a:gd name="T32" fmla="*/ 2147483647 w 168"/>
                <a:gd name="T33" fmla="*/ 2147483647 h 534"/>
                <a:gd name="T34" fmla="*/ 2147483647 w 168"/>
                <a:gd name="T35" fmla="*/ 2147483647 h 534"/>
                <a:gd name="T36" fmla="*/ 2147483647 w 168"/>
                <a:gd name="T37" fmla="*/ 2147483647 h 534"/>
                <a:gd name="T38" fmla="*/ 0 w 168"/>
                <a:gd name="T39" fmla="*/ 2147483647 h 53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8" h="534">
                  <a:moveTo>
                    <a:pt x="0" y="300"/>
                  </a:moveTo>
                  <a:lnTo>
                    <a:pt x="25" y="333"/>
                  </a:lnTo>
                  <a:lnTo>
                    <a:pt x="19" y="354"/>
                  </a:lnTo>
                  <a:lnTo>
                    <a:pt x="31" y="446"/>
                  </a:lnTo>
                  <a:lnTo>
                    <a:pt x="12" y="467"/>
                  </a:lnTo>
                  <a:lnTo>
                    <a:pt x="31" y="534"/>
                  </a:lnTo>
                  <a:lnTo>
                    <a:pt x="81" y="511"/>
                  </a:lnTo>
                  <a:lnTo>
                    <a:pt x="88" y="477"/>
                  </a:lnTo>
                  <a:lnTo>
                    <a:pt x="113" y="477"/>
                  </a:lnTo>
                  <a:lnTo>
                    <a:pt x="144" y="411"/>
                  </a:lnTo>
                  <a:lnTo>
                    <a:pt x="131" y="354"/>
                  </a:lnTo>
                  <a:lnTo>
                    <a:pt x="149" y="265"/>
                  </a:lnTo>
                  <a:lnTo>
                    <a:pt x="163" y="256"/>
                  </a:lnTo>
                  <a:lnTo>
                    <a:pt x="168" y="133"/>
                  </a:lnTo>
                  <a:lnTo>
                    <a:pt x="43" y="0"/>
                  </a:lnTo>
                  <a:lnTo>
                    <a:pt x="25" y="23"/>
                  </a:lnTo>
                  <a:lnTo>
                    <a:pt x="25" y="68"/>
                  </a:lnTo>
                  <a:lnTo>
                    <a:pt x="43" y="112"/>
                  </a:lnTo>
                  <a:lnTo>
                    <a:pt x="31" y="221"/>
                  </a:lnTo>
                  <a:lnTo>
                    <a:pt x="0" y="300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26" name="Freeform 892"/>
            <p:cNvSpPr>
              <a:spLocks/>
            </p:cNvSpPr>
            <p:nvPr>
              <p:custDataLst>
                <p:tags r:id="rId734"/>
              </p:custDataLst>
            </p:nvPr>
          </p:nvSpPr>
          <p:spPr bwMode="auto">
            <a:xfrm>
              <a:off x="6401982" y="4193756"/>
              <a:ext cx="312764" cy="423863"/>
            </a:xfrm>
            <a:custGeom>
              <a:avLst/>
              <a:gdLst>
                <a:gd name="T0" fmla="*/ 0 w 168"/>
                <a:gd name="T1" fmla="*/ 2147483647 h 534"/>
                <a:gd name="T2" fmla="*/ 2147483647 w 168"/>
                <a:gd name="T3" fmla="*/ 2147483647 h 534"/>
                <a:gd name="T4" fmla="*/ 2147483647 w 168"/>
                <a:gd name="T5" fmla="*/ 2147483647 h 534"/>
                <a:gd name="T6" fmla="*/ 2147483647 w 168"/>
                <a:gd name="T7" fmla="*/ 2147483647 h 534"/>
                <a:gd name="T8" fmla="*/ 2147483647 w 168"/>
                <a:gd name="T9" fmla="*/ 2147483647 h 534"/>
                <a:gd name="T10" fmla="*/ 2147483647 w 168"/>
                <a:gd name="T11" fmla="*/ 2147483647 h 534"/>
                <a:gd name="T12" fmla="*/ 2147483647 w 168"/>
                <a:gd name="T13" fmla="*/ 2147483647 h 534"/>
                <a:gd name="T14" fmla="*/ 2147483647 w 168"/>
                <a:gd name="T15" fmla="*/ 2147483647 h 534"/>
                <a:gd name="T16" fmla="*/ 2147483647 w 168"/>
                <a:gd name="T17" fmla="*/ 2147483647 h 534"/>
                <a:gd name="T18" fmla="*/ 2147483647 w 168"/>
                <a:gd name="T19" fmla="*/ 2147483647 h 534"/>
                <a:gd name="T20" fmla="*/ 2147483647 w 168"/>
                <a:gd name="T21" fmla="*/ 2147483647 h 534"/>
                <a:gd name="T22" fmla="*/ 2147483647 w 168"/>
                <a:gd name="T23" fmla="*/ 2147483647 h 534"/>
                <a:gd name="T24" fmla="*/ 2147483647 w 168"/>
                <a:gd name="T25" fmla="*/ 2147483647 h 534"/>
                <a:gd name="T26" fmla="*/ 2147483647 w 168"/>
                <a:gd name="T27" fmla="*/ 2147483647 h 534"/>
                <a:gd name="T28" fmla="*/ 2147483647 w 168"/>
                <a:gd name="T29" fmla="*/ 0 h 534"/>
                <a:gd name="T30" fmla="*/ 2147483647 w 168"/>
                <a:gd name="T31" fmla="*/ 2147483647 h 534"/>
                <a:gd name="T32" fmla="*/ 2147483647 w 168"/>
                <a:gd name="T33" fmla="*/ 2147483647 h 534"/>
                <a:gd name="T34" fmla="*/ 2147483647 w 168"/>
                <a:gd name="T35" fmla="*/ 2147483647 h 534"/>
                <a:gd name="T36" fmla="*/ 2147483647 w 168"/>
                <a:gd name="T37" fmla="*/ 2147483647 h 534"/>
                <a:gd name="T38" fmla="*/ 0 w 168"/>
                <a:gd name="T39" fmla="*/ 2147483647 h 53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168" h="534">
                  <a:moveTo>
                    <a:pt x="0" y="300"/>
                  </a:moveTo>
                  <a:lnTo>
                    <a:pt x="25" y="333"/>
                  </a:lnTo>
                  <a:lnTo>
                    <a:pt x="19" y="354"/>
                  </a:lnTo>
                  <a:lnTo>
                    <a:pt x="31" y="446"/>
                  </a:lnTo>
                  <a:lnTo>
                    <a:pt x="12" y="467"/>
                  </a:lnTo>
                  <a:lnTo>
                    <a:pt x="31" y="534"/>
                  </a:lnTo>
                  <a:lnTo>
                    <a:pt x="81" y="511"/>
                  </a:lnTo>
                  <a:lnTo>
                    <a:pt x="88" y="477"/>
                  </a:lnTo>
                  <a:lnTo>
                    <a:pt x="113" y="477"/>
                  </a:lnTo>
                  <a:lnTo>
                    <a:pt x="144" y="411"/>
                  </a:lnTo>
                  <a:lnTo>
                    <a:pt x="131" y="354"/>
                  </a:lnTo>
                  <a:lnTo>
                    <a:pt x="149" y="265"/>
                  </a:lnTo>
                  <a:lnTo>
                    <a:pt x="163" y="256"/>
                  </a:lnTo>
                  <a:lnTo>
                    <a:pt x="168" y="133"/>
                  </a:lnTo>
                  <a:lnTo>
                    <a:pt x="43" y="0"/>
                  </a:lnTo>
                  <a:lnTo>
                    <a:pt x="25" y="23"/>
                  </a:lnTo>
                  <a:lnTo>
                    <a:pt x="25" y="68"/>
                  </a:lnTo>
                  <a:lnTo>
                    <a:pt x="43" y="112"/>
                  </a:lnTo>
                  <a:lnTo>
                    <a:pt x="31" y="221"/>
                  </a:lnTo>
                  <a:lnTo>
                    <a:pt x="0" y="30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27" name="Freeform 893"/>
            <p:cNvSpPr>
              <a:spLocks/>
            </p:cNvSpPr>
            <p:nvPr>
              <p:custDataLst>
                <p:tags r:id="rId735"/>
              </p:custDataLst>
            </p:nvPr>
          </p:nvSpPr>
          <p:spPr bwMode="auto">
            <a:xfrm>
              <a:off x="6343841" y="4701745"/>
              <a:ext cx="206504" cy="222250"/>
            </a:xfrm>
            <a:custGeom>
              <a:avLst/>
              <a:gdLst>
                <a:gd name="T0" fmla="*/ 0 w 112"/>
                <a:gd name="T1" fmla="*/ 2147483647 h 278"/>
                <a:gd name="T2" fmla="*/ 2147483647 w 112"/>
                <a:gd name="T3" fmla="*/ 2147483647 h 278"/>
                <a:gd name="T4" fmla="*/ 2147483647 w 112"/>
                <a:gd name="T5" fmla="*/ 2147483647 h 278"/>
                <a:gd name="T6" fmla="*/ 2147483647 w 112"/>
                <a:gd name="T7" fmla="*/ 2147483647 h 278"/>
                <a:gd name="T8" fmla="*/ 2147483647 w 112"/>
                <a:gd name="T9" fmla="*/ 2147483647 h 278"/>
                <a:gd name="T10" fmla="*/ 2147483647 w 112"/>
                <a:gd name="T11" fmla="*/ 2147483647 h 278"/>
                <a:gd name="T12" fmla="*/ 2147483647 w 112"/>
                <a:gd name="T13" fmla="*/ 2147483647 h 278"/>
                <a:gd name="T14" fmla="*/ 2147483647 w 112"/>
                <a:gd name="T15" fmla="*/ 0 h 278"/>
                <a:gd name="T16" fmla="*/ 2147483647 w 112"/>
                <a:gd name="T17" fmla="*/ 0 h 278"/>
                <a:gd name="T18" fmla="*/ 2147483647 w 112"/>
                <a:gd name="T19" fmla="*/ 2147483647 h 278"/>
                <a:gd name="T20" fmla="*/ 2147483647 w 112"/>
                <a:gd name="T21" fmla="*/ 2147483647 h 278"/>
                <a:gd name="T22" fmla="*/ 2147483647 w 112"/>
                <a:gd name="T23" fmla="*/ 2147483647 h 278"/>
                <a:gd name="T24" fmla="*/ 2147483647 w 112"/>
                <a:gd name="T25" fmla="*/ 2147483647 h 278"/>
                <a:gd name="T26" fmla="*/ 2147483647 w 112"/>
                <a:gd name="T27" fmla="*/ 2147483647 h 278"/>
                <a:gd name="T28" fmla="*/ 2147483647 w 112"/>
                <a:gd name="T29" fmla="*/ 2147483647 h 278"/>
                <a:gd name="T30" fmla="*/ 2147483647 w 112"/>
                <a:gd name="T31" fmla="*/ 2147483647 h 278"/>
                <a:gd name="T32" fmla="*/ 0 w 112"/>
                <a:gd name="T33" fmla="*/ 2147483647 h 27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2" h="278">
                  <a:moveTo>
                    <a:pt x="0" y="244"/>
                  </a:moveTo>
                  <a:lnTo>
                    <a:pt x="12" y="278"/>
                  </a:lnTo>
                  <a:lnTo>
                    <a:pt x="24" y="265"/>
                  </a:lnTo>
                  <a:lnTo>
                    <a:pt x="50" y="265"/>
                  </a:lnTo>
                  <a:lnTo>
                    <a:pt x="69" y="244"/>
                  </a:lnTo>
                  <a:lnTo>
                    <a:pt x="74" y="190"/>
                  </a:lnTo>
                  <a:lnTo>
                    <a:pt x="99" y="146"/>
                  </a:lnTo>
                  <a:lnTo>
                    <a:pt x="112" y="0"/>
                  </a:lnTo>
                  <a:lnTo>
                    <a:pt x="88" y="0"/>
                  </a:lnTo>
                  <a:lnTo>
                    <a:pt x="74" y="23"/>
                  </a:lnTo>
                  <a:lnTo>
                    <a:pt x="69" y="67"/>
                  </a:lnTo>
                  <a:lnTo>
                    <a:pt x="31" y="56"/>
                  </a:lnTo>
                  <a:lnTo>
                    <a:pt x="31" y="79"/>
                  </a:lnTo>
                  <a:lnTo>
                    <a:pt x="43" y="79"/>
                  </a:lnTo>
                  <a:lnTo>
                    <a:pt x="43" y="190"/>
                  </a:lnTo>
                  <a:lnTo>
                    <a:pt x="19" y="177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28" name="Freeform 894"/>
            <p:cNvSpPr>
              <a:spLocks/>
            </p:cNvSpPr>
            <p:nvPr>
              <p:custDataLst>
                <p:tags r:id="rId736"/>
              </p:custDataLst>
            </p:nvPr>
          </p:nvSpPr>
          <p:spPr bwMode="auto">
            <a:xfrm>
              <a:off x="6343841" y="4701745"/>
              <a:ext cx="206504" cy="222250"/>
            </a:xfrm>
            <a:custGeom>
              <a:avLst/>
              <a:gdLst>
                <a:gd name="T0" fmla="*/ 0 w 112"/>
                <a:gd name="T1" fmla="*/ 2147483647 h 278"/>
                <a:gd name="T2" fmla="*/ 2147483647 w 112"/>
                <a:gd name="T3" fmla="*/ 2147483647 h 278"/>
                <a:gd name="T4" fmla="*/ 2147483647 w 112"/>
                <a:gd name="T5" fmla="*/ 2147483647 h 278"/>
                <a:gd name="T6" fmla="*/ 2147483647 w 112"/>
                <a:gd name="T7" fmla="*/ 2147483647 h 278"/>
                <a:gd name="T8" fmla="*/ 2147483647 w 112"/>
                <a:gd name="T9" fmla="*/ 2147483647 h 278"/>
                <a:gd name="T10" fmla="*/ 2147483647 w 112"/>
                <a:gd name="T11" fmla="*/ 2147483647 h 278"/>
                <a:gd name="T12" fmla="*/ 2147483647 w 112"/>
                <a:gd name="T13" fmla="*/ 2147483647 h 278"/>
                <a:gd name="T14" fmla="*/ 2147483647 w 112"/>
                <a:gd name="T15" fmla="*/ 0 h 278"/>
                <a:gd name="T16" fmla="*/ 2147483647 w 112"/>
                <a:gd name="T17" fmla="*/ 0 h 278"/>
                <a:gd name="T18" fmla="*/ 2147483647 w 112"/>
                <a:gd name="T19" fmla="*/ 2147483647 h 278"/>
                <a:gd name="T20" fmla="*/ 2147483647 w 112"/>
                <a:gd name="T21" fmla="*/ 2147483647 h 278"/>
                <a:gd name="T22" fmla="*/ 2147483647 w 112"/>
                <a:gd name="T23" fmla="*/ 2147483647 h 278"/>
                <a:gd name="T24" fmla="*/ 2147483647 w 112"/>
                <a:gd name="T25" fmla="*/ 2147483647 h 278"/>
                <a:gd name="T26" fmla="*/ 2147483647 w 112"/>
                <a:gd name="T27" fmla="*/ 2147483647 h 278"/>
                <a:gd name="T28" fmla="*/ 2147483647 w 112"/>
                <a:gd name="T29" fmla="*/ 2147483647 h 278"/>
                <a:gd name="T30" fmla="*/ 2147483647 w 112"/>
                <a:gd name="T31" fmla="*/ 2147483647 h 278"/>
                <a:gd name="T32" fmla="*/ 0 w 112"/>
                <a:gd name="T33" fmla="*/ 2147483647 h 27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2" h="278">
                  <a:moveTo>
                    <a:pt x="0" y="244"/>
                  </a:moveTo>
                  <a:lnTo>
                    <a:pt x="12" y="278"/>
                  </a:lnTo>
                  <a:lnTo>
                    <a:pt x="24" y="265"/>
                  </a:lnTo>
                  <a:lnTo>
                    <a:pt x="50" y="265"/>
                  </a:lnTo>
                  <a:lnTo>
                    <a:pt x="69" y="244"/>
                  </a:lnTo>
                  <a:lnTo>
                    <a:pt x="74" y="190"/>
                  </a:lnTo>
                  <a:lnTo>
                    <a:pt x="99" y="146"/>
                  </a:lnTo>
                  <a:lnTo>
                    <a:pt x="112" y="0"/>
                  </a:lnTo>
                  <a:lnTo>
                    <a:pt x="88" y="0"/>
                  </a:lnTo>
                  <a:lnTo>
                    <a:pt x="74" y="23"/>
                  </a:lnTo>
                  <a:lnTo>
                    <a:pt x="69" y="67"/>
                  </a:lnTo>
                  <a:lnTo>
                    <a:pt x="31" y="56"/>
                  </a:lnTo>
                  <a:lnTo>
                    <a:pt x="31" y="79"/>
                  </a:lnTo>
                  <a:lnTo>
                    <a:pt x="43" y="79"/>
                  </a:lnTo>
                  <a:lnTo>
                    <a:pt x="43" y="190"/>
                  </a:lnTo>
                  <a:lnTo>
                    <a:pt x="19" y="177"/>
                  </a:lnTo>
                  <a:lnTo>
                    <a:pt x="0" y="244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29" name="Freeform 895"/>
            <p:cNvSpPr>
              <a:spLocks/>
            </p:cNvSpPr>
            <p:nvPr>
              <p:custDataLst>
                <p:tags r:id="rId737"/>
              </p:custDataLst>
            </p:nvPr>
          </p:nvSpPr>
          <p:spPr bwMode="auto">
            <a:xfrm>
              <a:off x="6343841" y="4701745"/>
              <a:ext cx="206504" cy="222250"/>
            </a:xfrm>
            <a:custGeom>
              <a:avLst/>
              <a:gdLst>
                <a:gd name="T0" fmla="*/ 0 w 112"/>
                <a:gd name="T1" fmla="*/ 2147483647 h 278"/>
                <a:gd name="T2" fmla="*/ 2147483647 w 112"/>
                <a:gd name="T3" fmla="*/ 2147483647 h 278"/>
                <a:gd name="T4" fmla="*/ 2147483647 w 112"/>
                <a:gd name="T5" fmla="*/ 2147483647 h 278"/>
                <a:gd name="T6" fmla="*/ 2147483647 w 112"/>
                <a:gd name="T7" fmla="*/ 2147483647 h 278"/>
                <a:gd name="T8" fmla="*/ 2147483647 w 112"/>
                <a:gd name="T9" fmla="*/ 2147483647 h 278"/>
                <a:gd name="T10" fmla="*/ 2147483647 w 112"/>
                <a:gd name="T11" fmla="*/ 2147483647 h 278"/>
                <a:gd name="T12" fmla="*/ 2147483647 w 112"/>
                <a:gd name="T13" fmla="*/ 2147483647 h 278"/>
                <a:gd name="T14" fmla="*/ 2147483647 w 112"/>
                <a:gd name="T15" fmla="*/ 0 h 278"/>
                <a:gd name="T16" fmla="*/ 2147483647 w 112"/>
                <a:gd name="T17" fmla="*/ 0 h 278"/>
                <a:gd name="T18" fmla="*/ 2147483647 w 112"/>
                <a:gd name="T19" fmla="*/ 2147483647 h 278"/>
                <a:gd name="T20" fmla="*/ 2147483647 w 112"/>
                <a:gd name="T21" fmla="*/ 2147483647 h 278"/>
                <a:gd name="T22" fmla="*/ 2147483647 w 112"/>
                <a:gd name="T23" fmla="*/ 2147483647 h 278"/>
                <a:gd name="T24" fmla="*/ 2147483647 w 112"/>
                <a:gd name="T25" fmla="*/ 2147483647 h 278"/>
                <a:gd name="T26" fmla="*/ 2147483647 w 112"/>
                <a:gd name="T27" fmla="*/ 2147483647 h 278"/>
                <a:gd name="T28" fmla="*/ 2147483647 w 112"/>
                <a:gd name="T29" fmla="*/ 2147483647 h 278"/>
                <a:gd name="T30" fmla="*/ 2147483647 w 112"/>
                <a:gd name="T31" fmla="*/ 2147483647 h 278"/>
                <a:gd name="T32" fmla="*/ 0 w 112"/>
                <a:gd name="T33" fmla="*/ 2147483647 h 27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2" h="278">
                  <a:moveTo>
                    <a:pt x="0" y="244"/>
                  </a:moveTo>
                  <a:lnTo>
                    <a:pt x="12" y="278"/>
                  </a:lnTo>
                  <a:lnTo>
                    <a:pt x="24" y="265"/>
                  </a:lnTo>
                  <a:lnTo>
                    <a:pt x="50" y="265"/>
                  </a:lnTo>
                  <a:lnTo>
                    <a:pt x="69" y="244"/>
                  </a:lnTo>
                  <a:lnTo>
                    <a:pt x="74" y="190"/>
                  </a:lnTo>
                  <a:lnTo>
                    <a:pt x="99" y="146"/>
                  </a:lnTo>
                  <a:lnTo>
                    <a:pt x="112" y="0"/>
                  </a:lnTo>
                  <a:lnTo>
                    <a:pt x="88" y="0"/>
                  </a:lnTo>
                  <a:lnTo>
                    <a:pt x="74" y="23"/>
                  </a:lnTo>
                  <a:lnTo>
                    <a:pt x="69" y="67"/>
                  </a:lnTo>
                  <a:lnTo>
                    <a:pt x="31" y="56"/>
                  </a:lnTo>
                  <a:lnTo>
                    <a:pt x="31" y="79"/>
                  </a:lnTo>
                  <a:lnTo>
                    <a:pt x="43" y="79"/>
                  </a:lnTo>
                  <a:lnTo>
                    <a:pt x="43" y="190"/>
                  </a:lnTo>
                  <a:lnTo>
                    <a:pt x="19" y="177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30" name="Freeform 896"/>
            <p:cNvSpPr>
              <a:spLocks/>
            </p:cNvSpPr>
            <p:nvPr>
              <p:custDataLst>
                <p:tags r:id="rId738"/>
              </p:custDataLst>
            </p:nvPr>
          </p:nvSpPr>
          <p:spPr bwMode="auto">
            <a:xfrm>
              <a:off x="6343841" y="4701745"/>
              <a:ext cx="206504" cy="222250"/>
            </a:xfrm>
            <a:custGeom>
              <a:avLst/>
              <a:gdLst>
                <a:gd name="T0" fmla="*/ 0 w 112"/>
                <a:gd name="T1" fmla="*/ 2147483647 h 278"/>
                <a:gd name="T2" fmla="*/ 2147483647 w 112"/>
                <a:gd name="T3" fmla="*/ 2147483647 h 278"/>
                <a:gd name="T4" fmla="*/ 2147483647 w 112"/>
                <a:gd name="T5" fmla="*/ 2147483647 h 278"/>
                <a:gd name="T6" fmla="*/ 2147483647 w 112"/>
                <a:gd name="T7" fmla="*/ 2147483647 h 278"/>
                <a:gd name="T8" fmla="*/ 2147483647 w 112"/>
                <a:gd name="T9" fmla="*/ 2147483647 h 278"/>
                <a:gd name="T10" fmla="*/ 2147483647 w 112"/>
                <a:gd name="T11" fmla="*/ 2147483647 h 278"/>
                <a:gd name="T12" fmla="*/ 2147483647 w 112"/>
                <a:gd name="T13" fmla="*/ 2147483647 h 278"/>
                <a:gd name="T14" fmla="*/ 2147483647 w 112"/>
                <a:gd name="T15" fmla="*/ 0 h 278"/>
                <a:gd name="T16" fmla="*/ 2147483647 w 112"/>
                <a:gd name="T17" fmla="*/ 0 h 278"/>
                <a:gd name="T18" fmla="*/ 2147483647 w 112"/>
                <a:gd name="T19" fmla="*/ 2147483647 h 278"/>
                <a:gd name="T20" fmla="*/ 2147483647 w 112"/>
                <a:gd name="T21" fmla="*/ 2147483647 h 278"/>
                <a:gd name="T22" fmla="*/ 2147483647 w 112"/>
                <a:gd name="T23" fmla="*/ 2147483647 h 278"/>
                <a:gd name="T24" fmla="*/ 2147483647 w 112"/>
                <a:gd name="T25" fmla="*/ 2147483647 h 278"/>
                <a:gd name="T26" fmla="*/ 2147483647 w 112"/>
                <a:gd name="T27" fmla="*/ 2147483647 h 278"/>
                <a:gd name="T28" fmla="*/ 2147483647 w 112"/>
                <a:gd name="T29" fmla="*/ 2147483647 h 278"/>
                <a:gd name="T30" fmla="*/ 2147483647 w 112"/>
                <a:gd name="T31" fmla="*/ 2147483647 h 278"/>
                <a:gd name="T32" fmla="*/ 0 w 112"/>
                <a:gd name="T33" fmla="*/ 2147483647 h 27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12" h="278">
                  <a:moveTo>
                    <a:pt x="0" y="244"/>
                  </a:moveTo>
                  <a:lnTo>
                    <a:pt x="12" y="278"/>
                  </a:lnTo>
                  <a:lnTo>
                    <a:pt x="24" y="265"/>
                  </a:lnTo>
                  <a:lnTo>
                    <a:pt x="50" y="265"/>
                  </a:lnTo>
                  <a:lnTo>
                    <a:pt x="69" y="244"/>
                  </a:lnTo>
                  <a:lnTo>
                    <a:pt x="74" y="190"/>
                  </a:lnTo>
                  <a:lnTo>
                    <a:pt x="99" y="146"/>
                  </a:lnTo>
                  <a:lnTo>
                    <a:pt x="112" y="0"/>
                  </a:lnTo>
                  <a:lnTo>
                    <a:pt x="88" y="0"/>
                  </a:lnTo>
                  <a:lnTo>
                    <a:pt x="74" y="23"/>
                  </a:lnTo>
                  <a:lnTo>
                    <a:pt x="69" y="67"/>
                  </a:lnTo>
                  <a:lnTo>
                    <a:pt x="31" y="56"/>
                  </a:lnTo>
                  <a:lnTo>
                    <a:pt x="31" y="79"/>
                  </a:lnTo>
                  <a:lnTo>
                    <a:pt x="43" y="79"/>
                  </a:lnTo>
                  <a:lnTo>
                    <a:pt x="43" y="190"/>
                  </a:lnTo>
                  <a:lnTo>
                    <a:pt x="19" y="177"/>
                  </a:lnTo>
                  <a:lnTo>
                    <a:pt x="0" y="2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31" name="Freeform 897"/>
            <p:cNvSpPr>
              <a:spLocks/>
            </p:cNvSpPr>
            <p:nvPr>
              <p:custDataLst>
                <p:tags r:id="rId739"/>
              </p:custDataLst>
            </p:nvPr>
          </p:nvSpPr>
          <p:spPr bwMode="auto">
            <a:xfrm>
              <a:off x="6377928" y="4665233"/>
              <a:ext cx="529293" cy="468312"/>
            </a:xfrm>
            <a:custGeom>
              <a:avLst/>
              <a:gdLst>
                <a:gd name="T0" fmla="*/ 0 w 286"/>
                <a:gd name="T1" fmla="*/ 2147483647 h 589"/>
                <a:gd name="T2" fmla="*/ 0 w 286"/>
                <a:gd name="T3" fmla="*/ 2147483647 h 589"/>
                <a:gd name="T4" fmla="*/ 2147483647 w 286"/>
                <a:gd name="T5" fmla="*/ 2147483647 h 589"/>
                <a:gd name="T6" fmla="*/ 2147483647 w 286"/>
                <a:gd name="T7" fmla="*/ 2147483647 h 589"/>
                <a:gd name="T8" fmla="*/ 2147483647 w 286"/>
                <a:gd name="T9" fmla="*/ 2147483647 h 589"/>
                <a:gd name="T10" fmla="*/ 2147483647 w 286"/>
                <a:gd name="T11" fmla="*/ 2147483647 h 589"/>
                <a:gd name="T12" fmla="*/ 2147483647 w 286"/>
                <a:gd name="T13" fmla="*/ 2147483647 h 589"/>
                <a:gd name="T14" fmla="*/ 2147483647 w 286"/>
                <a:gd name="T15" fmla="*/ 2147483647 h 589"/>
                <a:gd name="T16" fmla="*/ 2147483647 w 286"/>
                <a:gd name="T17" fmla="*/ 2147483647 h 589"/>
                <a:gd name="T18" fmla="*/ 2147483647 w 286"/>
                <a:gd name="T19" fmla="*/ 2147483647 h 589"/>
                <a:gd name="T20" fmla="*/ 2147483647 w 286"/>
                <a:gd name="T21" fmla="*/ 2147483647 h 589"/>
                <a:gd name="T22" fmla="*/ 2147483647 w 286"/>
                <a:gd name="T23" fmla="*/ 2147483647 h 589"/>
                <a:gd name="T24" fmla="*/ 2147483647 w 286"/>
                <a:gd name="T25" fmla="*/ 2147483647 h 589"/>
                <a:gd name="T26" fmla="*/ 2147483647 w 286"/>
                <a:gd name="T27" fmla="*/ 2147483647 h 589"/>
                <a:gd name="T28" fmla="*/ 2147483647 w 286"/>
                <a:gd name="T29" fmla="*/ 2147483647 h 589"/>
                <a:gd name="T30" fmla="*/ 2147483647 w 286"/>
                <a:gd name="T31" fmla="*/ 2147483647 h 589"/>
                <a:gd name="T32" fmla="*/ 2147483647 w 286"/>
                <a:gd name="T33" fmla="*/ 2147483647 h 589"/>
                <a:gd name="T34" fmla="*/ 2147483647 w 286"/>
                <a:gd name="T35" fmla="*/ 2147483647 h 589"/>
                <a:gd name="T36" fmla="*/ 2147483647 w 286"/>
                <a:gd name="T37" fmla="*/ 2147483647 h 589"/>
                <a:gd name="T38" fmla="*/ 2147483647 w 286"/>
                <a:gd name="T39" fmla="*/ 2147483647 h 589"/>
                <a:gd name="T40" fmla="*/ 2147483647 w 286"/>
                <a:gd name="T41" fmla="*/ 2147483647 h 589"/>
                <a:gd name="T42" fmla="*/ 2147483647 w 286"/>
                <a:gd name="T43" fmla="*/ 2147483647 h 589"/>
                <a:gd name="T44" fmla="*/ 2147483647 w 286"/>
                <a:gd name="T45" fmla="*/ 0 h 589"/>
                <a:gd name="T46" fmla="*/ 2147483647 w 286"/>
                <a:gd name="T47" fmla="*/ 2147483647 h 589"/>
                <a:gd name="T48" fmla="*/ 2147483647 w 286"/>
                <a:gd name="T49" fmla="*/ 0 h 589"/>
                <a:gd name="T50" fmla="*/ 2147483647 w 286"/>
                <a:gd name="T51" fmla="*/ 2147483647 h 589"/>
                <a:gd name="T52" fmla="*/ 2147483647 w 286"/>
                <a:gd name="T53" fmla="*/ 2147483647 h 589"/>
                <a:gd name="T54" fmla="*/ 2147483647 w 286"/>
                <a:gd name="T55" fmla="*/ 2147483647 h 589"/>
                <a:gd name="T56" fmla="*/ 2147483647 w 286"/>
                <a:gd name="T57" fmla="*/ 2147483647 h 589"/>
                <a:gd name="T58" fmla="*/ 2147483647 w 286"/>
                <a:gd name="T59" fmla="*/ 2147483647 h 589"/>
                <a:gd name="T60" fmla="*/ 2147483647 w 286"/>
                <a:gd name="T61" fmla="*/ 2147483647 h 589"/>
                <a:gd name="T62" fmla="*/ 0 w 286"/>
                <a:gd name="T63" fmla="*/ 2147483647 h 58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86" h="589">
                  <a:moveTo>
                    <a:pt x="0" y="345"/>
                  </a:moveTo>
                  <a:lnTo>
                    <a:pt x="0" y="368"/>
                  </a:lnTo>
                  <a:lnTo>
                    <a:pt x="56" y="345"/>
                  </a:lnTo>
                  <a:lnTo>
                    <a:pt x="81" y="422"/>
                  </a:lnTo>
                  <a:lnTo>
                    <a:pt x="106" y="422"/>
                  </a:lnTo>
                  <a:lnTo>
                    <a:pt x="112" y="390"/>
                  </a:lnTo>
                  <a:lnTo>
                    <a:pt x="131" y="378"/>
                  </a:lnTo>
                  <a:lnTo>
                    <a:pt x="144" y="399"/>
                  </a:lnTo>
                  <a:lnTo>
                    <a:pt x="144" y="522"/>
                  </a:lnTo>
                  <a:lnTo>
                    <a:pt x="181" y="513"/>
                  </a:lnTo>
                  <a:lnTo>
                    <a:pt x="268" y="589"/>
                  </a:lnTo>
                  <a:lnTo>
                    <a:pt x="268" y="557"/>
                  </a:lnTo>
                  <a:lnTo>
                    <a:pt x="250" y="536"/>
                  </a:lnTo>
                  <a:lnTo>
                    <a:pt x="250" y="457"/>
                  </a:lnTo>
                  <a:lnTo>
                    <a:pt x="281" y="422"/>
                  </a:lnTo>
                  <a:lnTo>
                    <a:pt x="262" y="368"/>
                  </a:lnTo>
                  <a:lnTo>
                    <a:pt x="262" y="267"/>
                  </a:lnTo>
                  <a:lnTo>
                    <a:pt x="256" y="246"/>
                  </a:lnTo>
                  <a:lnTo>
                    <a:pt x="268" y="211"/>
                  </a:lnTo>
                  <a:lnTo>
                    <a:pt x="281" y="123"/>
                  </a:lnTo>
                  <a:lnTo>
                    <a:pt x="286" y="88"/>
                  </a:lnTo>
                  <a:lnTo>
                    <a:pt x="286" y="44"/>
                  </a:lnTo>
                  <a:lnTo>
                    <a:pt x="231" y="0"/>
                  </a:lnTo>
                  <a:lnTo>
                    <a:pt x="137" y="23"/>
                  </a:lnTo>
                  <a:lnTo>
                    <a:pt x="112" y="0"/>
                  </a:lnTo>
                  <a:lnTo>
                    <a:pt x="94" y="44"/>
                  </a:lnTo>
                  <a:lnTo>
                    <a:pt x="81" y="190"/>
                  </a:lnTo>
                  <a:lnTo>
                    <a:pt x="56" y="234"/>
                  </a:lnTo>
                  <a:lnTo>
                    <a:pt x="50" y="290"/>
                  </a:lnTo>
                  <a:lnTo>
                    <a:pt x="32" y="311"/>
                  </a:lnTo>
                  <a:lnTo>
                    <a:pt x="6" y="311"/>
                  </a:lnTo>
                  <a:lnTo>
                    <a:pt x="0" y="3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32" name="Freeform 898"/>
            <p:cNvSpPr>
              <a:spLocks/>
            </p:cNvSpPr>
            <p:nvPr>
              <p:custDataLst>
                <p:tags r:id="rId740"/>
              </p:custDataLst>
            </p:nvPr>
          </p:nvSpPr>
          <p:spPr bwMode="auto">
            <a:xfrm>
              <a:off x="6377928" y="4665233"/>
              <a:ext cx="529293" cy="468312"/>
            </a:xfrm>
            <a:custGeom>
              <a:avLst/>
              <a:gdLst>
                <a:gd name="T0" fmla="*/ 0 w 286"/>
                <a:gd name="T1" fmla="*/ 2147483647 h 589"/>
                <a:gd name="T2" fmla="*/ 0 w 286"/>
                <a:gd name="T3" fmla="*/ 2147483647 h 589"/>
                <a:gd name="T4" fmla="*/ 2147483647 w 286"/>
                <a:gd name="T5" fmla="*/ 2147483647 h 589"/>
                <a:gd name="T6" fmla="*/ 2147483647 w 286"/>
                <a:gd name="T7" fmla="*/ 2147483647 h 589"/>
                <a:gd name="T8" fmla="*/ 2147483647 w 286"/>
                <a:gd name="T9" fmla="*/ 2147483647 h 589"/>
                <a:gd name="T10" fmla="*/ 2147483647 w 286"/>
                <a:gd name="T11" fmla="*/ 2147483647 h 589"/>
                <a:gd name="T12" fmla="*/ 2147483647 w 286"/>
                <a:gd name="T13" fmla="*/ 2147483647 h 589"/>
                <a:gd name="T14" fmla="*/ 2147483647 w 286"/>
                <a:gd name="T15" fmla="*/ 2147483647 h 589"/>
                <a:gd name="T16" fmla="*/ 2147483647 w 286"/>
                <a:gd name="T17" fmla="*/ 2147483647 h 589"/>
                <a:gd name="T18" fmla="*/ 2147483647 w 286"/>
                <a:gd name="T19" fmla="*/ 2147483647 h 589"/>
                <a:gd name="T20" fmla="*/ 2147483647 w 286"/>
                <a:gd name="T21" fmla="*/ 2147483647 h 589"/>
                <a:gd name="T22" fmla="*/ 2147483647 w 286"/>
                <a:gd name="T23" fmla="*/ 2147483647 h 589"/>
                <a:gd name="T24" fmla="*/ 2147483647 w 286"/>
                <a:gd name="T25" fmla="*/ 2147483647 h 589"/>
                <a:gd name="T26" fmla="*/ 2147483647 w 286"/>
                <a:gd name="T27" fmla="*/ 2147483647 h 589"/>
                <a:gd name="T28" fmla="*/ 2147483647 w 286"/>
                <a:gd name="T29" fmla="*/ 2147483647 h 589"/>
                <a:gd name="T30" fmla="*/ 2147483647 w 286"/>
                <a:gd name="T31" fmla="*/ 2147483647 h 589"/>
                <a:gd name="T32" fmla="*/ 2147483647 w 286"/>
                <a:gd name="T33" fmla="*/ 2147483647 h 589"/>
                <a:gd name="T34" fmla="*/ 2147483647 w 286"/>
                <a:gd name="T35" fmla="*/ 2147483647 h 589"/>
                <a:gd name="T36" fmla="*/ 2147483647 w 286"/>
                <a:gd name="T37" fmla="*/ 2147483647 h 589"/>
                <a:gd name="T38" fmla="*/ 2147483647 w 286"/>
                <a:gd name="T39" fmla="*/ 2147483647 h 589"/>
                <a:gd name="T40" fmla="*/ 2147483647 w 286"/>
                <a:gd name="T41" fmla="*/ 2147483647 h 589"/>
                <a:gd name="T42" fmla="*/ 2147483647 w 286"/>
                <a:gd name="T43" fmla="*/ 2147483647 h 589"/>
                <a:gd name="T44" fmla="*/ 2147483647 w 286"/>
                <a:gd name="T45" fmla="*/ 0 h 589"/>
                <a:gd name="T46" fmla="*/ 2147483647 w 286"/>
                <a:gd name="T47" fmla="*/ 2147483647 h 589"/>
                <a:gd name="T48" fmla="*/ 2147483647 w 286"/>
                <a:gd name="T49" fmla="*/ 0 h 589"/>
                <a:gd name="T50" fmla="*/ 2147483647 w 286"/>
                <a:gd name="T51" fmla="*/ 2147483647 h 589"/>
                <a:gd name="T52" fmla="*/ 2147483647 w 286"/>
                <a:gd name="T53" fmla="*/ 2147483647 h 589"/>
                <a:gd name="T54" fmla="*/ 2147483647 w 286"/>
                <a:gd name="T55" fmla="*/ 2147483647 h 589"/>
                <a:gd name="T56" fmla="*/ 2147483647 w 286"/>
                <a:gd name="T57" fmla="*/ 2147483647 h 589"/>
                <a:gd name="T58" fmla="*/ 2147483647 w 286"/>
                <a:gd name="T59" fmla="*/ 2147483647 h 589"/>
                <a:gd name="T60" fmla="*/ 2147483647 w 286"/>
                <a:gd name="T61" fmla="*/ 2147483647 h 589"/>
                <a:gd name="T62" fmla="*/ 0 w 286"/>
                <a:gd name="T63" fmla="*/ 2147483647 h 58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86" h="589">
                  <a:moveTo>
                    <a:pt x="0" y="345"/>
                  </a:moveTo>
                  <a:lnTo>
                    <a:pt x="0" y="368"/>
                  </a:lnTo>
                  <a:lnTo>
                    <a:pt x="56" y="345"/>
                  </a:lnTo>
                  <a:lnTo>
                    <a:pt x="81" y="422"/>
                  </a:lnTo>
                  <a:lnTo>
                    <a:pt x="106" y="422"/>
                  </a:lnTo>
                  <a:lnTo>
                    <a:pt x="112" y="390"/>
                  </a:lnTo>
                  <a:lnTo>
                    <a:pt x="131" y="378"/>
                  </a:lnTo>
                  <a:lnTo>
                    <a:pt x="144" y="399"/>
                  </a:lnTo>
                  <a:lnTo>
                    <a:pt x="144" y="522"/>
                  </a:lnTo>
                  <a:lnTo>
                    <a:pt x="181" y="513"/>
                  </a:lnTo>
                  <a:lnTo>
                    <a:pt x="268" y="589"/>
                  </a:lnTo>
                  <a:lnTo>
                    <a:pt x="268" y="557"/>
                  </a:lnTo>
                  <a:lnTo>
                    <a:pt x="250" y="536"/>
                  </a:lnTo>
                  <a:lnTo>
                    <a:pt x="250" y="457"/>
                  </a:lnTo>
                  <a:lnTo>
                    <a:pt x="281" y="422"/>
                  </a:lnTo>
                  <a:lnTo>
                    <a:pt x="262" y="368"/>
                  </a:lnTo>
                  <a:lnTo>
                    <a:pt x="262" y="267"/>
                  </a:lnTo>
                  <a:lnTo>
                    <a:pt x="256" y="246"/>
                  </a:lnTo>
                  <a:lnTo>
                    <a:pt x="268" y="211"/>
                  </a:lnTo>
                  <a:lnTo>
                    <a:pt x="281" y="123"/>
                  </a:lnTo>
                  <a:lnTo>
                    <a:pt x="286" y="88"/>
                  </a:lnTo>
                  <a:lnTo>
                    <a:pt x="286" y="44"/>
                  </a:lnTo>
                  <a:lnTo>
                    <a:pt x="231" y="0"/>
                  </a:lnTo>
                  <a:lnTo>
                    <a:pt x="137" y="23"/>
                  </a:lnTo>
                  <a:lnTo>
                    <a:pt x="112" y="0"/>
                  </a:lnTo>
                  <a:lnTo>
                    <a:pt x="94" y="44"/>
                  </a:lnTo>
                  <a:lnTo>
                    <a:pt x="81" y="190"/>
                  </a:lnTo>
                  <a:lnTo>
                    <a:pt x="56" y="234"/>
                  </a:lnTo>
                  <a:lnTo>
                    <a:pt x="50" y="290"/>
                  </a:lnTo>
                  <a:lnTo>
                    <a:pt x="32" y="311"/>
                  </a:lnTo>
                  <a:lnTo>
                    <a:pt x="6" y="311"/>
                  </a:lnTo>
                  <a:lnTo>
                    <a:pt x="0" y="34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33" name="Freeform 899"/>
            <p:cNvSpPr>
              <a:spLocks/>
            </p:cNvSpPr>
            <p:nvPr>
              <p:custDataLst>
                <p:tags r:id="rId741"/>
              </p:custDataLst>
            </p:nvPr>
          </p:nvSpPr>
          <p:spPr bwMode="auto">
            <a:xfrm>
              <a:off x="6377928" y="4665233"/>
              <a:ext cx="529293" cy="468312"/>
            </a:xfrm>
            <a:custGeom>
              <a:avLst/>
              <a:gdLst>
                <a:gd name="T0" fmla="*/ 0 w 286"/>
                <a:gd name="T1" fmla="*/ 2147483647 h 589"/>
                <a:gd name="T2" fmla="*/ 0 w 286"/>
                <a:gd name="T3" fmla="*/ 2147483647 h 589"/>
                <a:gd name="T4" fmla="*/ 2147483647 w 286"/>
                <a:gd name="T5" fmla="*/ 2147483647 h 589"/>
                <a:gd name="T6" fmla="*/ 2147483647 w 286"/>
                <a:gd name="T7" fmla="*/ 2147483647 h 589"/>
                <a:gd name="T8" fmla="*/ 2147483647 w 286"/>
                <a:gd name="T9" fmla="*/ 2147483647 h 589"/>
                <a:gd name="T10" fmla="*/ 2147483647 w 286"/>
                <a:gd name="T11" fmla="*/ 2147483647 h 589"/>
                <a:gd name="T12" fmla="*/ 2147483647 w 286"/>
                <a:gd name="T13" fmla="*/ 2147483647 h 589"/>
                <a:gd name="T14" fmla="*/ 2147483647 w 286"/>
                <a:gd name="T15" fmla="*/ 2147483647 h 589"/>
                <a:gd name="T16" fmla="*/ 2147483647 w 286"/>
                <a:gd name="T17" fmla="*/ 2147483647 h 589"/>
                <a:gd name="T18" fmla="*/ 2147483647 w 286"/>
                <a:gd name="T19" fmla="*/ 2147483647 h 589"/>
                <a:gd name="T20" fmla="*/ 2147483647 w 286"/>
                <a:gd name="T21" fmla="*/ 2147483647 h 589"/>
                <a:gd name="T22" fmla="*/ 2147483647 w 286"/>
                <a:gd name="T23" fmla="*/ 2147483647 h 589"/>
                <a:gd name="T24" fmla="*/ 2147483647 w 286"/>
                <a:gd name="T25" fmla="*/ 2147483647 h 589"/>
                <a:gd name="T26" fmla="*/ 2147483647 w 286"/>
                <a:gd name="T27" fmla="*/ 2147483647 h 589"/>
                <a:gd name="T28" fmla="*/ 2147483647 w 286"/>
                <a:gd name="T29" fmla="*/ 2147483647 h 589"/>
                <a:gd name="T30" fmla="*/ 2147483647 w 286"/>
                <a:gd name="T31" fmla="*/ 2147483647 h 589"/>
                <a:gd name="T32" fmla="*/ 2147483647 w 286"/>
                <a:gd name="T33" fmla="*/ 2147483647 h 589"/>
                <a:gd name="T34" fmla="*/ 2147483647 w 286"/>
                <a:gd name="T35" fmla="*/ 2147483647 h 589"/>
                <a:gd name="T36" fmla="*/ 2147483647 w 286"/>
                <a:gd name="T37" fmla="*/ 2147483647 h 589"/>
                <a:gd name="T38" fmla="*/ 2147483647 w 286"/>
                <a:gd name="T39" fmla="*/ 2147483647 h 589"/>
                <a:gd name="T40" fmla="*/ 2147483647 w 286"/>
                <a:gd name="T41" fmla="*/ 2147483647 h 589"/>
                <a:gd name="T42" fmla="*/ 2147483647 w 286"/>
                <a:gd name="T43" fmla="*/ 2147483647 h 589"/>
                <a:gd name="T44" fmla="*/ 2147483647 w 286"/>
                <a:gd name="T45" fmla="*/ 0 h 589"/>
                <a:gd name="T46" fmla="*/ 2147483647 w 286"/>
                <a:gd name="T47" fmla="*/ 2147483647 h 589"/>
                <a:gd name="T48" fmla="*/ 2147483647 w 286"/>
                <a:gd name="T49" fmla="*/ 0 h 589"/>
                <a:gd name="T50" fmla="*/ 2147483647 w 286"/>
                <a:gd name="T51" fmla="*/ 2147483647 h 589"/>
                <a:gd name="T52" fmla="*/ 2147483647 w 286"/>
                <a:gd name="T53" fmla="*/ 2147483647 h 589"/>
                <a:gd name="T54" fmla="*/ 2147483647 w 286"/>
                <a:gd name="T55" fmla="*/ 2147483647 h 589"/>
                <a:gd name="T56" fmla="*/ 2147483647 w 286"/>
                <a:gd name="T57" fmla="*/ 2147483647 h 589"/>
                <a:gd name="T58" fmla="*/ 2147483647 w 286"/>
                <a:gd name="T59" fmla="*/ 2147483647 h 589"/>
                <a:gd name="T60" fmla="*/ 2147483647 w 286"/>
                <a:gd name="T61" fmla="*/ 2147483647 h 589"/>
                <a:gd name="T62" fmla="*/ 0 w 286"/>
                <a:gd name="T63" fmla="*/ 2147483647 h 58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86" h="589">
                  <a:moveTo>
                    <a:pt x="0" y="345"/>
                  </a:moveTo>
                  <a:lnTo>
                    <a:pt x="0" y="368"/>
                  </a:lnTo>
                  <a:lnTo>
                    <a:pt x="56" y="345"/>
                  </a:lnTo>
                  <a:lnTo>
                    <a:pt x="81" y="422"/>
                  </a:lnTo>
                  <a:lnTo>
                    <a:pt x="106" y="422"/>
                  </a:lnTo>
                  <a:lnTo>
                    <a:pt x="112" y="390"/>
                  </a:lnTo>
                  <a:lnTo>
                    <a:pt x="131" y="378"/>
                  </a:lnTo>
                  <a:lnTo>
                    <a:pt x="144" y="399"/>
                  </a:lnTo>
                  <a:lnTo>
                    <a:pt x="144" y="522"/>
                  </a:lnTo>
                  <a:lnTo>
                    <a:pt x="181" y="513"/>
                  </a:lnTo>
                  <a:lnTo>
                    <a:pt x="268" y="589"/>
                  </a:lnTo>
                  <a:lnTo>
                    <a:pt x="268" y="557"/>
                  </a:lnTo>
                  <a:lnTo>
                    <a:pt x="250" y="536"/>
                  </a:lnTo>
                  <a:lnTo>
                    <a:pt x="250" y="457"/>
                  </a:lnTo>
                  <a:lnTo>
                    <a:pt x="281" y="422"/>
                  </a:lnTo>
                  <a:lnTo>
                    <a:pt x="262" y="368"/>
                  </a:lnTo>
                  <a:lnTo>
                    <a:pt x="262" y="267"/>
                  </a:lnTo>
                  <a:lnTo>
                    <a:pt x="256" y="246"/>
                  </a:lnTo>
                  <a:lnTo>
                    <a:pt x="268" y="211"/>
                  </a:lnTo>
                  <a:lnTo>
                    <a:pt x="281" y="123"/>
                  </a:lnTo>
                  <a:lnTo>
                    <a:pt x="286" y="88"/>
                  </a:lnTo>
                  <a:lnTo>
                    <a:pt x="286" y="44"/>
                  </a:lnTo>
                  <a:lnTo>
                    <a:pt x="231" y="0"/>
                  </a:lnTo>
                  <a:lnTo>
                    <a:pt x="137" y="23"/>
                  </a:lnTo>
                  <a:lnTo>
                    <a:pt x="112" y="0"/>
                  </a:lnTo>
                  <a:lnTo>
                    <a:pt x="94" y="44"/>
                  </a:lnTo>
                  <a:lnTo>
                    <a:pt x="81" y="190"/>
                  </a:lnTo>
                  <a:lnTo>
                    <a:pt x="56" y="234"/>
                  </a:lnTo>
                  <a:lnTo>
                    <a:pt x="50" y="290"/>
                  </a:lnTo>
                  <a:lnTo>
                    <a:pt x="32" y="311"/>
                  </a:lnTo>
                  <a:lnTo>
                    <a:pt x="6" y="311"/>
                  </a:lnTo>
                  <a:lnTo>
                    <a:pt x="0" y="3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34" name="Freeform 900"/>
            <p:cNvSpPr>
              <a:spLocks/>
            </p:cNvSpPr>
            <p:nvPr>
              <p:custDataLst>
                <p:tags r:id="rId742"/>
              </p:custDataLst>
            </p:nvPr>
          </p:nvSpPr>
          <p:spPr bwMode="auto">
            <a:xfrm>
              <a:off x="6377928" y="4665233"/>
              <a:ext cx="529293" cy="468312"/>
            </a:xfrm>
            <a:custGeom>
              <a:avLst/>
              <a:gdLst>
                <a:gd name="T0" fmla="*/ 0 w 286"/>
                <a:gd name="T1" fmla="*/ 2147483647 h 589"/>
                <a:gd name="T2" fmla="*/ 0 w 286"/>
                <a:gd name="T3" fmla="*/ 2147483647 h 589"/>
                <a:gd name="T4" fmla="*/ 2147483647 w 286"/>
                <a:gd name="T5" fmla="*/ 2147483647 h 589"/>
                <a:gd name="T6" fmla="*/ 2147483647 w 286"/>
                <a:gd name="T7" fmla="*/ 2147483647 h 589"/>
                <a:gd name="T8" fmla="*/ 2147483647 w 286"/>
                <a:gd name="T9" fmla="*/ 2147483647 h 589"/>
                <a:gd name="T10" fmla="*/ 2147483647 w 286"/>
                <a:gd name="T11" fmla="*/ 2147483647 h 589"/>
                <a:gd name="T12" fmla="*/ 2147483647 w 286"/>
                <a:gd name="T13" fmla="*/ 2147483647 h 589"/>
                <a:gd name="T14" fmla="*/ 2147483647 w 286"/>
                <a:gd name="T15" fmla="*/ 2147483647 h 589"/>
                <a:gd name="T16" fmla="*/ 2147483647 w 286"/>
                <a:gd name="T17" fmla="*/ 2147483647 h 589"/>
                <a:gd name="T18" fmla="*/ 2147483647 w 286"/>
                <a:gd name="T19" fmla="*/ 2147483647 h 589"/>
                <a:gd name="T20" fmla="*/ 2147483647 w 286"/>
                <a:gd name="T21" fmla="*/ 2147483647 h 589"/>
                <a:gd name="T22" fmla="*/ 2147483647 w 286"/>
                <a:gd name="T23" fmla="*/ 2147483647 h 589"/>
                <a:gd name="T24" fmla="*/ 2147483647 w 286"/>
                <a:gd name="T25" fmla="*/ 2147483647 h 589"/>
                <a:gd name="T26" fmla="*/ 2147483647 w 286"/>
                <a:gd name="T27" fmla="*/ 2147483647 h 589"/>
                <a:gd name="T28" fmla="*/ 2147483647 w 286"/>
                <a:gd name="T29" fmla="*/ 2147483647 h 589"/>
                <a:gd name="T30" fmla="*/ 2147483647 w 286"/>
                <a:gd name="T31" fmla="*/ 2147483647 h 589"/>
                <a:gd name="T32" fmla="*/ 2147483647 w 286"/>
                <a:gd name="T33" fmla="*/ 2147483647 h 589"/>
                <a:gd name="T34" fmla="*/ 2147483647 w 286"/>
                <a:gd name="T35" fmla="*/ 2147483647 h 589"/>
                <a:gd name="T36" fmla="*/ 2147483647 w 286"/>
                <a:gd name="T37" fmla="*/ 2147483647 h 589"/>
                <a:gd name="T38" fmla="*/ 2147483647 w 286"/>
                <a:gd name="T39" fmla="*/ 2147483647 h 589"/>
                <a:gd name="T40" fmla="*/ 2147483647 w 286"/>
                <a:gd name="T41" fmla="*/ 2147483647 h 589"/>
                <a:gd name="T42" fmla="*/ 2147483647 w 286"/>
                <a:gd name="T43" fmla="*/ 2147483647 h 589"/>
                <a:gd name="T44" fmla="*/ 2147483647 w 286"/>
                <a:gd name="T45" fmla="*/ 0 h 589"/>
                <a:gd name="T46" fmla="*/ 2147483647 w 286"/>
                <a:gd name="T47" fmla="*/ 2147483647 h 589"/>
                <a:gd name="T48" fmla="*/ 2147483647 w 286"/>
                <a:gd name="T49" fmla="*/ 0 h 589"/>
                <a:gd name="T50" fmla="*/ 2147483647 w 286"/>
                <a:gd name="T51" fmla="*/ 2147483647 h 589"/>
                <a:gd name="T52" fmla="*/ 2147483647 w 286"/>
                <a:gd name="T53" fmla="*/ 2147483647 h 589"/>
                <a:gd name="T54" fmla="*/ 2147483647 w 286"/>
                <a:gd name="T55" fmla="*/ 2147483647 h 589"/>
                <a:gd name="T56" fmla="*/ 2147483647 w 286"/>
                <a:gd name="T57" fmla="*/ 2147483647 h 589"/>
                <a:gd name="T58" fmla="*/ 2147483647 w 286"/>
                <a:gd name="T59" fmla="*/ 2147483647 h 589"/>
                <a:gd name="T60" fmla="*/ 2147483647 w 286"/>
                <a:gd name="T61" fmla="*/ 2147483647 h 589"/>
                <a:gd name="T62" fmla="*/ 0 w 286"/>
                <a:gd name="T63" fmla="*/ 2147483647 h 58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286" h="589">
                  <a:moveTo>
                    <a:pt x="0" y="345"/>
                  </a:moveTo>
                  <a:lnTo>
                    <a:pt x="0" y="368"/>
                  </a:lnTo>
                  <a:lnTo>
                    <a:pt x="56" y="345"/>
                  </a:lnTo>
                  <a:lnTo>
                    <a:pt x="81" y="422"/>
                  </a:lnTo>
                  <a:lnTo>
                    <a:pt x="106" y="422"/>
                  </a:lnTo>
                  <a:lnTo>
                    <a:pt x="112" y="390"/>
                  </a:lnTo>
                  <a:lnTo>
                    <a:pt x="131" y="378"/>
                  </a:lnTo>
                  <a:lnTo>
                    <a:pt x="144" y="399"/>
                  </a:lnTo>
                  <a:lnTo>
                    <a:pt x="144" y="522"/>
                  </a:lnTo>
                  <a:lnTo>
                    <a:pt x="181" y="513"/>
                  </a:lnTo>
                  <a:lnTo>
                    <a:pt x="268" y="589"/>
                  </a:lnTo>
                  <a:lnTo>
                    <a:pt x="268" y="557"/>
                  </a:lnTo>
                  <a:lnTo>
                    <a:pt x="250" y="536"/>
                  </a:lnTo>
                  <a:lnTo>
                    <a:pt x="250" y="457"/>
                  </a:lnTo>
                  <a:lnTo>
                    <a:pt x="281" y="422"/>
                  </a:lnTo>
                  <a:lnTo>
                    <a:pt x="262" y="368"/>
                  </a:lnTo>
                  <a:lnTo>
                    <a:pt x="262" y="267"/>
                  </a:lnTo>
                  <a:lnTo>
                    <a:pt x="256" y="246"/>
                  </a:lnTo>
                  <a:lnTo>
                    <a:pt x="268" y="211"/>
                  </a:lnTo>
                  <a:lnTo>
                    <a:pt x="281" y="123"/>
                  </a:lnTo>
                  <a:lnTo>
                    <a:pt x="286" y="88"/>
                  </a:lnTo>
                  <a:lnTo>
                    <a:pt x="286" y="44"/>
                  </a:lnTo>
                  <a:lnTo>
                    <a:pt x="231" y="0"/>
                  </a:lnTo>
                  <a:lnTo>
                    <a:pt x="137" y="23"/>
                  </a:lnTo>
                  <a:lnTo>
                    <a:pt x="112" y="0"/>
                  </a:lnTo>
                  <a:lnTo>
                    <a:pt x="94" y="44"/>
                  </a:lnTo>
                  <a:lnTo>
                    <a:pt x="81" y="190"/>
                  </a:lnTo>
                  <a:lnTo>
                    <a:pt x="56" y="234"/>
                  </a:lnTo>
                  <a:lnTo>
                    <a:pt x="50" y="290"/>
                  </a:lnTo>
                  <a:lnTo>
                    <a:pt x="32" y="311"/>
                  </a:lnTo>
                  <a:lnTo>
                    <a:pt x="6" y="311"/>
                  </a:lnTo>
                  <a:lnTo>
                    <a:pt x="0" y="34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35" name="Freeform 901"/>
            <p:cNvSpPr>
              <a:spLocks/>
            </p:cNvSpPr>
            <p:nvPr>
              <p:custDataLst>
                <p:tags r:id="rId743"/>
              </p:custDataLst>
            </p:nvPr>
          </p:nvSpPr>
          <p:spPr bwMode="auto">
            <a:xfrm>
              <a:off x="6943327" y="3854028"/>
              <a:ext cx="70172" cy="34925"/>
            </a:xfrm>
            <a:custGeom>
              <a:avLst/>
              <a:gdLst>
                <a:gd name="T0" fmla="*/ 0 w 38"/>
                <a:gd name="T1" fmla="*/ 2147483647 h 44"/>
                <a:gd name="T2" fmla="*/ 2147483647 w 38"/>
                <a:gd name="T3" fmla="*/ 2147483647 h 44"/>
                <a:gd name="T4" fmla="*/ 2147483647 w 38"/>
                <a:gd name="T5" fmla="*/ 0 h 44"/>
                <a:gd name="T6" fmla="*/ 0 w 3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8" h="44">
                  <a:moveTo>
                    <a:pt x="0" y="23"/>
                  </a:moveTo>
                  <a:lnTo>
                    <a:pt x="13" y="44"/>
                  </a:lnTo>
                  <a:lnTo>
                    <a:pt x="38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36" name="Freeform 902"/>
            <p:cNvSpPr>
              <a:spLocks/>
            </p:cNvSpPr>
            <p:nvPr>
              <p:custDataLst>
                <p:tags r:id="rId744"/>
              </p:custDataLst>
            </p:nvPr>
          </p:nvSpPr>
          <p:spPr bwMode="auto">
            <a:xfrm>
              <a:off x="6943327" y="3854028"/>
              <a:ext cx="70172" cy="34925"/>
            </a:xfrm>
            <a:custGeom>
              <a:avLst/>
              <a:gdLst>
                <a:gd name="T0" fmla="*/ 0 w 38"/>
                <a:gd name="T1" fmla="*/ 2147483647 h 44"/>
                <a:gd name="T2" fmla="*/ 2147483647 w 38"/>
                <a:gd name="T3" fmla="*/ 2147483647 h 44"/>
                <a:gd name="T4" fmla="*/ 2147483647 w 38"/>
                <a:gd name="T5" fmla="*/ 0 h 44"/>
                <a:gd name="T6" fmla="*/ 0 w 3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8" h="44">
                  <a:moveTo>
                    <a:pt x="0" y="23"/>
                  </a:moveTo>
                  <a:lnTo>
                    <a:pt x="13" y="44"/>
                  </a:lnTo>
                  <a:lnTo>
                    <a:pt x="38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37" name="Freeform 903"/>
            <p:cNvSpPr>
              <a:spLocks/>
            </p:cNvSpPr>
            <p:nvPr>
              <p:custDataLst>
                <p:tags r:id="rId745"/>
              </p:custDataLst>
            </p:nvPr>
          </p:nvSpPr>
          <p:spPr bwMode="auto">
            <a:xfrm>
              <a:off x="6943327" y="3854028"/>
              <a:ext cx="70172" cy="34925"/>
            </a:xfrm>
            <a:custGeom>
              <a:avLst/>
              <a:gdLst>
                <a:gd name="T0" fmla="*/ 0 w 38"/>
                <a:gd name="T1" fmla="*/ 2147483647 h 44"/>
                <a:gd name="T2" fmla="*/ 2147483647 w 38"/>
                <a:gd name="T3" fmla="*/ 2147483647 h 44"/>
                <a:gd name="T4" fmla="*/ 2147483647 w 38"/>
                <a:gd name="T5" fmla="*/ 0 h 44"/>
                <a:gd name="T6" fmla="*/ 0 w 3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8" h="44">
                  <a:moveTo>
                    <a:pt x="0" y="23"/>
                  </a:moveTo>
                  <a:lnTo>
                    <a:pt x="13" y="44"/>
                  </a:lnTo>
                  <a:lnTo>
                    <a:pt x="38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38" name="Freeform 904"/>
            <p:cNvSpPr>
              <a:spLocks/>
            </p:cNvSpPr>
            <p:nvPr>
              <p:custDataLst>
                <p:tags r:id="rId746"/>
              </p:custDataLst>
            </p:nvPr>
          </p:nvSpPr>
          <p:spPr bwMode="auto">
            <a:xfrm>
              <a:off x="6943327" y="3854028"/>
              <a:ext cx="70172" cy="34925"/>
            </a:xfrm>
            <a:custGeom>
              <a:avLst/>
              <a:gdLst>
                <a:gd name="T0" fmla="*/ 0 w 38"/>
                <a:gd name="T1" fmla="*/ 2147483647 h 44"/>
                <a:gd name="T2" fmla="*/ 2147483647 w 38"/>
                <a:gd name="T3" fmla="*/ 2147483647 h 44"/>
                <a:gd name="T4" fmla="*/ 2147483647 w 38"/>
                <a:gd name="T5" fmla="*/ 0 h 44"/>
                <a:gd name="T6" fmla="*/ 0 w 38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8" h="44">
                  <a:moveTo>
                    <a:pt x="0" y="23"/>
                  </a:moveTo>
                  <a:lnTo>
                    <a:pt x="13" y="44"/>
                  </a:lnTo>
                  <a:lnTo>
                    <a:pt x="38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39" name="Freeform 905"/>
            <p:cNvSpPr>
              <a:spLocks/>
            </p:cNvSpPr>
            <p:nvPr>
              <p:custDataLst>
                <p:tags r:id="rId747"/>
              </p:custDataLst>
            </p:nvPr>
          </p:nvSpPr>
          <p:spPr bwMode="auto">
            <a:xfrm>
              <a:off x="6041101" y="4481083"/>
              <a:ext cx="80196" cy="157162"/>
            </a:xfrm>
            <a:custGeom>
              <a:avLst/>
              <a:gdLst>
                <a:gd name="T0" fmla="*/ 0 w 44"/>
                <a:gd name="T1" fmla="*/ 2147483647 h 198"/>
                <a:gd name="T2" fmla="*/ 2147483647 w 44"/>
                <a:gd name="T3" fmla="*/ 2147483647 h 198"/>
                <a:gd name="T4" fmla="*/ 2147483647 w 44"/>
                <a:gd name="T5" fmla="*/ 2147483647 h 198"/>
                <a:gd name="T6" fmla="*/ 2147483647 w 44"/>
                <a:gd name="T7" fmla="*/ 2147483647 h 198"/>
                <a:gd name="T8" fmla="*/ 2147483647 w 44"/>
                <a:gd name="T9" fmla="*/ 0 h 198"/>
                <a:gd name="T10" fmla="*/ 2147483647 w 44"/>
                <a:gd name="T11" fmla="*/ 2147483647 h 198"/>
                <a:gd name="T12" fmla="*/ 0 w 44"/>
                <a:gd name="T13" fmla="*/ 2147483647 h 1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198">
                  <a:moveTo>
                    <a:pt x="0" y="45"/>
                  </a:moveTo>
                  <a:lnTo>
                    <a:pt x="19" y="198"/>
                  </a:lnTo>
                  <a:lnTo>
                    <a:pt x="32" y="198"/>
                  </a:lnTo>
                  <a:lnTo>
                    <a:pt x="44" y="21"/>
                  </a:lnTo>
                  <a:lnTo>
                    <a:pt x="32" y="0"/>
                  </a:lnTo>
                  <a:lnTo>
                    <a:pt x="25" y="12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40" name="Freeform 906"/>
            <p:cNvSpPr>
              <a:spLocks/>
            </p:cNvSpPr>
            <p:nvPr>
              <p:custDataLst>
                <p:tags r:id="rId748"/>
              </p:custDataLst>
            </p:nvPr>
          </p:nvSpPr>
          <p:spPr bwMode="auto">
            <a:xfrm>
              <a:off x="6041101" y="4481083"/>
              <a:ext cx="80196" cy="157162"/>
            </a:xfrm>
            <a:custGeom>
              <a:avLst/>
              <a:gdLst>
                <a:gd name="T0" fmla="*/ 0 w 44"/>
                <a:gd name="T1" fmla="*/ 2147483647 h 198"/>
                <a:gd name="T2" fmla="*/ 2147483647 w 44"/>
                <a:gd name="T3" fmla="*/ 2147483647 h 198"/>
                <a:gd name="T4" fmla="*/ 2147483647 w 44"/>
                <a:gd name="T5" fmla="*/ 2147483647 h 198"/>
                <a:gd name="T6" fmla="*/ 2147483647 w 44"/>
                <a:gd name="T7" fmla="*/ 2147483647 h 198"/>
                <a:gd name="T8" fmla="*/ 2147483647 w 44"/>
                <a:gd name="T9" fmla="*/ 0 h 198"/>
                <a:gd name="T10" fmla="*/ 2147483647 w 44"/>
                <a:gd name="T11" fmla="*/ 2147483647 h 198"/>
                <a:gd name="T12" fmla="*/ 0 w 44"/>
                <a:gd name="T13" fmla="*/ 2147483647 h 1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198">
                  <a:moveTo>
                    <a:pt x="0" y="45"/>
                  </a:moveTo>
                  <a:lnTo>
                    <a:pt x="19" y="198"/>
                  </a:lnTo>
                  <a:lnTo>
                    <a:pt x="32" y="198"/>
                  </a:lnTo>
                  <a:lnTo>
                    <a:pt x="44" y="21"/>
                  </a:lnTo>
                  <a:lnTo>
                    <a:pt x="32" y="0"/>
                  </a:lnTo>
                  <a:lnTo>
                    <a:pt x="25" y="12"/>
                  </a:lnTo>
                  <a:lnTo>
                    <a:pt x="0" y="4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41" name="Freeform 907"/>
            <p:cNvSpPr>
              <a:spLocks/>
            </p:cNvSpPr>
            <p:nvPr>
              <p:custDataLst>
                <p:tags r:id="rId749"/>
              </p:custDataLst>
            </p:nvPr>
          </p:nvSpPr>
          <p:spPr bwMode="auto">
            <a:xfrm>
              <a:off x="6041101" y="4481083"/>
              <a:ext cx="80196" cy="157162"/>
            </a:xfrm>
            <a:custGeom>
              <a:avLst/>
              <a:gdLst>
                <a:gd name="T0" fmla="*/ 0 w 44"/>
                <a:gd name="T1" fmla="*/ 2147483647 h 198"/>
                <a:gd name="T2" fmla="*/ 2147483647 w 44"/>
                <a:gd name="T3" fmla="*/ 2147483647 h 198"/>
                <a:gd name="T4" fmla="*/ 2147483647 w 44"/>
                <a:gd name="T5" fmla="*/ 2147483647 h 198"/>
                <a:gd name="T6" fmla="*/ 2147483647 w 44"/>
                <a:gd name="T7" fmla="*/ 2147483647 h 198"/>
                <a:gd name="T8" fmla="*/ 2147483647 w 44"/>
                <a:gd name="T9" fmla="*/ 0 h 198"/>
                <a:gd name="T10" fmla="*/ 2147483647 w 44"/>
                <a:gd name="T11" fmla="*/ 2147483647 h 198"/>
                <a:gd name="T12" fmla="*/ 0 w 44"/>
                <a:gd name="T13" fmla="*/ 2147483647 h 1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198">
                  <a:moveTo>
                    <a:pt x="0" y="45"/>
                  </a:moveTo>
                  <a:lnTo>
                    <a:pt x="19" y="198"/>
                  </a:lnTo>
                  <a:lnTo>
                    <a:pt x="32" y="198"/>
                  </a:lnTo>
                  <a:lnTo>
                    <a:pt x="44" y="21"/>
                  </a:lnTo>
                  <a:lnTo>
                    <a:pt x="32" y="0"/>
                  </a:lnTo>
                  <a:lnTo>
                    <a:pt x="25" y="12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42" name="Freeform 908"/>
            <p:cNvSpPr>
              <a:spLocks/>
            </p:cNvSpPr>
            <p:nvPr>
              <p:custDataLst>
                <p:tags r:id="rId750"/>
              </p:custDataLst>
            </p:nvPr>
          </p:nvSpPr>
          <p:spPr bwMode="auto">
            <a:xfrm>
              <a:off x="6041101" y="4481083"/>
              <a:ext cx="80196" cy="157162"/>
            </a:xfrm>
            <a:custGeom>
              <a:avLst/>
              <a:gdLst>
                <a:gd name="T0" fmla="*/ 0 w 44"/>
                <a:gd name="T1" fmla="*/ 2147483647 h 198"/>
                <a:gd name="T2" fmla="*/ 2147483647 w 44"/>
                <a:gd name="T3" fmla="*/ 2147483647 h 198"/>
                <a:gd name="T4" fmla="*/ 2147483647 w 44"/>
                <a:gd name="T5" fmla="*/ 2147483647 h 198"/>
                <a:gd name="T6" fmla="*/ 2147483647 w 44"/>
                <a:gd name="T7" fmla="*/ 2147483647 h 198"/>
                <a:gd name="T8" fmla="*/ 2147483647 w 44"/>
                <a:gd name="T9" fmla="*/ 0 h 198"/>
                <a:gd name="T10" fmla="*/ 2147483647 w 44"/>
                <a:gd name="T11" fmla="*/ 2147483647 h 198"/>
                <a:gd name="T12" fmla="*/ 0 w 44"/>
                <a:gd name="T13" fmla="*/ 2147483647 h 19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198">
                  <a:moveTo>
                    <a:pt x="0" y="45"/>
                  </a:moveTo>
                  <a:lnTo>
                    <a:pt x="19" y="198"/>
                  </a:lnTo>
                  <a:lnTo>
                    <a:pt x="32" y="198"/>
                  </a:lnTo>
                  <a:lnTo>
                    <a:pt x="44" y="21"/>
                  </a:lnTo>
                  <a:lnTo>
                    <a:pt x="32" y="0"/>
                  </a:lnTo>
                  <a:lnTo>
                    <a:pt x="25" y="12"/>
                  </a:lnTo>
                  <a:lnTo>
                    <a:pt x="0" y="4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43" name="Freeform 909"/>
            <p:cNvSpPr>
              <a:spLocks/>
            </p:cNvSpPr>
            <p:nvPr>
              <p:custDataLst>
                <p:tags r:id="rId751"/>
              </p:custDataLst>
            </p:nvPr>
          </p:nvSpPr>
          <p:spPr bwMode="auto">
            <a:xfrm>
              <a:off x="6283718" y="4738294"/>
              <a:ext cx="58141" cy="34925"/>
            </a:xfrm>
            <a:custGeom>
              <a:avLst/>
              <a:gdLst>
                <a:gd name="T0" fmla="*/ 0 w 31"/>
                <a:gd name="T1" fmla="*/ 2147483647 h 44"/>
                <a:gd name="T2" fmla="*/ 2147483647 w 31"/>
                <a:gd name="T3" fmla="*/ 2147483647 h 44"/>
                <a:gd name="T4" fmla="*/ 2147483647 w 31"/>
                <a:gd name="T5" fmla="*/ 0 h 44"/>
                <a:gd name="T6" fmla="*/ 2147483647 w 31"/>
                <a:gd name="T7" fmla="*/ 2147483647 h 44"/>
                <a:gd name="T8" fmla="*/ 0 w 31"/>
                <a:gd name="T9" fmla="*/ 2147483647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44">
                  <a:moveTo>
                    <a:pt x="0" y="44"/>
                  </a:moveTo>
                  <a:lnTo>
                    <a:pt x="5" y="10"/>
                  </a:lnTo>
                  <a:lnTo>
                    <a:pt x="31" y="0"/>
                  </a:lnTo>
                  <a:lnTo>
                    <a:pt x="31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44" name="Freeform 910"/>
            <p:cNvSpPr>
              <a:spLocks/>
            </p:cNvSpPr>
            <p:nvPr>
              <p:custDataLst>
                <p:tags r:id="rId752"/>
              </p:custDataLst>
            </p:nvPr>
          </p:nvSpPr>
          <p:spPr bwMode="auto">
            <a:xfrm>
              <a:off x="6283718" y="4738294"/>
              <a:ext cx="58141" cy="34925"/>
            </a:xfrm>
            <a:custGeom>
              <a:avLst/>
              <a:gdLst>
                <a:gd name="T0" fmla="*/ 0 w 31"/>
                <a:gd name="T1" fmla="*/ 2147483647 h 44"/>
                <a:gd name="T2" fmla="*/ 2147483647 w 31"/>
                <a:gd name="T3" fmla="*/ 2147483647 h 44"/>
                <a:gd name="T4" fmla="*/ 2147483647 w 31"/>
                <a:gd name="T5" fmla="*/ 0 h 44"/>
                <a:gd name="T6" fmla="*/ 2147483647 w 31"/>
                <a:gd name="T7" fmla="*/ 2147483647 h 44"/>
                <a:gd name="T8" fmla="*/ 0 w 31"/>
                <a:gd name="T9" fmla="*/ 2147483647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44">
                  <a:moveTo>
                    <a:pt x="0" y="44"/>
                  </a:moveTo>
                  <a:lnTo>
                    <a:pt x="5" y="10"/>
                  </a:lnTo>
                  <a:lnTo>
                    <a:pt x="31" y="0"/>
                  </a:lnTo>
                  <a:lnTo>
                    <a:pt x="31" y="44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45" name="Freeform 911"/>
            <p:cNvSpPr>
              <a:spLocks/>
            </p:cNvSpPr>
            <p:nvPr>
              <p:custDataLst>
                <p:tags r:id="rId753"/>
              </p:custDataLst>
            </p:nvPr>
          </p:nvSpPr>
          <p:spPr bwMode="auto">
            <a:xfrm>
              <a:off x="6283718" y="4738294"/>
              <a:ext cx="58141" cy="34925"/>
            </a:xfrm>
            <a:custGeom>
              <a:avLst/>
              <a:gdLst>
                <a:gd name="T0" fmla="*/ 0 w 31"/>
                <a:gd name="T1" fmla="*/ 2147483647 h 44"/>
                <a:gd name="T2" fmla="*/ 2147483647 w 31"/>
                <a:gd name="T3" fmla="*/ 2147483647 h 44"/>
                <a:gd name="T4" fmla="*/ 2147483647 w 31"/>
                <a:gd name="T5" fmla="*/ 0 h 44"/>
                <a:gd name="T6" fmla="*/ 2147483647 w 31"/>
                <a:gd name="T7" fmla="*/ 2147483647 h 44"/>
                <a:gd name="T8" fmla="*/ 0 w 31"/>
                <a:gd name="T9" fmla="*/ 2147483647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44">
                  <a:moveTo>
                    <a:pt x="0" y="44"/>
                  </a:moveTo>
                  <a:lnTo>
                    <a:pt x="5" y="10"/>
                  </a:lnTo>
                  <a:lnTo>
                    <a:pt x="31" y="0"/>
                  </a:lnTo>
                  <a:lnTo>
                    <a:pt x="31" y="4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46" name="Freeform 912"/>
            <p:cNvSpPr>
              <a:spLocks/>
            </p:cNvSpPr>
            <p:nvPr>
              <p:custDataLst>
                <p:tags r:id="rId754"/>
              </p:custDataLst>
            </p:nvPr>
          </p:nvSpPr>
          <p:spPr bwMode="auto">
            <a:xfrm>
              <a:off x="6283718" y="4738294"/>
              <a:ext cx="58141" cy="34925"/>
            </a:xfrm>
            <a:custGeom>
              <a:avLst/>
              <a:gdLst>
                <a:gd name="T0" fmla="*/ 0 w 31"/>
                <a:gd name="T1" fmla="*/ 2147483647 h 44"/>
                <a:gd name="T2" fmla="*/ 2147483647 w 31"/>
                <a:gd name="T3" fmla="*/ 2147483647 h 44"/>
                <a:gd name="T4" fmla="*/ 2147483647 w 31"/>
                <a:gd name="T5" fmla="*/ 0 h 44"/>
                <a:gd name="T6" fmla="*/ 2147483647 w 31"/>
                <a:gd name="T7" fmla="*/ 2147483647 h 44"/>
                <a:gd name="T8" fmla="*/ 0 w 31"/>
                <a:gd name="T9" fmla="*/ 2147483647 h 4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44">
                  <a:moveTo>
                    <a:pt x="0" y="44"/>
                  </a:moveTo>
                  <a:lnTo>
                    <a:pt x="5" y="10"/>
                  </a:lnTo>
                  <a:lnTo>
                    <a:pt x="31" y="0"/>
                  </a:lnTo>
                  <a:lnTo>
                    <a:pt x="31" y="44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47" name="Freeform 913"/>
            <p:cNvSpPr>
              <a:spLocks/>
            </p:cNvSpPr>
            <p:nvPr>
              <p:custDataLst>
                <p:tags r:id="rId755"/>
              </p:custDataLst>
            </p:nvPr>
          </p:nvSpPr>
          <p:spPr bwMode="auto">
            <a:xfrm>
              <a:off x="6965382" y="4330301"/>
              <a:ext cx="427042" cy="379413"/>
            </a:xfrm>
            <a:custGeom>
              <a:avLst/>
              <a:gdLst>
                <a:gd name="T0" fmla="*/ 0 w 231"/>
                <a:gd name="T1" fmla="*/ 2147483647 h 478"/>
                <a:gd name="T2" fmla="*/ 2147483647 w 231"/>
                <a:gd name="T3" fmla="*/ 2147483647 h 478"/>
                <a:gd name="T4" fmla="*/ 2147483647 w 231"/>
                <a:gd name="T5" fmla="*/ 2147483647 h 478"/>
                <a:gd name="T6" fmla="*/ 2147483647 w 231"/>
                <a:gd name="T7" fmla="*/ 2147483647 h 478"/>
                <a:gd name="T8" fmla="*/ 2147483647 w 231"/>
                <a:gd name="T9" fmla="*/ 2147483647 h 478"/>
                <a:gd name="T10" fmla="*/ 2147483647 w 231"/>
                <a:gd name="T11" fmla="*/ 0 h 478"/>
                <a:gd name="T12" fmla="*/ 2147483647 w 231"/>
                <a:gd name="T13" fmla="*/ 2147483647 h 478"/>
                <a:gd name="T14" fmla="*/ 2147483647 w 231"/>
                <a:gd name="T15" fmla="*/ 2147483647 h 478"/>
                <a:gd name="T16" fmla="*/ 2147483647 w 231"/>
                <a:gd name="T17" fmla="*/ 2147483647 h 478"/>
                <a:gd name="T18" fmla="*/ 2147483647 w 231"/>
                <a:gd name="T19" fmla="*/ 2147483647 h 478"/>
                <a:gd name="T20" fmla="*/ 2147483647 w 231"/>
                <a:gd name="T21" fmla="*/ 2147483647 h 478"/>
                <a:gd name="T22" fmla="*/ 2147483647 w 231"/>
                <a:gd name="T23" fmla="*/ 2147483647 h 478"/>
                <a:gd name="T24" fmla="*/ 2147483647 w 231"/>
                <a:gd name="T25" fmla="*/ 2147483647 h 478"/>
                <a:gd name="T26" fmla="*/ 2147483647 w 231"/>
                <a:gd name="T27" fmla="*/ 2147483647 h 478"/>
                <a:gd name="T28" fmla="*/ 2147483647 w 231"/>
                <a:gd name="T29" fmla="*/ 2147483647 h 478"/>
                <a:gd name="T30" fmla="*/ 2147483647 w 231"/>
                <a:gd name="T31" fmla="*/ 2147483647 h 478"/>
                <a:gd name="T32" fmla="*/ 2147483647 w 231"/>
                <a:gd name="T33" fmla="*/ 2147483647 h 478"/>
                <a:gd name="T34" fmla="*/ 0 w 231"/>
                <a:gd name="T35" fmla="*/ 2147483647 h 47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31" h="478">
                  <a:moveTo>
                    <a:pt x="0" y="334"/>
                  </a:moveTo>
                  <a:lnTo>
                    <a:pt x="18" y="313"/>
                  </a:lnTo>
                  <a:lnTo>
                    <a:pt x="18" y="258"/>
                  </a:lnTo>
                  <a:lnTo>
                    <a:pt x="51" y="179"/>
                  </a:lnTo>
                  <a:lnTo>
                    <a:pt x="63" y="35"/>
                  </a:lnTo>
                  <a:lnTo>
                    <a:pt x="87" y="0"/>
                  </a:lnTo>
                  <a:lnTo>
                    <a:pt x="101" y="102"/>
                  </a:lnTo>
                  <a:lnTo>
                    <a:pt x="157" y="179"/>
                  </a:lnTo>
                  <a:lnTo>
                    <a:pt x="138" y="235"/>
                  </a:lnTo>
                  <a:lnTo>
                    <a:pt x="151" y="246"/>
                  </a:lnTo>
                  <a:lnTo>
                    <a:pt x="175" y="302"/>
                  </a:lnTo>
                  <a:lnTo>
                    <a:pt x="231" y="334"/>
                  </a:lnTo>
                  <a:lnTo>
                    <a:pt x="188" y="425"/>
                  </a:lnTo>
                  <a:lnTo>
                    <a:pt x="138" y="457"/>
                  </a:lnTo>
                  <a:lnTo>
                    <a:pt x="95" y="478"/>
                  </a:lnTo>
                  <a:lnTo>
                    <a:pt x="44" y="448"/>
                  </a:lnTo>
                  <a:lnTo>
                    <a:pt x="26" y="379"/>
                  </a:lnTo>
                  <a:lnTo>
                    <a:pt x="0" y="3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48" name="Freeform 914"/>
            <p:cNvSpPr>
              <a:spLocks/>
            </p:cNvSpPr>
            <p:nvPr>
              <p:custDataLst>
                <p:tags r:id="rId756"/>
              </p:custDataLst>
            </p:nvPr>
          </p:nvSpPr>
          <p:spPr bwMode="auto">
            <a:xfrm>
              <a:off x="6965382" y="4330301"/>
              <a:ext cx="427042" cy="379413"/>
            </a:xfrm>
            <a:custGeom>
              <a:avLst/>
              <a:gdLst>
                <a:gd name="T0" fmla="*/ 0 w 231"/>
                <a:gd name="T1" fmla="*/ 2147483647 h 478"/>
                <a:gd name="T2" fmla="*/ 2147483647 w 231"/>
                <a:gd name="T3" fmla="*/ 2147483647 h 478"/>
                <a:gd name="T4" fmla="*/ 2147483647 w 231"/>
                <a:gd name="T5" fmla="*/ 2147483647 h 478"/>
                <a:gd name="T6" fmla="*/ 2147483647 w 231"/>
                <a:gd name="T7" fmla="*/ 2147483647 h 478"/>
                <a:gd name="T8" fmla="*/ 2147483647 w 231"/>
                <a:gd name="T9" fmla="*/ 2147483647 h 478"/>
                <a:gd name="T10" fmla="*/ 2147483647 w 231"/>
                <a:gd name="T11" fmla="*/ 0 h 478"/>
                <a:gd name="T12" fmla="*/ 2147483647 w 231"/>
                <a:gd name="T13" fmla="*/ 2147483647 h 478"/>
                <a:gd name="T14" fmla="*/ 2147483647 w 231"/>
                <a:gd name="T15" fmla="*/ 2147483647 h 478"/>
                <a:gd name="T16" fmla="*/ 2147483647 w 231"/>
                <a:gd name="T17" fmla="*/ 2147483647 h 478"/>
                <a:gd name="T18" fmla="*/ 2147483647 w 231"/>
                <a:gd name="T19" fmla="*/ 2147483647 h 478"/>
                <a:gd name="T20" fmla="*/ 2147483647 w 231"/>
                <a:gd name="T21" fmla="*/ 2147483647 h 478"/>
                <a:gd name="T22" fmla="*/ 2147483647 w 231"/>
                <a:gd name="T23" fmla="*/ 2147483647 h 478"/>
                <a:gd name="T24" fmla="*/ 2147483647 w 231"/>
                <a:gd name="T25" fmla="*/ 2147483647 h 478"/>
                <a:gd name="T26" fmla="*/ 2147483647 w 231"/>
                <a:gd name="T27" fmla="*/ 2147483647 h 478"/>
                <a:gd name="T28" fmla="*/ 2147483647 w 231"/>
                <a:gd name="T29" fmla="*/ 2147483647 h 478"/>
                <a:gd name="T30" fmla="*/ 2147483647 w 231"/>
                <a:gd name="T31" fmla="*/ 2147483647 h 478"/>
                <a:gd name="T32" fmla="*/ 2147483647 w 231"/>
                <a:gd name="T33" fmla="*/ 2147483647 h 478"/>
                <a:gd name="T34" fmla="*/ 0 w 231"/>
                <a:gd name="T35" fmla="*/ 2147483647 h 47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31" h="478">
                  <a:moveTo>
                    <a:pt x="0" y="334"/>
                  </a:moveTo>
                  <a:lnTo>
                    <a:pt x="18" y="313"/>
                  </a:lnTo>
                  <a:lnTo>
                    <a:pt x="18" y="258"/>
                  </a:lnTo>
                  <a:lnTo>
                    <a:pt x="51" y="179"/>
                  </a:lnTo>
                  <a:lnTo>
                    <a:pt x="63" y="35"/>
                  </a:lnTo>
                  <a:lnTo>
                    <a:pt x="87" y="0"/>
                  </a:lnTo>
                  <a:lnTo>
                    <a:pt x="101" y="102"/>
                  </a:lnTo>
                  <a:lnTo>
                    <a:pt x="157" y="179"/>
                  </a:lnTo>
                  <a:lnTo>
                    <a:pt x="138" y="235"/>
                  </a:lnTo>
                  <a:lnTo>
                    <a:pt x="151" y="246"/>
                  </a:lnTo>
                  <a:lnTo>
                    <a:pt x="175" y="302"/>
                  </a:lnTo>
                  <a:lnTo>
                    <a:pt x="231" y="334"/>
                  </a:lnTo>
                  <a:lnTo>
                    <a:pt x="188" y="425"/>
                  </a:lnTo>
                  <a:lnTo>
                    <a:pt x="138" y="457"/>
                  </a:lnTo>
                  <a:lnTo>
                    <a:pt x="95" y="478"/>
                  </a:lnTo>
                  <a:lnTo>
                    <a:pt x="44" y="448"/>
                  </a:lnTo>
                  <a:lnTo>
                    <a:pt x="26" y="379"/>
                  </a:lnTo>
                  <a:lnTo>
                    <a:pt x="0" y="3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49" name="Freeform 915"/>
            <p:cNvSpPr>
              <a:spLocks/>
            </p:cNvSpPr>
            <p:nvPr>
              <p:custDataLst>
                <p:tags r:id="rId757"/>
              </p:custDataLst>
            </p:nvPr>
          </p:nvSpPr>
          <p:spPr bwMode="auto">
            <a:xfrm>
              <a:off x="6965382" y="4330301"/>
              <a:ext cx="427042" cy="379413"/>
            </a:xfrm>
            <a:custGeom>
              <a:avLst/>
              <a:gdLst>
                <a:gd name="T0" fmla="*/ 0 w 231"/>
                <a:gd name="T1" fmla="*/ 2147483647 h 478"/>
                <a:gd name="T2" fmla="*/ 2147483647 w 231"/>
                <a:gd name="T3" fmla="*/ 2147483647 h 478"/>
                <a:gd name="T4" fmla="*/ 2147483647 w 231"/>
                <a:gd name="T5" fmla="*/ 2147483647 h 478"/>
                <a:gd name="T6" fmla="*/ 2147483647 w 231"/>
                <a:gd name="T7" fmla="*/ 2147483647 h 478"/>
                <a:gd name="T8" fmla="*/ 2147483647 w 231"/>
                <a:gd name="T9" fmla="*/ 2147483647 h 478"/>
                <a:gd name="T10" fmla="*/ 2147483647 w 231"/>
                <a:gd name="T11" fmla="*/ 0 h 478"/>
                <a:gd name="T12" fmla="*/ 2147483647 w 231"/>
                <a:gd name="T13" fmla="*/ 2147483647 h 478"/>
                <a:gd name="T14" fmla="*/ 2147483647 w 231"/>
                <a:gd name="T15" fmla="*/ 2147483647 h 478"/>
                <a:gd name="T16" fmla="*/ 2147483647 w 231"/>
                <a:gd name="T17" fmla="*/ 2147483647 h 478"/>
                <a:gd name="T18" fmla="*/ 2147483647 w 231"/>
                <a:gd name="T19" fmla="*/ 2147483647 h 478"/>
                <a:gd name="T20" fmla="*/ 2147483647 w 231"/>
                <a:gd name="T21" fmla="*/ 2147483647 h 478"/>
                <a:gd name="T22" fmla="*/ 2147483647 w 231"/>
                <a:gd name="T23" fmla="*/ 2147483647 h 478"/>
                <a:gd name="T24" fmla="*/ 2147483647 w 231"/>
                <a:gd name="T25" fmla="*/ 2147483647 h 478"/>
                <a:gd name="T26" fmla="*/ 2147483647 w 231"/>
                <a:gd name="T27" fmla="*/ 2147483647 h 478"/>
                <a:gd name="T28" fmla="*/ 2147483647 w 231"/>
                <a:gd name="T29" fmla="*/ 2147483647 h 478"/>
                <a:gd name="T30" fmla="*/ 2147483647 w 231"/>
                <a:gd name="T31" fmla="*/ 2147483647 h 478"/>
                <a:gd name="T32" fmla="*/ 2147483647 w 231"/>
                <a:gd name="T33" fmla="*/ 2147483647 h 478"/>
                <a:gd name="T34" fmla="*/ 0 w 231"/>
                <a:gd name="T35" fmla="*/ 2147483647 h 47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31" h="478">
                  <a:moveTo>
                    <a:pt x="0" y="334"/>
                  </a:moveTo>
                  <a:lnTo>
                    <a:pt x="18" y="313"/>
                  </a:lnTo>
                  <a:lnTo>
                    <a:pt x="18" y="258"/>
                  </a:lnTo>
                  <a:lnTo>
                    <a:pt x="51" y="179"/>
                  </a:lnTo>
                  <a:lnTo>
                    <a:pt x="63" y="35"/>
                  </a:lnTo>
                  <a:lnTo>
                    <a:pt x="87" y="0"/>
                  </a:lnTo>
                  <a:lnTo>
                    <a:pt x="101" y="102"/>
                  </a:lnTo>
                  <a:lnTo>
                    <a:pt x="157" y="179"/>
                  </a:lnTo>
                  <a:lnTo>
                    <a:pt x="138" y="235"/>
                  </a:lnTo>
                  <a:lnTo>
                    <a:pt x="151" y="246"/>
                  </a:lnTo>
                  <a:lnTo>
                    <a:pt x="175" y="302"/>
                  </a:lnTo>
                  <a:lnTo>
                    <a:pt x="231" y="334"/>
                  </a:lnTo>
                  <a:lnTo>
                    <a:pt x="188" y="425"/>
                  </a:lnTo>
                  <a:lnTo>
                    <a:pt x="138" y="457"/>
                  </a:lnTo>
                  <a:lnTo>
                    <a:pt x="95" y="478"/>
                  </a:lnTo>
                  <a:lnTo>
                    <a:pt x="44" y="448"/>
                  </a:lnTo>
                  <a:lnTo>
                    <a:pt x="26" y="379"/>
                  </a:lnTo>
                  <a:lnTo>
                    <a:pt x="0" y="33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50" name="Freeform 916"/>
            <p:cNvSpPr>
              <a:spLocks/>
            </p:cNvSpPr>
            <p:nvPr>
              <p:custDataLst>
                <p:tags r:id="rId758"/>
              </p:custDataLst>
            </p:nvPr>
          </p:nvSpPr>
          <p:spPr bwMode="auto">
            <a:xfrm>
              <a:off x="6965382" y="4330301"/>
              <a:ext cx="427042" cy="379413"/>
            </a:xfrm>
            <a:custGeom>
              <a:avLst/>
              <a:gdLst>
                <a:gd name="T0" fmla="*/ 0 w 231"/>
                <a:gd name="T1" fmla="*/ 2147483647 h 478"/>
                <a:gd name="T2" fmla="*/ 2147483647 w 231"/>
                <a:gd name="T3" fmla="*/ 2147483647 h 478"/>
                <a:gd name="T4" fmla="*/ 2147483647 w 231"/>
                <a:gd name="T5" fmla="*/ 2147483647 h 478"/>
                <a:gd name="T6" fmla="*/ 2147483647 w 231"/>
                <a:gd name="T7" fmla="*/ 2147483647 h 478"/>
                <a:gd name="T8" fmla="*/ 2147483647 w 231"/>
                <a:gd name="T9" fmla="*/ 2147483647 h 478"/>
                <a:gd name="T10" fmla="*/ 2147483647 w 231"/>
                <a:gd name="T11" fmla="*/ 0 h 478"/>
                <a:gd name="T12" fmla="*/ 2147483647 w 231"/>
                <a:gd name="T13" fmla="*/ 2147483647 h 478"/>
                <a:gd name="T14" fmla="*/ 2147483647 w 231"/>
                <a:gd name="T15" fmla="*/ 2147483647 h 478"/>
                <a:gd name="T16" fmla="*/ 2147483647 w 231"/>
                <a:gd name="T17" fmla="*/ 2147483647 h 478"/>
                <a:gd name="T18" fmla="*/ 2147483647 w 231"/>
                <a:gd name="T19" fmla="*/ 2147483647 h 478"/>
                <a:gd name="T20" fmla="*/ 2147483647 w 231"/>
                <a:gd name="T21" fmla="*/ 2147483647 h 478"/>
                <a:gd name="T22" fmla="*/ 2147483647 w 231"/>
                <a:gd name="T23" fmla="*/ 2147483647 h 478"/>
                <a:gd name="T24" fmla="*/ 2147483647 w 231"/>
                <a:gd name="T25" fmla="*/ 2147483647 h 478"/>
                <a:gd name="T26" fmla="*/ 2147483647 w 231"/>
                <a:gd name="T27" fmla="*/ 2147483647 h 478"/>
                <a:gd name="T28" fmla="*/ 2147483647 w 231"/>
                <a:gd name="T29" fmla="*/ 2147483647 h 478"/>
                <a:gd name="T30" fmla="*/ 2147483647 w 231"/>
                <a:gd name="T31" fmla="*/ 2147483647 h 478"/>
                <a:gd name="T32" fmla="*/ 2147483647 w 231"/>
                <a:gd name="T33" fmla="*/ 2147483647 h 478"/>
                <a:gd name="T34" fmla="*/ 0 w 231"/>
                <a:gd name="T35" fmla="*/ 2147483647 h 47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231" h="478">
                  <a:moveTo>
                    <a:pt x="0" y="334"/>
                  </a:moveTo>
                  <a:lnTo>
                    <a:pt x="18" y="313"/>
                  </a:lnTo>
                  <a:lnTo>
                    <a:pt x="18" y="258"/>
                  </a:lnTo>
                  <a:lnTo>
                    <a:pt x="51" y="179"/>
                  </a:lnTo>
                  <a:lnTo>
                    <a:pt x="63" y="35"/>
                  </a:lnTo>
                  <a:lnTo>
                    <a:pt x="87" y="0"/>
                  </a:lnTo>
                  <a:lnTo>
                    <a:pt x="101" y="102"/>
                  </a:lnTo>
                  <a:lnTo>
                    <a:pt x="157" y="179"/>
                  </a:lnTo>
                  <a:lnTo>
                    <a:pt x="138" y="235"/>
                  </a:lnTo>
                  <a:lnTo>
                    <a:pt x="151" y="246"/>
                  </a:lnTo>
                  <a:lnTo>
                    <a:pt x="175" y="302"/>
                  </a:lnTo>
                  <a:lnTo>
                    <a:pt x="231" y="334"/>
                  </a:lnTo>
                  <a:lnTo>
                    <a:pt x="188" y="425"/>
                  </a:lnTo>
                  <a:lnTo>
                    <a:pt x="138" y="457"/>
                  </a:lnTo>
                  <a:lnTo>
                    <a:pt x="95" y="478"/>
                  </a:lnTo>
                  <a:lnTo>
                    <a:pt x="44" y="448"/>
                  </a:lnTo>
                  <a:lnTo>
                    <a:pt x="26" y="379"/>
                  </a:lnTo>
                  <a:lnTo>
                    <a:pt x="0" y="33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51" name="Freeform 917"/>
            <p:cNvSpPr>
              <a:spLocks/>
            </p:cNvSpPr>
            <p:nvPr>
              <p:custDataLst>
                <p:tags r:id="rId759"/>
              </p:custDataLst>
            </p:nvPr>
          </p:nvSpPr>
          <p:spPr bwMode="auto">
            <a:xfrm>
              <a:off x="7219992" y="4471586"/>
              <a:ext cx="48118" cy="52387"/>
            </a:xfrm>
            <a:custGeom>
              <a:avLst/>
              <a:gdLst>
                <a:gd name="T0" fmla="*/ 0 w 26"/>
                <a:gd name="T1" fmla="*/ 2147483647 h 65"/>
                <a:gd name="T2" fmla="*/ 2147483647 w 26"/>
                <a:gd name="T3" fmla="*/ 2147483647 h 65"/>
                <a:gd name="T4" fmla="*/ 2147483647 w 26"/>
                <a:gd name="T5" fmla="*/ 2147483647 h 65"/>
                <a:gd name="T6" fmla="*/ 2147483647 w 26"/>
                <a:gd name="T7" fmla="*/ 2147483647 h 65"/>
                <a:gd name="T8" fmla="*/ 2147483647 w 26"/>
                <a:gd name="T9" fmla="*/ 2147483647 h 65"/>
                <a:gd name="T10" fmla="*/ 2147483647 w 26"/>
                <a:gd name="T11" fmla="*/ 0 h 65"/>
                <a:gd name="T12" fmla="*/ 0 w 26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65">
                  <a:moveTo>
                    <a:pt x="0" y="56"/>
                  </a:moveTo>
                  <a:lnTo>
                    <a:pt x="13" y="65"/>
                  </a:lnTo>
                  <a:lnTo>
                    <a:pt x="26" y="44"/>
                  </a:lnTo>
                  <a:lnTo>
                    <a:pt x="13" y="44"/>
                  </a:lnTo>
                  <a:lnTo>
                    <a:pt x="26" y="32"/>
                  </a:lnTo>
                  <a:lnTo>
                    <a:pt x="19" y="0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52" name="Freeform 918"/>
            <p:cNvSpPr>
              <a:spLocks/>
            </p:cNvSpPr>
            <p:nvPr>
              <p:custDataLst>
                <p:tags r:id="rId760"/>
              </p:custDataLst>
            </p:nvPr>
          </p:nvSpPr>
          <p:spPr bwMode="auto">
            <a:xfrm>
              <a:off x="7219992" y="4471586"/>
              <a:ext cx="48118" cy="52387"/>
            </a:xfrm>
            <a:custGeom>
              <a:avLst/>
              <a:gdLst>
                <a:gd name="T0" fmla="*/ 0 w 26"/>
                <a:gd name="T1" fmla="*/ 2147483647 h 65"/>
                <a:gd name="T2" fmla="*/ 2147483647 w 26"/>
                <a:gd name="T3" fmla="*/ 2147483647 h 65"/>
                <a:gd name="T4" fmla="*/ 2147483647 w 26"/>
                <a:gd name="T5" fmla="*/ 2147483647 h 65"/>
                <a:gd name="T6" fmla="*/ 2147483647 w 26"/>
                <a:gd name="T7" fmla="*/ 2147483647 h 65"/>
                <a:gd name="T8" fmla="*/ 2147483647 w 26"/>
                <a:gd name="T9" fmla="*/ 2147483647 h 65"/>
                <a:gd name="T10" fmla="*/ 2147483647 w 26"/>
                <a:gd name="T11" fmla="*/ 0 h 65"/>
                <a:gd name="T12" fmla="*/ 0 w 26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65">
                  <a:moveTo>
                    <a:pt x="0" y="56"/>
                  </a:moveTo>
                  <a:lnTo>
                    <a:pt x="13" y="65"/>
                  </a:lnTo>
                  <a:lnTo>
                    <a:pt x="26" y="44"/>
                  </a:lnTo>
                  <a:lnTo>
                    <a:pt x="13" y="44"/>
                  </a:lnTo>
                  <a:lnTo>
                    <a:pt x="26" y="32"/>
                  </a:lnTo>
                  <a:lnTo>
                    <a:pt x="19" y="0"/>
                  </a:lnTo>
                  <a:lnTo>
                    <a:pt x="0" y="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53" name="Freeform 919"/>
            <p:cNvSpPr>
              <a:spLocks/>
            </p:cNvSpPr>
            <p:nvPr>
              <p:custDataLst>
                <p:tags r:id="rId761"/>
              </p:custDataLst>
            </p:nvPr>
          </p:nvSpPr>
          <p:spPr bwMode="auto">
            <a:xfrm>
              <a:off x="7219992" y="4471586"/>
              <a:ext cx="48118" cy="52387"/>
            </a:xfrm>
            <a:custGeom>
              <a:avLst/>
              <a:gdLst>
                <a:gd name="T0" fmla="*/ 0 w 26"/>
                <a:gd name="T1" fmla="*/ 2147483647 h 65"/>
                <a:gd name="T2" fmla="*/ 2147483647 w 26"/>
                <a:gd name="T3" fmla="*/ 2147483647 h 65"/>
                <a:gd name="T4" fmla="*/ 2147483647 w 26"/>
                <a:gd name="T5" fmla="*/ 2147483647 h 65"/>
                <a:gd name="T6" fmla="*/ 2147483647 w 26"/>
                <a:gd name="T7" fmla="*/ 2147483647 h 65"/>
                <a:gd name="T8" fmla="*/ 2147483647 w 26"/>
                <a:gd name="T9" fmla="*/ 2147483647 h 65"/>
                <a:gd name="T10" fmla="*/ 2147483647 w 26"/>
                <a:gd name="T11" fmla="*/ 0 h 65"/>
                <a:gd name="T12" fmla="*/ 0 w 26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65">
                  <a:moveTo>
                    <a:pt x="0" y="56"/>
                  </a:moveTo>
                  <a:lnTo>
                    <a:pt x="13" y="65"/>
                  </a:lnTo>
                  <a:lnTo>
                    <a:pt x="26" y="44"/>
                  </a:lnTo>
                  <a:lnTo>
                    <a:pt x="13" y="44"/>
                  </a:lnTo>
                  <a:lnTo>
                    <a:pt x="26" y="32"/>
                  </a:lnTo>
                  <a:lnTo>
                    <a:pt x="19" y="0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54" name="Freeform 920"/>
            <p:cNvSpPr>
              <a:spLocks/>
            </p:cNvSpPr>
            <p:nvPr>
              <p:custDataLst>
                <p:tags r:id="rId762"/>
              </p:custDataLst>
            </p:nvPr>
          </p:nvSpPr>
          <p:spPr bwMode="auto">
            <a:xfrm>
              <a:off x="7219992" y="4471586"/>
              <a:ext cx="48118" cy="52387"/>
            </a:xfrm>
            <a:custGeom>
              <a:avLst/>
              <a:gdLst>
                <a:gd name="T0" fmla="*/ 0 w 26"/>
                <a:gd name="T1" fmla="*/ 2147483647 h 65"/>
                <a:gd name="T2" fmla="*/ 2147483647 w 26"/>
                <a:gd name="T3" fmla="*/ 2147483647 h 65"/>
                <a:gd name="T4" fmla="*/ 2147483647 w 26"/>
                <a:gd name="T5" fmla="*/ 2147483647 h 65"/>
                <a:gd name="T6" fmla="*/ 2147483647 w 26"/>
                <a:gd name="T7" fmla="*/ 2147483647 h 65"/>
                <a:gd name="T8" fmla="*/ 2147483647 w 26"/>
                <a:gd name="T9" fmla="*/ 2147483647 h 65"/>
                <a:gd name="T10" fmla="*/ 2147483647 w 26"/>
                <a:gd name="T11" fmla="*/ 0 h 65"/>
                <a:gd name="T12" fmla="*/ 0 w 26"/>
                <a:gd name="T13" fmla="*/ 2147483647 h 6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6" h="65">
                  <a:moveTo>
                    <a:pt x="0" y="56"/>
                  </a:moveTo>
                  <a:lnTo>
                    <a:pt x="13" y="65"/>
                  </a:lnTo>
                  <a:lnTo>
                    <a:pt x="26" y="44"/>
                  </a:lnTo>
                  <a:lnTo>
                    <a:pt x="13" y="44"/>
                  </a:lnTo>
                  <a:lnTo>
                    <a:pt x="26" y="32"/>
                  </a:lnTo>
                  <a:lnTo>
                    <a:pt x="19" y="0"/>
                  </a:lnTo>
                  <a:lnTo>
                    <a:pt x="0" y="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55" name="Freeform 921"/>
            <p:cNvSpPr>
              <a:spLocks/>
            </p:cNvSpPr>
            <p:nvPr>
              <p:custDataLst>
                <p:tags r:id="rId763"/>
              </p:custDataLst>
            </p:nvPr>
          </p:nvSpPr>
          <p:spPr bwMode="auto">
            <a:xfrm>
              <a:off x="6269659" y="4738258"/>
              <a:ext cx="152372" cy="157162"/>
            </a:xfrm>
            <a:custGeom>
              <a:avLst/>
              <a:gdLst>
                <a:gd name="T0" fmla="*/ 0 w 82"/>
                <a:gd name="T1" fmla="*/ 2147483647 h 200"/>
                <a:gd name="T2" fmla="*/ 2147483647 w 82"/>
                <a:gd name="T3" fmla="*/ 2147483647 h 200"/>
                <a:gd name="T4" fmla="*/ 2147483647 w 82"/>
                <a:gd name="T5" fmla="*/ 2147483647 h 200"/>
                <a:gd name="T6" fmla="*/ 2147483647 w 82"/>
                <a:gd name="T7" fmla="*/ 2147483647 h 200"/>
                <a:gd name="T8" fmla="*/ 2147483647 w 82"/>
                <a:gd name="T9" fmla="*/ 2147483647 h 200"/>
                <a:gd name="T10" fmla="*/ 2147483647 w 82"/>
                <a:gd name="T11" fmla="*/ 0 h 200"/>
                <a:gd name="T12" fmla="*/ 2147483647 w 82"/>
                <a:gd name="T13" fmla="*/ 2147483647 h 200"/>
                <a:gd name="T14" fmla="*/ 2147483647 w 82"/>
                <a:gd name="T15" fmla="*/ 2147483647 h 200"/>
                <a:gd name="T16" fmla="*/ 2147483647 w 82"/>
                <a:gd name="T17" fmla="*/ 2147483647 h 200"/>
                <a:gd name="T18" fmla="*/ 2147483647 w 82"/>
                <a:gd name="T19" fmla="*/ 2147483647 h 200"/>
                <a:gd name="T20" fmla="*/ 2147483647 w 82"/>
                <a:gd name="T21" fmla="*/ 2147483647 h 200"/>
                <a:gd name="T22" fmla="*/ 2147483647 w 82"/>
                <a:gd name="T23" fmla="*/ 2147483647 h 200"/>
                <a:gd name="T24" fmla="*/ 0 w 82"/>
                <a:gd name="T25" fmla="*/ 2147483647 h 2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200">
                  <a:moveTo>
                    <a:pt x="0" y="100"/>
                  </a:moveTo>
                  <a:lnTo>
                    <a:pt x="8" y="67"/>
                  </a:lnTo>
                  <a:lnTo>
                    <a:pt x="13" y="67"/>
                  </a:lnTo>
                  <a:lnTo>
                    <a:pt x="8" y="44"/>
                  </a:lnTo>
                  <a:lnTo>
                    <a:pt x="39" y="44"/>
                  </a:lnTo>
                  <a:lnTo>
                    <a:pt x="39" y="0"/>
                  </a:lnTo>
                  <a:lnTo>
                    <a:pt x="69" y="10"/>
                  </a:lnTo>
                  <a:lnTo>
                    <a:pt x="69" y="33"/>
                  </a:lnTo>
                  <a:lnTo>
                    <a:pt x="82" y="33"/>
                  </a:lnTo>
                  <a:lnTo>
                    <a:pt x="77" y="146"/>
                  </a:lnTo>
                  <a:lnTo>
                    <a:pt x="58" y="133"/>
                  </a:lnTo>
                  <a:lnTo>
                    <a:pt x="32" y="20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56" name="Freeform 922"/>
            <p:cNvSpPr>
              <a:spLocks/>
            </p:cNvSpPr>
            <p:nvPr>
              <p:custDataLst>
                <p:tags r:id="rId764"/>
              </p:custDataLst>
            </p:nvPr>
          </p:nvSpPr>
          <p:spPr bwMode="auto">
            <a:xfrm>
              <a:off x="6269659" y="4738258"/>
              <a:ext cx="152372" cy="157162"/>
            </a:xfrm>
            <a:custGeom>
              <a:avLst/>
              <a:gdLst>
                <a:gd name="T0" fmla="*/ 0 w 82"/>
                <a:gd name="T1" fmla="*/ 2147483647 h 200"/>
                <a:gd name="T2" fmla="*/ 2147483647 w 82"/>
                <a:gd name="T3" fmla="*/ 2147483647 h 200"/>
                <a:gd name="T4" fmla="*/ 2147483647 w 82"/>
                <a:gd name="T5" fmla="*/ 2147483647 h 200"/>
                <a:gd name="T6" fmla="*/ 2147483647 w 82"/>
                <a:gd name="T7" fmla="*/ 2147483647 h 200"/>
                <a:gd name="T8" fmla="*/ 2147483647 w 82"/>
                <a:gd name="T9" fmla="*/ 2147483647 h 200"/>
                <a:gd name="T10" fmla="*/ 2147483647 w 82"/>
                <a:gd name="T11" fmla="*/ 0 h 200"/>
                <a:gd name="T12" fmla="*/ 2147483647 w 82"/>
                <a:gd name="T13" fmla="*/ 2147483647 h 200"/>
                <a:gd name="T14" fmla="*/ 2147483647 w 82"/>
                <a:gd name="T15" fmla="*/ 2147483647 h 200"/>
                <a:gd name="T16" fmla="*/ 2147483647 w 82"/>
                <a:gd name="T17" fmla="*/ 2147483647 h 200"/>
                <a:gd name="T18" fmla="*/ 2147483647 w 82"/>
                <a:gd name="T19" fmla="*/ 2147483647 h 200"/>
                <a:gd name="T20" fmla="*/ 2147483647 w 82"/>
                <a:gd name="T21" fmla="*/ 2147483647 h 200"/>
                <a:gd name="T22" fmla="*/ 2147483647 w 82"/>
                <a:gd name="T23" fmla="*/ 2147483647 h 200"/>
                <a:gd name="T24" fmla="*/ 0 w 82"/>
                <a:gd name="T25" fmla="*/ 2147483647 h 2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200">
                  <a:moveTo>
                    <a:pt x="0" y="100"/>
                  </a:moveTo>
                  <a:lnTo>
                    <a:pt x="8" y="67"/>
                  </a:lnTo>
                  <a:lnTo>
                    <a:pt x="13" y="67"/>
                  </a:lnTo>
                  <a:lnTo>
                    <a:pt x="8" y="44"/>
                  </a:lnTo>
                  <a:lnTo>
                    <a:pt x="39" y="44"/>
                  </a:lnTo>
                  <a:lnTo>
                    <a:pt x="39" y="0"/>
                  </a:lnTo>
                  <a:lnTo>
                    <a:pt x="69" y="10"/>
                  </a:lnTo>
                  <a:lnTo>
                    <a:pt x="69" y="33"/>
                  </a:lnTo>
                  <a:lnTo>
                    <a:pt x="82" y="33"/>
                  </a:lnTo>
                  <a:lnTo>
                    <a:pt x="77" y="146"/>
                  </a:lnTo>
                  <a:lnTo>
                    <a:pt x="58" y="133"/>
                  </a:lnTo>
                  <a:lnTo>
                    <a:pt x="32" y="200"/>
                  </a:lnTo>
                  <a:lnTo>
                    <a:pt x="0" y="10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57" name="Freeform 923"/>
            <p:cNvSpPr>
              <a:spLocks/>
            </p:cNvSpPr>
            <p:nvPr>
              <p:custDataLst>
                <p:tags r:id="rId765"/>
              </p:custDataLst>
            </p:nvPr>
          </p:nvSpPr>
          <p:spPr bwMode="auto">
            <a:xfrm>
              <a:off x="6269659" y="4738258"/>
              <a:ext cx="152372" cy="157162"/>
            </a:xfrm>
            <a:custGeom>
              <a:avLst/>
              <a:gdLst>
                <a:gd name="T0" fmla="*/ 0 w 82"/>
                <a:gd name="T1" fmla="*/ 2147483647 h 200"/>
                <a:gd name="T2" fmla="*/ 2147483647 w 82"/>
                <a:gd name="T3" fmla="*/ 2147483647 h 200"/>
                <a:gd name="T4" fmla="*/ 2147483647 w 82"/>
                <a:gd name="T5" fmla="*/ 2147483647 h 200"/>
                <a:gd name="T6" fmla="*/ 2147483647 w 82"/>
                <a:gd name="T7" fmla="*/ 2147483647 h 200"/>
                <a:gd name="T8" fmla="*/ 2147483647 w 82"/>
                <a:gd name="T9" fmla="*/ 2147483647 h 200"/>
                <a:gd name="T10" fmla="*/ 2147483647 w 82"/>
                <a:gd name="T11" fmla="*/ 0 h 200"/>
                <a:gd name="T12" fmla="*/ 2147483647 w 82"/>
                <a:gd name="T13" fmla="*/ 2147483647 h 200"/>
                <a:gd name="T14" fmla="*/ 2147483647 w 82"/>
                <a:gd name="T15" fmla="*/ 2147483647 h 200"/>
                <a:gd name="T16" fmla="*/ 2147483647 w 82"/>
                <a:gd name="T17" fmla="*/ 2147483647 h 200"/>
                <a:gd name="T18" fmla="*/ 2147483647 w 82"/>
                <a:gd name="T19" fmla="*/ 2147483647 h 200"/>
                <a:gd name="T20" fmla="*/ 2147483647 w 82"/>
                <a:gd name="T21" fmla="*/ 2147483647 h 200"/>
                <a:gd name="T22" fmla="*/ 2147483647 w 82"/>
                <a:gd name="T23" fmla="*/ 2147483647 h 200"/>
                <a:gd name="T24" fmla="*/ 0 w 82"/>
                <a:gd name="T25" fmla="*/ 2147483647 h 2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200">
                  <a:moveTo>
                    <a:pt x="0" y="100"/>
                  </a:moveTo>
                  <a:lnTo>
                    <a:pt x="8" y="67"/>
                  </a:lnTo>
                  <a:lnTo>
                    <a:pt x="13" y="67"/>
                  </a:lnTo>
                  <a:lnTo>
                    <a:pt x="8" y="44"/>
                  </a:lnTo>
                  <a:lnTo>
                    <a:pt x="39" y="44"/>
                  </a:lnTo>
                  <a:lnTo>
                    <a:pt x="39" y="0"/>
                  </a:lnTo>
                  <a:lnTo>
                    <a:pt x="69" y="10"/>
                  </a:lnTo>
                  <a:lnTo>
                    <a:pt x="69" y="33"/>
                  </a:lnTo>
                  <a:lnTo>
                    <a:pt x="82" y="33"/>
                  </a:lnTo>
                  <a:lnTo>
                    <a:pt x="77" y="146"/>
                  </a:lnTo>
                  <a:lnTo>
                    <a:pt x="58" y="133"/>
                  </a:lnTo>
                  <a:lnTo>
                    <a:pt x="32" y="20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58" name="Freeform 924"/>
            <p:cNvSpPr>
              <a:spLocks/>
            </p:cNvSpPr>
            <p:nvPr>
              <p:custDataLst>
                <p:tags r:id="rId766"/>
              </p:custDataLst>
            </p:nvPr>
          </p:nvSpPr>
          <p:spPr bwMode="auto">
            <a:xfrm>
              <a:off x="6269659" y="4738258"/>
              <a:ext cx="152372" cy="157162"/>
            </a:xfrm>
            <a:custGeom>
              <a:avLst/>
              <a:gdLst>
                <a:gd name="T0" fmla="*/ 0 w 82"/>
                <a:gd name="T1" fmla="*/ 2147483647 h 200"/>
                <a:gd name="T2" fmla="*/ 2147483647 w 82"/>
                <a:gd name="T3" fmla="*/ 2147483647 h 200"/>
                <a:gd name="T4" fmla="*/ 2147483647 w 82"/>
                <a:gd name="T5" fmla="*/ 2147483647 h 200"/>
                <a:gd name="T6" fmla="*/ 2147483647 w 82"/>
                <a:gd name="T7" fmla="*/ 2147483647 h 200"/>
                <a:gd name="T8" fmla="*/ 2147483647 w 82"/>
                <a:gd name="T9" fmla="*/ 2147483647 h 200"/>
                <a:gd name="T10" fmla="*/ 2147483647 w 82"/>
                <a:gd name="T11" fmla="*/ 0 h 200"/>
                <a:gd name="T12" fmla="*/ 2147483647 w 82"/>
                <a:gd name="T13" fmla="*/ 2147483647 h 200"/>
                <a:gd name="T14" fmla="*/ 2147483647 w 82"/>
                <a:gd name="T15" fmla="*/ 2147483647 h 200"/>
                <a:gd name="T16" fmla="*/ 2147483647 w 82"/>
                <a:gd name="T17" fmla="*/ 2147483647 h 200"/>
                <a:gd name="T18" fmla="*/ 2147483647 w 82"/>
                <a:gd name="T19" fmla="*/ 2147483647 h 200"/>
                <a:gd name="T20" fmla="*/ 2147483647 w 82"/>
                <a:gd name="T21" fmla="*/ 2147483647 h 200"/>
                <a:gd name="T22" fmla="*/ 2147483647 w 82"/>
                <a:gd name="T23" fmla="*/ 2147483647 h 200"/>
                <a:gd name="T24" fmla="*/ 0 w 82"/>
                <a:gd name="T25" fmla="*/ 2147483647 h 2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2" h="200">
                  <a:moveTo>
                    <a:pt x="0" y="100"/>
                  </a:moveTo>
                  <a:lnTo>
                    <a:pt x="8" y="67"/>
                  </a:lnTo>
                  <a:lnTo>
                    <a:pt x="13" y="67"/>
                  </a:lnTo>
                  <a:lnTo>
                    <a:pt x="8" y="44"/>
                  </a:lnTo>
                  <a:lnTo>
                    <a:pt x="39" y="44"/>
                  </a:lnTo>
                  <a:lnTo>
                    <a:pt x="39" y="0"/>
                  </a:lnTo>
                  <a:lnTo>
                    <a:pt x="69" y="10"/>
                  </a:lnTo>
                  <a:lnTo>
                    <a:pt x="69" y="33"/>
                  </a:lnTo>
                  <a:lnTo>
                    <a:pt x="82" y="33"/>
                  </a:lnTo>
                  <a:lnTo>
                    <a:pt x="77" y="146"/>
                  </a:lnTo>
                  <a:lnTo>
                    <a:pt x="58" y="133"/>
                  </a:lnTo>
                  <a:lnTo>
                    <a:pt x="32" y="200"/>
                  </a:lnTo>
                  <a:lnTo>
                    <a:pt x="0" y="10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59" name="Freeform 925"/>
            <p:cNvSpPr>
              <a:spLocks/>
            </p:cNvSpPr>
            <p:nvPr>
              <p:custDataLst>
                <p:tags r:id="rId767"/>
              </p:custDataLst>
            </p:nvPr>
          </p:nvSpPr>
          <p:spPr bwMode="auto">
            <a:xfrm>
              <a:off x="5529868" y="4446184"/>
              <a:ext cx="92225" cy="34925"/>
            </a:xfrm>
            <a:custGeom>
              <a:avLst/>
              <a:gdLst>
                <a:gd name="T0" fmla="*/ 0 w 50"/>
                <a:gd name="T1" fmla="*/ 2147483647 h 44"/>
                <a:gd name="T2" fmla="*/ 2147483647 w 50"/>
                <a:gd name="T3" fmla="*/ 0 h 44"/>
                <a:gd name="T4" fmla="*/ 2147483647 w 50"/>
                <a:gd name="T5" fmla="*/ 2147483647 h 44"/>
                <a:gd name="T6" fmla="*/ 0 w 50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44">
                  <a:moveTo>
                    <a:pt x="0" y="44"/>
                  </a:moveTo>
                  <a:lnTo>
                    <a:pt x="7" y="0"/>
                  </a:lnTo>
                  <a:lnTo>
                    <a:pt x="50" y="12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60" name="Freeform 926"/>
            <p:cNvSpPr>
              <a:spLocks/>
            </p:cNvSpPr>
            <p:nvPr>
              <p:custDataLst>
                <p:tags r:id="rId768"/>
              </p:custDataLst>
            </p:nvPr>
          </p:nvSpPr>
          <p:spPr bwMode="auto">
            <a:xfrm>
              <a:off x="5529868" y="4446184"/>
              <a:ext cx="92225" cy="34925"/>
            </a:xfrm>
            <a:custGeom>
              <a:avLst/>
              <a:gdLst>
                <a:gd name="T0" fmla="*/ 0 w 50"/>
                <a:gd name="T1" fmla="*/ 2147483647 h 44"/>
                <a:gd name="T2" fmla="*/ 2147483647 w 50"/>
                <a:gd name="T3" fmla="*/ 0 h 44"/>
                <a:gd name="T4" fmla="*/ 2147483647 w 50"/>
                <a:gd name="T5" fmla="*/ 2147483647 h 44"/>
                <a:gd name="T6" fmla="*/ 0 w 50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44">
                  <a:moveTo>
                    <a:pt x="0" y="44"/>
                  </a:moveTo>
                  <a:lnTo>
                    <a:pt x="7" y="0"/>
                  </a:lnTo>
                  <a:lnTo>
                    <a:pt x="50" y="12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61" name="Freeform 927"/>
            <p:cNvSpPr>
              <a:spLocks/>
            </p:cNvSpPr>
            <p:nvPr>
              <p:custDataLst>
                <p:tags r:id="rId769"/>
              </p:custDataLst>
            </p:nvPr>
          </p:nvSpPr>
          <p:spPr bwMode="auto">
            <a:xfrm>
              <a:off x="5529868" y="4446184"/>
              <a:ext cx="92225" cy="34925"/>
            </a:xfrm>
            <a:custGeom>
              <a:avLst/>
              <a:gdLst>
                <a:gd name="T0" fmla="*/ 0 w 50"/>
                <a:gd name="T1" fmla="*/ 2147483647 h 44"/>
                <a:gd name="T2" fmla="*/ 2147483647 w 50"/>
                <a:gd name="T3" fmla="*/ 0 h 44"/>
                <a:gd name="T4" fmla="*/ 2147483647 w 50"/>
                <a:gd name="T5" fmla="*/ 2147483647 h 44"/>
                <a:gd name="T6" fmla="*/ 0 w 50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44">
                  <a:moveTo>
                    <a:pt x="0" y="44"/>
                  </a:moveTo>
                  <a:lnTo>
                    <a:pt x="7" y="0"/>
                  </a:lnTo>
                  <a:lnTo>
                    <a:pt x="50" y="12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62" name="Freeform 928"/>
            <p:cNvSpPr>
              <a:spLocks/>
            </p:cNvSpPr>
            <p:nvPr>
              <p:custDataLst>
                <p:tags r:id="rId770"/>
              </p:custDataLst>
            </p:nvPr>
          </p:nvSpPr>
          <p:spPr bwMode="auto">
            <a:xfrm>
              <a:off x="5529868" y="4446184"/>
              <a:ext cx="92225" cy="34925"/>
            </a:xfrm>
            <a:custGeom>
              <a:avLst/>
              <a:gdLst>
                <a:gd name="T0" fmla="*/ 0 w 50"/>
                <a:gd name="T1" fmla="*/ 2147483647 h 44"/>
                <a:gd name="T2" fmla="*/ 2147483647 w 50"/>
                <a:gd name="T3" fmla="*/ 0 h 44"/>
                <a:gd name="T4" fmla="*/ 2147483647 w 50"/>
                <a:gd name="T5" fmla="*/ 2147483647 h 44"/>
                <a:gd name="T6" fmla="*/ 0 w 50"/>
                <a:gd name="T7" fmla="*/ 2147483647 h 4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44">
                  <a:moveTo>
                    <a:pt x="0" y="44"/>
                  </a:moveTo>
                  <a:lnTo>
                    <a:pt x="7" y="0"/>
                  </a:lnTo>
                  <a:lnTo>
                    <a:pt x="50" y="12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63" name="Freeform 929"/>
            <p:cNvSpPr>
              <a:spLocks/>
            </p:cNvSpPr>
            <p:nvPr>
              <p:custDataLst>
                <p:tags r:id="rId771"/>
              </p:custDataLst>
            </p:nvPr>
          </p:nvSpPr>
          <p:spPr bwMode="auto">
            <a:xfrm>
              <a:off x="5924823" y="4516008"/>
              <a:ext cx="128313" cy="158750"/>
            </a:xfrm>
            <a:custGeom>
              <a:avLst/>
              <a:gdLst>
                <a:gd name="T0" fmla="*/ 0 w 69"/>
                <a:gd name="T1" fmla="*/ 2147483647 h 199"/>
                <a:gd name="T2" fmla="*/ 2147483647 w 69"/>
                <a:gd name="T3" fmla="*/ 2147483647 h 199"/>
                <a:gd name="T4" fmla="*/ 2147483647 w 69"/>
                <a:gd name="T5" fmla="*/ 0 h 199"/>
                <a:gd name="T6" fmla="*/ 2147483647 w 69"/>
                <a:gd name="T7" fmla="*/ 0 h 199"/>
                <a:gd name="T8" fmla="*/ 2147483647 w 69"/>
                <a:gd name="T9" fmla="*/ 2147483647 h 199"/>
                <a:gd name="T10" fmla="*/ 2147483647 w 69"/>
                <a:gd name="T11" fmla="*/ 2147483647 h 199"/>
                <a:gd name="T12" fmla="*/ 0 w 69"/>
                <a:gd name="T13" fmla="*/ 2147483647 h 1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199">
                  <a:moveTo>
                    <a:pt x="0" y="190"/>
                  </a:moveTo>
                  <a:lnTo>
                    <a:pt x="6" y="44"/>
                  </a:lnTo>
                  <a:lnTo>
                    <a:pt x="6" y="0"/>
                  </a:lnTo>
                  <a:lnTo>
                    <a:pt x="43" y="0"/>
                  </a:lnTo>
                  <a:lnTo>
                    <a:pt x="69" y="155"/>
                  </a:lnTo>
                  <a:lnTo>
                    <a:pt x="19" y="199"/>
                  </a:lnTo>
                  <a:lnTo>
                    <a:pt x="0" y="19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64" name="Freeform 930"/>
            <p:cNvSpPr>
              <a:spLocks/>
            </p:cNvSpPr>
            <p:nvPr>
              <p:custDataLst>
                <p:tags r:id="rId772"/>
              </p:custDataLst>
            </p:nvPr>
          </p:nvSpPr>
          <p:spPr bwMode="auto">
            <a:xfrm>
              <a:off x="5924823" y="4516008"/>
              <a:ext cx="128313" cy="158750"/>
            </a:xfrm>
            <a:custGeom>
              <a:avLst/>
              <a:gdLst>
                <a:gd name="T0" fmla="*/ 0 w 69"/>
                <a:gd name="T1" fmla="*/ 2147483647 h 199"/>
                <a:gd name="T2" fmla="*/ 2147483647 w 69"/>
                <a:gd name="T3" fmla="*/ 2147483647 h 199"/>
                <a:gd name="T4" fmla="*/ 2147483647 w 69"/>
                <a:gd name="T5" fmla="*/ 0 h 199"/>
                <a:gd name="T6" fmla="*/ 2147483647 w 69"/>
                <a:gd name="T7" fmla="*/ 0 h 199"/>
                <a:gd name="T8" fmla="*/ 2147483647 w 69"/>
                <a:gd name="T9" fmla="*/ 2147483647 h 199"/>
                <a:gd name="T10" fmla="*/ 2147483647 w 69"/>
                <a:gd name="T11" fmla="*/ 2147483647 h 199"/>
                <a:gd name="T12" fmla="*/ 0 w 69"/>
                <a:gd name="T13" fmla="*/ 2147483647 h 1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199">
                  <a:moveTo>
                    <a:pt x="0" y="190"/>
                  </a:moveTo>
                  <a:lnTo>
                    <a:pt x="6" y="44"/>
                  </a:lnTo>
                  <a:lnTo>
                    <a:pt x="6" y="0"/>
                  </a:lnTo>
                  <a:lnTo>
                    <a:pt x="43" y="0"/>
                  </a:lnTo>
                  <a:lnTo>
                    <a:pt x="69" y="155"/>
                  </a:lnTo>
                  <a:lnTo>
                    <a:pt x="19" y="199"/>
                  </a:lnTo>
                  <a:lnTo>
                    <a:pt x="0" y="19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65" name="Freeform 931"/>
            <p:cNvSpPr>
              <a:spLocks/>
            </p:cNvSpPr>
            <p:nvPr>
              <p:custDataLst>
                <p:tags r:id="rId773"/>
              </p:custDataLst>
            </p:nvPr>
          </p:nvSpPr>
          <p:spPr bwMode="auto">
            <a:xfrm>
              <a:off x="5924823" y="4516008"/>
              <a:ext cx="128313" cy="158750"/>
            </a:xfrm>
            <a:custGeom>
              <a:avLst/>
              <a:gdLst>
                <a:gd name="T0" fmla="*/ 0 w 69"/>
                <a:gd name="T1" fmla="*/ 2147483647 h 199"/>
                <a:gd name="T2" fmla="*/ 2147483647 w 69"/>
                <a:gd name="T3" fmla="*/ 2147483647 h 199"/>
                <a:gd name="T4" fmla="*/ 2147483647 w 69"/>
                <a:gd name="T5" fmla="*/ 0 h 199"/>
                <a:gd name="T6" fmla="*/ 2147483647 w 69"/>
                <a:gd name="T7" fmla="*/ 0 h 199"/>
                <a:gd name="T8" fmla="*/ 2147483647 w 69"/>
                <a:gd name="T9" fmla="*/ 2147483647 h 199"/>
                <a:gd name="T10" fmla="*/ 2147483647 w 69"/>
                <a:gd name="T11" fmla="*/ 2147483647 h 199"/>
                <a:gd name="T12" fmla="*/ 0 w 69"/>
                <a:gd name="T13" fmla="*/ 2147483647 h 1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199">
                  <a:moveTo>
                    <a:pt x="0" y="190"/>
                  </a:moveTo>
                  <a:lnTo>
                    <a:pt x="6" y="44"/>
                  </a:lnTo>
                  <a:lnTo>
                    <a:pt x="6" y="0"/>
                  </a:lnTo>
                  <a:lnTo>
                    <a:pt x="43" y="0"/>
                  </a:lnTo>
                  <a:lnTo>
                    <a:pt x="69" y="155"/>
                  </a:lnTo>
                  <a:lnTo>
                    <a:pt x="19" y="199"/>
                  </a:lnTo>
                  <a:lnTo>
                    <a:pt x="0" y="19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66" name="Freeform 932"/>
            <p:cNvSpPr>
              <a:spLocks/>
            </p:cNvSpPr>
            <p:nvPr>
              <p:custDataLst>
                <p:tags r:id="rId774"/>
              </p:custDataLst>
            </p:nvPr>
          </p:nvSpPr>
          <p:spPr bwMode="auto">
            <a:xfrm>
              <a:off x="5924823" y="4516008"/>
              <a:ext cx="128313" cy="158750"/>
            </a:xfrm>
            <a:custGeom>
              <a:avLst/>
              <a:gdLst>
                <a:gd name="T0" fmla="*/ 0 w 69"/>
                <a:gd name="T1" fmla="*/ 2147483647 h 199"/>
                <a:gd name="T2" fmla="*/ 2147483647 w 69"/>
                <a:gd name="T3" fmla="*/ 2147483647 h 199"/>
                <a:gd name="T4" fmla="*/ 2147483647 w 69"/>
                <a:gd name="T5" fmla="*/ 0 h 199"/>
                <a:gd name="T6" fmla="*/ 2147483647 w 69"/>
                <a:gd name="T7" fmla="*/ 0 h 199"/>
                <a:gd name="T8" fmla="*/ 2147483647 w 69"/>
                <a:gd name="T9" fmla="*/ 2147483647 h 199"/>
                <a:gd name="T10" fmla="*/ 2147483647 w 69"/>
                <a:gd name="T11" fmla="*/ 2147483647 h 199"/>
                <a:gd name="T12" fmla="*/ 0 w 69"/>
                <a:gd name="T13" fmla="*/ 2147483647 h 1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9" h="199">
                  <a:moveTo>
                    <a:pt x="0" y="190"/>
                  </a:moveTo>
                  <a:lnTo>
                    <a:pt x="6" y="44"/>
                  </a:lnTo>
                  <a:lnTo>
                    <a:pt x="6" y="0"/>
                  </a:lnTo>
                  <a:lnTo>
                    <a:pt x="43" y="0"/>
                  </a:lnTo>
                  <a:lnTo>
                    <a:pt x="69" y="155"/>
                  </a:lnTo>
                  <a:lnTo>
                    <a:pt x="19" y="199"/>
                  </a:lnTo>
                  <a:lnTo>
                    <a:pt x="0" y="19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67" name="Freeform 933"/>
            <p:cNvSpPr>
              <a:spLocks/>
            </p:cNvSpPr>
            <p:nvPr>
              <p:custDataLst>
                <p:tags r:id="rId775"/>
              </p:custDataLst>
            </p:nvPr>
          </p:nvSpPr>
          <p:spPr bwMode="auto">
            <a:xfrm>
              <a:off x="5577994" y="4471584"/>
              <a:ext cx="220539" cy="142875"/>
            </a:xfrm>
            <a:custGeom>
              <a:avLst/>
              <a:gdLst>
                <a:gd name="T0" fmla="*/ 0 w 119"/>
                <a:gd name="T1" fmla="*/ 2147483647 h 178"/>
                <a:gd name="T2" fmla="*/ 2147483647 w 119"/>
                <a:gd name="T3" fmla="*/ 2147483647 h 178"/>
                <a:gd name="T4" fmla="*/ 2147483647 w 119"/>
                <a:gd name="T5" fmla="*/ 0 h 178"/>
                <a:gd name="T6" fmla="*/ 2147483647 w 119"/>
                <a:gd name="T7" fmla="*/ 2147483647 h 178"/>
                <a:gd name="T8" fmla="*/ 2147483647 w 119"/>
                <a:gd name="T9" fmla="*/ 2147483647 h 178"/>
                <a:gd name="T10" fmla="*/ 2147483647 w 119"/>
                <a:gd name="T11" fmla="*/ 2147483647 h 178"/>
                <a:gd name="T12" fmla="*/ 2147483647 w 119"/>
                <a:gd name="T13" fmla="*/ 2147483647 h 178"/>
                <a:gd name="T14" fmla="*/ 2147483647 w 119"/>
                <a:gd name="T15" fmla="*/ 2147483647 h 178"/>
                <a:gd name="T16" fmla="*/ 2147483647 w 119"/>
                <a:gd name="T17" fmla="*/ 2147483647 h 178"/>
                <a:gd name="T18" fmla="*/ 2147483647 w 119"/>
                <a:gd name="T19" fmla="*/ 2147483647 h 178"/>
                <a:gd name="T20" fmla="*/ 2147483647 w 119"/>
                <a:gd name="T21" fmla="*/ 2147483647 h 178"/>
                <a:gd name="T22" fmla="*/ 2147483647 w 119"/>
                <a:gd name="T23" fmla="*/ 2147483647 h 178"/>
                <a:gd name="T24" fmla="*/ 2147483647 w 119"/>
                <a:gd name="T25" fmla="*/ 2147483647 h 178"/>
                <a:gd name="T26" fmla="*/ 2147483647 w 119"/>
                <a:gd name="T27" fmla="*/ 2147483647 h 178"/>
                <a:gd name="T28" fmla="*/ 2147483647 w 119"/>
                <a:gd name="T29" fmla="*/ 2147483647 h 178"/>
                <a:gd name="T30" fmla="*/ 0 w 119"/>
                <a:gd name="T31" fmla="*/ 2147483647 h 1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9" h="178">
                  <a:moveTo>
                    <a:pt x="0" y="56"/>
                  </a:moveTo>
                  <a:lnTo>
                    <a:pt x="25" y="32"/>
                  </a:lnTo>
                  <a:lnTo>
                    <a:pt x="25" y="0"/>
                  </a:lnTo>
                  <a:lnTo>
                    <a:pt x="62" y="11"/>
                  </a:lnTo>
                  <a:lnTo>
                    <a:pt x="69" y="32"/>
                  </a:lnTo>
                  <a:lnTo>
                    <a:pt x="93" y="11"/>
                  </a:lnTo>
                  <a:lnTo>
                    <a:pt x="112" y="77"/>
                  </a:lnTo>
                  <a:lnTo>
                    <a:pt x="119" y="144"/>
                  </a:lnTo>
                  <a:lnTo>
                    <a:pt x="106" y="134"/>
                  </a:lnTo>
                  <a:lnTo>
                    <a:pt x="106" y="165"/>
                  </a:lnTo>
                  <a:lnTo>
                    <a:pt x="88" y="178"/>
                  </a:lnTo>
                  <a:lnTo>
                    <a:pt x="88" y="144"/>
                  </a:lnTo>
                  <a:lnTo>
                    <a:pt x="74" y="144"/>
                  </a:lnTo>
                  <a:lnTo>
                    <a:pt x="62" y="90"/>
                  </a:lnTo>
                  <a:lnTo>
                    <a:pt x="32" y="121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68" name="Freeform 934"/>
            <p:cNvSpPr>
              <a:spLocks/>
            </p:cNvSpPr>
            <p:nvPr>
              <p:custDataLst>
                <p:tags r:id="rId776"/>
              </p:custDataLst>
            </p:nvPr>
          </p:nvSpPr>
          <p:spPr bwMode="auto">
            <a:xfrm>
              <a:off x="5577994" y="4471584"/>
              <a:ext cx="220539" cy="142875"/>
            </a:xfrm>
            <a:custGeom>
              <a:avLst/>
              <a:gdLst>
                <a:gd name="T0" fmla="*/ 0 w 119"/>
                <a:gd name="T1" fmla="*/ 2147483647 h 178"/>
                <a:gd name="T2" fmla="*/ 2147483647 w 119"/>
                <a:gd name="T3" fmla="*/ 2147483647 h 178"/>
                <a:gd name="T4" fmla="*/ 2147483647 w 119"/>
                <a:gd name="T5" fmla="*/ 0 h 178"/>
                <a:gd name="T6" fmla="*/ 2147483647 w 119"/>
                <a:gd name="T7" fmla="*/ 2147483647 h 178"/>
                <a:gd name="T8" fmla="*/ 2147483647 w 119"/>
                <a:gd name="T9" fmla="*/ 2147483647 h 178"/>
                <a:gd name="T10" fmla="*/ 2147483647 w 119"/>
                <a:gd name="T11" fmla="*/ 2147483647 h 178"/>
                <a:gd name="T12" fmla="*/ 2147483647 w 119"/>
                <a:gd name="T13" fmla="*/ 2147483647 h 178"/>
                <a:gd name="T14" fmla="*/ 2147483647 w 119"/>
                <a:gd name="T15" fmla="*/ 2147483647 h 178"/>
                <a:gd name="T16" fmla="*/ 2147483647 w 119"/>
                <a:gd name="T17" fmla="*/ 2147483647 h 178"/>
                <a:gd name="T18" fmla="*/ 2147483647 w 119"/>
                <a:gd name="T19" fmla="*/ 2147483647 h 178"/>
                <a:gd name="T20" fmla="*/ 2147483647 w 119"/>
                <a:gd name="T21" fmla="*/ 2147483647 h 178"/>
                <a:gd name="T22" fmla="*/ 2147483647 w 119"/>
                <a:gd name="T23" fmla="*/ 2147483647 h 178"/>
                <a:gd name="T24" fmla="*/ 2147483647 w 119"/>
                <a:gd name="T25" fmla="*/ 2147483647 h 178"/>
                <a:gd name="T26" fmla="*/ 2147483647 w 119"/>
                <a:gd name="T27" fmla="*/ 2147483647 h 178"/>
                <a:gd name="T28" fmla="*/ 2147483647 w 119"/>
                <a:gd name="T29" fmla="*/ 2147483647 h 178"/>
                <a:gd name="T30" fmla="*/ 0 w 119"/>
                <a:gd name="T31" fmla="*/ 2147483647 h 1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9" h="178">
                  <a:moveTo>
                    <a:pt x="0" y="56"/>
                  </a:moveTo>
                  <a:lnTo>
                    <a:pt x="25" y="32"/>
                  </a:lnTo>
                  <a:lnTo>
                    <a:pt x="25" y="0"/>
                  </a:lnTo>
                  <a:lnTo>
                    <a:pt x="62" y="11"/>
                  </a:lnTo>
                  <a:lnTo>
                    <a:pt x="69" y="32"/>
                  </a:lnTo>
                  <a:lnTo>
                    <a:pt x="93" y="11"/>
                  </a:lnTo>
                  <a:lnTo>
                    <a:pt x="112" y="77"/>
                  </a:lnTo>
                  <a:lnTo>
                    <a:pt x="119" y="144"/>
                  </a:lnTo>
                  <a:lnTo>
                    <a:pt x="106" y="134"/>
                  </a:lnTo>
                  <a:lnTo>
                    <a:pt x="106" y="165"/>
                  </a:lnTo>
                  <a:lnTo>
                    <a:pt x="88" y="178"/>
                  </a:lnTo>
                  <a:lnTo>
                    <a:pt x="88" y="144"/>
                  </a:lnTo>
                  <a:lnTo>
                    <a:pt x="74" y="144"/>
                  </a:lnTo>
                  <a:lnTo>
                    <a:pt x="62" y="90"/>
                  </a:lnTo>
                  <a:lnTo>
                    <a:pt x="32" y="121"/>
                  </a:lnTo>
                  <a:lnTo>
                    <a:pt x="0" y="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69" name="Freeform 935"/>
            <p:cNvSpPr>
              <a:spLocks/>
            </p:cNvSpPr>
            <p:nvPr>
              <p:custDataLst>
                <p:tags r:id="rId777"/>
              </p:custDataLst>
            </p:nvPr>
          </p:nvSpPr>
          <p:spPr bwMode="auto">
            <a:xfrm>
              <a:off x="5577994" y="4471584"/>
              <a:ext cx="220539" cy="142875"/>
            </a:xfrm>
            <a:custGeom>
              <a:avLst/>
              <a:gdLst>
                <a:gd name="T0" fmla="*/ 0 w 119"/>
                <a:gd name="T1" fmla="*/ 2147483647 h 178"/>
                <a:gd name="T2" fmla="*/ 2147483647 w 119"/>
                <a:gd name="T3" fmla="*/ 2147483647 h 178"/>
                <a:gd name="T4" fmla="*/ 2147483647 w 119"/>
                <a:gd name="T5" fmla="*/ 0 h 178"/>
                <a:gd name="T6" fmla="*/ 2147483647 w 119"/>
                <a:gd name="T7" fmla="*/ 2147483647 h 178"/>
                <a:gd name="T8" fmla="*/ 2147483647 w 119"/>
                <a:gd name="T9" fmla="*/ 2147483647 h 178"/>
                <a:gd name="T10" fmla="*/ 2147483647 w 119"/>
                <a:gd name="T11" fmla="*/ 2147483647 h 178"/>
                <a:gd name="T12" fmla="*/ 2147483647 w 119"/>
                <a:gd name="T13" fmla="*/ 2147483647 h 178"/>
                <a:gd name="T14" fmla="*/ 2147483647 w 119"/>
                <a:gd name="T15" fmla="*/ 2147483647 h 178"/>
                <a:gd name="T16" fmla="*/ 2147483647 w 119"/>
                <a:gd name="T17" fmla="*/ 2147483647 h 178"/>
                <a:gd name="T18" fmla="*/ 2147483647 w 119"/>
                <a:gd name="T19" fmla="*/ 2147483647 h 178"/>
                <a:gd name="T20" fmla="*/ 2147483647 w 119"/>
                <a:gd name="T21" fmla="*/ 2147483647 h 178"/>
                <a:gd name="T22" fmla="*/ 2147483647 w 119"/>
                <a:gd name="T23" fmla="*/ 2147483647 h 178"/>
                <a:gd name="T24" fmla="*/ 2147483647 w 119"/>
                <a:gd name="T25" fmla="*/ 2147483647 h 178"/>
                <a:gd name="T26" fmla="*/ 2147483647 w 119"/>
                <a:gd name="T27" fmla="*/ 2147483647 h 178"/>
                <a:gd name="T28" fmla="*/ 2147483647 w 119"/>
                <a:gd name="T29" fmla="*/ 2147483647 h 178"/>
                <a:gd name="T30" fmla="*/ 0 w 119"/>
                <a:gd name="T31" fmla="*/ 2147483647 h 1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9" h="178">
                  <a:moveTo>
                    <a:pt x="0" y="56"/>
                  </a:moveTo>
                  <a:lnTo>
                    <a:pt x="25" y="32"/>
                  </a:lnTo>
                  <a:lnTo>
                    <a:pt x="25" y="0"/>
                  </a:lnTo>
                  <a:lnTo>
                    <a:pt x="62" y="11"/>
                  </a:lnTo>
                  <a:lnTo>
                    <a:pt x="69" y="32"/>
                  </a:lnTo>
                  <a:lnTo>
                    <a:pt x="93" y="11"/>
                  </a:lnTo>
                  <a:lnTo>
                    <a:pt x="112" y="77"/>
                  </a:lnTo>
                  <a:lnTo>
                    <a:pt x="119" y="144"/>
                  </a:lnTo>
                  <a:lnTo>
                    <a:pt x="106" y="134"/>
                  </a:lnTo>
                  <a:lnTo>
                    <a:pt x="106" y="165"/>
                  </a:lnTo>
                  <a:lnTo>
                    <a:pt x="88" y="178"/>
                  </a:lnTo>
                  <a:lnTo>
                    <a:pt x="88" y="144"/>
                  </a:lnTo>
                  <a:lnTo>
                    <a:pt x="74" y="144"/>
                  </a:lnTo>
                  <a:lnTo>
                    <a:pt x="62" y="90"/>
                  </a:lnTo>
                  <a:lnTo>
                    <a:pt x="32" y="121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70" name="Freeform 936"/>
            <p:cNvSpPr>
              <a:spLocks/>
            </p:cNvSpPr>
            <p:nvPr>
              <p:custDataLst>
                <p:tags r:id="rId778"/>
              </p:custDataLst>
            </p:nvPr>
          </p:nvSpPr>
          <p:spPr bwMode="auto">
            <a:xfrm>
              <a:off x="5577994" y="4471584"/>
              <a:ext cx="220539" cy="142875"/>
            </a:xfrm>
            <a:custGeom>
              <a:avLst/>
              <a:gdLst>
                <a:gd name="T0" fmla="*/ 0 w 119"/>
                <a:gd name="T1" fmla="*/ 2147483647 h 178"/>
                <a:gd name="T2" fmla="*/ 2147483647 w 119"/>
                <a:gd name="T3" fmla="*/ 2147483647 h 178"/>
                <a:gd name="T4" fmla="*/ 2147483647 w 119"/>
                <a:gd name="T5" fmla="*/ 0 h 178"/>
                <a:gd name="T6" fmla="*/ 2147483647 w 119"/>
                <a:gd name="T7" fmla="*/ 2147483647 h 178"/>
                <a:gd name="T8" fmla="*/ 2147483647 w 119"/>
                <a:gd name="T9" fmla="*/ 2147483647 h 178"/>
                <a:gd name="T10" fmla="*/ 2147483647 w 119"/>
                <a:gd name="T11" fmla="*/ 2147483647 h 178"/>
                <a:gd name="T12" fmla="*/ 2147483647 w 119"/>
                <a:gd name="T13" fmla="*/ 2147483647 h 178"/>
                <a:gd name="T14" fmla="*/ 2147483647 w 119"/>
                <a:gd name="T15" fmla="*/ 2147483647 h 178"/>
                <a:gd name="T16" fmla="*/ 2147483647 w 119"/>
                <a:gd name="T17" fmla="*/ 2147483647 h 178"/>
                <a:gd name="T18" fmla="*/ 2147483647 w 119"/>
                <a:gd name="T19" fmla="*/ 2147483647 h 178"/>
                <a:gd name="T20" fmla="*/ 2147483647 w 119"/>
                <a:gd name="T21" fmla="*/ 2147483647 h 178"/>
                <a:gd name="T22" fmla="*/ 2147483647 w 119"/>
                <a:gd name="T23" fmla="*/ 2147483647 h 178"/>
                <a:gd name="T24" fmla="*/ 2147483647 w 119"/>
                <a:gd name="T25" fmla="*/ 2147483647 h 178"/>
                <a:gd name="T26" fmla="*/ 2147483647 w 119"/>
                <a:gd name="T27" fmla="*/ 2147483647 h 178"/>
                <a:gd name="T28" fmla="*/ 2147483647 w 119"/>
                <a:gd name="T29" fmla="*/ 2147483647 h 178"/>
                <a:gd name="T30" fmla="*/ 0 w 119"/>
                <a:gd name="T31" fmla="*/ 2147483647 h 178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9" h="178">
                  <a:moveTo>
                    <a:pt x="0" y="56"/>
                  </a:moveTo>
                  <a:lnTo>
                    <a:pt x="25" y="32"/>
                  </a:lnTo>
                  <a:lnTo>
                    <a:pt x="25" y="0"/>
                  </a:lnTo>
                  <a:lnTo>
                    <a:pt x="62" y="11"/>
                  </a:lnTo>
                  <a:lnTo>
                    <a:pt x="69" y="32"/>
                  </a:lnTo>
                  <a:lnTo>
                    <a:pt x="93" y="11"/>
                  </a:lnTo>
                  <a:lnTo>
                    <a:pt x="112" y="77"/>
                  </a:lnTo>
                  <a:lnTo>
                    <a:pt x="119" y="144"/>
                  </a:lnTo>
                  <a:lnTo>
                    <a:pt x="106" y="134"/>
                  </a:lnTo>
                  <a:lnTo>
                    <a:pt x="106" y="165"/>
                  </a:lnTo>
                  <a:lnTo>
                    <a:pt x="88" y="178"/>
                  </a:lnTo>
                  <a:lnTo>
                    <a:pt x="88" y="144"/>
                  </a:lnTo>
                  <a:lnTo>
                    <a:pt x="74" y="144"/>
                  </a:lnTo>
                  <a:lnTo>
                    <a:pt x="62" y="90"/>
                  </a:lnTo>
                  <a:lnTo>
                    <a:pt x="32" y="121"/>
                  </a:lnTo>
                  <a:lnTo>
                    <a:pt x="0" y="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71" name="Freeform 937"/>
            <p:cNvSpPr>
              <a:spLocks/>
            </p:cNvSpPr>
            <p:nvPr>
              <p:custDataLst>
                <p:tags r:id="rId779"/>
              </p:custDataLst>
            </p:nvPr>
          </p:nvSpPr>
          <p:spPr bwMode="auto">
            <a:xfrm>
              <a:off x="7302181" y="4041362"/>
              <a:ext cx="46112" cy="23813"/>
            </a:xfrm>
            <a:custGeom>
              <a:avLst/>
              <a:gdLst>
                <a:gd name="T0" fmla="*/ 0 w 25"/>
                <a:gd name="T1" fmla="*/ 0 h 31"/>
                <a:gd name="T2" fmla="*/ 2147483647 w 25"/>
                <a:gd name="T3" fmla="*/ 2147483647 h 31"/>
                <a:gd name="T4" fmla="*/ 2147483647 w 25"/>
                <a:gd name="T5" fmla="*/ 2147483647 h 31"/>
                <a:gd name="T6" fmla="*/ 0 w 25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" h="31">
                  <a:moveTo>
                    <a:pt x="0" y="0"/>
                  </a:moveTo>
                  <a:lnTo>
                    <a:pt x="13" y="31"/>
                  </a:lnTo>
                  <a:lnTo>
                    <a:pt x="25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72" name="Freeform 938"/>
            <p:cNvSpPr>
              <a:spLocks/>
            </p:cNvSpPr>
            <p:nvPr>
              <p:custDataLst>
                <p:tags r:id="rId780"/>
              </p:custDataLst>
            </p:nvPr>
          </p:nvSpPr>
          <p:spPr bwMode="auto">
            <a:xfrm>
              <a:off x="7302181" y="4041362"/>
              <a:ext cx="46112" cy="23813"/>
            </a:xfrm>
            <a:custGeom>
              <a:avLst/>
              <a:gdLst>
                <a:gd name="T0" fmla="*/ 0 w 25"/>
                <a:gd name="T1" fmla="*/ 0 h 31"/>
                <a:gd name="T2" fmla="*/ 2147483647 w 25"/>
                <a:gd name="T3" fmla="*/ 2147483647 h 31"/>
                <a:gd name="T4" fmla="*/ 2147483647 w 25"/>
                <a:gd name="T5" fmla="*/ 2147483647 h 31"/>
                <a:gd name="T6" fmla="*/ 0 w 25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" h="31">
                  <a:moveTo>
                    <a:pt x="0" y="0"/>
                  </a:moveTo>
                  <a:lnTo>
                    <a:pt x="13" y="31"/>
                  </a:lnTo>
                  <a:lnTo>
                    <a:pt x="25" y="1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73" name="Freeform 939"/>
            <p:cNvSpPr>
              <a:spLocks/>
            </p:cNvSpPr>
            <p:nvPr>
              <p:custDataLst>
                <p:tags r:id="rId781"/>
              </p:custDataLst>
            </p:nvPr>
          </p:nvSpPr>
          <p:spPr bwMode="auto">
            <a:xfrm>
              <a:off x="7302181" y="4041362"/>
              <a:ext cx="46112" cy="23813"/>
            </a:xfrm>
            <a:custGeom>
              <a:avLst/>
              <a:gdLst>
                <a:gd name="T0" fmla="*/ 0 w 25"/>
                <a:gd name="T1" fmla="*/ 0 h 31"/>
                <a:gd name="T2" fmla="*/ 2147483647 w 25"/>
                <a:gd name="T3" fmla="*/ 2147483647 h 31"/>
                <a:gd name="T4" fmla="*/ 2147483647 w 25"/>
                <a:gd name="T5" fmla="*/ 2147483647 h 31"/>
                <a:gd name="T6" fmla="*/ 0 w 25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" h="31">
                  <a:moveTo>
                    <a:pt x="0" y="0"/>
                  </a:moveTo>
                  <a:lnTo>
                    <a:pt x="13" y="31"/>
                  </a:lnTo>
                  <a:lnTo>
                    <a:pt x="25" y="1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74" name="Freeform 940"/>
            <p:cNvSpPr>
              <a:spLocks/>
            </p:cNvSpPr>
            <p:nvPr>
              <p:custDataLst>
                <p:tags r:id="rId782"/>
              </p:custDataLst>
            </p:nvPr>
          </p:nvSpPr>
          <p:spPr bwMode="auto">
            <a:xfrm>
              <a:off x="7302181" y="4041362"/>
              <a:ext cx="46112" cy="23813"/>
            </a:xfrm>
            <a:custGeom>
              <a:avLst/>
              <a:gdLst>
                <a:gd name="T0" fmla="*/ 0 w 25"/>
                <a:gd name="T1" fmla="*/ 0 h 31"/>
                <a:gd name="T2" fmla="*/ 2147483647 w 25"/>
                <a:gd name="T3" fmla="*/ 2147483647 h 31"/>
                <a:gd name="T4" fmla="*/ 2147483647 w 25"/>
                <a:gd name="T5" fmla="*/ 2147483647 h 31"/>
                <a:gd name="T6" fmla="*/ 0 w 25"/>
                <a:gd name="T7" fmla="*/ 0 h 31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5" h="31">
                  <a:moveTo>
                    <a:pt x="0" y="0"/>
                  </a:moveTo>
                  <a:lnTo>
                    <a:pt x="13" y="31"/>
                  </a:lnTo>
                  <a:lnTo>
                    <a:pt x="25" y="10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75" name="Freeform 941"/>
            <p:cNvSpPr>
              <a:spLocks/>
            </p:cNvSpPr>
            <p:nvPr>
              <p:custDataLst>
                <p:tags r:id="rId783"/>
              </p:custDataLst>
            </p:nvPr>
          </p:nvSpPr>
          <p:spPr bwMode="auto">
            <a:xfrm>
              <a:off x="6989425" y="3925469"/>
              <a:ext cx="46112" cy="103187"/>
            </a:xfrm>
            <a:custGeom>
              <a:avLst/>
              <a:gdLst>
                <a:gd name="T0" fmla="*/ 0 w 25"/>
                <a:gd name="T1" fmla="*/ 2147483647 h 131"/>
                <a:gd name="T2" fmla="*/ 2147483647 w 25"/>
                <a:gd name="T3" fmla="*/ 2147483647 h 131"/>
                <a:gd name="T4" fmla="*/ 2147483647 w 25"/>
                <a:gd name="T5" fmla="*/ 2147483647 h 131"/>
                <a:gd name="T6" fmla="*/ 2147483647 w 25"/>
                <a:gd name="T7" fmla="*/ 2147483647 h 131"/>
                <a:gd name="T8" fmla="*/ 2147483647 w 25"/>
                <a:gd name="T9" fmla="*/ 2147483647 h 131"/>
                <a:gd name="T10" fmla="*/ 2147483647 w 25"/>
                <a:gd name="T11" fmla="*/ 2147483647 h 131"/>
                <a:gd name="T12" fmla="*/ 2147483647 w 25"/>
                <a:gd name="T13" fmla="*/ 2147483647 h 131"/>
                <a:gd name="T14" fmla="*/ 2147483647 w 25"/>
                <a:gd name="T15" fmla="*/ 0 h 131"/>
                <a:gd name="T16" fmla="*/ 2147483647 w 25"/>
                <a:gd name="T17" fmla="*/ 2147483647 h 131"/>
                <a:gd name="T18" fmla="*/ 0 w 25"/>
                <a:gd name="T19" fmla="*/ 2147483647 h 1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5" h="131">
                  <a:moveTo>
                    <a:pt x="0" y="66"/>
                  </a:moveTo>
                  <a:lnTo>
                    <a:pt x="13" y="131"/>
                  </a:lnTo>
                  <a:lnTo>
                    <a:pt x="19" y="131"/>
                  </a:lnTo>
                  <a:lnTo>
                    <a:pt x="25" y="66"/>
                  </a:lnTo>
                  <a:lnTo>
                    <a:pt x="13" y="66"/>
                  </a:lnTo>
                  <a:lnTo>
                    <a:pt x="19" y="33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19" y="12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76" name="Freeform 942"/>
            <p:cNvSpPr>
              <a:spLocks/>
            </p:cNvSpPr>
            <p:nvPr>
              <p:custDataLst>
                <p:tags r:id="rId784"/>
              </p:custDataLst>
            </p:nvPr>
          </p:nvSpPr>
          <p:spPr bwMode="auto">
            <a:xfrm>
              <a:off x="6989425" y="3925469"/>
              <a:ext cx="46112" cy="103187"/>
            </a:xfrm>
            <a:custGeom>
              <a:avLst/>
              <a:gdLst>
                <a:gd name="T0" fmla="*/ 0 w 25"/>
                <a:gd name="T1" fmla="*/ 2147483647 h 131"/>
                <a:gd name="T2" fmla="*/ 2147483647 w 25"/>
                <a:gd name="T3" fmla="*/ 2147483647 h 131"/>
                <a:gd name="T4" fmla="*/ 2147483647 w 25"/>
                <a:gd name="T5" fmla="*/ 2147483647 h 131"/>
                <a:gd name="T6" fmla="*/ 2147483647 w 25"/>
                <a:gd name="T7" fmla="*/ 2147483647 h 131"/>
                <a:gd name="T8" fmla="*/ 2147483647 w 25"/>
                <a:gd name="T9" fmla="*/ 2147483647 h 131"/>
                <a:gd name="T10" fmla="*/ 2147483647 w 25"/>
                <a:gd name="T11" fmla="*/ 2147483647 h 131"/>
                <a:gd name="T12" fmla="*/ 2147483647 w 25"/>
                <a:gd name="T13" fmla="*/ 2147483647 h 131"/>
                <a:gd name="T14" fmla="*/ 2147483647 w 25"/>
                <a:gd name="T15" fmla="*/ 0 h 131"/>
                <a:gd name="T16" fmla="*/ 2147483647 w 25"/>
                <a:gd name="T17" fmla="*/ 2147483647 h 131"/>
                <a:gd name="T18" fmla="*/ 0 w 25"/>
                <a:gd name="T19" fmla="*/ 2147483647 h 1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5" h="131">
                  <a:moveTo>
                    <a:pt x="0" y="66"/>
                  </a:moveTo>
                  <a:lnTo>
                    <a:pt x="13" y="131"/>
                  </a:lnTo>
                  <a:lnTo>
                    <a:pt x="19" y="131"/>
                  </a:lnTo>
                  <a:lnTo>
                    <a:pt x="25" y="66"/>
                  </a:lnTo>
                  <a:lnTo>
                    <a:pt x="13" y="66"/>
                  </a:lnTo>
                  <a:lnTo>
                    <a:pt x="19" y="33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19" y="12"/>
                  </a:lnTo>
                  <a:lnTo>
                    <a:pt x="0" y="6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77" name="Freeform 943"/>
            <p:cNvSpPr>
              <a:spLocks/>
            </p:cNvSpPr>
            <p:nvPr>
              <p:custDataLst>
                <p:tags r:id="rId785"/>
              </p:custDataLst>
            </p:nvPr>
          </p:nvSpPr>
          <p:spPr bwMode="auto">
            <a:xfrm>
              <a:off x="6989425" y="3925469"/>
              <a:ext cx="46112" cy="103187"/>
            </a:xfrm>
            <a:custGeom>
              <a:avLst/>
              <a:gdLst>
                <a:gd name="T0" fmla="*/ 0 w 25"/>
                <a:gd name="T1" fmla="*/ 2147483647 h 131"/>
                <a:gd name="T2" fmla="*/ 2147483647 w 25"/>
                <a:gd name="T3" fmla="*/ 2147483647 h 131"/>
                <a:gd name="T4" fmla="*/ 2147483647 w 25"/>
                <a:gd name="T5" fmla="*/ 2147483647 h 131"/>
                <a:gd name="T6" fmla="*/ 2147483647 w 25"/>
                <a:gd name="T7" fmla="*/ 2147483647 h 131"/>
                <a:gd name="T8" fmla="*/ 2147483647 w 25"/>
                <a:gd name="T9" fmla="*/ 2147483647 h 131"/>
                <a:gd name="T10" fmla="*/ 2147483647 w 25"/>
                <a:gd name="T11" fmla="*/ 2147483647 h 131"/>
                <a:gd name="T12" fmla="*/ 2147483647 w 25"/>
                <a:gd name="T13" fmla="*/ 2147483647 h 131"/>
                <a:gd name="T14" fmla="*/ 2147483647 w 25"/>
                <a:gd name="T15" fmla="*/ 0 h 131"/>
                <a:gd name="T16" fmla="*/ 2147483647 w 25"/>
                <a:gd name="T17" fmla="*/ 2147483647 h 131"/>
                <a:gd name="T18" fmla="*/ 0 w 25"/>
                <a:gd name="T19" fmla="*/ 2147483647 h 1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5" h="131">
                  <a:moveTo>
                    <a:pt x="0" y="66"/>
                  </a:moveTo>
                  <a:lnTo>
                    <a:pt x="13" y="131"/>
                  </a:lnTo>
                  <a:lnTo>
                    <a:pt x="19" y="131"/>
                  </a:lnTo>
                  <a:lnTo>
                    <a:pt x="25" y="66"/>
                  </a:lnTo>
                  <a:lnTo>
                    <a:pt x="13" y="66"/>
                  </a:lnTo>
                  <a:lnTo>
                    <a:pt x="19" y="33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19" y="12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78" name="Freeform 944"/>
            <p:cNvSpPr>
              <a:spLocks/>
            </p:cNvSpPr>
            <p:nvPr>
              <p:custDataLst>
                <p:tags r:id="rId786"/>
              </p:custDataLst>
            </p:nvPr>
          </p:nvSpPr>
          <p:spPr bwMode="auto">
            <a:xfrm>
              <a:off x="6989425" y="3925469"/>
              <a:ext cx="46112" cy="103187"/>
            </a:xfrm>
            <a:custGeom>
              <a:avLst/>
              <a:gdLst>
                <a:gd name="T0" fmla="*/ 0 w 25"/>
                <a:gd name="T1" fmla="*/ 2147483647 h 131"/>
                <a:gd name="T2" fmla="*/ 2147483647 w 25"/>
                <a:gd name="T3" fmla="*/ 2147483647 h 131"/>
                <a:gd name="T4" fmla="*/ 2147483647 w 25"/>
                <a:gd name="T5" fmla="*/ 2147483647 h 131"/>
                <a:gd name="T6" fmla="*/ 2147483647 w 25"/>
                <a:gd name="T7" fmla="*/ 2147483647 h 131"/>
                <a:gd name="T8" fmla="*/ 2147483647 w 25"/>
                <a:gd name="T9" fmla="*/ 2147483647 h 131"/>
                <a:gd name="T10" fmla="*/ 2147483647 w 25"/>
                <a:gd name="T11" fmla="*/ 2147483647 h 131"/>
                <a:gd name="T12" fmla="*/ 2147483647 w 25"/>
                <a:gd name="T13" fmla="*/ 2147483647 h 131"/>
                <a:gd name="T14" fmla="*/ 2147483647 w 25"/>
                <a:gd name="T15" fmla="*/ 0 h 131"/>
                <a:gd name="T16" fmla="*/ 2147483647 w 25"/>
                <a:gd name="T17" fmla="*/ 2147483647 h 131"/>
                <a:gd name="T18" fmla="*/ 0 w 25"/>
                <a:gd name="T19" fmla="*/ 2147483647 h 1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5" h="131">
                  <a:moveTo>
                    <a:pt x="0" y="66"/>
                  </a:moveTo>
                  <a:lnTo>
                    <a:pt x="13" y="131"/>
                  </a:lnTo>
                  <a:lnTo>
                    <a:pt x="19" y="131"/>
                  </a:lnTo>
                  <a:lnTo>
                    <a:pt x="25" y="66"/>
                  </a:lnTo>
                  <a:lnTo>
                    <a:pt x="13" y="66"/>
                  </a:lnTo>
                  <a:lnTo>
                    <a:pt x="19" y="33"/>
                  </a:lnTo>
                  <a:lnTo>
                    <a:pt x="25" y="21"/>
                  </a:lnTo>
                  <a:lnTo>
                    <a:pt x="25" y="0"/>
                  </a:lnTo>
                  <a:lnTo>
                    <a:pt x="19" y="12"/>
                  </a:lnTo>
                  <a:lnTo>
                    <a:pt x="0" y="6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79" name="Freeform 945"/>
            <p:cNvSpPr>
              <a:spLocks/>
            </p:cNvSpPr>
            <p:nvPr>
              <p:custDataLst>
                <p:tags r:id="rId787"/>
              </p:custDataLst>
            </p:nvPr>
          </p:nvSpPr>
          <p:spPr bwMode="auto">
            <a:xfrm>
              <a:off x="5776465" y="4523981"/>
              <a:ext cx="160392" cy="161925"/>
            </a:xfrm>
            <a:custGeom>
              <a:avLst/>
              <a:gdLst>
                <a:gd name="T0" fmla="*/ 0 w 87"/>
                <a:gd name="T1" fmla="*/ 2147483647 h 204"/>
                <a:gd name="T2" fmla="*/ 0 w 87"/>
                <a:gd name="T3" fmla="*/ 2147483647 h 204"/>
                <a:gd name="T4" fmla="*/ 0 w 87"/>
                <a:gd name="T5" fmla="*/ 2147483647 h 204"/>
                <a:gd name="T6" fmla="*/ 2147483647 w 87"/>
                <a:gd name="T7" fmla="*/ 2147483647 h 204"/>
                <a:gd name="T8" fmla="*/ 2147483647 w 87"/>
                <a:gd name="T9" fmla="*/ 2147483647 h 204"/>
                <a:gd name="T10" fmla="*/ 2147483647 w 87"/>
                <a:gd name="T11" fmla="*/ 0 h 204"/>
                <a:gd name="T12" fmla="*/ 2147483647 w 87"/>
                <a:gd name="T13" fmla="*/ 2147483647 h 204"/>
                <a:gd name="T14" fmla="*/ 2147483647 w 87"/>
                <a:gd name="T15" fmla="*/ 2147483647 h 204"/>
                <a:gd name="T16" fmla="*/ 2147483647 w 87"/>
                <a:gd name="T17" fmla="*/ 2147483647 h 204"/>
                <a:gd name="T18" fmla="*/ 2147483647 w 87"/>
                <a:gd name="T19" fmla="*/ 2147483647 h 204"/>
                <a:gd name="T20" fmla="*/ 2147483647 w 87"/>
                <a:gd name="T21" fmla="*/ 2147483647 h 204"/>
                <a:gd name="T22" fmla="*/ 2147483647 w 87"/>
                <a:gd name="T23" fmla="*/ 2147483647 h 204"/>
                <a:gd name="T24" fmla="*/ 0 w 87"/>
                <a:gd name="T25" fmla="*/ 2147483647 h 20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7" h="204">
                  <a:moveTo>
                    <a:pt x="0" y="135"/>
                  </a:moveTo>
                  <a:lnTo>
                    <a:pt x="0" y="100"/>
                  </a:lnTo>
                  <a:lnTo>
                    <a:pt x="0" y="69"/>
                  </a:lnTo>
                  <a:lnTo>
                    <a:pt x="12" y="79"/>
                  </a:lnTo>
                  <a:lnTo>
                    <a:pt x="6" y="12"/>
                  </a:lnTo>
                  <a:lnTo>
                    <a:pt x="31" y="0"/>
                  </a:lnTo>
                  <a:lnTo>
                    <a:pt x="50" y="12"/>
                  </a:lnTo>
                  <a:lnTo>
                    <a:pt x="56" y="35"/>
                  </a:lnTo>
                  <a:lnTo>
                    <a:pt x="87" y="35"/>
                  </a:lnTo>
                  <a:lnTo>
                    <a:pt x="81" y="181"/>
                  </a:lnTo>
                  <a:lnTo>
                    <a:pt x="12" y="204"/>
                  </a:lnTo>
                  <a:lnTo>
                    <a:pt x="12" y="158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80" name="Freeform 946"/>
            <p:cNvSpPr>
              <a:spLocks/>
            </p:cNvSpPr>
            <p:nvPr>
              <p:custDataLst>
                <p:tags r:id="rId788"/>
              </p:custDataLst>
            </p:nvPr>
          </p:nvSpPr>
          <p:spPr bwMode="auto">
            <a:xfrm>
              <a:off x="5776465" y="4523981"/>
              <a:ext cx="160392" cy="161925"/>
            </a:xfrm>
            <a:custGeom>
              <a:avLst/>
              <a:gdLst>
                <a:gd name="T0" fmla="*/ 0 w 87"/>
                <a:gd name="T1" fmla="*/ 2147483647 h 204"/>
                <a:gd name="T2" fmla="*/ 0 w 87"/>
                <a:gd name="T3" fmla="*/ 2147483647 h 204"/>
                <a:gd name="T4" fmla="*/ 0 w 87"/>
                <a:gd name="T5" fmla="*/ 2147483647 h 204"/>
                <a:gd name="T6" fmla="*/ 2147483647 w 87"/>
                <a:gd name="T7" fmla="*/ 2147483647 h 204"/>
                <a:gd name="T8" fmla="*/ 2147483647 w 87"/>
                <a:gd name="T9" fmla="*/ 2147483647 h 204"/>
                <a:gd name="T10" fmla="*/ 2147483647 w 87"/>
                <a:gd name="T11" fmla="*/ 0 h 204"/>
                <a:gd name="T12" fmla="*/ 2147483647 w 87"/>
                <a:gd name="T13" fmla="*/ 2147483647 h 204"/>
                <a:gd name="T14" fmla="*/ 2147483647 w 87"/>
                <a:gd name="T15" fmla="*/ 2147483647 h 204"/>
                <a:gd name="T16" fmla="*/ 2147483647 w 87"/>
                <a:gd name="T17" fmla="*/ 2147483647 h 204"/>
                <a:gd name="T18" fmla="*/ 2147483647 w 87"/>
                <a:gd name="T19" fmla="*/ 2147483647 h 204"/>
                <a:gd name="T20" fmla="*/ 2147483647 w 87"/>
                <a:gd name="T21" fmla="*/ 2147483647 h 204"/>
                <a:gd name="T22" fmla="*/ 2147483647 w 87"/>
                <a:gd name="T23" fmla="*/ 2147483647 h 204"/>
                <a:gd name="T24" fmla="*/ 0 w 87"/>
                <a:gd name="T25" fmla="*/ 2147483647 h 20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7" h="204">
                  <a:moveTo>
                    <a:pt x="0" y="135"/>
                  </a:moveTo>
                  <a:lnTo>
                    <a:pt x="0" y="100"/>
                  </a:lnTo>
                  <a:lnTo>
                    <a:pt x="0" y="69"/>
                  </a:lnTo>
                  <a:lnTo>
                    <a:pt x="12" y="79"/>
                  </a:lnTo>
                  <a:lnTo>
                    <a:pt x="6" y="12"/>
                  </a:lnTo>
                  <a:lnTo>
                    <a:pt x="31" y="0"/>
                  </a:lnTo>
                  <a:lnTo>
                    <a:pt x="50" y="12"/>
                  </a:lnTo>
                  <a:lnTo>
                    <a:pt x="56" y="35"/>
                  </a:lnTo>
                  <a:lnTo>
                    <a:pt x="87" y="35"/>
                  </a:lnTo>
                  <a:lnTo>
                    <a:pt x="81" y="181"/>
                  </a:lnTo>
                  <a:lnTo>
                    <a:pt x="12" y="204"/>
                  </a:lnTo>
                  <a:lnTo>
                    <a:pt x="12" y="158"/>
                  </a:lnTo>
                  <a:lnTo>
                    <a:pt x="0" y="1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81" name="Freeform 947"/>
            <p:cNvSpPr>
              <a:spLocks/>
            </p:cNvSpPr>
            <p:nvPr>
              <p:custDataLst>
                <p:tags r:id="rId789"/>
              </p:custDataLst>
            </p:nvPr>
          </p:nvSpPr>
          <p:spPr bwMode="auto">
            <a:xfrm>
              <a:off x="5776465" y="4523981"/>
              <a:ext cx="160392" cy="161925"/>
            </a:xfrm>
            <a:custGeom>
              <a:avLst/>
              <a:gdLst>
                <a:gd name="T0" fmla="*/ 0 w 87"/>
                <a:gd name="T1" fmla="*/ 2147483647 h 204"/>
                <a:gd name="T2" fmla="*/ 0 w 87"/>
                <a:gd name="T3" fmla="*/ 2147483647 h 204"/>
                <a:gd name="T4" fmla="*/ 0 w 87"/>
                <a:gd name="T5" fmla="*/ 2147483647 h 204"/>
                <a:gd name="T6" fmla="*/ 2147483647 w 87"/>
                <a:gd name="T7" fmla="*/ 2147483647 h 204"/>
                <a:gd name="T8" fmla="*/ 2147483647 w 87"/>
                <a:gd name="T9" fmla="*/ 2147483647 h 204"/>
                <a:gd name="T10" fmla="*/ 2147483647 w 87"/>
                <a:gd name="T11" fmla="*/ 0 h 204"/>
                <a:gd name="T12" fmla="*/ 2147483647 w 87"/>
                <a:gd name="T13" fmla="*/ 2147483647 h 204"/>
                <a:gd name="T14" fmla="*/ 2147483647 w 87"/>
                <a:gd name="T15" fmla="*/ 2147483647 h 204"/>
                <a:gd name="T16" fmla="*/ 2147483647 w 87"/>
                <a:gd name="T17" fmla="*/ 2147483647 h 204"/>
                <a:gd name="T18" fmla="*/ 2147483647 w 87"/>
                <a:gd name="T19" fmla="*/ 2147483647 h 204"/>
                <a:gd name="T20" fmla="*/ 2147483647 w 87"/>
                <a:gd name="T21" fmla="*/ 2147483647 h 204"/>
                <a:gd name="T22" fmla="*/ 2147483647 w 87"/>
                <a:gd name="T23" fmla="*/ 2147483647 h 204"/>
                <a:gd name="T24" fmla="*/ 0 w 87"/>
                <a:gd name="T25" fmla="*/ 2147483647 h 20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7" h="204">
                  <a:moveTo>
                    <a:pt x="0" y="135"/>
                  </a:moveTo>
                  <a:lnTo>
                    <a:pt x="0" y="100"/>
                  </a:lnTo>
                  <a:lnTo>
                    <a:pt x="0" y="69"/>
                  </a:lnTo>
                  <a:lnTo>
                    <a:pt x="12" y="79"/>
                  </a:lnTo>
                  <a:lnTo>
                    <a:pt x="6" y="12"/>
                  </a:lnTo>
                  <a:lnTo>
                    <a:pt x="31" y="0"/>
                  </a:lnTo>
                  <a:lnTo>
                    <a:pt x="50" y="12"/>
                  </a:lnTo>
                  <a:lnTo>
                    <a:pt x="56" y="35"/>
                  </a:lnTo>
                  <a:lnTo>
                    <a:pt x="87" y="35"/>
                  </a:lnTo>
                  <a:lnTo>
                    <a:pt x="81" y="181"/>
                  </a:lnTo>
                  <a:lnTo>
                    <a:pt x="12" y="204"/>
                  </a:lnTo>
                  <a:lnTo>
                    <a:pt x="12" y="158"/>
                  </a:lnTo>
                  <a:lnTo>
                    <a:pt x="0" y="13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82" name="Freeform 948"/>
            <p:cNvSpPr>
              <a:spLocks/>
            </p:cNvSpPr>
            <p:nvPr>
              <p:custDataLst>
                <p:tags r:id="rId790"/>
              </p:custDataLst>
            </p:nvPr>
          </p:nvSpPr>
          <p:spPr bwMode="auto">
            <a:xfrm>
              <a:off x="5776465" y="4523981"/>
              <a:ext cx="160392" cy="161925"/>
            </a:xfrm>
            <a:custGeom>
              <a:avLst/>
              <a:gdLst>
                <a:gd name="T0" fmla="*/ 0 w 87"/>
                <a:gd name="T1" fmla="*/ 2147483647 h 204"/>
                <a:gd name="T2" fmla="*/ 0 w 87"/>
                <a:gd name="T3" fmla="*/ 2147483647 h 204"/>
                <a:gd name="T4" fmla="*/ 0 w 87"/>
                <a:gd name="T5" fmla="*/ 2147483647 h 204"/>
                <a:gd name="T6" fmla="*/ 2147483647 w 87"/>
                <a:gd name="T7" fmla="*/ 2147483647 h 204"/>
                <a:gd name="T8" fmla="*/ 2147483647 w 87"/>
                <a:gd name="T9" fmla="*/ 2147483647 h 204"/>
                <a:gd name="T10" fmla="*/ 2147483647 w 87"/>
                <a:gd name="T11" fmla="*/ 0 h 204"/>
                <a:gd name="T12" fmla="*/ 2147483647 w 87"/>
                <a:gd name="T13" fmla="*/ 2147483647 h 204"/>
                <a:gd name="T14" fmla="*/ 2147483647 w 87"/>
                <a:gd name="T15" fmla="*/ 2147483647 h 204"/>
                <a:gd name="T16" fmla="*/ 2147483647 w 87"/>
                <a:gd name="T17" fmla="*/ 2147483647 h 204"/>
                <a:gd name="T18" fmla="*/ 2147483647 w 87"/>
                <a:gd name="T19" fmla="*/ 2147483647 h 204"/>
                <a:gd name="T20" fmla="*/ 2147483647 w 87"/>
                <a:gd name="T21" fmla="*/ 2147483647 h 204"/>
                <a:gd name="T22" fmla="*/ 2147483647 w 87"/>
                <a:gd name="T23" fmla="*/ 2147483647 h 204"/>
                <a:gd name="T24" fmla="*/ 0 w 87"/>
                <a:gd name="T25" fmla="*/ 2147483647 h 20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87" h="204">
                  <a:moveTo>
                    <a:pt x="0" y="135"/>
                  </a:moveTo>
                  <a:lnTo>
                    <a:pt x="0" y="100"/>
                  </a:lnTo>
                  <a:lnTo>
                    <a:pt x="0" y="69"/>
                  </a:lnTo>
                  <a:lnTo>
                    <a:pt x="12" y="79"/>
                  </a:lnTo>
                  <a:lnTo>
                    <a:pt x="6" y="12"/>
                  </a:lnTo>
                  <a:lnTo>
                    <a:pt x="31" y="0"/>
                  </a:lnTo>
                  <a:lnTo>
                    <a:pt x="50" y="12"/>
                  </a:lnTo>
                  <a:lnTo>
                    <a:pt x="56" y="35"/>
                  </a:lnTo>
                  <a:lnTo>
                    <a:pt x="87" y="35"/>
                  </a:lnTo>
                  <a:lnTo>
                    <a:pt x="81" y="181"/>
                  </a:lnTo>
                  <a:lnTo>
                    <a:pt x="12" y="204"/>
                  </a:lnTo>
                  <a:lnTo>
                    <a:pt x="12" y="158"/>
                  </a:lnTo>
                  <a:lnTo>
                    <a:pt x="0" y="13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83" name="Freeform 949"/>
            <p:cNvSpPr>
              <a:spLocks/>
            </p:cNvSpPr>
            <p:nvPr>
              <p:custDataLst>
                <p:tags r:id="rId791"/>
              </p:custDataLst>
            </p:nvPr>
          </p:nvSpPr>
          <p:spPr bwMode="auto">
            <a:xfrm>
              <a:off x="7013476" y="3925458"/>
              <a:ext cx="128313" cy="114300"/>
            </a:xfrm>
            <a:custGeom>
              <a:avLst/>
              <a:gdLst>
                <a:gd name="T0" fmla="*/ 0 w 69"/>
                <a:gd name="T1" fmla="*/ 2147483647 h 144"/>
                <a:gd name="T2" fmla="*/ 2147483647 w 69"/>
                <a:gd name="T3" fmla="*/ 2147483647 h 144"/>
                <a:gd name="T4" fmla="*/ 2147483647 w 69"/>
                <a:gd name="T5" fmla="*/ 2147483647 h 144"/>
                <a:gd name="T6" fmla="*/ 2147483647 w 69"/>
                <a:gd name="T7" fmla="*/ 2147483647 h 144"/>
                <a:gd name="T8" fmla="*/ 2147483647 w 69"/>
                <a:gd name="T9" fmla="*/ 0 h 144"/>
                <a:gd name="T10" fmla="*/ 2147483647 w 69"/>
                <a:gd name="T11" fmla="*/ 2147483647 h 144"/>
                <a:gd name="T12" fmla="*/ 2147483647 w 69"/>
                <a:gd name="T13" fmla="*/ 2147483647 h 144"/>
                <a:gd name="T14" fmla="*/ 2147483647 w 69"/>
                <a:gd name="T15" fmla="*/ 2147483647 h 144"/>
                <a:gd name="T16" fmla="*/ 2147483647 w 69"/>
                <a:gd name="T17" fmla="*/ 2147483647 h 144"/>
                <a:gd name="T18" fmla="*/ 2147483647 w 69"/>
                <a:gd name="T19" fmla="*/ 2147483647 h 144"/>
                <a:gd name="T20" fmla="*/ 2147483647 w 69"/>
                <a:gd name="T21" fmla="*/ 2147483647 h 144"/>
                <a:gd name="T22" fmla="*/ 2147483647 w 69"/>
                <a:gd name="T23" fmla="*/ 2147483647 h 144"/>
                <a:gd name="T24" fmla="*/ 0 w 69"/>
                <a:gd name="T25" fmla="*/ 2147483647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9" h="144">
                  <a:moveTo>
                    <a:pt x="0" y="66"/>
                  </a:moveTo>
                  <a:lnTo>
                    <a:pt x="6" y="33"/>
                  </a:lnTo>
                  <a:lnTo>
                    <a:pt x="12" y="21"/>
                  </a:lnTo>
                  <a:lnTo>
                    <a:pt x="25" y="33"/>
                  </a:lnTo>
                  <a:lnTo>
                    <a:pt x="62" y="0"/>
                  </a:lnTo>
                  <a:lnTo>
                    <a:pt x="69" y="33"/>
                  </a:lnTo>
                  <a:lnTo>
                    <a:pt x="37" y="66"/>
                  </a:lnTo>
                  <a:lnTo>
                    <a:pt x="49" y="100"/>
                  </a:lnTo>
                  <a:lnTo>
                    <a:pt x="43" y="110"/>
                  </a:lnTo>
                  <a:lnTo>
                    <a:pt x="25" y="144"/>
                  </a:lnTo>
                  <a:lnTo>
                    <a:pt x="6" y="131"/>
                  </a:lnTo>
                  <a:lnTo>
                    <a:pt x="12" y="66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84" name="Freeform 950"/>
            <p:cNvSpPr>
              <a:spLocks/>
            </p:cNvSpPr>
            <p:nvPr>
              <p:custDataLst>
                <p:tags r:id="rId792"/>
              </p:custDataLst>
            </p:nvPr>
          </p:nvSpPr>
          <p:spPr bwMode="auto">
            <a:xfrm>
              <a:off x="7013476" y="3925458"/>
              <a:ext cx="128313" cy="114300"/>
            </a:xfrm>
            <a:custGeom>
              <a:avLst/>
              <a:gdLst>
                <a:gd name="T0" fmla="*/ 0 w 69"/>
                <a:gd name="T1" fmla="*/ 2147483647 h 144"/>
                <a:gd name="T2" fmla="*/ 2147483647 w 69"/>
                <a:gd name="T3" fmla="*/ 2147483647 h 144"/>
                <a:gd name="T4" fmla="*/ 2147483647 w 69"/>
                <a:gd name="T5" fmla="*/ 2147483647 h 144"/>
                <a:gd name="T6" fmla="*/ 2147483647 w 69"/>
                <a:gd name="T7" fmla="*/ 2147483647 h 144"/>
                <a:gd name="T8" fmla="*/ 2147483647 w 69"/>
                <a:gd name="T9" fmla="*/ 0 h 144"/>
                <a:gd name="T10" fmla="*/ 2147483647 w 69"/>
                <a:gd name="T11" fmla="*/ 2147483647 h 144"/>
                <a:gd name="T12" fmla="*/ 2147483647 w 69"/>
                <a:gd name="T13" fmla="*/ 2147483647 h 144"/>
                <a:gd name="T14" fmla="*/ 2147483647 w 69"/>
                <a:gd name="T15" fmla="*/ 2147483647 h 144"/>
                <a:gd name="T16" fmla="*/ 2147483647 w 69"/>
                <a:gd name="T17" fmla="*/ 2147483647 h 144"/>
                <a:gd name="T18" fmla="*/ 2147483647 w 69"/>
                <a:gd name="T19" fmla="*/ 2147483647 h 144"/>
                <a:gd name="T20" fmla="*/ 2147483647 w 69"/>
                <a:gd name="T21" fmla="*/ 2147483647 h 144"/>
                <a:gd name="T22" fmla="*/ 2147483647 w 69"/>
                <a:gd name="T23" fmla="*/ 2147483647 h 144"/>
                <a:gd name="T24" fmla="*/ 0 w 69"/>
                <a:gd name="T25" fmla="*/ 2147483647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9" h="144">
                  <a:moveTo>
                    <a:pt x="0" y="66"/>
                  </a:moveTo>
                  <a:lnTo>
                    <a:pt x="6" y="33"/>
                  </a:lnTo>
                  <a:lnTo>
                    <a:pt x="12" y="21"/>
                  </a:lnTo>
                  <a:lnTo>
                    <a:pt x="25" y="33"/>
                  </a:lnTo>
                  <a:lnTo>
                    <a:pt x="62" y="0"/>
                  </a:lnTo>
                  <a:lnTo>
                    <a:pt x="69" y="33"/>
                  </a:lnTo>
                  <a:lnTo>
                    <a:pt x="37" y="66"/>
                  </a:lnTo>
                  <a:lnTo>
                    <a:pt x="49" y="100"/>
                  </a:lnTo>
                  <a:lnTo>
                    <a:pt x="43" y="110"/>
                  </a:lnTo>
                  <a:lnTo>
                    <a:pt x="25" y="144"/>
                  </a:lnTo>
                  <a:lnTo>
                    <a:pt x="6" y="131"/>
                  </a:lnTo>
                  <a:lnTo>
                    <a:pt x="12" y="66"/>
                  </a:lnTo>
                  <a:lnTo>
                    <a:pt x="0" y="6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85" name="Freeform 951"/>
            <p:cNvSpPr>
              <a:spLocks/>
            </p:cNvSpPr>
            <p:nvPr>
              <p:custDataLst>
                <p:tags r:id="rId793"/>
              </p:custDataLst>
            </p:nvPr>
          </p:nvSpPr>
          <p:spPr bwMode="auto">
            <a:xfrm>
              <a:off x="7013476" y="3925458"/>
              <a:ext cx="128313" cy="114300"/>
            </a:xfrm>
            <a:custGeom>
              <a:avLst/>
              <a:gdLst>
                <a:gd name="T0" fmla="*/ 0 w 69"/>
                <a:gd name="T1" fmla="*/ 2147483647 h 144"/>
                <a:gd name="T2" fmla="*/ 2147483647 w 69"/>
                <a:gd name="T3" fmla="*/ 2147483647 h 144"/>
                <a:gd name="T4" fmla="*/ 2147483647 w 69"/>
                <a:gd name="T5" fmla="*/ 2147483647 h 144"/>
                <a:gd name="T6" fmla="*/ 2147483647 w 69"/>
                <a:gd name="T7" fmla="*/ 2147483647 h 144"/>
                <a:gd name="T8" fmla="*/ 2147483647 w 69"/>
                <a:gd name="T9" fmla="*/ 0 h 144"/>
                <a:gd name="T10" fmla="*/ 2147483647 w 69"/>
                <a:gd name="T11" fmla="*/ 2147483647 h 144"/>
                <a:gd name="T12" fmla="*/ 2147483647 w 69"/>
                <a:gd name="T13" fmla="*/ 2147483647 h 144"/>
                <a:gd name="T14" fmla="*/ 2147483647 w 69"/>
                <a:gd name="T15" fmla="*/ 2147483647 h 144"/>
                <a:gd name="T16" fmla="*/ 2147483647 w 69"/>
                <a:gd name="T17" fmla="*/ 2147483647 h 144"/>
                <a:gd name="T18" fmla="*/ 2147483647 w 69"/>
                <a:gd name="T19" fmla="*/ 2147483647 h 144"/>
                <a:gd name="T20" fmla="*/ 2147483647 w 69"/>
                <a:gd name="T21" fmla="*/ 2147483647 h 144"/>
                <a:gd name="T22" fmla="*/ 2147483647 w 69"/>
                <a:gd name="T23" fmla="*/ 2147483647 h 144"/>
                <a:gd name="T24" fmla="*/ 0 w 69"/>
                <a:gd name="T25" fmla="*/ 2147483647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9" h="144">
                  <a:moveTo>
                    <a:pt x="0" y="66"/>
                  </a:moveTo>
                  <a:lnTo>
                    <a:pt x="6" y="33"/>
                  </a:lnTo>
                  <a:lnTo>
                    <a:pt x="12" y="21"/>
                  </a:lnTo>
                  <a:lnTo>
                    <a:pt x="25" y="33"/>
                  </a:lnTo>
                  <a:lnTo>
                    <a:pt x="62" y="0"/>
                  </a:lnTo>
                  <a:lnTo>
                    <a:pt x="69" y="33"/>
                  </a:lnTo>
                  <a:lnTo>
                    <a:pt x="37" y="66"/>
                  </a:lnTo>
                  <a:lnTo>
                    <a:pt x="49" y="100"/>
                  </a:lnTo>
                  <a:lnTo>
                    <a:pt x="43" y="110"/>
                  </a:lnTo>
                  <a:lnTo>
                    <a:pt x="25" y="144"/>
                  </a:lnTo>
                  <a:lnTo>
                    <a:pt x="6" y="131"/>
                  </a:lnTo>
                  <a:lnTo>
                    <a:pt x="12" y="66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86" name="Freeform 952"/>
            <p:cNvSpPr>
              <a:spLocks/>
            </p:cNvSpPr>
            <p:nvPr>
              <p:custDataLst>
                <p:tags r:id="rId794"/>
              </p:custDataLst>
            </p:nvPr>
          </p:nvSpPr>
          <p:spPr bwMode="auto">
            <a:xfrm>
              <a:off x="7013476" y="3925458"/>
              <a:ext cx="128313" cy="114300"/>
            </a:xfrm>
            <a:custGeom>
              <a:avLst/>
              <a:gdLst>
                <a:gd name="T0" fmla="*/ 0 w 69"/>
                <a:gd name="T1" fmla="*/ 2147483647 h 144"/>
                <a:gd name="T2" fmla="*/ 2147483647 w 69"/>
                <a:gd name="T3" fmla="*/ 2147483647 h 144"/>
                <a:gd name="T4" fmla="*/ 2147483647 w 69"/>
                <a:gd name="T5" fmla="*/ 2147483647 h 144"/>
                <a:gd name="T6" fmla="*/ 2147483647 w 69"/>
                <a:gd name="T7" fmla="*/ 2147483647 h 144"/>
                <a:gd name="T8" fmla="*/ 2147483647 w 69"/>
                <a:gd name="T9" fmla="*/ 0 h 144"/>
                <a:gd name="T10" fmla="*/ 2147483647 w 69"/>
                <a:gd name="T11" fmla="*/ 2147483647 h 144"/>
                <a:gd name="T12" fmla="*/ 2147483647 w 69"/>
                <a:gd name="T13" fmla="*/ 2147483647 h 144"/>
                <a:gd name="T14" fmla="*/ 2147483647 w 69"/>
                <a:gd name="T15" fmla="*/ 2147483647 h 144"/>
                <a:gd name="T16" fmla="*/ 2147483647 w 69"/>
                <a:gd name="T17" fmla="*/ 2147483647 h 144"/>
                <a:gd name="T18" fmla="*/ 2147483647 w 69"/>
                <a:gd name="T19" fmla="*/ 2147483647 h 144"/>
                <a:gd name="T20" fmla="*/ 2147483647 w 69"/>
                <a:gd name="T21" fmla="*/ 2147483647 h 144"/>
                <a:gd name="T22" fmla="*/ 2147483647 w 69"/>
                <a:gd name="T23" fmla="*/ 2147483647 h 144"/>
                <a:gd name="T24" fmla="*/ 0 w 69"/>
                <a:gd name="T25" fmla="*/ 2147483647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69" h="144">
                  <a:moveTo>
                    <a:pt x="0" y="66"/>
                  </a:moveTo>
                  <a:lnTo>
                    <a:pt x="6" y="33"/>
                  </a:lnTo>
                  <a:lnTo>
                    <a:pt x="12" y="21"/>
                  </a:lnTo>
                  <a:lnTo>
                    <a:pt x="25" y="33"/>
                  </a:lnTo>
                  <a:lnTo>
                    <a:pt x="62" y="0"/>
                  </a:lnTo>
                  <a:lnTo>
                    <a:pt x="69" y="33"/>
                  </a:lnTo>
                  <a:lnTo>
                    <a:pt x="37" y="66"/>
                  </a:lnTo>
                  <a:lnTo>
                    <a:pt x="49" y="100"/>
                  </a:lnTo>
                  <a:lnTo>
                    <a:pt x="43" y="110"/>
                  </a:lnTo>
                  <a:lnTo>
                    <a:pt x="25" y="144"/>
                  </a:lnTo>
                  <a:lnTo>
                    <a:pt x="6" y="131"/>
                  </a:lnTo>
                  <a:lnTo>
                    <a:pt x="12" y="66"/>
                  </a:lnTo>
                  <a:lnTo>
                    <a:pt x="0" y="6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87" name="Freeform 953"/>
            <p:cNvSpPr>
              <a:spLocks/>
            </p:cNvSpPr>
            <p:nvPr>
              <p:custDataLst>
                <p:tags r:id="rId795"/>
              </p:custDataLst>
            </p:nvPr>
          </p:nvSpPr>
          <p:spPr bwMode="auto">
            <a:xfrm>
              <a:off x="6989418" y="4685870"/>
              <a:ext cx="230562" cy="228600"/>
            </a:xfrm>
            <a:custGeom>
              <a:avLst/>
              <a:gdLst>
                <a:gd name="T0" fmla="*/ 0 w 125"/>
                <a:gd name="T1" fmla="*/ 2147483647 h 288"/>
                <a:gd name="T2" fmla="*/ 2147483647 w 125"/>
                <a:gd name="T3" fmla="*/ 2147483647 h 288"/>
                <a:gd name="T4" fmla="*/ 0 w 125"/>
                <a:gd name="T5" fmla="*/ 2147483647 h 288"/>
                <a:gd name="T6" fmla="*/ 2147483647 w 125"/>
                <a:gd name="T7" fmla="*/ 2147483647 h 288"/>
                <a:gd name="T8" fmla="*/ 2147483647 w 125"/>
                <a:gd name="T9" fmla="*/ 2147483647 h 288"/>
                <a:gd name="T10" fmla="*/ 2147483647 w 125"/>
                <a:gd name="T11" fmla="*/ 2147483647 h 288"/>
                <a:gd name="T12" fmla="*/ 2147483647 w 125"/>
                <a:gd name="T13" fmla="*/ 2147483647 h 288"/>
                <a:gd name="T14" fmla="*/ 2147483647 w 125"/>
                <a:gd name="T15" fmla="*/ 2147483647 h 288"/>
                <a:gd name="T16" fmla="*/ 2147483647 w 125"/>
                <a:gd name="T17" fmla="*/ 2147483647 h 288"/>
                <a:gd name="T18" fmla="*/ 2147483647 w 125"/>
                <a:gd name="T19" fmla="*/ 2147483647 h 288"/>
                <a:gd name="T20" fmla="*/ 2147483647 w 125"/>
                <a:gd name="T21" fmla="*/ 2147483647 h 288"/>
                <a:gd name="T22" fmla="*/ 2147483647 w 125"/>
                <a:gd name="T23" fmla="*/ 0 h 288"/>
                <a:gd name="T24" fmla="*/ 0 w 125"/>
                <a:gd name="T25" fmla="*/ 2147483647 h 2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88">
                  <a:moveTo>
                    <a:pt x="0" y="9"/>
                  </a:moveTo>
                  <a:lnTo>
                    <a:pt x="19" y="75"/>
                  </a:lnTo>
                  <a:lnTo>
                    <a:pt x="0" y="132"/>
                  </a:lnTo>
                  <a:lnTo>
                    <a:pt x="13" y="153"/>
                  </a:lnTo>
                  <a:lnTo>
                    <a:pt x="6" y="167"/>
                  </a:lnTo>
                  <a:lnTo>
                    <a:pt x="88" y="288"/>
                  </a:lnTo>
                  <a:lnTo>
                    <a:pt x="119" y="198"/>
                  </a:lnTo>
                  <a:lnTo>
                    <a:pt x="112" y="167"/>
                  </a:lnTo>
                  <a:lnTo>
                    <a:pt x="112" y="53"/>
                  </a:lnTo>
                  <a:lnTo>
                    <a:pt x="125" y="21"/>
                  </a:lnTo>
                  <a:lnTo>
                    <a:pt x="82" y="30"/>
                  </a:lnTo>
                  <a:lnTo>
                    <a:pt x="31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88" name="Freeform 954"/>
            <p:cNvSpPr>
              <a:spLocks/>
            </p:cNvSpPr>
            <p:nvPr>
              <p:custDataLst>
                <p:tags r:id="rId796"/>
              </p:custDataLst>
            </p:nvPr>
          </p:nvSpPr>
          <p:spPr bwMode="auto">
            <a:xfrm>
              <a:off x="6989418" y="4685870"/>
              <a:ext cx="230562" cy="228600"/>
            </a:xfrm>
            <a:custGeom>
              <a:avLst/>
              <a:gdLst>
                <a:gd name="T0" fmla="*/ 0 w 125"/>
                <a:gd name="T1" fmla="*/ 2147483647 h 288"/>
                <a:gd name="T2" fmla="*/ 2147483647 w 125"/>
                <a:gd name="T3" fmla="*/ 2147483647 h 288"/>
                <a:gd name="T4" fmla="*/ 0 w 125"/>
                <a:gd name="T5" fmla="*/ 2147483647 h 288"/>
                <a:gd name="T6" fmla="*/ 2147483647 w 125"/>
                <a:gd name="T7" fmla="*/ 2147483647 h 288"/>
                <a:gd name="T8" fmla="*/ 2147483647 w 125"/>
                <a:gd name="T9" fmla="*/ 2147483647 h 288"/>
                <a:gd name="T10" fmla="*/ 2147483647 w 125"/>
                <a:gd name="T11" fmla="*/ 2147483647 h 288"/>
                <a:gd name="T12" fmla="*/ 2147483647 w 125"/>
                <a:gd name="T13" fmla="*/ 2147483647 h 288"/>
                <a:gd name="T14" fmla="*/ 2147483647 w 125"/>
                <a:gd name="T15" fmla="*/ 2147483647 h 288"/>
                <a:gd name="T16" fmla="*/ 2147483647 w 125"/>
                <a:gd name="T17" fmla="*/ 2147483647 h 288"/>
                <a:gd name="T18" fmla="*/ 2147483647 w 125"/>
                <a:gd name="T19" fmla="*/ 2147483647 h 288"/>
                <a:gd name="T20" fmla="*/ 2147483647 w 125"/>
                <a:gd name="T21" fmla="*/ 2147483647 h 288"/>
                <a:gd name="T22" fmla="*/ 2147483647 w 125"/>
                <a:gd name="T23" fmla="*/ 0 h 288"/>
                <a:gd name="T24" fmla="*/ 0 w 125"/>
                <a:gd name="T25" fmla="*/ 2147483647 h 2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88">
                  <a:moveTo>
                    <a:pt x="0" y="9"/>
                  </a:moveTo>
                  <a:lnTo>
                    <a:pt x="19" y="75"/>
                  </a:lnTo>
                  <a:lnTo>
                    <a:pt x="0" y="132"/>
                  </a:lnTo>
                  <a:lnTo>
                    <a:pt x="13" y="153"/>
                  </a:lnTo>
                  <a:lnTo>
                    <a:pt x="6" y="167"/>
                  </a:lnTo>
                  <a:lnTo>
                    <a:pt x="88" y="288"/>
                  </a:lnTo>
                  <a:lnTo>
                    <a:pt x="119" y="198"/>
                  </a:lnTo>
                  <a:lnTo>
                    <a:pt x="112" y="167"/>
                  </a:lnTo>
                  <a:lnTo>
                    <a:pt x="112" y="53"/>
                  </a:lnTo>
                  <a:lnTo>
                    <a:pt x="125" y="21"/>
                  </a:lnTo>
                  <a:lnTo>
                    <a:pt x="82" y="30"/>
                  </a:lnTo>
                  <a:lnTo>
                    <a:pt x="31" y="0"/>
                  </a:lnTo>
                  <a:lnTo>
                    <a:pt x="0" y="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89" name="Freeform 955"/>
            <p:cNvSpPr>
              <a:spLocks/>
            </p:cNvSpPr>
            <p:nvPr>
              <p:custDataLst>
                <p:tags r:id="rId797"/>
              </p:custDataLst>
            </p:nvPr>
          </p:nvSpPr>
          <p:spPr bwMode="auto">
            <a:xfrm>
              <a:off x="6989418" y="4685870"/>
              <a:ext cx="230562" cy="228600"/>
            </a:xfrm>
            <a:custGeom>
              <a:avLst/>
              <a:gdLst>
                <a:gd name="T0" fmla="*/ 0 w 125"/>
                <a:gd name="T1" fmla="*/ 2147483647 h 288"/>
                <a:gd name="T2" fmla="*/ 2147483647 w 125"/>
                <a:gd name="T3" fmla="*/ 2147483647 h 288"/>
                <a:gd name="T4" fmla="*/ 0 w 125"/>
                <a:gd name="T5" fmla="*/ 2147483647 h 288"/>
                <a:gd name="T6" fmla="*/ 2147483647 w 125"/>
                <a:gd name="T7" fmla="*/ 2147483647 h 288"/>
                <a:gd name="T8" fmla="*/ 2147483647 w 125"/>
                <a:gd name="T9" fmla="*/ 2147483647 h 288"/>
                <a:gd name="T10" fmla="*/ 2147483647 w 125"/>
                <a:gd name="T11" fmla="*/ 2147483647 h 288"/>
                <a:gd name="T12" fmla="*/ 2147483647 w 125"/>
                <a:gd name="T13" fmla="*/ 2147483647 h 288"/>
                <a:gd name="T14" fmla="*/ 2147483647 w 125"/>
                <a:gd name="T15" fmla="*/ 2147483647 h 288"/>
                <a:gd name="T16" fmla="*/ 2147483647 w 125"/>
                <a:gd name="T17" fmla="*/ 2147483647 h 288"/>
                <a:gd name="T18" fmla="*/ 2147483647 w 125"/>
                <a:gd name="T19" fmla="*/ 2147483647 h 288"/>
                <a:gd name="T20" fmla="*/ 2147483647 w 125"/>
                <a:gd name="T21" fmla="*/ 2147483647 h 288"/>
                <a:gd name="T22" fmla="*/ 2147483647 w 125"/>
                <a:gd name="T23" fmla="*/ 0 h 288"/>
                <a:gd name="T24" fmla="*/ 0 w 125"/>
                <a:gd name="T25" fmla="*/ 2147483647 h 2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88">
                  <a:moveTo>
                    <a:pt x="0" y="9"/>
                  </a:moveTo>
                  <a:lnTo>
                    <a:pt x="19" y="75"/>
                  </a:lnTo>
                  <a:lnTo>
                    <a:pt x="0" y="132"/>
                  </a:lnTo>
                  <a:lnTo>
                    <a:pt x="13" y="153"/>
                  </a:lnTo>
                  <a:lnTo>
                    <a:pt x="6" y="167"/>
                  </a:lnTo>
                  <a:lnTo>
                    <a:pt x="88" y="288"/>
                  </a:lnTo>
                  <a:lnTo>
                    <a:pt x="119" y="198"/>
                  </a:lnTo>
                  <a:lnTo>
                    <a:pt x="112" y="167"/>
                  </a:lnTo>
                  <a:lnTo>
                    <a:pt x="112" y="53"/>
                  </a:lnTo>
                  <a:lnTo>
                    <a:pt x="125" y="21"/>
                  </a:lnTo>
                  <a:lnTo>
                    <a:pt x="82" y="30"/>
                  </a:lnTo>
                  <a:lnTo>
                    <a:pt x="31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90" name="Freeform 956"/>
            <p:cNvSpPr>
              <a:spLocks/>
            </p:cNvSpPr>
            <p:nvPr>
              <p:custDataLst>
                <p:tags r:id="rId798"/>
              </p:custDataLst>
            </p:nvPr>
          </p:nvSpPr>
          <p:spPr bwMode="auto">
            <a:xfrm>
              <a:off x="6989418" y="4685870"/>
              <a:ext cx="230562" cy="228600"/>
            </a:xfrm>
            <a:custGeom>
              <a:avLst/>
              <a:gdLst>
                <a:gd name="T0" fmla="*/ 0 w 125"/>
                <a:gd name="T1" fmla="*/ 2147483647 h 288"/>
                <a:gd name="T2" fmla="*/ 2147483647 w 125"/>
                <a:gd name="T3" fmla="*/ 2147483647 h 288"/>
                <a:gd name="T4" fmla="*/ 0 w 125"/>
                <a:gd name="T5" fmla="*/ 2147483647 h 288"/>
                <a:gd name="T6" fmla="*/ 2147483647 w 125"/>
                <a:gd name="T7" fmla="*/ 2147483647 h 288"/>
                <a:gd name="T8" fmla="*/ 2147483647 w 125"/>
                <a:gd name="T9" fmla="*/ 2147483647 h 288"/>
                <a:gd name="T10" fmla="*/ 2147483647 w 125"/>
                <a:gd name="T11" fmla="*/ 2147483647 h 288"/>
                <a:gd name="T12" fmla="*/ 2147483647 w 125"/>
                <a:gd name="T13" fmla="*/ 2147483647 h 288"/>
                <a:gd name="T14" fmla="*/ 2147483647 w 125"/>
                <a:gd name="T15" fmla="*/ 2147483647 h 288"/>
                <a:gd name="T16" fmla="*/ 2147483647 w 125"/>
                <a:gd name="T17" fmla="*/ 2147483647 h 288"/>
                <a:gd name="T18" fmla="*/ 2147483647 w 125"/>
                <a:gd name="T19" fmla="*/ 2147483647 h 288"/>
                <a:gd name="T20" fmla="*/ 2147483647 w 125"/>
                <a:gd name="T21" fmla="*/ 2147483647 h 288"/>
                <a:gd name="T22" fmla="*/ 2147483647 w 125"/>
                <a:gd name="T23" fmla="*/ 0 h 288"/>
                <a:gd name="T24" fmla="*/ 0 w 125"/>
                <a:gd name="T25" fmla="*/ 2147483647 h 28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5" h="288">
                  <a:moveTo>
                    <a:pt x="0" y="9"/>
                  </a:moveTo>
                  <a:lnTo>
                    <a:pt x="19" y="75"/>
                  </a:lnTo>
                  <a:lnTo>
                    <a:pt x="0" y="132"/>
                  </a:lnTo>
                  <a:lnTo>
                    <a:pt x="13" y="153"/>
                  </a:lnTo>
                  <a:lnTo>
                    <a:pt x="6" y="167"/>
                  </a:lnTo>
                  <a:lnTo>
                    <a:pt x="88" y="288"/>
                  </a:lnTo>
                  <a:lnTo>
                    <a:pt x="119" y="198"/>
                  </a:lnTo>
                  <a:lnTo>
                    <a:pt x="112" y="167"/>
                  </a:lnTo>
                  <a:lnTo>
                    <a:pt x="112" y="53"/>
                  </a:lnTo>
                  <a:lnTo>
                    <a:pt x="125" y="21"/>
                  </a:lnTo>
                  <a:lnTo>
                    <a:pt x="82" y="30"/>
                  </a:lnTo>
                  <a:lnTo>
                    <a:pt x="31" y="0"/>
                  </a:lnTo>
                  <a:lnTo>
                    <a:pt x="0" y="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91" name="Freeform 957"/>
            <p:cNvSpPr>
              <a:spLocks/>
            </p:cNvSpPr>
            <p:nvPr>
              <p:custDataLst>
                <p:tags r:id="rId799"/>
              </p:custDataLst>
            </p:nvPr>
          </p:nvSpPr>
          <p:spPr bwMode="auto">
            <a:xfrm>
              <a:off x="7348299" y="4012788"/>
              <a:ext cx="58143" cy="42863"/>
            </a:xfrm>
            <a:custGeom>
              <a:avLst/>
              <a:gdLst>
                <a:gd name="T0" fmla="*/ 0 w 31"/>
                <a:gd name="T1" fmla="*/ 2147483647 h 54"/>
                <a:gd name="T2" fmla="*/ 2147483647 w 31"/>
                <a:gd name="T3" fmla="*/ 0 h 54"/>
                <a:gd name="T4" fmla="*/ 2147483647 w 31"/>
                <a:gd name="T5" fmla="*/ 2147483647 h 54"/>
                <a:gd name="T6" fmla="*/ 0 w 31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54">
                  <a:moveTo>
                    <a:pt x="0" y="32"/>
                  </a:moveTo>
                  <a:lnTo>
                    <a:pt x="26" y="0"/>
                  </a:lnTo>
                  <a:lnTo>
                    <a:pt x="31" y="5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92" name="Freeform 958"/>
            <p:cNvSpPr>
              <a:spLocks/>
            </p:cNvSpPr>
            <p:nvPr>
              <p:custDataLst>
                <p:tags r:id="rId800"/>
              </p:custDataLst>
            </p:nvPr>
          </p:nvSpPr>
          <p:spPr bwMode="auto">
            <a:xfrm>
              <a:off x="7348299" y="4012788"/>
              <a:ext cx="58143" cy="42863"/>
            </a:xfrm>
            <a:custGeom>
              <a:avLst/>
              <a:gdLst>
                <a:gd name="T0" fmla="*/ 0 w 31"/>
                <a:gd name="T1" fmla="*/ 2147483647 h 54"/>
                <a:gd name="T2" fmla="*/ 2147483647 w 31"/>
                <a:gd name="T3" fmla="*/ 0 h 54"/>
                <a:gd name="T4" fmla="*/ 2147483647 w 31"/>
                <a:gd name="T5" fmla="*/ 2147483647 h 54"/>
                <a:gd name="T6" fmla="*/ 0 w 31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54">
                  <a:moveTo>
                    <a:pt x="0" y="32"/>
                  </a:moveTo>
                  <a:lnTo>
                    <a:pt x="26" y="0"/>
                  </a:lnTo>
                  <a:lnTo>
                    <a:pt x="31" y="54"/>
                  </a:lnTo>
                  <a:lnTo>
                    <a:pt x="0" y="3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93" name="Freeform 959"/>
            <p:cNvSpPr>
              <a:spLocks/>
            </p:cNvSpPr>
            <p:nvPr>
              <p:custDataLst>
                <p:tags r:id="rId801"/>
              </p:custDataLst>
            </p:nvPr>
          </p:nvSpPr>
          <p:spPr bwMode="auto">
            <a:xfrm>
              <a:off x="7348299" y="4012788"/>
              <a:ext cx="58143" cy="42863"/>
            </a:xfrm>
            <a:custGeom>
              <a:avLst/>
              <a:gdLst>
                <a:gd name="T0" fmla="*/ 0 w 31"/>
                <a:gd name="T1" fmla="*/ 2147483647 h 54"/>
                <a:gd name="T2" fmla="*/ 2147483647 w 31"/>
                <a:gd name="T3" fmla="*/ 0 h 54"/>
                <a:gd name="T4" fmla="*/ 2147483647 w 31"/>
                <a:gd name="T5" fmla="*/ 2147483647 h 54"/>
                <a:gd name="T6" fmla="*/ 0 w 31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54">
                  <a:moveTo>
                    <a:pt x="0" y="32"/>
                  </a:moveTo>
                  <a:lnTo>
                    <a:pt x="26" y="0"/>
                  </a:lnTo>
                  <a:lnTo>
                    <a:pt x="31" y="5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94" name="Freeform 960"/>
            <p:cNvSpPr>
              <a:spLocks/>
            </p:cNvSpPr>
            <p:nvPr>
              <p:custDataLst>
                <p:tags r:id="rId802"/>
              </p:custDataLst>
            </p:nvPr>
          </p:nvSpPr>
          <p:spPr bwMode="auto">
            <a:xfrm>
              <a:off x="7348299" y="4012788"/>
              <a:ext cx="58143" cy="42863"/>
            </a:xfrm>
            <a:custGeom>
              <a:avLst/>
              <a:gdLst>
                <a:gd name="T0" fmla="*/ 0 w 31"/>
                <a:gd name="T1" fmla="*/ 2147483647 h 54"/>
                <a:gd name="T2" fmla="*/ 2147483647 w 31"/>
                <a:gd name="T3" fmla="*/ 0 h 54"/>
                <a:gd name="T4" fmla="*/ 2147483647 w 31"/>
                <a:gd name="T5" fmla="*/ 2147483647 h 54"/>
                <a:gd name="T6" fmla="*/ 0 w 31"/>
                <a:gd name="T7" fmla="*/ 2147483647 h 5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1" h="54">
                  <a:moveTo>
                    <a:pt x="0" y="32"/>
                  </a:moveTo>
                  <a:lnTo>
                    <a:pt x="26" y="0"/>
                  </a:lnTo>
                  <a:lnTo>
                    <a:pt x="31" y="54"/>
                  </a:lnTo>
                  <a:lnTo>
                    <a:pt x="0" y="3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95" name="Freeform 961"/>
            <p:cNvSpPr>
              <a:spLocks/>
            </p:cNvSpPr>
            <p:nvPr>
              <p:custDataLst>
                <p:tags r:id="rId803"/>
              </p:custDataLst>
            </p:nvPr>
          </p:nvSpPr>
          <p:spPr bwMode="auto">
            <a:xfrm>
              <a:off x="7025509" y="3879420"/>
              <a:ext cx="46112" cy="46038"/>
            </a:xfrm>
            <a:custGeom>
              <a:avLst/>
              <a:gdLst>
                <a:gd name="T0" fmla="*/ 0 w 25"/>
                <a:gd name="T1" fmla="*/ 2147483647 h 57"/>
                <a:gd name="T2" fmla="*/ 2147483647 w 25"/>
                <a:gd name="T3" fmla="*/ 2147483647 h 57"/>
                <a:gd name="T4" fmla="*/ 2147483647 w 25"/>
                <a:gd name="T5" fmla="*/ 2147483647 h 57"/>
                <a:gd name="T6" fmla="*/ 2147483647 w 25"/>
                <a:gd name="T7" fmla="*/ 0 h 57"/>
                <a:gd name="T8" fmla="*/ 0 w 25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57">
                  <a:moveTo>
                    <a:pt x="0" y="57"/>
                  </a:moveTo>
                  <a:lnTo>
                    <a:pt x="5" y="57"/>
                  </a:lnTo>
                  <a:lnTo>
                    <a:pt x="25" y="25"/>
                  </a:lnTo>
                  <a:lnTo>
                    <a:pt x="12" y="0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96" name="Freeform 962"/>
            <p:cNvSpPr>
              <a:spLocks/>
            </p:cNvSpPr>
            <p:nvPr>
              <p:custDataLst>
                <p:tags r:id="rId804"/>
              </p:custDataLst>
            </p:nvPr>
          </p:nvSpPr>
          <p:spPr bwMode="auto">
            <a:xfrm>
              <a:off x="7025509" y="3879420"/>
              <a:ext cx="46112" cy="46038"/>
            </a:xfrm>
            <a:custGeom>
              <a:avLst/>
              <a:gdLst>
                <a:gd name="T0" fmla="*/ 0 w 25"/>
                <a:gd name="T1" fmla="*/ 2147483647 h 57"/>
                <a:gd name="T2" fmla="*/ 2147483647 w 25"/>
                <a:gd name="T3" fmla="*/ 2147483647 h 57"/>
                <a:gd name="T4" fmla="*/ 2147483647 w 25"/>
                <a:gd name="T5" fmla="*/ 2147483647 h 57"/>
                <a:gd name="T6" fmla="*/ 2147483647 w 25"/>
                <a:gd name="T7" fmla="*/ 0 h 57"/>
                <a:gd name="T8" fmla="*/ 0 w 25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57">
                  <a:moveTo>
                    <a:pt x="0" y="57"/>
                  </a:moveTo>
                  <a:lnTo>
                    <a:pt x="5" y="57"/>
                  </a:lnTo>
                  <a:lnTo>
                    <a:pt x="25" y="25"/>
                  </a:lnTo>
                  <a:lnTo>
                    <a:pt x="12" y="0"/>
                  </a:lnTo>
                  <a:lnTo>
                    <a:pt x="0" y="5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97" name="Freeform 963"/>
            <p:cNvSpPr>
              <a:spLocks/>
            </p:cNvSpPr>
            <p:nvPr>
              <p:custDataLst>
                <p:tags r:id="rId805"/>
              </p:custDataLst>
            </p:nvPr>
          </p:nvSpPr>
          <p:spPr bwMode="auto">
            <a:xfrm>
              <a:off x="7025509" y="3879420"/>
              <a:ext cx="46112" cy="46038"/>
            </a:xfrm>
            <a:custGeom>
              <a:avLst/>
              <a:gdLst>
                <a:gd name="T0" fmla="*/ 0 w 25"/>
                <a:gd name="T1" fmla="*/ 2147483647 h 57"/>
                <a:gd name="T2" fmla="*/ 2147483647 w 25"/>
                <a:gd name="T3" fmla="*/ 2147483647 h 57"/>
                <a:gd name="T4" fmla="*/ 2147483647 w 25"/>
                <a:gd name="T5" fmla="*/ 2147483647 h 57"/>
                <a:gd name="T6" fmla="*/ 2147483647 w 25"/>
                <a:gd name="T7" fmla="*/ 0 h 57"/>
                <a:gd name="T8" fmla="*/ 0 w 25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57">
                  <a:moveTo>
                    <a:pt x="0" y="57"/>
                  </a:moveTo>
                  <a:lnTo>
                    <a:pt x="5" y="57"/>
                  </a:lnTo>
                  <a:lnTo>
                    <a:pt x="25" y="25"/>
                  </a:lnTo>
                  <a:lnTo>
                    <a:pt x="12" y="0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98" name="Freeform 964"/>
            <p:cNvSpPr>
              <a:spLocks/>
            </p:cNvSpPr>
            <p:nvPr>
              <p:custDataLst>
                <p:tags r:id="rId806"/>
              </p:custDataLst>
            </p:nvPr>
          </p:nvSpPr>
          <p:spPr bwMode="auto">
            <a:xfrm>
              <a:off x="7025509" y="3879420"/>
              <a:ext cx="46112" cy="46038"/>
            </a:xfrm>
            <a:custGeom>
              <a:avLst/>
              <a:gdLst>
                <a:gd name="T0" fmla="*/ 0 w 25"/>
                <a:gd name="T1" fmla="*/ 2147483647 h 57"/>
                <a:gd name="T2" fmla="*/ 2147483647 w 25"/>
                <a:gd name="T3" fmla="*/ 2147483647 h 57"/>
                <a:gd name="T4" fmla="*/ 2147483647 w 25"/>
                <a:gd name="T5" fmla="*/ 2147483647 h 57"/>
                <a:gd name="T6" fmla="*/ 2147483647 w 25"/>
                <a:gd name="T7" fmla="*/ 0 h 57"/>
                <a:gd name="T8" fmla="*/ 0 w 25"/>
                <a:gd name="T9" fmla="*/ 2147483647 h 5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57">
                  <a:moveTo>
                    <a:pt x="0" y="57"/>
                  </a:moveTo>
                  <a:lnTo>
                    <a:pt x="5" y="57"/>
                  </a:lnTo>
                  <a:lnTo>
                    <a:pt x="25" y="25"/>
                  </a:lnTo>
                  <a:lnTo>
                    <a:pt x="12" y="0"/>
                  </a:lnTo>
                  <a:lnTo>
                    <a:pt x="0" y="5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2999" name="Freeform 965"/>
            <p:cNvSpPr>
              <a:spLocks/>
            </p:cNvSpPr>
            <p:nvPr>
              <p:custDataLst>
                <p:tags r:id="rId807"/>
              </p:custDataLst>
            </p:nvPr>
          </p:nvSpPr>
          <p:spPr bwMode="auto">
            <a:xfrm>
              <a:off x="5680222" y="4587481"/>
              <a:ext cx="118289" cy="98425"/>
            </a:xfrm>
            <a:custGeom>
              <a:avLst/>
              <a:gdLst>
                <a:gd name="T0" fmla="*/ 0 w 63"/>
                <a:gd name="T1" fmla="*/ 2147483647 h 123"/>
                <a:gd name="T2" fmla="*/ 2147483647 w 63"/>
                <a:gd name="T3" fmla="*/ 0 h 123"/>
                <a:gd name="T4" fmla="*/ 2147483647 w 63"/>
                <a:gd name="T5" fmla="*/ 0 h 123"/>
                <a:gd name="T6" fmla="*/ 2147483647 w 63"/>
                <a:gd name="T7" fmla="*/ 2147483647 h 123"/>
                <a:gd name="T8" fmla="*/ 2147483647 w 63"/>
                <a:gd name="T9" fmla="*/ 2147483647 h 123"/>
                <a:gd name="T10" fmla="*/ 2147483647 w 63"/>
                <a:gd name="T11" fmla="*/ 2147483647 h 123"/>
                <a:gd name="T12" fmla="*/ 2147483647 w 63"/>
                <a:gd name="T13" fmla="*/ 2147483647 h 123"/>
                <a:gd name="T14" fmla="*/ 2147483647 w 63"/>
                <a:gd name="T15" fmla="*/ 2147483647 h 123"/>
                <a:gd name="T16" fmla="*/ 0 w 63"/>
                <a:gd name="T17" fmla="*/ 2147483647 h 1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23">
                  <a:moveTo>
                    <a:pt x="0" y="44"/>
                  </a:moveTo>
                  <a:lnTo>
                    <a:pt x="18" y="0"/>
                  </a:lnTo>
                  <a:lnTo>
                    <a:pt x="31" y="0"/>
                  </a:lnTo>
                  <a:lnTo>
                    <a:pt x="31" y="32"/>
                  </a:lnTo>
                  <a:lnTo>
                    <a:pt x="50" y="21"/>
                  </a:lnTo>
                  <a:lnTo>
                    <a:pt x="50" y="55"/>
                  </a:lnTo>
                  <a:lnTo>
                    <a:pt x="63" y="79"/>
                  </a:lnTo>
                  <a:lnTo>
                    <a:pt x="63" y="12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00" name="Freeform 966"/>
            <p:cNvSpPr>
              <a:spLocks/>
            </p:cNvSpPr>
            <p:nvPr>
              <p:custDataLst>
                <p:tags r:id="rId808"/>
              </p:custDataLst>
            </p:nvPr>
          </p:nvSpPr>
          <p:spPr bwMode="auto">
            <a:xfrm>
              <a:off x="5680222" y="4587481"/>
              <a:ext cx="118289" cy="98425"/>
            </a:xfrm>
            <a:custGeom>
              <a:avLst/>
              <a:gdLst>
                <a:gd name="T0" fmla="*/ 0 w 63"/>
                <a:gd name="T1" fmla="*/ 2147483647 h 123"/>
                <a:gd name="T2" fmla="*/ 2147483647 w 63"/>
                <a:gd name="T3" fmla="*/ 0 h 123"/>
                <a:gd name="T4" fmla="*/ 2147483647 w 63"/>
                <a:gd name="T5" fmla="*/ 0 h 123"/>
                <a:gd name="T6" fmla="*/ 2147483647 w 63"/>
                <a:gd name="T7" fmla="*/ 2147483647 h 123"/>
                <a:gd name="T8" fmla="*/ 2147483647 w 63"/>
                <a:gd name="T9" fmla="*/ 2147483647 h 123"/>
                <a:gd name="T10" fmla="*/ 2147483647 w 63"/>
                <a:gd name="T11" fmla="*/ 2147483647 h 123"/>
                <a:gd name="T12" fmla="*/ 2147483647 w 63"/>
                <a:gd name="T13" fmla="*/ 2147483647 h 123"/>
                <a:gd name="T14" fmla="*/ 2147483647 w 63"/>
                <a:gd name="T15" fmla="*/ 2147483647 h 123"/>
                <a:gd name="T16" fmla="*/ 0 w 63"/>
                <a:gd name="T17" fmla="*/ 2147483647 h 1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23">
                  <a:moveTo>
                    <a:pt x="0" y="44"/>
                  </a:moveTo>
                  <a:lnTo>
                    <a:pt x="18" y="0"/>
                  </a:lnTo>
                  <a:lnTo>
                    <a:pt x="31" y="0"/>
                  </a:lnTo>
                  <a:lnTo>
                    <a:pt x="31" y="32"/>
                  </a:lnTo>
                  <a:lnTo>
                    <a:pt x="50" y="21"/>
                  </a:lnTo>
                  <a:lnTo>
                    <a:pt x="50" y="55"/>
                  </a:lnTo>
                  <a:lnTo>
                    <a:pt x="63" y="79"/>
                  </a:lnTo>
                  <a:lnTo>
                    <a:pt x="63" y="123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01" name="Freeform 967"/>
            <p:cNvSpPr>
              <a:spLocks/>
            </p:cNvSpPr>
            <p:nvPr>
              <p:custDataLst>
                <p:tags r:id="rId809"/>
              </p:custDataLst>
            </p:nvPr>
          </p:nvSpPr>
          <p:spPr bwMode="auto">
            <a:xfrm>
              <a:off x="5680222" y="4587481"/>
              <a:ext cx="118289" cy="98425"/>
            </a:xfrm>
            <a:custGeom>
              <a:avLst/>
              <a:gdLst>
                <a:gd name="T0" fmla="*/ 0 w 63"/>
                <a:gd name="T1" fmla="*/ 2147483647 h 123"/>
                <a:gd name="T2" fmla="*/ 2147483647 w 63"/>
                <a:gd name="T3" fmla="*/ 0 h 123"/>
                <a:gd name="T4" fmla="*/ 2147483647 w 63"/>
                <a:gd name="T5" fmla="*/ 0 h 123"/>
                <a:gd name="T6" fmla="*/ 2147483647 w 63"/>
                <a:gd name="T7" fmla="*/ 2147483647 h 123"/>
                <a:gd name="T8" fmla="*/ 2147483647 w 63"/>
                <a:gd name="T9" fmla="*/ 2147483647 h 123"/>
                <a:gd name="T10" fmla="*/ 2147483647 w 63"/>
                <a:gd name="T11" fmla="*/ 2147483647 h 123"/>
                <a:gd name="T12" fmla="*/ 2147483647 w 63"/>
                <a:gd name="T13" fmla="*/ 2147483647 h 123"/>
                <a:gd name="T14" fmla="*/ 2147483647 w 63"/>
                <a:gd name="T15" fmla="*/ 2147483647 h 123"/>
                <a:gd name="T16" fmla="*/ 0 w 63"/>
                <a:gd name="T17" fmla="*/ 2147483647 h 1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23">
                  <a:moveTo>
                    <a:pt x="0" y="44"/>
                  </a:moveTo>
                  <a:lnTo>
                    <a:pt x="18" y="0"/>
                  </a:lnTo>
                  <a:lnTo>
                    <a:pt x="31" y="0"/>
                  </a:lnTo>
                  <a:lnTo>
                    <a:pt x="31" y="32"/>
                  </a:lnTo>
                  <a:lnTo>
                    <a:pt x="50" y="21"/>
                  </a:lnTo>
                  <a:lnTo>
                    <a:pt x="50" y="55"/>
                  </a:lnTo>
                  <a:lnTo>
                    <a:pt x="63" y="79"/>
                  </a:lnTo>
                  <a:lnTo>
                    <a:pt x="63" y="12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02" name="Freeform 968"/>
            <p:cNvSpPr>
              <a:spLocks/>
            </p:cNvSpPr>
            <p:nvPr>
              <p:custDataLst>
                <p:tags r:id="rId810"/>
              </p:custDataLst>
            </p:nvPr>
          </p:nvSpPr>
          <p:spPr bwMode="auto">
            <a:xfrm>
              <a:off x="5680222" y="4587481"/>
              <a:ext cx="118289" cy="98425"/>
            </a:xfrm>
            <a:custGeom>
              <a:avLst/>
              <a:gdLst>
                <a:gd name="T0" fmla="*/ 0 w 63"/>
                <a:gd name="T1" fmla="*/ 2147483647 h 123"/>
                <a:gd name="T2" fmla="*/ 2147483647 w 63"/>
                <a:gd name="T3" fmla="*/ 0 h 123"/>
                <a:gd name="T4" fmla="*/ 2147483647 w 63"/>
                <a:gd name="T5" fmla="*/ 0 h 123"/>
                <a:gd name="T6" fmla="*/ 2147483647 w 63"/>
                <a:gd name="T7" fmla="*/ 2147483647 h 123"/>
                <a:gd name="T8" fmla="*/ 2147483647 w 63"/>
                <a:gd name="T9" fmla="*/ 2147483647 h 123"/>
                <a:gd name="T10" fmla="*/ 2147483647 w 63"/>
                <a:gd name="T11" fmla="*/ 2147483647 h 123"/>
                <a:gd name="T12" fmla="*/ 2147483647 w 63"/>
                <a:gd name="T13" fmla="*/ 2147483647 h 123"/>
                <a:gd name="T14" fmla="*/ 2147483647 w 63"/>
                <a:gd name="T15" fmla="*/ 2147483647 h 123"/>
                <a:gd name="T16" fmla="*/ 0 w 63"/>
                <a:gd name="T17" fmla="*/ 2147483647 h 1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63" h="123">
                  <a:moveTo>
                    <a:pt x="0" y="44"/>
                  </a:moveTo>
                  <a:lnTo>
                    <a:pt x="18" y="0"/>
                  </a:lnTo>
                  <a:lnTo>
                    <a:pt x="31" y="0"/>
                  </a:lnTo>
                  <a:lnTo>
                    <a:pt x="31" y="32"/>
                  </a:lnTo>
                  <a:lnTo>
                    <a:pt x="50" y="21"/>
                  </a:lnTo>
                  <a:lnTo>
                    <a:pt x="50" y="55"/>
                  </a:lnTo>
                  <a:lnTo>
                    <a:pt x="63" y="79"/>
                  </a:lnTo>
                  <a:lnTo>
                    <a:pt x="63" y="123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03" name="Freeform 969"/>
            <p:cNvSpPr>
              <a:spLocks/>
            </p:cNvSpPr>
            <p:nvPr>
              <p:custDataLst>
                <p:tags r:id="rId811"/>
              </p:custDataLst>
            </p:nvPr>
          </p:nvSpPr>
          <p:spPr bwMode="auto">
            <a:xfrm>
              <a:off x="6283717" y="3925458"/>
              <a:ext cx="453106" cy="368300"/>
            </a:xfrm>
            <a:custGeom>
              <a:avLst/>
              <a:gdLst>
                <a:gd name="T0" fmla="*/ 0 w 244"/>
                <a:gd name="T1" fmla="*/ 2147483647 h 465"/>
                <a:gd name="T2" fmla="*/ 0 w 244"/>
                <a:gd name="T3" fmla="*/ 2147483647 h 465"/>
                <a:gd name="T4" fmla="*/ 2147483647 w 244"/>
                <a:gd name="T5" fmla="*/ 0 h 465"/>
                <a:gd name="T6" fmla="*/ 2147483647 w 244"/>
                <a:gd name="T7" fmla="*/ 2147483647 h 465"/>
                <a:gd name="T8" fmla="*/ 2147483647 w 244"/>
                <a:gd name="T9" fmla="*/ 2147483647 h 465"/>
                <a:gd name="T10" fmla="*/ 2147483647 w 244"/>
                <a:gd name="T11" fmla="*/ 2147483647 h 465"/>
                <a:gd name="T12" fmla="*/ 2147483647 w 244"/>
                <a:gd name="T13" fmla="*/ 2147483647 h 465"/>
                <a:gd name="T14" fmla="*/ 2147483647 w 244"/>
                <a:gd name="T15" fmla="*/ 2147483647 h 465"/>
                <a:gd name="T16" fmla="*/ 2147483647 w 244"/>
                <a:gd name="T17" fmla="*/ 2147483647 h 465"/>
                <a:gd name="T18" fmla="*/ 2147483647 w 244"/>
                <a:gd name="T19" fmla="*/ 2147483647 h 465"/>
                <a:gd name="T20" fmla="*/ 2147483647 w 244"/>
                <a:gd name="T21" fmla="*/ 2147483647 h 465"/>
                <a:gd name="T22" fmla="*/ 2147483647 w 244"/>
                <a:gd name="T23" fmla="*/ 2147483647 h 465"/>
                <a:gd name="T24" fmla="*/ 2147483647 w 244"/>
                <a:gd name="T25" fmla="*/ 2147483647 h 465"/>
                <a:gd name="T26" fmla="*/ 2147483647 w 244"/>
                <a:gd name="T27" fmla="*/ 2147483647 h 465"/>
                <a:gd name="T28" fmla="*/ 2147483647 w 244"/>
                <a:gd name="T29" fmla="*/ 2147483647 h 465"/>
                <a:gd name="T30" fmla="*/ 2147483647 w 244"/>
                <a:gd name="T31" fmla="*/ 2147483647 h 465"/>
                <a:gd name="T32" fmla="*/ 2147483647 w 244"/>
                <a:gd name="T33" fmla="*/ 2147483647 h 465"/>
                <a:gd name="T34" fmla="*/ 2147483647 w 244"/>
                <a:gd name="T35" fmla="*/ 2147483647 h 465"/>
                <a:gd name="T36" fmla="*/ 0 w 244"/>
                <a:gd name="T37" fmla="*/ 2147483647 h 4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4" h="465">
                  <a:moveTo>
                    <a:pt x="0" y="244"/>
                  </a:moveTo>
                  <a:lnTo>
                    <a:pt x="0" y="100"/>
                  </a:lnTo>
                  <a:lnTo>
                    <a:pt x="31" y="0"/>
                  </a:lnTo>
                  <a:lnTo>
                    <a:pt x="87" y="33"/>
                  </a:lnTo>
                  <a:lnTo>
                    <a:pt x="100" y="68"/>
                  </a:lnTo>
                  <a:lnTo>
                    <a:pt x="150" y="100"/>
                  </a:lnTo>
                  <a:lnTo>
                    <a:pt x="161" y="89"/>
                  </a:lnTo>
                  <a:lnTo>
                    <a:pt x="161" y="45"/>
                  </a:lnTo>
                  <a:lnTo>
                    <a:pt x="180" y="12"/>
                  </a:lnTo>
                  <a:lnTo>
                    <a:pt x="244" y="56"/>
                  </a:lnTo>
                  <a:lnTo>
                    <a:pt x="237" y="112"/>
                  </a:lnTo>
                  <a:lnTo>
                    <a:pt x="244" y="388"/>
                  </a:lnTo>
                  <a:lnTo>
                    <a:pt x="244" y="456"/>
                  </a:lnTo>
                  <a:lnTo>
                    <a:pt x="231" y="456"/>
                  </a:lnTo>
                  <a:lnTo>
                    <a:pt x="231" y="465"/>
                  </a:lnTo>
                  <a:lnTo>
                    <a:pt x="106" y="333"/>
                  </a:lnTo>
                  <a:lnTo>
                    <a:pt x="87" y="356"/>
                  </a:lnTo>
                  <a:lnTo>
                    <a:pt x="36" y="333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04" name="Freeform 970"/>
            <p:cNvSpPr>
              <a:spLocks/>
            </p:cNvSpPr>
            <p:nvPr>
              <p:custDataLst>
                <p:tags r:id="rId812"/>
              </p:custDataLst>
            </p:nvPr>
          </p:nvSpPr>
          <p:spPr bwMode="auto">
            <a:xfrm>
              <a:off x="6283717" y="3925458"/>
              <a:ext cx="453106" cy="368300"/>
            </a:xfrm>
            <a:custGeom>
              <a:avLst/>
              <a:gdLst>
                <a:gd name="T0" fmla="*/ 0 w 244"/>
                <a:gd name="T1" fmla="*/ 2147483647 h 465"/>
                <a:gd name="T2" fmla="*/ 0 w 244"/>
                <a:gd name="T3" fmla="*/ 2147483647 h 465"/>
                <a:gd name="T4" fmla="*/ 2147483647 w 244"/>
                <a:gd name="T5" fmla="*/ 0 h 465"/>
                <a:gd name="T6" fmla="*/ 2147483647 w 244"/>
                <a:gd name="T7" fmla="*/ 2147483647 h 465"/>
                <a:gd name="T8" fmla="*/ 2147483647 w 244"/>
                <a:gd name="T9" fmla="*/ 2147483647 h 465"/>
                <a:gd name="T10" fmla="*/ 2147483647 w 244"/>
                <a:gd name="T11" fmla="*/ 2147483647 h 465"/>
                <a:gd name="T12" fmla="*/ 2147483647 w 244"/>
                <a:gd name="T13" fmla="*/ 2147483647 h 465"/>
                <a:gd name="T14" fmla="*/ 2147483647 w 244"/>
                <a:gd name="T15" fmla="*/ 2147483647 h 465"/>
                <a:gd name="T16" fmla="*/ 2147483647 w 244"/>
                <a:gd name="T17" fmla="*/ 2147483647 h 465"/>
                <a:gd name="T18" fmla="*/ 2147483647 w 244"/>
                <a:gd name="T19" fmla="*/ 2147483647 h 465"/>
                <a:gd name="T20" fmla="*/ 2147483647 w 244"/>
                <a:gd name="T21" fmla="*/ 2147483647 h 465"/>
                <a:gd name="T22" fmla="*/ 2147483647 w 244"/>
                <a:gd name="T23" fmla="*/ 2147483647 h 465"/>
                <a:gd name="T24" fmla="*/ 2147483647 w 244"/>
                <a:gd name="T25" fmla="*/ 2147483647 h 465"/>
                <a:gd name="T26" fmla="*/ 2147483647 w 244"/>
                <a:gd name="T27" fmla="*/ 2147483647 h 465"/>
                <a:gd name="T28" fmla="*/ 2147483647 w 244"/>
                <a:gd name="T29" fmla="*/ 2147483647 h 465"/>
                <a:gd name="T30" fmla="*/ 2147483647 w 244"/>
                <a:gd name="T31" fmla="*/ 2147483647 h 465"/>
                <a:gd name="T32" fmla="*/ 2147483647 w 244"/>
                <a:gd name="T33" fmla="*/ 2147483647 h 465"/>
                <a:gd name="T34" fmla="*/ 2147483647 w 244"/>
                <a:gd name="T35" fmla="*/ 2147483647 h 465"/>
                <a:gd name="T36" fmla="*/ 0 w 244"/>
                <a:gd name="T37" fmla="*/ 2147483647 h 4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4" h="465">
                  <a:moveTo>
                    <a:pt x="0" y="244"/>
                  </a:moveTo>
                  <a:lnTo>
                    <a:pt x="0" y="100"/>
                  </a:lnTo>
                  <a:lnTo>
                    <a:pt x="31" y="0"/>
                  </a:lnTo>
                  <a:lnTo>
                    <a:pt x="87" y="33"/>
                  </a:lnTo>
                  <a:lnTo>
                    <a:pt x="100" y="68"/>
                  </a:lnTo>
                  <a:lnTo>
                    <a:pt x="150" y="100"/>
                  </a:lnTo>
                  <a:lnTo>
                    <a:pt x="161" y="89"/>
                  </a:lnTo>
                  <a:lnTo>
                    <a:pt x="161" y="45"/>
                  </a:lnTo>
                  <a:lnTo>
                    <a:pt x="180" y="12"/>
                  </a:lnTo>
                  <a:lnTo>
                    <a:pt x="244" y="56"/>
                  </a:lnTo>
                  <a:lnTo>
                    <a:pt x="237" y="112"/>
                  </a:lnTo>
                  <a:lnTo>
                    <a:pt x="244" y="388"/>
                  </a:lnTo>
                  <a:lnTo>
                    <a:pt x="244" y="456"/>
                  </a:lnTo>
                  <a:lnTo>
                    <a:pt x="231" y="456"/>
                  </a:lnTo>
                  <a:lnTo>
                    <a:pt x="231" y="465"/>
                  </a:lnTo>
                  <a:lnTo>
                    <a:pt x="106" y="333"/>
                  </a:lnTo>
                  <a:lnTo>
                    <a:pt x="87" y="356"/>
                  </a:lnTo>
                  <a:lnTo>
                    <a:pt x="36" y="333"/>
                  </a:lnTo>
                  <a:lnTo>
                    <a:pt x="0" y="244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05" name="Freeform 971"/>
            <p:cNvSpPr>
              <a:spLocks/>
            </p:cNvSpPr>
            <p:nvPr>
              <p:custDataLst>
                <p:tags r:id="rId813"/>
              </p:custDataLst>
            </p:nvPr>
          </p:nvSpPr>
          <p:spPr bwMode="auto">
            <a:xfrm>
              <a:off x="6283717" y="3925458"/>
              <a:ext cx="453106" cy="368300"/>
            </a:xfrm>
            <a:custGeom>
              <a:avLst/>
              <a:gdLst>
                <a:gd name="T0" fmla="*/ 0 w 244"/>
                <a:gd name="T1" fmla="*/ 2147483647 h 465"/>
                <a:gd name="T2" fmla="*/ 0 w 244"/>
                <a:gd name="T3" fmla="*/ 2147483647 h 465"/>
                <a:gd name="T4" fmla="*/ 2147483647 w 244"/>
                <a:gd name="T5" fmla="*/ 0 h 465"/>
                <a:gd name="T6" fmla="*/ 2147483647 w 244"/>
                <a:gd name="T7" fmla="*/ 2147483647 h 465"/>
                <a:gd name="T8" fmla="*/ 2147483647 w 244"/>
                <a:gd name="T9" fmla="*/ 2147483647 h 465"/>
                <a:gd name="T10" fmla="*/ 2147483647 w 244"/>
                <a:gd name="T11" fmla="*/ 2147483647 h 465"/>
                <a:gd name="T12" fmla="*/ 2147483647 w 244"/>
                <a:gd name="T13" fmla="*/ 2147483647 h 465"/>
                <a:gd name="T14" fmla="*/ 2147483647 w 244"/>
                <a:gd name="T15" fmla="*/ 2147483647 h 465"/>
                <a:gd name="T16" fmla="*/ 2147483647 w 244"/>
                <a:gd name="T17" fmla="*/ 2147483647 h 465"/>
                <a:gd name="T18" fmla="*/ 2147483647 w 244"/>
                <a:gd name="T19" fmla="*/ 2147483647 h 465"/>
                <a:gd name="T20" fmla="*/ 2147483647 w 244"/>
                <a:gd name="T21" fmla="*/ 2147483647 h 465"/>
                <a:gd name="T22" fmla="*/ 2147483647 w 244"/>
                <a:gd name="T23" fmla="*/ 2147483647 h 465"/>
                <a:gd name="T24" fmla="*/ 2147483647 w 244"/>
                <a:gd name="T25" fmla="*/ 2147483647 h 465"/>
                <a:gd name="T26" fmla="*/ 2147483647 w 244"/>
                <a:gd name="T27" fmla="*/ 2147483647 h 465"/>
                <a:gd name="T28" fmla="*/ 2147483647 w 244"/>
                <a:gd name="T29" fmla="*/ 2147483647 h 465"/>
                <a:gd name="T30" fmla="*/ 2147483647 w 244"/>
                <a:gd name="T31" fmla="*/ 2147483647 h 465"/>
                <a:gd name="T32" fmla="*/ 2147483647 w 244"/>
                <a:gd name="T33" fmla="*/ 2147483647 h 465"/>
                <a:gd name="T34" fmla="*/ 2147483647 w 244"/>
                <a:gd name="T35" fmla="*/ 2147483647 h 465"/>
                <a:gd name="T36" fmla="*/ 0 w 244"/>
                <a:gd name="T37" fmla="*/ 2147483647 h 4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4" h="465">
                  <a:moveTo>
                    <a:pt x="0" y="244"/>
                  </a:moveTo>
                  <a:lnTo>
                    <a:pt x="0" y="100"/>
                  </a:lnTo>
                  <a:lnTo>
                    <a:pt x="31" y="0"/>
                  </a:lnTo>
                  <a:lnTo>
                    <a:pt x="87" y="33"/>
                  </a:lnTo>
                  <a:lnTo>
                    <a:pt x="100" y="68"/>
                  </a:lnTo>
                  <a:lnTo>
                    <a:pt x="150" y="100"/>
                  </a:lnTo>
                  <a:lnTo>
                    <a:pt x="161" y="89"/>
                  </a:lnTo>
                  <a:lnTo>
                    <a:pt x="161" y="45"/>
                  </a:lnTo>
                  <a:lnTo>
                    <a:pt x="180" y="12"/>
                  </a:lnTo>
                  <a:lnTo>
                    <a:pt x="244" y="56"/>
                  </a:lnTo>
                  <a:lnTo>
                    <a:pt x="237" y="112"/>
                  </a:lnTo>
                  <a:lnTo>
                    <a:pt x="244" y="388"/>
                  </a:lnTo>
                  <a:lnTo>
                    <a:pt x="244" y="456"/>
                  </a:lnTo>
                  <a:lnTo>
                    <a:pt x="231" y="456"/>
                  </a:lnTo>
                  <a:lnTo>
                    <a:pt x="231" y="465"/>
                  </a:lnTo>
                  <a:lnTo>
                    <a:pt x="106" y="333"/>
                  </a:lnTo>
                  <a:lnTo>
                    <a:pt x="87" y="356"/>
                  </a:lnTo>
                  <a:lnTo>
                    <a:pt x="36" y="333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06" name="Freeform 973"/>
            <p:cNvSpPr>
              <a:spLocks/>
            </p:cNvSpPr>
            <p:nvPr>
              <p:custDataLst>
                <p:tags r:id="rId814"/>
              </p:custDataLst>
            </p:nvPr>
          </p:nvSpPr>
          <p:spPr bwMode="auto">
            <a:xfrm>
              <a:off x="7256068" y="5109769"/>
              <a:ext cx="194476" cy="344487"/>
            </a:xfrm>
            <a:custGeom>
              <a:avLst/>
              <a:gdLst>
                <a:gd name="T0" fmla="*/ 0 w 105"/>
                <a:gd name="T1" fmla="*/ 2147483647 h 434"/>
                <a:gd name="T2" fmla="*/ 2147483647 w 105"/>
                <a:gd name="T3" fmla="*/ 2147483647 h 434"/>
                <a:gd name="T4" fmla="*/ 2147483647 w 105"/>
                <a:gd name="T5" fmla="*/ 2147483647 h 434"/>
                <a:gd name="T6" fmla="*/ 2147483647 w 105"/>
                <a:gd name="T7" fmla="*/ 2147483647 h 434"/>
                <a:gd name="T8" fmla="*/ 2147483647 w 105"/>
                <a:gd name="T9" fmla="*/ 2147483647 h 434"/>
                <a:gd name="T10" fmla="*/ 2147483647 w 105"/>
                <a:gd name="T11" fmla="*/ 2147483647 h 434"/>
                <a:gd name="T12" fmla="*/ 2147483647 w 105"/>
                <a:gd name="T13" fmla="*/ 0 h 434"/>
                <a:gd name="T14" fmla="*/ 2147483647 w 105"/>
                <a:gd name="T15" fmla="*/ 2147483647 h 434"/>
                <a:gd name="T16" fmla="*/ 2147483647 w 105"/>
                <a:gd name="T17" fmla="*/ 2147483647 h 434"/>
                <a:gd name="T18" fmla="*/ 2147483647 w 105"/>
                <a:gd name="T19" fmla="*/ 2147483647 h 434"/>
                <a:gd name="T20" fmla="*/ 2147483647 w 105"/>
                <a:gd name="T21" fmla="*/ 2147483647 h 434"/>
                <a:gd name="T22" fmla="*/ 2147483647 w 105"/>
                <a:gd name="T23" fmla="*/ 2147483647 h 434"/>
                <a:gd name="T24" fmla="*/ 2147483647 w 105"/>
                <a:gd name="T25" fmla="*/ 2147483647 h 434"/>
                <a:gd name="T26" fmla="*/ 0 w 105"/>
                <a:gd name="T27" fmla="*/ 2147483647 h 4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5" h="434">
                  <a:moveTo>
                    <a:pt x="0" y="311"/>
                  </a:moveTo>
                  <a:lnTo>
                    <a:pt x="7" y="399"/>
                  </a:lnTo>
                  <a:lnTo>
                    <a:pt x="31" y="434"/>
                  </a:lnTo>
                  <a:lnTo>
                    <a:pt x="63" y="399"/>
                  </a:lnTo>
                  <a:lnTo>
                    <a:pt x="100" y="99"/>
                  </a:lnTo>
                  <a:lnTo>
                    <a:pt x="105" y="111"/>
                  </a:lnTo>
                  <a:lnTo>
                    <a:pt x="94" y="0"/>
                  </a:lnTo>
                  <a:lnTo>
                    <a:pt x="69" y="44"/>
                  </a:lnTo>
                  <a:lnTo>
                    <a:pt x="74" y="76"/>
                  </a:lnTo>
                  <a:lnTo>
                    <a:pt x="50" y="111"/>
                  </a:lnTo>
                  <a:lnTo>
                    <a:pt x="19" y="132"/>
                  </a:lnTo>
                  <a:lnTo>
                    <a:pt x="13" y="167"/>
                  </a:lnTo>
                  <a:lnTo>
                    <a:pt x="19" y="245"/>
                  </a:lnTo>
                  <a:lnTo>
                    <a:pt x="0" y="3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07" name="Freeform 974"/>
            <p:cNvSpPr>
              <a:spLocks/>
            </p:cNvSpPr>
            <p:nvPr>
              <p:custDataLst>
                <p:tags r:id="rId815"/>
              </p:custDataLst>
            </p:nvPr>
          </p:nvSpPr>
          <p:spPr bwMode="auto">
            <a:xfrm>
              <a:off x="7256068" y="5109769"/>
              <a:ext cx="194476" cy="344487"/>
            </a:xfrm>
            <a:custGeom>
              <a:avLst/>
              <a:gdLst>
                <a:gd name="T0" fmla="*/ 0 w 105"/>
                <a:gd name="T1" fmla="*/ 2147483647 h 434"/>
                <a:gd name="T2" fmla="*/ 2147483647 w 105"/>
                <a:gd name="T3" fmla="*/ 2147483647 h 434"/>
                <a:gd name="T4" fmla="*/ 2147483647 w 105"/>
                <a:gd name="T5" fmla="*/ 2147483647 h 434"/>
                <a:gd name="T6" fmla="*/ 2147483647 w 105"/>
                <a:gd name="T7" fmla="*/ 2147483647 h 434"/>
                <a:gd name="T8" fmla="*/ 2147483647 w 105"/>
                <a:gd name="T9" fmla="*/ 2147483647 h 434"/>
                <a:gd name="T10" fmla="*/ 2147483647 w 105"/>
                <a:gd name="T11" fmla="*/ 2147483647 h 434"/>
                <a:gd name="T12" fmla="*/ 2147483647 w 105"/>
                <a:gd name="T13" fmla="*/ 0 h 434"/>
                <a:gd name="T14" fmla="*/ 2147483647 w 105"/>
                <a:gd name="T15" fmla="*/ 2147483647 h 434"/>
                <a:gd name="T16" fmla="*/ 2147483647 w 105"/>
                <a:gd name="T17" fmla="*/ 2147483647 h 434"/>
                <a:gd name="T18" fmla="*/ 2147483647 w 105"/>
                <a:gd name="T19" fmla="*/ 2147483647 h 434"/>
                <a:gd name="T20" fmla="*/ 2147483647 w 105"/>
                <a:gd name="T21" fmla="*/ 2147483647 h 434"/>
                <a:gd name="T22" fmla="*/ 2147483647 w 105"/>
                <a:gd name="T23" fmla="*/ 2147483647 h 434"/>
                <a:gd name="T24" fmla="*/ 2147483647 w 105"/>
                <a:gd name="T25" fmla="*/ 2147483647 h 434"/>
                <a:gd name="T26" fmla="*/ 0 w 105"/>
                <a:gd name="T27" fmla="*/ 2147483647 h 4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5" h="434">
                  <a:moveTo>
                    <a:pt x="0" y="311"/>
                  </a:moveTo>
                  <a:lnTo>
                    <a:pt x="7" y="399"/>
                  </a:lnTo>
                  <a:lnTo>
                    <a:pt x="31" y="434"/>
                  </a:lnTo>
                  <a:lnTo>
                    <a:pt x="63" y="399"/>
                  </a:lnTo>
                  <a:lnTo>
                    <a:pt x="100" y="99"/>
                  </a:lnTo>
                  <a:lnTo>
                    <a:pt x="105" y="111"/>
                  </a:lnTo>
                  <a:lnTo>
                    <a:pt x="94" y="0"/>
                  </a:lnTo>
                  <a:lnTo>
                    <a:pt x="69" y="44"/>
                  </a:lnTo>
                  <a:lnTo>
                    <a:pt x="74" y="76"/>
                  </a:lnTo>
                  <a:lnTo>
                    <a:pt x="50" y="111"/>
                  </a:lnTo>
                  <a:lnTo>
                    <a:pt x="19" y="132"/>
                  </a:lnTo>
                  <a:lnTo>
                    <a:pt x="13" y="167"/>
                  </a:lnTo>
                  <a:lnTo>
                    <a:pt x="19" y="245"/>
                  </a:lnTo>
                  <a:lnTo>
                    <a:pt x="0" y="3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08" name="Freeform 975"/>
            <p:cNvSpPr>
              <a:spLocks/>
            </p:cNvSpPr>
            <p:nvPr>
              <p:custDataLst>
                <p:tags r:id="rId816"/>
              </p:custDataLst>
            </p:nvPr>
          </p:nvSpPr>
          <p:spPr bwMode="auto">
            <a:xfrm>
              <a:off x="7256068" y="5109769"/>
              <a:ext cx="194476" cy="344487"/>
            </a:xfrm>
            <a:custGeom>
              <a:avLst/>
              <a:gdLst>
                <a:gd name="T0" fmla="*/ 0 w 105"/>
                <a:gd name="T1" fmla="*/ 2147483647 h 434"/>
                <a:gd name="T2" fmla="*/ 2147483647 w 105"/>
                <a:gd name="T3" fmla="*/ 2147483647 h 434"/>
                <a:gd name="T4" fmla="*/ 2147483647 w 105"/>
                <a:gd name="T5" fmla="*/ 2147483647 h 434"/>
                <a:gd name="T6" fmla="*/ 2147483647 w 105"/>
                <a:gd name="T7" fmla="*/ 2147483647 h 434"/>
                <a:gd name="T8" fmla="*/ 2147483647 w 105"/>
                <a:gd name="T9" fmla="*/ 2147483647 h 434"/>
                <a:gd name="T10" fmla="*/ 2147483647 w 105"/>
                <a:gd name="T11" fmla="*/ 2147483647 h 434"/>
                <a:gd name="T12" fmla="*/ 2147483647 w 105"/>
                <a:gd name="T13" fmla="*/ 0 h 434"/>
                <a:gd name="T14" fmla="*/ 2147483647 w 105"/>
                <a:gd name="T15" fmla="*/ 2147483647 h 434"/>
                <a:gd name="T16" fmla="*/ 2147483647 w 105"/>
                <a:gd name="T17" fmla="*/ 2147483647 h 434"/>
                <a:gd name="T18" fmla="*/ 2147483647 w 105"/>
                <a:gd name="T19" fmla="*/ 2147483647 h 434"/>
                <a:gd name="T20" fmla="*/ 2147483647 w 105"/>
                <a:gd name="T21" fmla="*/ 2147483647 h 434"/>
                <a:gd name="T22" fmla="*/ 2147483647 w 105"/>
                <a:gd name="T23" fmla="*/ 2147483647 h 434"/>
                <a:gd name="T24" fmla="*/ 2147483647 w 105"/>
                <a:gd name="T25" fmla="*/ 2147483647 h 434"/>
                <a:gd name="T26" fmla="*/ 0 w 105"/>
                <a:gd name="T27" fmla="*/ 2147483647 h 4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5" h="434">
                  <a:moveTo>
                    <a:pt x="0" y="311"/>
                  </a:moveTo>
                  <a:lnTo>
                    <a:pt x="7" y="399"/>
                  </a:lnTo>
                  <a:lnTo>
                    <a:pt x="31" y="434"/>
                  </a:lnTo>
                  <a:lnTo>
                    <a:pt x="63" y="399"/>
                  </a:lnTo>
                  <a:lnTo>
                    <a:pt x="100" y="99"/>
                  </a:lnTo>
                  <a:lnTo>
                    <a:pt x="105" y="111"/>
                  </a:lnTo>
                  <a:lnTo>
                    <a:pt x="94" y="0"/>
                  </a:lnTo>
                  <a:lnTo>
                    <a:pt x="69" y="44"/>
                  </a:lnTo>
                  <a:lnTo>
                    <a:pt x="74" y="76"/>
                  </a:lnTo>
                  <a:lnTo>
                    <a:pt x="50" y="111"/>
                  </a:lnTo>
                  <a:lnTo>
                    <a:pt x="19" y="132"/>
                  </a:lnTo>
                  <a:lnTo>
                    <a:pt x="13" y="167"/>
                  </a:lnTo>
                  <a:lnTo>
                    <a:pt x="19" y="245"/>
                  </a:lnTo>
                  <a:lnTo>
                    <a:pt x="0" y="3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09" name="Freeform 976"/>
            <p:cNvSpPr>
              <a:spLocks/>
            </p:cNvSpPr>
            <p:nvPr>
              <p:custDataLst>
                <p:tags r:id="rId817"/>
              </p:custDataLst>
            </p:nvPr>
          </p:nvSpPr>
          <p:spPr bwMode="auto">
            <a:xfrm>
              <a:off x="7256068" y="5109769"/>
              <a:ext cx="194476" cy="344487"/>
            </a:xfrm>
            <a:custGeom>
              <a:avLst/>
              <a:gdLst>
                <a:gd name="T0" fmla="*/ 0 w 105"/>
                <a:gd name="T1" fmla="*/ 2147483647 h 434"/>
                <a:gd name="T2" fmla="*/ 2147483647 w 105"/>
                <a:gd name="T3" fmla="*/ 2147483647 h 434"/>
                <a:gd name="T4" fmla="*/ 2147483647 w 105"/>
                <a:gd name="T5" fmla="*/ 2147483647 h 434"/>
                <a:gd name="T6" fmla="*/ 2147483647 w 105"/>
                <a:gd name="T7" fmla="*/ 2147483647 h 434"/>
                <a:gd name="T8" fmla="*/ 2147483647 w 105"/>
                <a:gd name="T9" fmla="*/ 2147483647 h 434"/>
                <a:gd name="T10" fmla="*/ 2147483647 w 105"/>
                <a:gd name="T11" fmla="*/ 2147483647 h 434"/>
                <a:gd name="T12" fmla="*/ 2147483647 w 105"/>
                <a:gd name="T13" fmla="*/ 0 h 434"/>
                <a:gd name="T14" fmla="*/ 2147483647 w 105"/>
                <a:gd name="T15" fmla="*/ 2147483647 h 434"/>
                <a:gd name="T16" fmla="*/ 2147483647 w 105"/>
                <a:gd name="T17" fmla="*/ 2147483647 h 434"/>
                <a:gd name="T18" fmla="*/ 2147483647 w 105"/>
                <a:gd name="T19" fmla="*/ 2147483647 h 434"/>
                <a:gd name="T20" fmla="*/ 2147483647 w 105"/>
                <a:gd name="T21" fmla="*/ 2147483647 h 434"/>
                <a:gd name="T22" fmla="*/ 2147483647 w 105"/>
                <a:gd name="T23" fmla="*/ 2147483647 h 434"/>
                <a:gd name="T24" fmla="*/ 2147483647 w 105"/>
                <a:gd name="T25" fmla="*/ 2147483647 h 434"/>
                <a:gd name="T26" fmla="*/ 0 w 105"/>
                <a:gd name="T27" fmla="*/ 2147483647 h 43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5" h="434">
                  <a:moveTo>
                    <a:pt x="0" y="311"/>
                  </a:moveTo>
                  <a:lnTo>
                    <a:pt x="7" y="399"/>
                  </a:lnTo>
                  <a:lnTo>
                    <a:pt x="31" y="434"/>
                  </a:lnTo>
                  <a:lnTo>
                    <a:pt x="63" y="399"/>
                  </a:lnTo>
                  <a:lnTo>
                    <a:pt x="100" y="99"/>
                  </a:lnTo>
                  <a:lnTo>
                    <a:pt x="105" y="111"/>
                  </a:lnTo>
                  <a:lnTo>
                    <a:pt x="94" y="0"/>
                  </a:lnTo>
                  <a:lnTo>
                    <a:pt x="69" y="44"/>
                  </a:lnTo>
                  <a:lnTo>
                    <a:pt x="74" y="76"/>
                  </a:lnTo>
                  <a:lnTo>
                    <a:pt x="50" y="111"/>
                  </a:lnTo>
                  <a:lnTo>
                    <a:pt x="19" y="132"/>
                  </a:lnTo>
                  <a:lnTo>
                    <a:pt x="13" y="167"/>
                  </a:lnTo>
                  <a:lnTo>
                    <a:pt x="19" y="245"/>
                  </a:lnTo>
                  <a:lnTo>
                    <a:pt x="0" y="3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10" name="Freeform 977"/>
            <p:cNvSpPr>
              <a:spLocks/>
            </p:cNvSpPr>
            <p:nvPr>
              <p:custDataLst>
                <p:tags r:id="rId818"/>
              </p:custDataLst>
            </p:nvPr>
          </p:nvSpPr>
          <p:spPr bwMode="auto">
            <a:xfrm>
              <a:off x="6955343" y="5038331"/>
              <a:ext cx="92225" cy="195263"/>
            </a:xfrm>
            <a:custGeom>
              <a:avLst/>
              <a:gdLst>
                <a:gd name="T0" fmla="*/ 0 w 50"/>
                <a:gd name="T1" fmla="*/ 2147483647 h 246"/>
                <a:gd name="T2" fmla="*/ 2147483647 w 50"/>
                <a:gd name="T3" fmla="*/ 2147483647 h 246"/>
                <a:gd name="T4" fmla="*/ 2147483647 w 50"/>
                <a:gd name="T5" fmla="*/ 2147483647 h 246"/>
                <a:gd name="T6" fmla="*/ 2147483647 w 50"/>
                <a:gd name="T7" fmla="*/ 2147483647 h 246"/>
                <a:gd name="T8" fmla="*/ 2147483647 w 50"/>
                <a:gd name="T9" fmla="*/ 2147483647 h 246"/>
                <a:gd name="T10" fmla="*/ 2147483647 w 50"/>
                <a:gd name="T11" fmla="*/ 2147483647 h 246"/>
                <a:gd name="T12" fmla="*/ 2147483647 w 50"/>
                <a:gd name="T13" fmla="*/ 2147483647 h 246"/>
                <a:gd name="T14" fmla="*/ 2147483647 w 50"/>
                <a:gd name="T15" fmla="*/ 2147483647 h 246"/>
                <a:gd name="T16" fmla="*/ 2147483647 w 50"/>
                <a:gd name="T17" fmla="*/ 2147483647 h 246"/>
                <a:gd name="T18" fmla="*/ 2147483647 w 50"/>
                <a:gd name="T19" fmla="*/ 2147483647 h 246"/>
                <a:gd name="T20" fmla="*/ 2147483647 w 50"/>
                <a:gd name="T21" fmla="*/ 0 h 246"/>
                <a:gd name="T22" fmla="*/ 2147483647 w 50"/>
                <a:gd name="T23" fmla="*/ 0 h 246"/>
                <a:gd name="T24" fmla="*/ 2147483647 w 50"/>
                <a:gd name="T25" fmla="*/ 2147483647 h 246"/>
                <a:gd name="T26" fmla="*/ 0 w 50"/>
                <a:gd name="T27" fmla="*/ 2147483647 h 2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246">
                  <a:moveTo>
                    <a:pt x="0" y="133"/>
                  </a:moveTo>
                  <a:lnTo>
                    <a:pt x="7" y="144"/>
                  </a:lnTo>
                  <a:lnTo>
                    <a:pt x="25" y="167"/>
                  </a:lnTo>
                  <a:lnTo>
                    <a:pt x="25" y="212"/>
                  </a:lnTo>
                  <a:lnTo>
                    <a:pt x="44" y="246"/>
                  </a:lnTo>
                  <a:lnTo>
                    <a:pt x="50" y="179"/>
                  </a:lnTo>
                  <a:lnTo>
                    <a:pt x="38" y="133"/>
                  </a:lnTo>
                  <a:lnTo>
                    <a:pt x="38" y="158"/>
                  </a:lnTo>
                  <a:lnTo>
                    <a:pt x="32" y="158"/>
                  </a:lnTo>
                  <a:lnTo>
                    <a:pt x="19" y="89"/>
                  </a:lnTo>
                  <a:lnTo>
                    <a:pt x="19" y="0"/>
                  </a:lnTo>
                  <a:lnTo>
                    <a:pt x="7" y="0"/>
                  </a:lnTo>
                  <a:lnTo>
                    <a:pt x="19" y="33"/>
                  </a:lnTo>
                  <a:lnTo>
                    <a:pt x="0" y="1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11" name="Freeform 978"/>
            <p:cNvSpPr>
              <a:spLocks/>
            </p:cNvSpPr>
            <p:nvPr>
              <p:custDataLst>
                <p:tags r:id="rId819"/>
              </p:custDataLst>
            </p:nvPr>
          </p:nvSpPr>
          <p:spPr bwMode="auto">
            <a:xfrm>
              <a:off x="6955343" y="5038331"/>
              <a:ext cx="92225" cy="195263"/>
            </a:xfrm>
            <a:custGeom>
              <a:avLst/>
              <a:gdLst>
                <a:gd name="T0" fmla="*/ 0 w 50"/>
                <a:gd name="T1" fmla="*/ 2147483647 h 246"/>
                <a:gd name="T2" fmla="*/ 2147483647 w 50"/>
                <a:gd name="T3" fmla="*/ 2147483647 h 246"/>
                <a:gd name="T4" fmla="*/ 2147483647 w 50"/>
                <a:gd name="T5" fmla="*/ 2147483647 h 246"/>
                <a:gd name="T6" fmla="*/ 2147483647 w 50"/>
                <a:gd name="T7" fmla="*/ 2147483647 h 246"/>
                <a:gd name="T8" fmla="*/ 2147483647 w 50"/>
                <a:gd name="T9" fmla="*/ 2147483647 h 246"/>
                <a:gd name="T10" fmla="*/ 2147483647 w 50"/>
                <a:gd name="T11" fmla="*/ 2147483647 h 246"/>
                <a:gd name="T12" fmla="*/ 2147483647 w 50"/>
                <a:gd name="T13" fmla="*/ 2147483647 h 246"/>
                <a:gd name="T14" fmla="*/ 2147483647 w 50"/>
                <a:gd name="T15" fmla="*/ 2147483647 h 246"/>
                <a:gd name="T16" fmla="*/ 2147483647 w 50"/>
                <a:gd name="T17" fmla="*/ 2147483647 h 246"/>
                <a:gd name="T18" fmla="*/ 2147483647 w 50"/>
                <a:gd name="T19" fmla="*/ 2147483647 h 246"/>
                <a:gd name="T20" fmla="*/ 2147483647 w 50"/>
                <a:gd name="T21" fmla="*/ 0 h 246"/>
                <a:gd name="T22" fmla="*/ 2147483647 w 50"/>
                <a:gd name="T23" fmla="*/ 0 h 246"/>
                <a:gd name="T24" fmla="*/ 2147483647 w 50"/>
                <a:gd name="T25" fmla="*/ 2147483647 h 246"/>
                <a:gd name="T26" fmla="*/ 0 w 50"/>
                <a:gd name="T27" fmla="*/ 2147483647 h 2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246">
                  <a:moveTo>
                    <a:pt x="0" y="133"/>
                  </a:moveTo>
                  <a:lnTo>
                    <a:pt x="7" y="144"/>
                  </a:lnTo>
                  <a:lnTo>
                    <a:pt x="25" y="167"/>
                  </a:lnTo>
                  <a:lnTo>
                    <a:pt x="25" y="212"/>
                  </a:lnTo>
                  <a:lnTo>
                    <a:pt x="44" y="246"/>
                  </a:lnTo>
                  <a:lnTo>
                    <a:pt x="50" y="179"/>
                  </a:lnTo>
                  <a:lnTo>
                    <a:pt x="38" y="133"/>
                  </a:lnTo>
                  <a:lnTo>
                    <a:pt x="38" y="158"/>
                  </a:lnTo>
                  <a:lnTo>
                    <a:pt x="32" y="158"/>
                  </a:lnTo>
                  <a:lnTo>
                    <a:pt x="19" y="89"/>
                  </a:lnTo>
                  <a:lnTo>
                    <a:pt x="19" y="0"/>
                  </a:lnTo>
                  <a:lnTo>
                    <a:pt x="7" y="0"/>
                  </a:lnTo>
                  <a:lnTo>
                    <a:pt x="19" y="33"/>
                  </a:lnTo>
                  <a:lnTo>
                    <a:pt x="0" y="1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12" name="Freeform 979"/>
            <p:cNvSpPr>
              <a:spLocks/>
            </p:cNvSpPr>
            <p:nvPr>
              <p:custDataLst>
                <p:tags r:id="rId820"/>
              </p:custDataLst>
            </p:nvPr>
          </p:nvSpPr>
          <p:spPr bwMode="auto">
            <a:xfrm>
              <a:off x="6955343" y="5038331"/>
              <a:ext cx="92225" cy="195263"/>
            </a:xfrm>
            <a:custGeom>
              <a:avLst/>
              <a:gdLst>
                <a:gd name="T0" fmla="*/ 0 w 50"/>
                <a:gd name="T1" fmla="*/ 2147483647 h 246"/>
                <a:gd name="T2" fmla="*/ 2147483647 w 50"/>
                <a:gd name="T3" fmla="*/ 2147483647 h 246"/>
                <a:gd name="T4" fmla="*/ 2147483647 w 50"/>
                <a:gd name="T5" fmla="*/ 2147483647 h 246"/>
                <a:gd name="T6" fmla="*/ 2147483647 w 50"/>
                <a:gd name="T7" fmla="*/ 2147483647 h 246"/>
                <a:gd name="T8" fmla="*/ 2147483647 w 50"/>
                <a:gd name="T9" fmla="*/ 2147483647 h 246"/>
                <a:gd name="T10" fmla="*/ 2147483647 w 50"/>
                <a:gd name="T11" fmla="*/ 2147483647 h 246"/>
                <a:gd name="T12" fmla="*/ 2147483647 w 50"/>
                <a:gd name="T13" fmla="*/ 2147483647 h 246"/>
                <a:gd name="T14" fmla="*/ 2147483647 w 50"/>
                <a:gd name="T15" fmla="*/ 2147483647 h 246"/>
                <a:gd name="T16" fmla="*/ 2147483647 w 50"/>
                <a:gd name="T17" fmla="*/ 2147483647 h 246"/>
                <a:gd name="T18" fmla="*/ 2147483647 w 50"/>
                <a:gd name="T19" fmla="*/ 2147483647 h 246"/>
                <a:gd name="T20" fmla="*/ 2147483647 w 50"/>
                <a:gd name="T21" fmla="*/ 0 h 246"/>
                <a:gd name="T22" fmla="*/ 2147483647 w 50"/>
                <a:gd name="T23" fmla="*/ 0 h 246"/>
                <a:gd name="T24" fmla="*/ 2147483647 w 50"/>
                <a:gd name="T25" fmla="*/ 2147483647 h 246"/>
                <a:gd name="T26" fmla="*/ 0 w 50"/>
                <a:gd name="T27" fmla="*/ 2147483647 h 2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246">
                  <a:moveTo>
                    <a:pt x="0" y="133"/>
                  </a:moveTo>
                  <a:lnTo>
                    <a:pt x="7" y="144"/>
                  </a:lnTo>
                  <a:lnTo>
                    <a:pt x="25" y="167"/>
                  </a:lnTo>
                  <a:lnTo>
                    <a:pt x="25" y="212"/>
                  </a:lnTo>
                  <a:lnTo>
                    <a:pt x="44" y="246"/>
                  </a:lnTo>
                  <a:lnTo>
                    <a:pt x="50" y="179"/>
                  </a:lnTo>
                  <a:lnTo>
                    <a:pt x="38" y="133"/>
                  </a:lnTo>
                  <a:lnTo>
                    <a:pt x="38" y="158"/>
                  </a:lnTo>
                  <a:lnTo>
                    <a:pt x="32" y="158"/>
                  </a:lnTo>
                  <a:lnTo>
                    <a:pt x="19" y="89"/>
                  </a:lnTo>
                  <a:lnTo>
                    <a:pt x="19" y="0"/>
                  </a:lnTo>
                  <a:lnTo>
                    <a:pt x="7" y="0"/>
                  </a:lnTo>
                  <a:lnTo>
                    <a:pt x="19" y="33"/>
                  </a:lnTo>
                  <a:lnTo>
                    <a:pt x="0" y="1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13" name="Freeform 980"/>
            <p:cNvSpPr>
              <a:spLocks/>
            </p:cNvSpPr>
            <p:nvPr>
              <p:custDataLst>
                <p:tags r:id="rId821"/>
              </p:custDataLst>
            </p:nvPr>
          </p:nvSpPr>
          <p:spPr bwMode="auto">
            <a:xfrm>
              <a:off x="6955343" y="5038331"/>
              <a:ext cx="92225" cy="195263"/>
            </a:xfrm>
            <a:custGeom>
              <a:avLst/>
              <a:gdLst>
                <a:gd name="T0" fmla="*/ 0 w 50"/>
                <a:gd name="T1" fmla="*/ 2147483647 h 246"/>
                <a:gd name="T2" fmla="*/ 2147483647 w 50"/>
                <a:gd name="T3" fmla="*/ 2147483647 h 246"/>
                <a:gd name="T4" fmla="*/ 2147483647 w 50"/>
                <a:gd name="T5" fmla="*/ 2147483647 h 246"/>
                <a:gd name="T6" fmla="*/ 2147483647 w 50"/>
                <a:gd name="T7" fmla="*/ 2147483647 h 246"/>
                <a:gd name="T8" fmla="*/ 2147483647 w 50"/>
                <a:gd name="T9" fmla="*/ 2147483647 h 246"/>
                <a:gd name="T10" fmla="*/ 2147483647 w 50"/>
                <a:gd name="T11" fmla="*/ 2147483647 h 246"/>
                <a:gd name="T12" fmla="*/ 2147483647 w 50"/>
                <a:gd name="T13" fmla="*/ 2147483647 h 246"/>
                <a:gd name="T14" fmla="*/ 2147483647 w 50"/>
                <a:gd name="T15" fmla="*/ 2147483647 h 246"/>
                <a:gd name="T16" fmla="*/ 2147483647 w 50"/>
                <a:gd name="T17" fmla="*/ 2147483647 h 246"/>
                <a:gd name="T18" fmla="*/ 2147483647 w 50"/>
                <a:gd name="T19" fmla="*/ 2147483647 h 246"/>
                <a:gd name="T20" fmla="*/ 2147483647 w 50"/>
                <a:gd name="T21" fmla="*/ 0 h 246"/>
                <a:gd name="T22" fmla="*/ 2147483647 w 50"/>
                <a:gd name="T23" fmla="*/ 0 h 246"/>
                <a:gd name="T24" fmla="*/ 2147483647 w 50"/>
                <a:gd name="T25" fmla="*/ 2147483647 h 246"/>
                <a:gd name="T26" fmla="*/ 0 w 50"/>
                <a:gd name="T27" fmla="*/ 2147483647 h 2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246">
                  <a:moveTo>
                    <a:pt x="0" y="133"/>
                  </a:moveTo>
                  <a:lnTo>
                    <a:pt x="7" y="144"/>
                  </a:lnTo>
                  <a:lnTo>
                    <a:pt x="25" y="167"/>
                  </a:lnTo>
                  <a:lnTo>
                    <a:pt x="25" y="212"/>
                  </a:lnTo>
                  <a:lnTo>
                    <a:pt x="44" y="246"/>
                  </a:lnTo>
                  <a:lnTo>
                    <a:pt x="50" y="179"/>
                  </a:lnTo>
                  <a:lnTo>
                    <a:pt x="38" y="133"/>
                  </a:lnTo>
                  <a:lnTo>
                    <a:pt x="38" y="158"/>
                  </a:lnTo>
                  <a:lnTo>
                    <a:pt x="32" y="158"/>
                  </a:lnTo>
                  <a:lnTo>
                    <a:pt x="19" y="89"/>
                  </a:lnTo>
                  <a:lnTo>
                    <a:pt x="19" y="0"/>
                  </a:lnTo>
                  <a:lnTo>
                    <a:pt x="7" y="0"/>
                  </a:lnTo>
                  <a:lnTo>
                    <a:pt x="19" y="33"/>
                  </a:lnTo>
                  <a:lnTo>
                    <a:pt x="0" y="1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14" name="Freeform 981"/>
            <p:cNvSpPr>
              <a:spLocks/>
            </p:cNvSpPr>
            <p:nvPr>
              <p:custDataLst>
                <p:tags r:id="rId822"/>
              </p:custDataLst>
            </p:nvPr>
          </p:nvSpPr>
          <p:spPr bwMode="auto">
            <a:xfrm>
              <a:off x="5670197" y="4155655"/>
              <a:ext cx="463130" cy="379413"/>
            </a:xfrm>
            <a:custGeom>
              <a:avLst/>
              <a:gdLst>
                <a:gd name="T0" fmla="*/ 0 w 250"/>
                <a:gd name="T1" fmla="*/ 2147483647 h 479"/>
                <a:gd name="T2" fmla="*/ 2147483647 w 250"/>
                <a:gd name="T3" fmla="*/ 2147483647 h 479"/>
                <a:gd name="T4" fmla="*/ 2147483647 w 250"/>
                <a:gd name="T5" fmla="*/ 2147483647 h 479"/>
                <a:gd name="T6" fmla="*/ 2147483647 w 250"/>
                <a:gd name="T7" fmla="*/ 2147483647 h 479"/>
                <a:gd name="T8" fmla="*/ 2147483647 w 250"/>
                <a:gd name="T9" fmla="*/ 0 h 479"/>
                <a:gd name="T10" fmla="*/ 2147483647 w 250"/>
                <a:gd name="T11" fmla="*/ 0 h 479"/>
                <a:gd name="T12" fmla="*/ 2147483647 w 250"/>
                <a:gd name="T13" fmla="*/ 2147483647 h 479"/>
                <a:gd name="T14" fmla="*/ 2147483647 w 250"/>
                <a:gd name="T15" fmla="*/ 2147483647 h 479"/>
                <a:gd name="T16" fmla="*/ 2147483647 w 250"/>
                <a:gd name="T17" fmla="*/ 2147483647 h 479"/>
                <a:gd name="T18" fmla="*/ 2147483647 w 250"/>
                <a:gd name="T19" fmla="*/ 2147483647 h 479"/>
                <a:gd name="T20" fmla="*/ 2147483647 w 250"/>
                <a:gd name="T21" fmla="*/ 2147483647 h 479"/>
                <a:gd name="T22" fmla="*/ 2147483647 w 250"/>
                <a:gd name="T23" fmla="*/ 2147483647 h 479"/>
                <a:gd name="T24" fmla="*/ 2147483647 w 250"/>
                <a:gd name="T25" fmla="*/ 2147483647 h 479"/>
                <a:gd name="T26" fmla="*/ 2147483647 w 250"/>
                <a:gd name="T27" fmla="*/ 2147483647 h 479"/>
                <a:gd name="T28" fmla="*/ 2147483647 w 250"/>
                <a:gd name="T29" fmla="*/ 2147483647 h 479"/>
                <a:gd name="T30" fmla="*/ 2147483647 w 250"/>
                <a:gd name="T31" fmla="*/ 2147483647 h 479"/>
                <a:gd name="T32" fmla="*/ 2147483647 w 250"/>
                <a:gd name="T33" fmla="*/ 2147483647 h 479"/>
                <a:gd name="T34" fmla="*/ 2147483647 w 250"/>
                <a:gd name="T35" fmla="*/ 2147483647 h 479"/>
                <a:gd name="T36" fmla="*/ 2147483647 w 250"/>
                <a:gd name="T37" fmla="*/ 2147483647 h 479"/>
                <a:gd name="T38" fmla="*/ 0 w 250"/>
                <a:gd name="T39" fmla="*/ 2147483647 h 47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50" h="479">
                  <a:moveTo>
                    <a:pt x="0" y="335"/>
                  </a:moveTo>
                  <a:lnTo>
                    <a:pt x="7" y="300"/>
                  </a:lnTo>
                  <a:lnTo>
                    <a:pt x="19" y="323"/>
                  </a:lnTo>
                  <a:lnTo>
                    <a:pt x="99" y="311"/>
                  </a:lnTo>
                  <a:lnTo>
                    <a:pt x="81" y="0"/>
                  </a:lnTo>
                  <a:lnTo>
                    <a:pt x="112" y="0"/>
                  </a:lnTo>
                  <a:lnTo>
                    <a:pt x="237" y="167"/>
                  </a:lnTo>
                  <a:lnTo>
                    <a:pt x="237" y="200"/>
                  </a:lnTo>
                  <a:lnTo>
                    <a:pt x="250" y="200"/>
                  </a:lnTo>
                  <a:lnTo>
                    <a:pt x="250" y="300"/>
                  </a:lnTo>
                  <a:lnTo>
                    <a:pt x="244" y="311"/>
                  </a:lnTo>
                  <a:lnTo>
                    <a:pt x="194" y="335"/>
                  </a:lnTo>
                  <a:lnTo>
                    <a:pt x="125" y="388"/>
                  </a:lnTo>
                  <a:lnTo>
                    <a:pt x="107" y="479"/>
                  </a:lnTo>
                  <a:lnTo>
                    <a:pt x="88" y="467"/>
                  </a:lnTo>
                  <a:lnTo>
                    <a:pt x="62" y="479"/>
                  </a:lnTo>
                  <a:lnTo>
                    <a:pt x="43" y="411"/>
                  </a:lnTo>
                  <a:lnTo>
                    <a:pt x="19" y="423"/>
                  </a:lnTo>
                  <a:lnTo>
                    <a:pt x="7" y="411"/>
                  </a:lnTo>
                  <a:lnTo>
                    <a:pt x="0" y="335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15" name="Freeform 982"/>
            <p:cNvSpPr>
              <a:spLocks/>
            </p:cNvSpPr>
            <p:nvPr>
              <p:custDataLst>
                <p:tags r:id="rId823"/>
              </p:custDataLst>
            </p:nvPr>
          </p:nvSpPr>
          <p:spPr bwMode="auto">
            <a:xfrm>
              <a:off x="5670197" y="4155655"/>
              <a:ext cx="463130" cy="379413"/>
            </a:xfrm>
            <a:custGeom>
              <a:avLst/>
              <a:gdLst>
                <a:gd name="T0" fmla="*/ 0 w 250"/>
                <a:gd name="T1" fmla="*/ 2147483647 h 479"/>
                <a:gd name="T2" fmla="*/ 2147483647 w 250"/>
                <a:gd name="T3" fmla="*/ 2147483647 h 479"/>
                <a:gd name="T4" fmla="*/ 2147483647 w 250"/>
                <a:gd name="T5" fmla="*/ 2147483647 h 479"/>
                <a:gd name="T6" fmla="*/ 2147483647 w 250"/>
                <a:gd name="T7" fmla="*/ 2147483647 h 479"/>
                <a:gd name="T8" fmla="*/ 2147483647 w 250"/>
                <a:gd name="T9" fmla="*/ 0 h 479"/>
                <a:gd name="T10" fmla="*/ 2147483647 w 250"/>
                <a:gd name="T11" fmla="*/ 0 h 479"/>
                <a:gd name="T12" fmla="*/ 2147483647 w 250"/>
                <a:gd name="T13" fmla="*/ 2147483647 h 479"/>
                <a:gd name="T14" fmla="*/ 2147483647 w 250"/>
                <a:gd name="T15" fmla="*/ 2147483647 h 479"/>
                <a:gd name="T16" fmla="*/ 2147483647 w 250"/>
                <a:gd name="T17" fmla="*/ 2147483647 h 479"/>
                <a:gd name="T18" fmla="*/ 2147483647 w 250"/>
                <a:gd name="T19" fmla="*/ 2147483647 h 479"/>
                <a:gd name="T20" fmla="*/ 2147483647 w 250"/>
                <a:gd name="T21" fmla="*/ 2147483647 h 479"/>
                <a:gd name="T22" fmla="*/ 2147483647 w 250"/>
                <a:gd name="T23" fmla="*/ 2147483647 h 479"/>
                <a:gd name="T24" fmla="*/ 2147483647 w 250"/>
                <a:gd name="T25" fmla="*/ 2147483647 h 479"/>
                <a:gd name="T26" fmla="*/ 2147483647 w 250"/>
                <a:gd name="T27" fmla="*/ 2147483647 h 479"/>
                <a:gd name="T28" fmla="*/ 2147483647 w 250"/>
                <a:gd name="T29" fmla="*/ 2147483647 h 479"/>
                <a:gd name="T30" fmla="*/ 2147483647 w 250"/>
                <a:gd name="T31" fmla="*/ 2147483647 h 479"/>
                <a:gd name="T32" fmla="*/ 2147483647 w 250"/>
                <a:gd name="T33" fmla="*/ 2147483647 h 479"/>
                <a:gd name="T34" fmla="*/ 2147483647 w 250"/>
                <a:gd name="T35" fmla="*/ 2147483647 h 479"/>
                <a:gd name="T36" fmla="*/ 2147483647 w 250"/>
                <a:gd name="T37" fmla="*/ 2147483647 h 479"/>
                <a:gd name="T38" fmla="*/ 0 w 250"/>
                <a:gd name="T39" fmla="*/ 2147483647 h 47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50" h="479">
                  <a:moveTo>
                    <a:pt x="0" y="335"/>
                  </a:moveTo>
                  <a:lnTo>
                    <a:pt x="7" y="300"/>
                  </a:lnTo>
                  <a:lnTo>
                    <a:pt x="19" y="323"/>
                  </a:lnTo>
                  <a:lnTo>
                    <a:pt x="99" y="311"/>
                  </a:lnTo>
                  <a:lnTo>
                    <a:pt x="81" y="0"/>
                  </a:lnTo>
                  <a:lnTo>
                    <a:pt x="112" y="0"/>
                  </a:lnTo>
                  <a:lnTo>
                    <a:pt x="237" y="167"/>
                  </a:lnTo>
                  <a:lnTo>
                    <a:pt x="237" y="200"/>
                  </a:lnTo>
                  <a:lnTo>
                    <a:pt x="250" y="200"/>
                  </a:lnTo>
                  <a:lnTo>
                    <a:pt x="250" y="300"/>
                  </a:lnTo>
                  <a:lnTo>
                    <a:pt x="244" y="311"/>
                  </a:lnTo>
                  <a:lnTo>
                    <a:pt x="194" y="335"/>
                  </a:lnTo>
                  <a:lnTo>
                    <a:pt x="125" y="388"/>
                  </a:lnTo>
                  <a:lnTo>
                    <a:pt x="107" y="479"/>
                  </a:lnTo>
                  <a:lnTo>
                    <a:pt x="88" y="467"/>
                  </a:lnTo>
                  <a:lnTo>
                    <a:pt x="62" y="479"/>
                  </a:lnTo>
                  <a:lnTo>
                    <a:pt x="43" y="411"/>
                  </a:lnTo>
                  <a:lnTo>
                    <a:pt x="19" y="423"/>
                  </a:lnTo>
                  <a:lnTo>
                    <a:pt x="7" y="411"/>
                  </a:lnTo>
                  <a:lnTo>
                    <a:pt x="0" y="335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16" name="Freeform 983"/>
            <p:cNvSpPr>
              <a:spLocks/>
            </p:cNvSpPr>
            <p:nvPr>
              <p:custDataLst>
                <p:tags r:id="rId824"/>
              </p:custDataLst>
            </p:nvPr>
          </p:nvSpPr>
          <p:spPr bwMode="auto">
            <a:xfrm>
              <a:off x="5670197" y="4155655"/>
              <a:ext cx="463130" cy="379413"/>
            </a:xfrm>
            <a:custGeom>
              <a:avLst/>
              <a:gdLst>
                <a:gd name="T0" fmla="*/ 0 w 250"/>
                <a:gd name="T1" fmla="*/ 2147483647 h 479"/>
                <a:gd name="T2" fmla="*/ 2147483647 w 250"/>
                <a:gd name="T3" fmla="*/ 2147483647 h 479"/>
                <a:gd name="T4" fmla="*/ 2147483647 w 250"/>
                <a:gd name="T5" fmla="*/ 2147483647 h 479"/>
                <a:gd name="T6" fmla="*/ 2147483647 w 250"/>
                <a:gd name="T7" fmla="*/ 2147483647 h 479"/>
                <a:gd name="T8" fmla="*/ 2147483647 w 250"/>
                <a:gd name="T9" fmla="*/ 0 h 479"/>
                <a:gd name="T10" fmla="*/ 2147483647 w 250"/>
                <a:gd name="T11" fmla="*/ 0 h 479"/>
                <a:gd name="T12" fmla="*/ 2147483647 w 250"/>
                <a:gd name="T13" fmla="*/ 2147483647 h 479"/>
                <a:gd name="T14" fmla="*/ 2147483647 w 250"/>
                <a:gd name="T15" fmla="*/ 2147483647 h 479"/>
                <a:gd name="T16" fmla="*/ 2147483647 w 250"/>
                <a:gd name="T17" fmla="*/ 2147483647 h 479"/>
                <a:gd name="T18" fmla="*/ 2147483647 w 250"/>
                <a:gd name="T19" fmla="*/ 2147483647 h 479"/>
                <a:gd name="T20" fmla="*/ 2147483647 w 250"/>
                <a:gd name="T21" fmla="*/ 2147483647 h 479"/>
                <a:gd name="T22" fmla="*/ 2147483647 w 250"/>
                <a:gd name="T23" fmla="*/ 2147483647 h 479"/>
                <a:gd name="T24" fmla="*/ 2147483647 w 250"/>
                <a:gd name="T25" fmla="*/ 2147483647 h 479"/>
                <a:gd name="T26" fmla="*/ 2147483647 w 250"/>
                <a:gd name="T27" fmla="*/ 2147483647 h 479"/>
                <a:gd name="T28" fmla="*/ 2147483647 w 250"/>
                <a:gd name="T29" fmla="*/ 2147483647 h 479"/>
                <a:gd name="T30" fmla="*/ 2147483647 w 250"/>
                <a:gd name="T31" fmla="*/ 2147483647 h 479"/>
                <a:gd name="T32" fmla="*/ 2147483647 w 250"/>
                <a:gd name="T33" fmla="*/ 2147483647 h 479"/>
                <a:gd name="T34" fmla="*/ 2147483647 w 250"/>
                <a:gd name="T35" fmla="*/ 2147483647 h 479"/>
                <a:gd name="T36" fmla="*/ 2147483647 w 250"/>
                <a:gd name="T37" fmla="*/ 2147483647 h 479"/>
                <a:gd name="T38" fmla="*/ 0 w 250"/>
                <a:gd name="T39" fmla="*/ 2147483647 h 47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50" h="479">
                  <a:moveTo>
                    <a:pt x="0" y="335"/>
                  </a:moveTo>
                  <a:lnTo>
                    <a:pt x="7" y="300"/>
                  </a:lnTo>
                  <a:lnTo>
                    <a:pt x="19" y="323"/>
                  </a:lnTo>
                  <a:lnTo>
                    <a:pt x="99" y="311"/>
                  </a:lnTo>
                  <a:lnTo>
                    <a:pt x="81" y="0"/>
                  </a:lnTo>
                  <a:lnTo>
                    <a:pt x="112" y="0"/>
                  </a:lnTo>
                  <a:lnTo>
                    <a:pt x="237" y="167"/>
                  </a:lnTo>
                  <a:lnTo>
                    <a:pt x="237" y="200"/>
                  </a:lnTo>
                  <a:lnTo>
                    <a:pt x="250" y="200"/>
                  </a:lnTo>
                  <a:lnTo>
                    <a:pt x="250" y="300"/>
                  </a:lnTo>
                  <a:lnTo>
                    <a:pt x="244" y="311"/>
                  </a:lnTo>
                  <a:lnTo>
                    <a:pt x="194" y="335"/>
                  </a:lnTo>
                  <a:lnTo>
                    <a:pt x="125" y="388"/>
                  </a:lnTo>
                  <a:lnTo>
                    <a:pt x="107" y="479"/>
                  </a:lnTo>
                  <a:lnTo>
                    <a:pt x="88" y="467"/>
                  </a:lnTo>
                  <a:lnTo>
                    <a:pt x="62" y="479"/>
                  </a:lnTo>
                  <a:lnTo>
                    <a:pt x="43" y="411"/>
                  </a:lnTo>
                  <a:lnTo>
                    <a:pt x="19" y="423"/>
                  </a:lnTo>
                  <a:lnTo>
                    <a:pt x="7" y="411"/>
                  </a:lnTo>
                  <a:lnTo>
                    <a:pt x="0" y="335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17" name="Freeform 985"/>
            <p:cNvSpPr>
              <a:spLocks/>
            </p:cNvSpPr>
            <p:nvPr>
              <p:custDataLst>
                <p:tags r:id="rId825"/>
              </p:custDataLst>
            </p:nvPr>
          </p:nvSpPr>
          <p:spPr bwMode="auto">
            <a:xfrm>
              <a:off x="5529876" y="4090558"/>
              <a:ext cx="346846" cy="330200"/>
            </a:xfrm>
            <a:custGeom>
              <a:avLst/>
              <a:gdLst>
                <a:gd name="T0" fmla="*/ 0 w 188"/>
                <a:gd name="T1" fmla="*/ 2147483647 h 415"/>
                <a:gd name="T2" fmla="*/ 2147483647 w 188"/>
                <a:gd name="T3" fmla="*/ 2147483647 h 415"/>
                <a:gd name="T4" fmla="*/ 2147483647 w 188"/>
                <a:gd name="T5" fmla="*/ 2147483647 h 415"/>
                <a:gd name="T6" fmla="*/ 2147483647 w 188"/>
                <a:gd name="T7" fmla="*/ 2147483647 h 415"/>
                <a:gd name="T8" fmla="*/ 2147483647 w 188"/>
                <a:gd name="T9" fmla="*/ 2147483647 h 415"/>
                <a:gd name="T10" fmla="*/ 2147483647 w 188"/>
                <a:gd name="T11" fmla="*/ 2147483647 h 415"/>
                <a:gd name="T12" fmla="*/ 2147483647 w 188"/>
                <a:gd name="T13" fmla="*/ 2147483647 h 415"/>
                <a:gd name="T14" fmla="*/ 2147483647 w 188"/>
                <a:gd name="T15" fmla="*/ 2147483647 h 415"/>
                <a:gd name="T16" fmla="*/ 2147483647 w 188"/>
                <a:gd name="T17" fmla="*/ 2147483647 h 415"/>
                <a:gd name="T18" fmla="*/ 2147483647 w 188"/>
                <a:gd name="T19" fmla="*/ 2147483647 h 415"/>
                <a:gd name="T20" fmla="*/ 2147483647 w 188"/>
                <a:gd name="T21" fmla="*/ 2147483647 h 415"/>
                <a:gd name="T22" fmla="*/ 2147483647 w 188"/>
                <a:gd name="T23" fmla="*/ 0 h 415"/>
                <a:gd name="T24" fmla="*/ 2147483647 w 188"/>
                <a:gd name="T25" fmla="*/ 2147483647 h 415"/>
                <a:gd name="T26" fmla="*/ 2147483647 w 188"/>
                <a:gd name="T27" fmla="*/ 2147483647 h 415"/>
                <a:gd name="T28" fmla="*/ 2147483647 w 188"/>
                <a:gd name="T29" fmla="*/ 2147483647 h 415"/>
                <a:gd name="T30" fmla="*/ 2147483647 w 188"/>
                <a:gd name="T31" fmla="*/ 2147483647 h 415"/>
                <a:gd name="T32" fmla="*/ 2147483647 w 188"/>
                <a:gd name="T33" fmla="*/ 2147483647 h 415"/>
                <a:gd name="T34" fmla="*/ 0 w 188"/>
                <a:gd name="T35" fmla="*/ 2147483647 h 41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8" h="415">
                  <a:moveTo>
                    <a:pt x="0" y="213"/>
                  </a:moveTo>
                  <a:lnTo>
                    <a:pt x="7" y="236"/>
                  </a:lnTo>
                  <a:lnTo>
                    <a:pt x="13" y="292"/>
                  </a:lnTo>
                  <a:lnTo>
                    <a:pt x="7" y="368"/>
                  </a:lnTo>
                  <a:lnTo>
                    <a:pt x="39" y="359"/>
                  </a:lnTo>
                  <a:lnTo>
                    <a:pt x="76" y="415"/>
                  </a:lnTo>
                  <a:lnTo>
                    <a:pt x="82" y="380"/>
                  </a:lnTo>
                  <a:lnTo>
                    <a:pt x="95" y="403"/>
                  </a:lnTo>
                  <a:lnTo>
                    <a:pt x="175" y="391"/>
                  </a:lnTo>
                  <a:lnTo>
                    <a:pt x="157" y="78"/>
                  </a:lnTo>
                  <a:lnTo>
                    <a:pt x="188" y="78"/>
                  </a:lnTo>
                  <a:lnTo>
                    <a:pt x="133" y="0"/>
                  </a:lnTo>
                  <a:lnTo>
                    <a:pt x="126" y="44"/>
                  </a:lnTo>
                  <a:lnTo>
                    <a:pt x="76" y="44"/>
                  </a:lnTo>
                  <a:lnTo>
                    <a:pt x="76" y="123"/>
                  </a:lnTo>
                  <a:lnTo>
                    <a:pt x="58" y="146"/>
                  </a:lnTo>
                  <a:lnTo>
                    <a:pt x="64" y="201"/>
                  </a:lnTo>
                  <a:lnTo>
                    <a:pt x="0" y="21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18" name="Freeform 986"/>
            <p:cNvSpPr>
              <a:spLocks/>
            </p:cNvSpPr>
            <p:nvPr>
              <p:custDataLst>
                <p:tags r:id="rId826"/>
              </p:custDataLst>
            </p:nvPr>
          </p:nvSpPr>
          <p:spPr bwMode="auto">
            <a:xfrm>
              <a:off x="5529876" y="4090558"/>
              <a:ext cx="346846" cy="330200"/>
            </a:xfrm>
            <a:custGeom>
              <a:avLst/>
              <a:gdLst>
                <a:gd name="T0" fmla="*/ 0 w 188"/>
                <a:gd name="T1" fmla="*/ 2147483647 h 415"/>
                <a:gd name="T2" fmla="*/ 2147483647 w 188"/>
                <a:gd name="T3" fmla="*/ 2147483647 h 415"/>
                <a:gd name="T4" fmla="*/ 2147483647 w 188"/>
                <a:gd name="T5" fmla="*/ 2147483647 h 415"/>
                <a:gd name="T6" fmla="*/ 2147483647 w 188"/>
                <a:gd name="T7" fmla="*/ 2147483647 h 415"/>
                <a:gd name="T8" fmla="*/ 2147483647 w 188"/>
                <a:gd name="T9" fmla="*/ 2147483647 h 415"/>
                <a:gd name="T10" fmla="*/ 2147483647 w 188"/>
                <a:gd name="T11" fmla="*/ 2147483647 h 415"/>
                <a:gd name="T12" fmla="*/ 2147483647 w 188"/>
                <a:gd name="T13" fmla="*/ 2147483647 h 415"/>
                <a:gd name="T14" fmla="*/ 2147483647 w 188"/>
                <a:gd name="T15" fmla="*/ 2147483647 h 415"/>
                <a:gd name="T16" fmla="*/ 2147483647 w 188"/>
                <a:gd name="T17" fmla="*/ 2147483647 h 415"/>
                <a:gd name="T18" fmla="*/ 2147483647 w 188"/>
                <a:gd name="T19" fmla="*/ 2147483647 h 415"/>
                <a:gd name="T20" fmla="*/ 2147483647 w 188"/>
                <a:gd name="T21" fmla="*/ 2147483647 h 415"/>
                <a:gd name="T22" fmla="*/ 2147483647 w 188"/>
                <a:gd name="T23" fmla="*/ 0 h 415"/>
                <a:gd name="T24" fmla="*/ 2147483647 w 188"/>
                <a:gd name="T25" fmla="*/ 2147483647 h 415"/>
                <a:gd name="T26" fmla="*/ 2147483647 w 188"/>
                <a:gd name="T27" fmla="*/ 2147483647 h 415"/>
                <a:gd name="T28" fmla="*/ 2147483647 w 188"/>
                <a:gd name="T29" fmla="*/ 2147483647 h 415"/>
                <a:gd name="T30" fmla="*/ 2147483647 w 188"/>
                <a:gd name="T31" fmla="*/ 2147483647 h 415"/>
                <a:gd name="T32" fmla="*/ 2147483647 w 188"/>
                <a:gd name="T33" fmla="*/ 2147483647 h 415"/>
                <a:gd name="T34" fmla="*/ 0 w 188"/>
                <a:gd name="T35" fmla="*/ 2147483647 h 41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8" h="415">
                  <a:moveTo>
                    <a:pt x="0" y="213"/>
                  </a:moveTo>
                  <a:lnTo>
                    <a:pt x="7" y="236"/>
                  </a:lnTo>
                  <a:lnTo>
                    <a:pt x="13" y="292"/>
                  </a:lnTo>
                  <a:lnTo>
                    <a:pt x="7" y="368"/>
                  </a:lnTo>
                  <a:lnTo>
                    <a:pt x="39" y="359"/>
                  </a:lnTo>
                  <a:lnTo>
                    <a:pt x="76" y="415"/>
                  </a:lnTo>
                  <a:lnTo>
                    <a:pt x="82" y="380"/>
                  </a:lnTo>
                  <a:lnTo>
                    <a:pt x="95" y="403"/>
                  </a:lnTo>
                  <a:lnTo>
                    <a:pt x="175" y="391"/>
                  </a:lnTo>
                  <a:lnTo>
                    <a:pt x="157" y="78"/>
                  </a:lnTo>
                  <a:lnTo>
                    <a:pt x="188" y="78"/>
                  </a:lnTo>
                  <a:lnTo>
                    <a:pt x="133" y="0"/>
                  </a:lnTo>
                  <a:lnTo>
                    <a:pt x="126" y="44"/>
                  </a:lnTo>
                  <a:lnTo>
                    <a:pt x="76" y="44"/>
                  </a:lnTo>
                  <a:lnTo>
                    <a:pt x="76" y="123"/>
                  </a:lnTo>
                  <a:lnTo>
                    <a:pt x="58" y="146"/>
                  </a:lnTo>
                  <a:lnTo>
                    <a:pt x="64" y="201"/>
                  </a:lnTo>
                  <a:lnTo>
                    <a:pt x="0" y="213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19" name="Freeform 987"/>
            <p:cNvSpPr>
              <a:spLocks/>
            </p:cNvSpPr>
            <p:nvPr>
              <p:custDataLst>
                <p:tags r:id="rId827"/>
              </p:custDataLst>
            </p:nvPr>
          </p:nvSpPr>
          <p:spPr bwMode="auto">
            <a:xfrm>
              <a:off x="5529876" y="4090558"/>
              <a:ext cx="346846" cy="330200"/>
            </a:xfrm>
            <a:custGeom>
              <a:avLst/>
              <a:gdLst>
                <a:gd name="T0" fmla="*/ 0 w 188"/>
                <a:gd name="T1" fmla="*/ 2147483647 h 415"/>
                <a:gd name="T2" fmla="*/ 2147483647 w 188"/>
                <a:gd name="T3" fmla="*/ 2147483647 h 415"/>
                <a:gd name="T4" fmla="*/ 2147483647 w 188"/>
                <a:gd name="T5" fmla="*/ 2147483647 h 415"/>
                <a:gd name="T6" fmla="*/ 2147483647 w 188"/>
                <a:gd name="T7" fmla="*/ 2147483647 h 415"/>
                <a:gd name="T8" fmla="*/ 2147483647 w 188"/>
                <a:gd name="T9" fmla="*/ 2147483647 h 415"/>
                <a:gd name="T10" fmla="*/ 2147483647 w 188"/>
                <a:gd name="T11" fmla="*/ 2147483647 h 415"/>
                <a:gd name="T12" fmla="*/ 2147483647 w 188"/>
                <a:gd name="T13" fmla="*/ 2147483647 h 415"/>
                <a:gd name="T14" fmla="*/ 2147483647 w 188"/>
                <a:gd name="T15" fmla="*/ 2147483647 h 415"/>
                <a:gd name="T16" fmla="*/ 2147483647 w 188"/>
                <a:gd name="T17" fmla="*/ 2147483647 h 415"/>
                <a:gd name="T18" fmla="*/ 2147483647 w 188"/>
                <a:gd name="T19" fmla="*/ 2147483647 h 415"/>
                <a:gd name="T20" fmla="*/ 2147483647 w 188"/>
                <a:gd name="T21" fmla="*/ 2147483647 h 415"/>
                <a:gd name="T22" fmla="*/ 2147483647 w 188"/>
                <a:gd name="T23" fmla="*/ 0 h 415"/>
                <a:gd name="T24" fmla="*/ 2147483647 w 188"/>
                <a:gd name="T25" fmla="*/ 2147483647 h 415"/>
                <a:gd name="T26" fmla="*/ 2147483647 w 188"/>
                <a:gd name="T27" fmla="*/ 2147483647 h 415"/>
                <a:gd name="T28" fmla="*/ 2147483647 w 188"/>
                <a:gd name="T29" fmla="*/ 2147483647 h 415"/>
                <a:gd name="T30" fmla="*/ 2147483647 w 188"/>
                <a:gd name="T31" fmla="*/ 2147483647 h 415"/>
                <a:gd name="T32" fmla="*/ 2147483647 w 188"/>
                <a:gd name="T33" fmla="*/ 2147483647 h 415"/>
                <a:gd name="T34" fmla="*/ 0 w 188"/>
                <a:gd name="T35" fmla="*/ 2147483647 h 41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8" h="415">
                  <a:moveTo>
                    <a:pt x="0" y="213"/>
                  </a:moveTo>
                  <a:lnTo>
                    <a:pt x="7" y="236"/>
                  </a:lnTo>
                  <a:lnTo>
                    <a:pt x="13" y="292"/>
                  </a:lnTo>
                  <a:lnTo>
                    <a:pt x="7" y="368"/>
                  </a:lnTo>
                  <a:lnTo>
                    <a:pt x="39" y="359"/>
                  </a:lnTo>
                  <a:lnTo>
                    <a:pt x="76" y="415"/>
                  </a:lnTo>
                  <a:lnTo>
                    <a:pt x="82" y="380"/>
                  </a:lnTo>
                  <a:lnTo>
                    <a:pt x="95" y="403"/>
                  </a:lnTo>
                  <a:lnTo>
                    <a:pt x="175" y="391"/>
                  </a:lnTo>
                  <a:lnTo>
                    <a:pt x="157" y="78"/>
                  </a:lnTo>
                  <a:lnTo>
                    <a:pt x="188" y="78"/>
                  </a:lnTo>
                  <a:lnTo>
                    <a:pt x="133" y="0"/>
                  </a:lnTo>
                  <a:lnTo>
                    <a:pt x="126" y="44"/>
                  </a:lnTo>
                  <a:lnTo>
                    <a:pt x="76" y="44"/>
                  </a:lnTo>
                  <a:lnTo>
                    <a:pt x="76" y="123"/>
                  </a:lnTo>
                  <a:lnTo>
                    <a:pt x="58" y="146"/>
                  </a:lnTo>
                  <a:lnTo>
                    <a:pt x="64" y="201"/>
                  </a:lnTo>
                  <a:lnTo>
                    <a:pt x="0" y="213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20" name="Freeform 989"/>
            <p:cNvSpPr>
              <a:spLocks/>
            </p:cNvSpPr>
            <p:nvPr>
              <p:custDataLst>
                <p:tags r:id="rId828"/>
              </p:custDataLst>
            </p:nvPr>
          </p:nvSpPr>
          <p:spPr bwMode="auto">
            <a:xfrm>
              <a:off x="5636112" y="3854020"/>
              <a:ext cx="344842" cy="230188"/>
            </a:xfrm>
            <a:custGeom>
              <a:avLst/>
              <a:gdLst>
                <a:gd name="T0" fmla="*/ 0 w 186"/>
                <a:gd name="T1" fmla="*/ 2147483647 h 290"/>
                <a:gd name="T2" fmla="*/ 2147483647 w 186"/>
                <a:gd name="T3" fmla="*/ 2147483647 h 290"/>
                <a:gd name="T4" fmla="*/ 2147483647 w 186"/>
                <a:gd name="T5" fmla="*/ 2147483647 h 290"/>
                <a:gd name="T6" fmla="*/ 2147483647 w 186"/>
                <a:gd name="T7" fmla="*/ 2147483647 h 290"/>
                <a:gd name="T8" fmla="*/ 2147483647 w 186"/>
                <a:gd name="T9" fmla="*/ 0 h 290"/>
                <a:gd name="T10" fmla="*/ 2147483647 w 186"/>
                <a:gd name="T11" fmla="*/ 2147483647 h 290"/>
                <a:gd name="T12" fmla="*/ 2147483647 w 186"/>
                <a:gd name="T13" fmla="*/ 2147483647 h 290"/>
                <a:gd name="T14" fmla="*/ 2147483647 w 186"/>
                <a:gd name="T15" fmla="*/ 2147483647 h 290"/>
                <a:gd name="T16" fmla="*/ 2147483647 w 186"/>
                <a:gd name="T17" fmla="*/ 2147483647 h 290"/>
                <a:gd name="T18" fmla="*/ 2147483647 w 186"/>
                <a:gd name="T19" fmla="*/ 2147483647 h 290"/>
                <a:gd name="T20" fmla="*/ 2147483647 w 186"/>
                <a:gd name="T21" fmla="*/ 2147483647 h 290"/>
                <a:gd name="T22" fmla="*/ 2147483647 w 186"/>
                <a:gd name="T23" fmla="*/ 2147483647 h 290"/>
                <a:gd name="T24" fmla="*/ 0 w 186"/>
                <a:gd name="T25" fmla="*/ 2147483647 h 29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6" h="290">
                  <a:moveTo>
                    <a:pt x="0" y="279"/>
                  </a:moveTo>
                  <a:lnTo>
                    <a:pt x="50" y="234"/>
                  </a:lnTo>
                  <a:lnTo>
                    <a:pt x="62" y="111"/>
                  </a:lnTo>
                  <a:lnTo>
                    <a:pt x="100" y="56"/>
                  </a:lnTo>
                  <a:lnTo>
                    <a:pt x="112" y="0"/>
                  </a:lnTo>
                  <a:lnTo>
                    <a:pt x="168" y="23"/>
                  </a:lnTo>
                  <a:lnTo>
                    <a:pt x="186" y="123"/>
                  </a:lnTo>
                  <a:lnTo>
                    <a:pt x="162" y="123"/>
                  </a:lnTo>
                  <a:lnTo>
                    <a:pt x="143" y="146"/>
                  </a:lnTo>
                  <a:lnTo>
                    <a:pt x="150" y="167"/>
                  </a:lnTo>
                  <a:lnTo>
                    <a:pt x="81" y="234"/>
                  </a:lnTo>
                  <a:lnTo>
                    <a:pt x="68" y="290"/>
                  </a:lnTo>
                  <a:lnTo>
                    <a:pt x="0" y="279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21" name="Freeform 990"/>
            <p:cNvSpPr>
              <a:spLocks/>
            </p:cNvSpPr>
            <p:nvPr>
              <p:custDataLst>
                <p:tags r:id="rId829"/>
              </p:custDataLst>
            </p:nvPr>
          </p:nvSpPr>
          <p:spPr bwMode="auto">
            <a:xfrm>
              <a:off x="5636112" y="3854020"/>
              <a:ext cx="344842" cy="230188"/>
            </a:xfrm>
            <a:custGeom>
              <a:avLst/>
              <a:gdLst>
                <a:gd name="T0" fmla="*/ 0 w 186"/>
                <a:gd name="T1" fmla="*/ 2147483647 h 290"/>
                <a:gd name="T2" fmla="*/ 2147483647 w 186"/>
                <a:gd name="T3" fmla="*/ 2147483647 h 290"/>
                <a:gd name="T4" fmla="*/ 2147483647 w 186"/>
                <a:gd name="T5" fmla="*/ 2147483647 h 290"/>
                <a:gd name="T6" fmla="*/ 2147483647 w 186"/>
                <a:gd name="T7" fmla="*/ 2147483647 h 290"/>
                <a:gd name="T8" fmla="*/ 2147483647 w 186"/>
                <a:gd name="T9" fmla="*/ 0 h 290"/>
                <a:gd name="T10" fmla="*/ 2147483647 w 186"/>
                <a:gd name="T11" fmla="*/ 2147483647 h 290"/>
                <a:gd name="T12" fmla="*/ 2147483647 w 186"/>
                <a:gd name="T13" fmla="*/ 2147483647 h 290"/>
                <a:gd name="T14" fmla="*/ 2147483647 w 186"/>
                <a:gd name="T15" fmla="*/ 2147483647 h 290"/>
                <a:gd name="T16" fmla="*/ 2147483647 w 186"/>
                <a:gd name="T17" fmla="*/ 2147483647 h 290"/>
                <a:gd name="T18" fmla="*/ 2147483647 w 186"/>
                <a:gd name="T19" fmla="*/ 2147483647 h 290"/>
                <a:gd name="T20" fmla="*/ 2147483647 w 186"/>
                <a:gd name="T21" fmla="*/ 2147483647 h 290"/>
                <a:gd name="T22" fmla="*/ 2147483647 w 186"/>
                <a:gd name="T23" fmla="*/ 2147483647 h 290"/>
                <a:gd name="T24" fmla="*/ 0 w 186"/>
                <a:gd name="T25" fmla="*/ 2147483647 h 29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6" h="290">
                  <a:moveTo>
                    <a:pt x="0" y="279"/>
                  </a:moveTo>
                  <a:lnTo>
                    <a:pt x="50" y="234"/>
                  </a:lnTo>
                  <a:lnTo>
                    <a:pt x="62" y="111"/>
                  </a:lnTo>
                  <a:lnTo>
                    <a:pt x="100" y="56"/>
                  </a:lnTo>
                  <a:lnTo>
                    <a:pt x="112" y="0"/>
                  </a:lnTo>
                  <a:lnTo>
                    <a:pt x="168" y="23"/>
                  </a:lnTo>
                  <a:lnTo>
                    <a:pt x="186" y="123"/>
                  </a:lnTo>
                  <a:lnTo>
                    <a:pt x="162" y="123"/>
                  </a:lnTo>
                  <a:lnTo>
                    <a:pt x="143" y="146"/>
                  </a:lnTo>
                  <a:lnTo>
                    <a:pt x="150" y="167"/>
                  </a:lnTo>
                  <a:lnTo>
                    <a:pt x="81" y="234"/>
                  </a:lnTo>
                  <a:lnTo>
                    <a:pt x="68" y="290"/>
                  </a:lnTo>
                  <a:lnTo>
                    <a:pt x="0" y="279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22" name="Freeform 991"/>
            <p:cNvSpPr>
              <a:spLocks/>
            </p:cNvSpPr>
            <p:nvPr>
              <p:custDataLst>
                <p:tags r:id="rId830"/>
              </p:custDataLst>
            </p:nvPr>
          </p:nvSpPr>
          <p:spPr bwMode="auto">
            <a:xfrm>
              <a:off x="5636112" y="3854020"/>
              <a:ext cx="344842" cy="230188"/>
            </a:xfrm>
            <a:custGeom>
              <a:avLst/>
              <a:gdLst>
                <a:gd name="T0" fmla="*/ 0 w 186"/>
                <a:gd name="T1" fmla="*/ 2147483647 h 290"/>
                <a:gd name="T2" fmla="*/ 2147483647 w 186"/>
                <a:gd name="T3" fmla="*/ 2147483647 h 290"/>
                <a:gd name="T4" fmla="*/ 2147483647 w 186"/>
                <a:gd name="T5" fmla="*/ 2147483647 h 290"/>
                <a:gd name="T6" fmla="*/ 2147483647 w 186"/>
                <a:gd name="T7" fmla="*/ 2147483647 h 290"/>
                <a:gd name="T8" fmla="*/ 2147483647 w 186"/>
                <a:gd name="T9" fmla="*/ 0 h 290"/>
                <a:gd name="T10" fmla="*/ 2147483647 w 186"/>
                <a:gd name="T11" fmla="*/ 2147483647 h 290"/>
                <a:gd name="T12" fmla="*/ 2147483647 w 186"/>
                <a:gd name="T13" fmla="*/ 2147483647 h 290"/>
                <a:gd name="T14" fmla="*/ 2147483647 w 186"/>
                <a:gd name="T15" fmla="*/ 2147483647 h 290"/>
                <a:gd name="T16" fmla="*/ 2147483647 w 186"/>
                <a:gd name="T17" fmla="*/ 2147483647 h 290"/>
                <a:gd name="T18" fmla="*/ 2147483647 w 186"/>
                <a:gd name="T19" fmla="*/ 2147483647 h 290"/>
                <a:gd name="T20" fmla="*/ 2147483647 w 186"/>
                <a:gd name="T21" fmla="*/ 2147483647 h 290"/>
                <a:gd name="T22" fmla="*/ 2147483647 w 186"/>
                <a:gd name="T23" fmla="*/ 2147483647 h 290"/>
                <a:gd name="T24" fmla="*/ 0 w 186"/>
                <a:gd name="T25" fmla="*/ 2147483647 h 29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6" h="290">
                  <a:moveTo>
                    <a:pt x="0" y="279"/>
                  </a:moveTo>
                  <a:lnTo>
                    <a:pt x="50" y="234"/>
                  </a:lnTo>
                  <a:lnTo>
                    <a:pt x="62" y="111"/>
                  </a:lnTo>
                  <a:lnTo>
                    <a:pt x="100" y="56"/>
                  </a:lnTo>
                  <a:lnTo>
                    <a:pt x="112" y="0"/>
                  </a:lnTo>
                  <a:lnTo>
                    <a:pt x="168" y="23"/>
                  </a:lnTo>
                  <a:lnTo>
                    <a:pt x="186" y="123"/>
                  </a:lnTo>
                  <a:lnTo>
                    <a:pt x="162" y="123"/>
                  </a:lnTo>
                  <a:lnTo>
                    <a:pt x="143" y="146"/>
                  </a:lnTo>
                  <a:lnTo>
                    <a:pt x="150" y="167"/>
                  </a:lnTo>
                  <a:lnTo>
                    <a:pt x="81" y="234"/>
                  </a:lnTo>
                  <a:lnTo>
                    <a:pt x="68" y="290"/>
                  </a:lnTo>
                  <a:lnTo>
                    <a:pt x="0" y="279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23" name="Freeform 992"/>
            <p:cNvSpPr>
              <a:spLocks/>
            </p:cNvSpPr>
            <p:nvPr>
              <p:custDataLst>
                <p:tags r:id="rId831"/>
              </p:custDataLst>
            </p:nvPr>
          </p:nvSpPr>
          <p:spPr bwMode="auto">
            <a:xfrm>
              <a:off x="5636112" y="3854020"/>
              <a:ext cx="344842" cy="230188"/>
            </a:xfrm>
            <a:custGeom>
              <a:avLst/>
              <a:gdLst>
                <a:gd name="T0" fmla="*/ 0 w 186"/>
                <a:gd name="T1" fmla="*/ 2147483647 h 290"/>
                <a:gd name="T2" fmla="*/ 2147483647 w 186"/>
                <a:gd name="T3" fmla="*/ 2147483647 h 290"/>
                <a:gd name="T4" fmla="*/ 2147483647 w 186"/>
                <a:gd name="T5" fmla="*/ 2147483647 h 290"/>
                <a:gd name="T6" fmla="*/ 2147483647 w 186"/>
                <a:gd name="T7" fmla="*/ 2147483647 h 290"/>
                <a:gd name="T8" fmla="*/ 2147483647 w 186"/>
                <a:gd name="T9" fmla="*/ 0 h 290"/>
                <a:gd name="T10" fmla="*/ 2147483647 w 186"/>
                <a:gd name="T11" fmla="*/ 2147483647 h 290"/>
                <a:gd name="T12" fmla="*/ 2147483647 w 186"/>
                <a:gd name="T13" fmla="*/ 2147483647 h 290"/>
                <a:gd name="T14" fmla="*/ 2147483647 w 186"/>
                <a:gd name="T15" fmla="*/ 2147483647 h 290"/>
                <a:gd name="T16" fmla="*/ 2147483647 w 186"/>
                <a:gd name="T17" fmla="*/ 2147483647 h 290"/>
                <a:gd name="T18" fmla="*/ 2147483647 w 186"/>
                <a:gd name="T19" fmla="*/ 2147483647 h 290"/>
                <a:gd name="T20" fmla="*/ 2147483647 w 186"/>
                <a:gd name="T21" fmla="*/ 2147483647 h 290"/>
                <a:gd name="T22" fmla="*/ 2147483647 w 186"/>
                <a:gd name="T23" fmla="*/ 2147483647 h 290"/>
                <a:gd name="T24" fmla="*/ 0 w 186"/>
                <a:gd name="T25" fmla="*/ 2147483647 h 29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86" h="290">
                  <a:moveTo>
                    <a:pt x="0" y="279"/>
                  </a:moveTo>
                  <a:lnTo>
                    <a:pt x="50" y="234"/>
                  </a:lnTo>
                  <a:lnTo>
                    <a:pt x="62" y="111"/>
                  </a:lnTo>
                  <a:lnTo>
                    <a:pt x="100" y="56"/>
                  </a:lnTo>
                  <a:lnTo>
                    <a:pt x="112" y="0"/>
                  </a:lnTo>
                  <a:lnTo>
                    <a:pt x="168" y="23"/>
                  </a:lnTo>
                  <a:lnTo>
                    <a:pt x="186" y="123"/>
                  </a:lnTo>
                  <a:lnTo>
                    <a:pt x="162" y="123"/>
                  </a:lnTo>
                  <a:lnTo>
                    <a:pt x="143" y="146"/>
                  </a:lnTo>
                  <a:lnTo>
                    <a:pt x="150" y="167"/>
                  </a:lnTo>
                  <a:lnTo>
                    <a:pt x="81" y="234"/>
                  </a:lnTo>
                  <a:lnTo>
                    <a:pt x="68" y="290"/>
                  </a:lnTo>
                  <a:lnTo>
                    <a:pt x="0" y="27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24" name="Freeform 993"/>
            <p:cNvSpPr>
              <a:spLocks/>
            </p:cNvSpPr>
            <p:nvPr>
              <p:custDataLst>
                <p:tags r:id="rId832"/>
              </p:custDataLst>
            </p:nvPr>
          </p:nvSpPr>
          <p:spPr bwMode="auto">
            <a:xfrm>
              <a:off x="6875160" y="5063695"/>
              <a:ext cx="300734" cy="425450"/>
            </a:xfrm>
            <a:custGeom>
              <a:avLst/>
              <a:gdLst>
                <a:gd name="T0" fmla="*/ 0 w 163"/>
                <a:gd name="T1" fmla="*/ 2147483647 h 536"/>
                <a:gd name="T2" fmla="*/ 2147483647 w 163"/>
                <a:gd name="T3" fmla="*/ 2147483647 h 536"/>
                <a:gd name="T4" fmla="*/ 2147483647 w 163"/>
                <a:gd name="T5" fmla="*/ 2147483647 h 536"/>
                <a:gd name="T6" fmla="*/ 2147483647 w 163"/>
                <a:gd name="T7" fmla="*/ 2147483647 h 536"/>
                <a:gd name="T8" fmla="*/ 2147483647 w 163"/>
                <a:gd name="T9" fmla="*/ 2147483647 h 536"/>
                <a:gd name="T10" fmla="*/ 2147483647 w 163"/>
                <a:gd name="T11" fmla="*/ 2147483647 h 536"/>
                <a:gd name="T12" fmla="*/ 2147483647 w 163"/>
                <a:gd name="T13" fmla="*/ 2147483647 h 536"/>
                <a:gd name="T14" fmla="*/ 2147483647 w 163"/>
                <a:gd name="T15" fmla="*/ 2147483647 h 536"/>
                <a:gd name="T16" fmla="*/ 2147483647 w 163"/>
                <a:gd name="T17" fmla="*/ 2147483647 h 536"/>
                <a:gd name="T18" fmla="*/ 2147483647 w 163"/>
                <a:gd name="T19" fmla="*/ 2147483647 h 536"/>
                <a:gd name="T20" fmla="*/ 2147483647 w 163"/>
                <a:gd name="T21" fmla="*/ 2147483647 h 536"/>
                <a:gd name="T22" fmla="*/ 2147483647 w 163"/>
                <a:gd name="T23" fmla="*/ 2147483647 h 536"/>
                <a:gd name="T24" fmla="*/ 2147483647 w 163"/>
                <a:gd name="T25" fmla="*/ 2147483647 h 536"/>
                <a:gd name="T26" fmla="*/ 2147483647 w 163"/>
                <a:gd name="T27" fmla="*/ 0 h 536"/>
                <a:gd name="T28" fmla="*/ 2147483647 w 163"/>
                <a:gd name="T29" fmla="*/ 2147483647 h 536"/>
                <a:gd name="T30" fmla="*/ 2147483647 w 163"/>
                <a:gd name="T31" fmla="*/ 2147483647 h 536"/>
                <a:gd name="T32" fmla="*/ 2147483647 w 163"/>
                <a:gd name="T33" fmla="*/ 2147483647 h 536"/>
                <a:gd name="T34" fmla="*/ 2147483647 w 163"/>
                <a:gd name="T35" fmla="*/ 2147483647 h 536"/>
                <a:gd name="T36" fmla="*/ 2147483647 w 163"/>
                <a:gd name="T37" fmla="*/ 2147483647 h 536"/>
                <a:gd name="T38" fmla="*/ 2147483647 w 163"/>
                <a:gd name="T39" fmla="*/ 2147483647 h 536"/>
                <a:gd name="T40" fmla="*/ 2147483647 w 163"/>
                <a:gd name="T41" fmla="*/ 2147483647 h 536"/>
                <a:gd name="T42" fmla="*/ 2147483647 w 163"/>
                <a:gd name="T43" fmla="*/ 2147483647 h 536"/>
                <a:gd name="T44" fmla="*/ 0 w 163"/>
                <a:gd name="T45" fmla="*/ 2147483647 h 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63" h="536">
                  <a:moveTo>
                    <a:pt x="0" y="146"/>
                  </a:moveTo>
                  <a:lnTo>
                    <a:pt x="6" y="169"/>
                  </a:lnTo>
                  <a:lnTo>
                    <a:pt x="43" y="190"/>
                  </a:lnTo>
                  <a:lnTo>
                    <a:pt x="50" y="223"/>
                  </a:lnTo>
                  <a:lnTo>
                    <a:pt x="50" y="313"/>
                  </a:lnTo>
                  <a:lnTo>
                    <a:pt x="25" y="401"/>
                  </a:lnTo>
                  <a:lnTo>
                    <a:pt x="31" y="501"/>
                  </a:lnTo>
                  <a:lnTo>
                    <a:pt x="31" y="536"/>
                  </a:lnTo>
                  <a:lnTo>
                    <a:pt x="43" y="536"/>
                  </a:lnTo>
                  <a:lnTo>
                    <a:pt x="43" y="501"/>
                  </a:lnTo>
                  <a:lnTo>
                    <a:pt x="87" y="446"/>
                  </a:lnTo>
                  <a:lnTo>
                    <a:pt x="75" y="313"/>
                  </a:lnTo>
                  <a:lnTo>
                    <a:pt x="163" y="169"/>
                  </a:lnTo>
                  <a:lnTo>
                    <a:pt x="163" y="0"/>
                  </a:lnTo>
                  <a:lnTo>
                    <a:pt x="145" y="23"/>
                  </a:lnTo>
                  <a:lnTo>
                    <a:pt x="81" y="35"/>
                  </a:lnTo>
                  <a:lnTo>
                    <a:pt x="81" y="100"/>
                  </a:lnTo>
                  <a:lnTo>
                    <a:pt x="94" y="146"/>
                  </a:lnTo>
                  <a:lnTo>
                    <a:pt x="87" y="213"/>
                  </a:lnTo>
                  <a:lnTo>
                    <a:pt x="68" y="179"/>
                  </a:lnTo>
                  <a:lnTo>
                    <a:pt x="68" y="134"/>
                  </a:lnTo>
                  <a:lnTo>
                    <a:pt x="50" y="111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25" name="Freeform 994"/>
            <p:cNvSpPr>
              <a:spLocks/>
            </p:cNvSpPr>
            <p:nvPr>
              <p:custDataLst>
                <p:tags r:id="rId833"/>
              </p:custDataLst>
            </p:nvPr>
          </p:nvSpPr>
          <p:spPr bwMode="auto">
            <a:xfrm>
              <a:off x="6875160" y="5063695"/>
              <a:ext cx="300734" cy="425450"/>
            </a:xfrm>
            <a:custGeom>
              <a:avLst/>
              <a:gdLst>
                <a:gd name="T0" fmla="*/ 0 w 163"/>
                <a:gd name="T1" fmla="*/ 2147483647 h 536"/>
                <a:gd name="T2" fmla="*/ 2147483647 w 163"/>
                <a:gd name="T3" fmla="*/ 2147483647 h 536"/>
                <a:gd name="T4" fmla="*/ 2147483647 w 163"/>
                <a:gd name="T5" fmla="*/ 2147483647 h 536"/>
                <a:gd name="T6" fmla="*/ 2147483647 w 163"/>
                <a:gd name="T7" fmla="*/ 2147483647 h 536"/>
                <a:gd name="T8" fmla="*/ 2147483647 w 163"/>
                <a:gd name="T9" fmla="*/ 2147483647 h 536"/>
                <a:gd name="T10" fmla="*/ 2147483647 w 163"/>
                <a:gd name="T11" fmla="*/ 2147483647 h 536"/>
                <a:gd name="T12" fmla="*/ 2147483647 w 163"/>
                <a:gd name="T13" fmla="*/ 2147483647 h 536"/>
                <a:gd name="T14" fmla="*/ 2147483647 w 163"/>
                <a:gd name="T15" fmla="*/ 2147483647 h 536"/>
                <a:gd name="T16" fmla="*/ 2147483647 w 163"/>
                <a:gd name="T17" fmla="*/ 2147483647 h 536"/>
                <a:gd name="T18" fmla="*/ 2147483647 w 163"/>
                <a:gd name="T19" fmla="*/ 2147483647 h 536"/>
                <a:gd name="T20" fmla="*/ 2147483647 w 163"/>
                <a:gd name="T21" fmla="*/ 2147483647 h 536"/>
                <a:gd name="T22" fmla="*/ 2147483647 w 163"/>
                <a:gd name="T23" fmla="*/ 2147483647 h 536"/>
                <a:gd name="T24" fmla="*/ 2147483647 w 163"/>
                <a:gd name="T25" fmla="*/ 2147483647 h 536"/>
                <a:gd name="T26" fmla="*/ 2147483647 w 163"/>
                <a:gd name="T27" fmla="*/ 0 h 536"/>
                <a:gd name="T28" fmla="*/ 2147483647 w 163"/>
                <a:gd name="T29" fmla="*/ 2147483647 h 536"/>
                <a:gd name="T30" fmla="*/ 2147483647 w 163"/>
                <a:gd name="T31" fmla="*/ 2147483647 h 536"/>
                <a:gd name="T32" fmla="*/ 2147483647 w 163"/>
                <a:gd name="T33" fmla="*/ 2147483647 h 536"/>
                <a:gd name="T34" fmla="*/ 2147483647 w 163"/>
                <a:gd name="T35" fmla="*/ 2147483647 h 536"/>
                <a:gd name="T36" fmla="*/ 2147483647 w 163"/>
                <a:gd name="T37" fmla="*/ 2147483647 h 536"/>
                <a:gd name="T38" fmla="*/ 2147483647 w 163"/>
                <a:gd name="T39" fmla="*/ 2147483647 h 536"/>
                <a:gd name="T40" fmla="*/ 2147483647 w 163"/>
                <a:gd name="T41" fmla="*/ 2147483647 h 536"/>
                <a:gd name="T42" fmla="*/ 2147483647 w 163"/>
                <a:gd name="T43" fmla="*/ 2147483647 h 536"/>
                <a:gd name="T44" fmla="*/ 0 w 163"/>
                <a:gd name="T45" fmla="*/ 2147483647 h 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63" h="536">
                  <a:moveTo>
                    <a:pt x="0" y="146"/>
                  </a:moveTo>
                  <a:lnTo>
                    <a:pt x="6" y="169"/>
                  </a:lnTo>
                  <a:lnTo>
                    <a:pt x="43" y="190"/>
                  </a:lnTo>
                  <a:lnTo>
                    <a:pt x="50" y="223"/>
                  </a:lnTo>
                  <a:lnTo>
                    <a:pt x="50" y="313"/>
                  </a:lnTo>
                  <a:lnTo>
                    <a:pt x="25" y="401"/>
                  </a:lnTo>
                  <a:lnTo>
                    <a:pt x="31" y="501"/>
                  </a:lnTo>
                  <a:lnTo>
                    <a:pt x="31" y="536"/>
                  </a:lnTo>
                  <a:lnTo>
                    <a:pt x="43" y="536"/>
                  </a:lnTo>
                  <a:lnTo>
                    <a:pt x="43" y="501"/>
                  </a:lnTo>
                  <a:lnTo>
                    <a:pt x="87" y="446"/>
                  </a:lnTo>
                  <a:lnTo>
                    <a:pt x="75" y="313"/>
                  </a:lnTo>
                  <a:lnTo>
                    <a:pt x="163" y="169"/>
                  </a:lnTo>
                  <a:lnTo>
                    <a:pt x="163" y="0"/>
                  </a:lnTo>
                  <a:lnTo>
                    <a:pt x="145" y="23"/>
                  </a:lnTo>
                  <a:lnTo>
                    <a:pt x="81" y="35"/>
                  </a:lnTo>
                  <a:lnTo>
                    <a:pt x="81" y="100"/>
                  </a:lnTo>
                  <a:lnTo>
                    <a:pt x="94" y="146"/>
                  </a:lnTo>
                  <a:lnTo>
                    <a:pt x="87" y="213"/>
                  </a:lnTo>
                  <a:lnTo>
                    <a:pt x="68" y="179"/>
                  </a:lnTo>
                  <a:lnTo>
                    <a:pt x="68" y="134"/>
                  </a:lnTo>
                  <a:lnTo>
                    <a:pt x="50" y="111"/>
                  </a:lnTo>
                  <a:lnTo>
                    <a:pt x="0" y="14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26" name="Freeform 995"/>
            <p:cNvSpPr>
              <a:spLocks/>
            </p:cNvSpPr>
            <p:nvPr>
              <p:custDataLst>
                <p:tags r:id="rId834"/>
              </p:custDataLst>
            </p:nvPr>
          </p:nvSpPr>
          <p:spPr bwMode="auto">
            <a:xfrm>
              <a:off x="6875160" y="5063695"/>
              <a:ext cx="300734" cy="425450"/>
            </a:xfrm>
            <a:custGeom>
              <a:avLst/>
              <a:gdLst>
                <a:gd name="T0" fmla="*/ 0 w 163"/>
                <a:gd name="T1" fmla="*/ 2147483647 h 536"/>
                <a:gd name="T2" fmla="*/ 2147483647 w 163"/>
                <a:gd name="T3" fmla="*/ 2147483647 h 536"/>
                <a:gd name="T4" fmla="*/ 2147483647 w 163"/>
                <a:gd name="T5" fmla="*/ 2147483647 h 536"/>
                <a:gd name="T6" fmla="*/ 2147483647 w 163"/>
                <a:gd name="T7" fmla="*/ 2147483647 h 536"/>
                <a:gd name="T8" fmla="*/ 2147483647 w 163"/>
                <a:gd name="T9" fmla="*/ 2147483647 h 536"/>
                <a:gd name="T10" fmla="*/ 2147483647 w 163"/>
                <a:gd name="T11" fmla="*/ 2147483647 h 536"/>
                <a:gd name="T12" fmla="*/ 2147483647 w 163"/>
                <a:gd name="T13" fmla="*/ 2147483647 h 536"/>
                <a:gd name="T14" fmla="*/ 2147483647 w 163"/>
                <a:gd name="T15" fmla="*/ 2147483647 h 536"/>
                <a:gd name="T16" fmla="*/ 2147483647 w 163"/>
                <a:gd name="T17" fmla="*/ 2147483647 h 536"/>
                <a:gd name="T18" fmla="*/ 2147483647 w 163"/>
                <a:gd name="T19" fmla="*/ 2147483647 h 536"/>
                <a:gd name="T20" fmla="*/ 2147483647 w 163"/>
                <a:gd name="T21" fmla="*/ 2147483647 h 536"/>
                <a:gd name="T22" fmla="*/ 2147483647 w 163"/>
                <a:gd name="T23" fmla="*/ 2147483647 h 536"/>
                <a:gd name="T24" fmla="*/ 2147483647 w 163"/>
                <a:gd name="T25" fmla="*/ 2147483647 h 536"/>
                <a:gd name="T26" fmla="*/ 2147483647 w 163"/>
                <a:gd name="T27" fmla="*/ 0 h 536"/>
                <a:gd name="T28" fmla="*/ 2147483647 w 163"/>
                <a:gd name="T29" fmla="*/ 2147483647 h 536"/>
                <a:gd name="T30" fmla="*/ 2147483647 w 163"/>
                <a:gd name="T31" fmla="*/ 2147483647 h 536"/>
                <a:gd name="T32" fmla="*/ 2147483647 w 163"/>
                <a:gd name="T33" fmla="*/ 2147483647 h 536"/>
                <a:gd name="T34" fmla="*/ 2147483647 w 163"/>
                <a:gd name="T35" fmla="*/ 2147483647 h 536"/>
                <a:gd name="T36" fmla="*/ 2147483647 w 163"/>
                <a:gd name="T37" fmla="*/ 2147483647 h 536"/>
                <a:gd name="T38" fmla="*/ 2147483647 w 163"/>
                <a:gd name="T39" fmla="*/ 2147483647 h 536"/>
                <a:gd name="T40" fmla="*/ 2147483647 w 163"/>
                <a:gd name="T41" fmla="*/ 2147483647 h 536"/>
                <a:gd name="T42" fmla="*/ 2147483647 w 163"/>
                <a:gd name="T43" fmla="*/ 2147483647 h 536"/>
                <a:gd name="T44" fmla="*/ 0 w 163"/>
                <a:gd name="T45" fmla="*/ 2147483647 h 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63" h="536">
                  <a:moveTo>
                    <a:pt x="0" y="146"/>
                  </a:moveTo>
                  <a:lnTo>
                    <a:pt x="6" y="169"/>
                  </a:lnTo>
                  <a:lnTo>
                    <a:pt x="43" y="190"/>
                  </a:lnTo>
                  <a:lnTo>
                    <a:pt x="50" y="223"/>
                  </a:lnTo>
                  <a:lnTo>
                    <a:pt x="50" y="313"/>
                  </a:lnTo>
                  <a:lnTo>
                    <a:pt x="25" y="401"/>
                  </a:lnTo>
                  <a:lnTo>
                    <a:pt x="31" y="501"/>
                  </a:lnTo>
                  <a:lnTo>
                    <a:pt x="31" y="536"/>
                  </a:lnTo>
                  <a:lnTo>
                    <a:pt x="43" y="536"/>
                  </a:lnTo>
                  <a:lnTo>
                    <a:pt x="43" y="501"/>
                  </a:lnTo>
                  <a:lnTo>
                    <a:pt x="87" y="446"/>
                  </a:lnTo>
                  <a:lnTo>
                    <a:pt x="75" y="313"/>
                  </a:lnTo>
                  <a:lnTo>
                    <a:pt x="163" y="169"/>
                  </a:lnTo>
                  <a:lnTo>
                    <a:pt x="163" y="0"/>
                  </a:lnTo>
                  <a:lnTo>
                    <a:pt x="145" y="23"/>
                  </a:lnTo>
                  <a:lnTo>
                    <a:pt x="81" y="35"/>
                  </a:lnTo>
                  <a:lnTo>
                    <a:pt x="81" y="100"/>
                  </a:lnTo>
                  <a:lnTo>
                    <a:pt x="94" y="146"/>
                  </a:lnTo>
                  <a:lnTo>
                    <a:pt x="87" y="213"/>
                  </a:lnTo>
                  <a:lnTo>
                    <a:pt x="68" y="179"/>
                  </a:lnTo>
                  <a:lnTo>
                    <a:pt x="68" y="134"/>
                  </a:lnTo>
                  <a:lnTo>
                    <a:pt x="50" y="111"/>
                  </a:lnTo>
                  <a:lnTo>
                    <a:pt x="0" y="14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27" name="Freeform 996"/>
            <p:cNvSpPr>
              <a:spLocks/>
            </p:cNvSpPr>
            <p:nvPr>
              <p:custDataLst>
                <p:tags r:id="rId835"/>
              </p:custDataLst>
            </p:nvPr>
          </p:nvSpPr>
          <p:spPr bwMode="auto">
            <a:xfrm>
              <a:off x="6875160" y="5063695"/>
              <a:ext cx="300734" cy="425450"/>
            </a:xfrm>
            <a:custGeom>
              <a:avLst/>
              <a:gdLst>
                <a:gd name="T0" fmla="*/ 0 w 163"/>
                <a:gd name="T1" fmla="*/ 2147483647 h 536"/>
                <a:gd name="T2" fmla="*/ 2147483647 w 163"/>
                <a:gd name="T3" fmla="*/ 2147483647 h 536"/>
                <a:gd name="T4" fmla="*/ 2147483647 w 163"/>
                <a:gd name="T5" fmla="*/ 2147483647 h 536"/>
                <a:gd name="T6" fmla="*/ 2147483647 w 163"/>
                <a:gd name="T7" fmla="*/ 2147483647 h 536"/>
                <a:gd name="T8" fmla="*/ 2147483647 w 163"/>
                <a:gd name="T9" fmla="*/ 2147483647 h 536"/>
                <a:gd name="T10" fmla="*/ 2147483647 w 163"/>
                <a:gd name="T11" fmla="*/ 2147483647 h 536"/>
                <a:gd name="T12" fmla="*/ 2147483647 w 163"/>
                <a:gd name="T13" fmla="*/ 2147483647 h 536"/>
                <a:gd name="T14" fmla="*/ 2147483647 w 163"/>
                <a:gd name="T15" fmla="*/ 2147483647 h 536"/>
                <a:gd name="T16" fmla="*/ 2147483647 w 163"/>
                <a:gd name="T17" fmla="*/ 2147483647 h 536"/>
                <a:gd name="T18" fmla="*/ 2147483647 w 163"/>
                <a:gd name="T19" fmla="*/ 2147483647 h 536"/>
                <a:gd name="T20" fmla="*/ 2147483647 w 163"/>
                <a:gd name="T21" fmla="*/ 2147483647 h 536"/>
                <a:gd name="T22" fmla="*/ 2147483647 w 163"/>
                <a:gd name="T23" fmla="*/ 2147483647 h 536"/>
                <a:gd name="T24" fmla="*/ 2147483647 w 163"/>
                <a:gd name="T25" fmla="*/ 2147483647 h 536"/>
                <a:gd name="T26" fmla="*/ 2147483647 w 163"/>
                <a:gd name="T27" fmla="*/ 0 h 536"/>
                <a:gd name="T28" fmla="*/ 2147483647 w 163"/>
                <a:gd name="T29" fmla="*/ 2147483647 h 536"/>
                <a:gd name="T30" fmla="*/ 2147483647 w 163"/>
                <a:gd name="T31" fmla="*/ 2147483647 h 536"/>
                <a:gd name="T32" fmla="*/ 2147483647 w 163"/>
                <a:gd name="T33" fmla="*/ 2147483647 h 536"/>
                <a:gd name="T34" fmla="*/ 2147483647 w 163"/>
                <a:gd name="T35" fmla="*/ 2147483647 h 536"/>
                <a:gd name="T36" fmla="*/ 2147483647 w 163"/>
                <a:gd name="T37" fmla="*/ 2147483647 h 536"/>
                <a:gd name="T38" fmla="*/ 2147483647 w 163"/>
                <a:gd name="T39" fmla="*/ 2147483647 h 536"/>
                <a:gd name="T40" fmla="*/ 2147483647 w 163"/>
                <a:gd name="T41" fmla="*/ 2147483647 h 536"/>
                <a:gd name="T42" fmla="*/ 2147483647 w 163"/>
                <a:gd name="T43" fmla="*/ 2147483647 h 536"/>
                <a:gd name="T44" fmla="*/ 0 w 163"/>
                <a:gd name="T45" fmla="*/ 2147483647 h 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163" h="536">
                  <a:moveTo>
                    <a:pt x="0" y="146"/>
                  </a:moveTo>
                  <a:lnTo>
                    <a:pt x="6" y="169"/>
                  </a:lnTo>
                  <a:lnTo>
                    <a:pt x="43" y="190"/>
                  </a:lnTo>
                  <a:lnTo>
                    <a:pt x="50" y="223"/>
                  </a:lnTo>
                  <a:lnTo>
                    <a:pt x="50" y="313"/>
                  </a:lnTo>
                  <a:lnTo>
                    <a:pt x="25" y="401"/>
                  </a:lnTo>
                  <a:lnTo>
                    <a:pt x="31" y="501"/>
                  </a:lnTo>
                  <a:lnTo>
                    <a:pt x="31" y="536"/>
                  </a:lnTo>
                  <a:lnTo>
                    <a:pt x="43" y="536"/>
                  </a:lnTo>
                  <a:lnTo>
                    <a:pt x="43" y="501"/>
                  </a:lnTo>
                  <a:lnTo>
                    <a:pt x="87" y="446"/>
                  </a:lnTo>
                  <a:lnTo>
                    <a:pt x="75" y="313"/>
                  </a:lnTo>
                  <a:lnTo>
                    <a:pt x="163" y="169"/>
                  </a:lnTo>
                  <a:lnTo>
                    <a:pt x="163" y="0"/>
                  </a:lnTo>
                  <a:lnTo>
                    <a:pt x="145" y="23"/>
                  </a:lnTo>
                  <a:lnTo>
                    <a:pt x="81" y="35"/>
                  </a:lnTo>
                  <a:lnTo>
                    <a:pt x="81" y="100"/>
                  </a:lnTo>
                  <a:lnTo>
                    <a:pt x="94" y="146"/>
                  </a:lnTo>
                  <a:lnTo>
                    <a:pt x="87" y="213"/>
                  </a:lnTo>
                  <a:lnTo>
                    <a:pt x="68" y="179"/>
                  </a:lnTo>
                  <a:lnTo>
                    <a:pt x="68" y="134"/>
                  </a:lnTo>
                  <a:lnTo>
                    <a:pt x="50" y="111"/>
                  </a:lnTo>
                  <a:lnTo>
                    <a:pt x="0" y="14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28" name="Freeform 997"/>
            <p:cNvSpPr>
              <a:spLocks/>
            </p:cNvSpPr>
            <p:nvPr>
              <p:custDataLst>
                <p:tags r:id="rId836"/>
              </p:custDataLst>
            </p:nvPr>
          </p:nvSpPr>
          <p:spPr bwMode="auto">
            <a:xfrm>
              <a:off x="6017045" y="4190587"/>
              <a:ext cx="463132" cy="307975"/>
            </a:xfrm>
            <a:custGeom>
              <a:avLst/>
              <a:gdLst>
                <a:gd name="T0" fmla="*/ 0 w 250"/>
                <a:gd name="T1" fmla="*/ 2147483647 h 387"/>
                <a:gd name="T2" fmla="*/ 2147483647 w 250"/>
                <a:gd name="T3" fmla="*/ 2147483647 h 387"/>
                <a:gd name="T4" fmla="*/ 2147483647 w 250"/>
                <a:gd name="T5" fmla="*/ 2147483647 h 387"/>
                <a:gd name="T6" fmla="*/ 2147483647 w 250"/>
                <a:gd name="T7" fmla="*/ 2147483647 h 387"/>
                <a:gd name="T8" fmla="*/ 2147483647 w 250"/>
                <a:gd name="T9" fmla="*/ 2147483647 h 387"/>
                <a:gd name="T10" fmla="*/ 2147483647 w 250"/>
                <a:gd name="T11" fmla="*/ 2147483647 h 387"/>
                <a:gd name="T12" fmla="*/ 2147483647 w 250"/>
                <a:gd name="T13" fmla="*/ 2147483647 h 387"/>
                <a:gd name="T14" fmla="*/ 2147483647 w 250"/>
                <a:gd name="T15" fmla="*/ 2147483647 h 387"/>
                <a:gd name="T16" fmla="*/ 2147483647 w 250"/>
                <a:gd name="T17" fmla="*/ 2147483647 h 387"/>
                <a:gd name="T18" fmla="*/ 2147483647 w 250"/>
                <a:gd name="T19" fmla="*/ 2147483647 h 387"/>
                <a:gd name="T20" fmla="*/ 2147483647 w 250"/>
                <a:gd name="T21" fmla="*/ 2147483647 h 387"/>
                <a:gd name="T22" fmla="*/ 2147483647 w 250"/>
                <a:gd name="T23" fmla="*/ 2147483647 h 387"/>
                <a:gd name="T24" fmla="*/ 2147483647 w 250"/>
                <a:gd name="T25" fmla="*/ 2147483647 h 387"/>
                <a:gd name="T26" fmla="*/ 2147483647 w 250"/>
                <a:gd name="T27" fmla="*/ 0 h 387"/>
                <a:gd name="T28" fmla="*/ 2147483647 w 250"/>
                <a:gd name="T29" fmla="*/ 2147483647 h 387"/>
                <a:gd name="T30" fmla="*/ 2147483647 w 250"/>
                <a:gd name="T31" fmla="*/ 2147483647 h 387"/>
                <a:gd name="T32" fmla="*/ 2147483647 w 250"/>
                <a:gd name="T33" fmla="*/ 2147483647 h 387"/>
                <a:gd name="T34" fmla="*/ 2147483647 w 250"/>
                <a:gd name="T35" fmla="*/ 2147483647 h 387"/>
                <a:gd name="T36" fmla="*/ 0 w 250"/>
                <a:gd name="T37" fmla="*/ 2147483647 h 38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50" h="387">
                  <a:moveTo>
                    <a:pt x="0" y="288"/>
                  </a:moveTo>
                  <a:lnTo>
                    <a:pt x="6" y="309"/>
                  </a:lnTo>
                  <a:lnTo>
                    <a:pt x="37" y="376"/>
                  </a:lnTo>
                  <a:lnTo>
                    <a:pt x="44" y="366"/>
                  </a:lnTo>
                  <a:lnTo>
                    <a:pt x="56" y="387"/>
                  </a:lnTo>
                  <a:lnTo>
                    <a:pt x="75" y="322"/>
                  </a:lnTo>
                  <a:lnTo>
                    <a:pt x="144" y="353"/>
                  </a:lnTo>
                  <a:lnTo>
                    <a:pt x="205" y="322"/>
                  </a:lnTo>
                  <a:lnTo>
                    <a:pt x="205" y="299"/>
                  </a:lnTo>
                  <a:lnTo>
                    <a:pt x="237" y="220"/>
                  </a:lnTo>
                  <a:lnTo>
                    <a:pt x="250" y="111"/>
                  </a:lnTo>
                  <a:lnTo>
                    <a:pt x="231" y="67"/>
                  </a:lnTo>
                  <a:lnTo>
                    <a:pt x="231" y="23"/>
                  </a:lnTo>
                  <a:lnTo>
                    <a:pt x="181" y="0"/>
                  </a:lnTo>
                  <a:lnTo>
                    <a:pt x="87" y="132"/>
                  </a:lnTo>
                  <a:lnTo>
                    <a:pt x="62" y="155"/>
                  </a:lnTo>
                  <a:lnTo>
                    <a:pt x="62" y="253"/>
                  </a:lnTo>
                  <a:lnTo>
                    <a:pt x="49" y="265"/>
                  </a:lnTo>
                  <a:lnTo>
                    <a:pt x="0" y="288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29" name="Freeform 998"/>
            <p:cNvSpPr>
              <a:spLocks/>
            </p:cNvSpPr>
            <p:nvPr>
              <p:custDataLst>
                <p:tags r:id="rId837"/>
              </p:custDataLst>
            </p:nvPr>
          </p:nvSpPr>
          <p:spPr bwMode="auto">
            <a:xfrm>
              <a:off x="6017045" y="4190587"/>
              <a:ext cx="463132" cy="307975"/>
            </a:xfrm>
            <a:custGeom>
              <a:avLst/>
              <a:gdLst>
                <a:gd name="T0" fmla="*/ 0 w 250"/>
                <a:gd name="T1" fmla="*/ 2147483647 h 387"/>
                <a:gd name="T2" fmla="*/ 2147483647 w 250"/>
                <a:gd name="T3" fmla="*/ 2147483647 h 387"/>
                <a:gd name="T4" fmla="*/ 2147483647 w 250"/>
                <a:gd name="T5" fmla="*/ 2147483647 h 387"/>
                <a:gd name="T6" fmla="*/ 2147483647 w 250"/>
                <a:gd name="T7" fmla="*/ 2147483647 h 387"/>
                <a:gd name="T8" fmla="*/ 2147483647 w 250"/>
                <a:gd name="T9" fmla="*/ 2147483647 h 387"/>
                <a:gd name="T10" fmla="*/ 2147483647 w 250"/>
                <a:gd name="T11" fmla="*/ 2147483647 h 387"/>
                <a:gd name="T12" fmla="*/ 2147483647 w 250"/>
                <a:gd name="T13" fmla="*/ 2147483647 h 387"/>
                <a:gd name="T14" fmla="*/ 2147483647 w 250"/>
                <a:gd name="T15" fmla="*/ 2147483647 h 387"/>
                <a:gd name="T16" fmla="*/ 2147483647 w 250"/>
                <a:gd name="T17" fmla="*/ 2147483647 h 387"/>
                <a:gd name="T18" fmla="*/ 2147483647 w 250"/>
                <a:gd name="T19" fmla="*/ 2147483647 h 387"/>
                <a:gd name="T20" fmla="*/ 2147483647 w 250"/>
                <a:gd name="T21" fmla="*/ 2147483647 h 387"/>
                <a:gd name="T22" fmla="*/ 2147483647 w 250"/>
                <a:gd name="T23" fmla="*/ 2147483647 h 387"/>
                <a:gd name="T24" fmla="*/ 2147483647 w 250"/>
                <a:gd name="T25" fmla="*/ 2147483647 h 387"/>
                <a:gd name="T26" fmla="*/ 2147483647 w 250"/>
                <a:gd name="T27" fmla="*/ 0 h 387"/>
                <a:gd name="T28" fmla="*/ 2147483647 w 250"/>
                <a:gd name="T29" fmla="*/ 2147483647 h 387"/>
                <a:gd name="T30" fmla="*/ 2147483647 w 250"/>
                <a:gd name="T31" fmla="*/ 2147483647 h 387"/>
                <a:gd name="T32" fmla="*/ 2147483647 w 250"/>
                <a:gd name="T33" fmla="*/ 2147483647 h 387"/>
                <a:gd name="T34" fmla="*/ 2147483647 w 250"/>
                <a:gd name="T35" fmla="*/ 2147483647 h 387"/>
                <a:gd name="T36" fmla="*/ 0 w 250"/>
                <a:gd name="T37" fmla="*/ 2147483647 h 38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50" h="387">
                  <a:moveTo>
                    <a:pt x="0" y="288"/>
                  </a:moveTo>
                  <a:lnTo>
                    <a:pt x="6" y="309"/>
                  </a:lnTo>
                  <a:lnTo>
                    <a:pt x="37" y="376"/>
                  </a:lnTo>
                  <a:lnTo>
                    <a:pt x="44" y="366"/>
                  </a:lnTo>
                  <a:lnTo>
                    <a:pt x="56" y="387"/>
                  </a:lnTo>
                  <a:lnTo>
                    <a:pt x="75" y="322"/>
                  </a:lnTo>
                  <a:lnTo>
                    <a:pt x="144" y="353"/>
                  </a:lnTo>
                  <a:lnTo>
                    <a:pt x="205" y="322"/>
                  </a:lnTo>
                  <a:lnTo>
                    <a:pt x="205" y="299"/>
                  </a:lnTo>
                  <a:lnTo>
                    <a:pt x="237" y="220"/>
                  </a:lnTo>
                  <a:lnTo>
                    <a:pt x="250" y="111"/>
                  </a:lnTo>
                  <a:lnTo>
                    <a:pt x="231" y="67"/>
                  </a:lnTo>
                  <a:lnTo>
                    <a:pt x="231" y="23"/>
                  </a:lnTo>
                  <a:lnTo>
                    <a:pt x="181" y="0"/>
                  </a:lnTo>
                  <a:lnTo>
                    <a:pt x="87" y="132"/>
                  </a:lnTo>
                  <a:lnTo>
                    <a:pt x="62" y="155"/>
                  </a:lnTo>
                  <a:lnTo>
                    <a:pt x="62" y="253"/>
                  </a:lnTo>
                  <a:lnTo>
                    <a:pt x="49" y="265"/>
                  </a:lnTo>
                  <a:lnTo>
                    <a:pt x="0" y="288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30" name="Freeform 999"/>
            <p:cNvSpPr>
              <a:spLocks/>
            </p:cNvSpPr>
            <p:nvPr>
              <p:custDataLst>
                <p:tags r:id="rId838"/>
              </p:custDataLst>
            </p:nvPr>
          </p:nvSpPr>
          <p:spPr bwMode="auto">
            <a:xfrm>
              <a:off x="6017045" y="4190587"/>
              <a:ext cx="463132" cy="307975"/>
            </a:xfrm>
            <a:custGeom>
              <a:avLst/>
              <a:gdLst>
                <a:gd name="T0" fmla="*/ 0 w 250"/>
                <a:gd name="T1" fmla="*/ 2147483647 h 387"/>
                <a:gd name="T2" fmla="*/ 2147483647 w 250"/>
                <a:gd name="T3" fmla="*/ 2147483647 h 387"/>
                <a:gd name="T4" fmla="*/ 2147483647 w 250"/>
                <a:gd name="T5" fmla="*/ 2147483647 h 387"/>
                <a:gd name="T6" fmla="*/ 2147483647 w 250"/>
                <a:gd name="T7" fmla="*/ 2147483647 h 387"/>
                <a:gd name="T8" fmla="*/ 2147483647 w 250"/>
                <a:gd name="T9" fmla="*/ 2147483647 h 387"/>
                <a:gd name="T10" fmla="*/ 2147483647 w 250"/>
                <a:gd name="T11" fmla="*/ 2147483647 h 387"/>
                <a:gd name="T12" fmla="*/ 2147483647 w 250"/>
                <a:gd name="T13" fmla="*/ 2147483647 h 387"/>
                <a:gd name="T14" fmla="*/ 2147483647 w 250"/>
                <a:gd name="T15" fmla="*/ 2147483647 h 387"/>
                <a:gd name="T16" fmla="*/ 2147483647 w 250"/>
                <a:gd name="T17" fmla="*/ 2147483647 h 387"/>
                <a:gd name="T18" fmla="*/ 2147483647 w 250"/>
                <a:gd name="T19" fmla="*/ 2147483647 h 387"/>
                <a:gd name="T20" fmla="*/ 2147483647 w 250"/>
                <a:gd name="T21" fmla="*/ 2147483647 h 387"/>
                <a:gd name="T22" fmla="*/ 2147483647 w 250"/>
                <a:gd name="T23" fmla="*/ 2147483647 h 387"/>
                <a:gd name="T24" fmla="*/ 2147483647 w 250"/>
                <a:gd name="T25" fmla="*/ 2147483647 h 387"/>
                <a:gd name="T26" fmla="*/ 2147483647 w 250"/>
                <a:gd name="T27" fmla="*/ 0 h 387"/>
                <a:gd name="T28" fmla="*/ 2147483647 w 250"/>
                <a:gd name="T29" fmla="*/ 2147483647 h 387"/>
                <a:gd name="T30" fmla="*/ 2147483647 w 250"/>
                <a:gd name="T31" fmla="*/ 2147483647 h 387"/>
                <a:gd name="T32" fmla="*/ 2147483647 w 250"/>
                <a:gd name="T33" fmla="*/ 2147483647 h 387"/>
                <a:gd name="T34" fmla="*/ 2147483647 w 250"/>
                <a:gd name="T35" fmla="*/ 2147483647 h 387"/>
                <a:gd name="T36" fmla="*/ 0 w 250"/>
                <a:gd name="T37" fmla="*/ 2147483647 h 38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50" h="387">
                  <a:moveTo>
                    <a:pt x="0" y="288"/>
                  </a:moveTo>
                  <a:lnTo>
                    <a:pt x="6" y="309"/>
                  </a:lnTo>
                  <a:lnTo>
                    <a:pt x="37" y="376"/>
                  </a:lnTo>
                  <a:lnTo>
                    <a:pt x="44" y="366"/>
                  </a:lnTo>
                  <a:lnTo>
                    <a:pt x="56" y="387"/>
                  </a:lnTo>
                  <a:lnTo>
                    <a:pt x="75" y="322"/>
                  </a:lnTo>
                  <a:lnTo>
                    <a:pt x="144" y="353"/>
                  </a:lnTo>
                  <a:lnTo>
                    <a:pt x="205" y="322"/>
                  </a:lnTo>
                  <a:lnTo>
                    <a:pt x="205" y="299"/>
                  </a:lnTo>
                  <a:lnTo>
                    <a:pt x="237" y="220"/>
                  </a:lnTo>
                  <a:lnTo>
                    <a:pt x="250" y="111"/>
                  </a:lnTo>
                  <a:lnTo>
                    <a:pt x="231" y="67"/>
                  </a:lnTo>
                  <a:lnTo>
                    <a:pt x="231" y="23"/>
                  </a:lnTo>
                  <a:lnTo>
                    <a:pt x="181" y="0"/>
                  </a:lnTo>
                  <a:lnTo>
                    <a:pt x="87" y="132"/>
                  </a:lnTo>
                  <a:lnTo>
                    <a:pt x="62" y="155"/>
                  </a:lnTo>
                  <a:lnTo>
                    <a:pt x="62" y="253"/>
                  </a:lnTo>
                  <a:lnTo>
                    <a:pt x="49" y="265"/>
                  </a:lnTo>
                  <a:lnTo>
                    <a:pt x="0" y="288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31" name="Freeform 1001"/>
            <p:cNvSpPr>
              <a:spLocks/>
            </p:cNvSpPr>
            <p:nvPr>
              <p:custDataLst>
                <p:tags r:id="rId839"/>
              </p:custDataLst>
            </p:nvPr>
          </p:nvSpPr>
          <p:spPr bwMode="auto">
            <a:xfrm>
              <a:off x="6099256" y="4446158"/>
              <a:ext cx="336823" cy="247650"/>
            </a:xfrm>
            <a:custGeom>
              <a:avLst/>
              <a:gdLst>
                <a:gd name="T0" fmla="*/ 0 w 182"/>
                <a:gd name="T1" fmla="*/ 2147483647 h 311"/>
                <a:gd name="T2" fmla="*/ 2147483647 w 182"/>
                <a:gd name="T3" fmla="*/ 2147483647 h 311"/>
                <a:gd name="T4" fmla="*/ 2147483647 w 182"/>
                <a:gd name="T5" fmla="*/ 0 h 311"/>
                <a:gd name="T6" fmla="*/ 2147483647 w 182"/>
                <a:gd name="T7" fmla="*/ 2147483647 h 311"/>
                <a:gd name="T8" fmla="*/ 2147483647 w 182"/>
                <a:gd name="T9" fmla="*/ 0 h 311"/>
                <a:gd name="T10" fmla="*/ 2147483647 w 182"/>
                <a:gd name="T11" fmla="*/ 2147483647 h 311"/>
                <a:gd name="T12" fmla="*/ 2147483647 w 182"/>
                <a:gd name="T13" fmla="*/ 2147483647 h 311"/>
                <a:gd name="T14" fmla="*/ 2147483647 w 182"/>
                <a:gd name="T15" fmla="*/ 2147483647 h 311"/>
                <a:gd name="T16" fmla="*/ 2147483647 w 182"/>
                <a:gd name="T17" fmla="*/ 2147483647 h 311"/>
                <a:gd name="T18" fmla="*/ 2147483647 w 182"/>
                <a:gd name="T19" fmla="*/ 2147483647 h 311"/>
                <a:gd name="T20" fmla="*/ 2147483647 w 182"/>
                <a:gd name="T21" fmla="*/ 2147483647 h 311"/>
                <a:gd name="T22" fmla="*/ 2147483647 w 182"/>
                <a:gd name="T23" fmla="*/ 2147483647 h 311"/>
                <a:gd name="T24" fmla="*/ 2147483647 w 182"/>
                <a:gd name="T25" fmla="*/ 2147483647 h 311"/>
                <a:gd name="T26" fmla="*/ 0 w 182"/>
                <a:gd name="T27" fmla="*/ 2147483647 h 3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82" h="311">
                  <a:moveTo>
                    <a:pt x="0" y="244"/>
                  </a:moveTo>
                  <a:lnTo>
                    <a:pt x="12" y="65"/>
                  </a:lnTo>
                  <a:lnTo>
                    <a:pt x="31" y="0"/>
                  </a:lnTo>
                  <a:lnTo>
                    <a:pt x="100" y="33"/>
                  </a:lnTo>
                  <a:lnTo>
                    <a:pt x="163" y="0"/>
                  </a:lnTo>
                  <a:lnTo>
                    <a:pt x="175" y="44"/>
                  </a:lnTo>
                  <a:lnTo>
                    <a:pt x="182" y="65"/>
                  </a:lnTo>
                  <a:lnTo>
                    <a:pt x="163" y="89"/>
                  </a:lnTo>
                  <a:lnTo>
                    <a:pt x="131" y="233"/>
                  </a:lnTo>
                  <a:lnTo>
                    <a:pt x="100" y="223"/>
                  </a:lnTo>
                  <a:lnTo>
                    <a:pt x="87" y="288"/>
                  </a:lnTo>
                  <a:lnTo>
                    <a:pt x="50" y="311"/>
                  </a:lnTo>
                  <a:lnTo>
                    <a:pt x="31" y="244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3032" name="Group 1002"/>
            <p:cNvGrpSpPr>
              <a:grpSpLocks/>
            </p:cNvGrpSpPr>
            <p:nvPr>
              <p:custDataLst>
                <p:tags r:id="rId840"/>
              </p:custDataLst>
            </p:nvPr>
          </p:nvGrpSpPr>
          <p:grpSpPr bwMode="auto">
            <a:xfrm>
              <a:off x="6099256" y="4446158"/>
              <a:ext cx="336823" cy="247650"/>
              <a:chOff x="2989" y="2431"/>
              <a:chExt cx="182" cy="156"/>
            </a:xfrm>
            <a:solidFill>
              <a:srgbClr val="CCFFCC"/>
            </a:solidFill>
          </p:grpSpPr>
          <p:sp>
            <p:nvSpPr>
              <p:cNvPr id="3191" name="Freeform 1003"/>
              <p:cNvSpPr>
                <a:spLocks/>
              </p:cNvSpPr>
              <p:nvPr/>
            </p:nvSpPr>
            <p:spPr bwMode="auto">
              <a:xfrm>
                <a:off x="2989" y="2431"/>
                <a:ext cx="182" cy="156"/>
              </a:xfrm>
              <a:custGeom>
                <a:avLst/>
                <a:gdLst>
                  <a:gd name="T0" fmla="*/ 0 w 182"/>
                  <a:gd name="T1" fmla="*/ 1 h 311"/>
                  <a:gd name="T2" fmla="*/ 12 w 182"/>
                  <a:gd name="T3" fmla="*/ 1 h 311"/>
                  <a:gd name="T4" fmla="*/ 31 w 182"/>
                  <a:gd name="T5" fmla="*/ 0 h 311"/>
                  <a:gd name="T6" fmla="*/ 100 w 182"/>
                  <a:gd name="T7" fmla="*/ 1 h 311"/>
                  <a:gd name="T8" fmla="*/ 163 w 182"/>
                  <a:gd name="T9" fmla="*/ 0 h 311"/>
                  <a:gd name="T10" fmla="*/ 175 w 182"/>
                  <a:gd name="T11" fmla="*/ 1 h 311"/>
                  <a:gd name="T12" fmla="*/ 182 w 182"/>
                  <a:gd name="T13" fmla="*/ 1 h 311"/>
                  <a:gd name="T14" fmla="*/ 163 w 182"/>
                  <a:gd name="T15" fmla="*/ 1 h 311"/>
                  <a:gd name="T16" fmla="*/ 131 w 182"/>
                  <a:gd name="T17" fmla="*/ 1 h 311"/>
                  <a:gd name="T18" fmla="*/ 100 w 182"/>
                  <a:gd name="T19" fmla="*/ 1 h 311"/>
                  <a:gd name="T20" fmla="*/ 87 w 182"/>
                  <a:gd name="T21" fmla="*/ 1 h 311"/>
                  <a:gd name="T22" fmla="*/ 50 w 182"/>
                  <a:gd name="T23" fmla="*/ 1 h 311"/>
                  <a:gd name="T24" fmla="*/ 31 w 182"/>
                  <a:gd name="T25" fmla="*/ 1 h 311"/>
                  <a:gd name="T26" fmla="*/ 0 w 182"/>
                  <a:gd name="T27" fmla="*/ 1 h 3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82" h="311">
                    <a:moveTo>
                      <a:pt x="0" y="244"/>
                    </a:moveTo>
                    <a:lnTo>
                      <a:pt x="12" y="65"/>
                    </a:lnTo>
                    <a:lnTo>
                      <a:pt x="31" y="0"/>
                    </a:lnTo>
                    <a:lnTo>
                      <a:pt x="100" y="33"/>
                    </a:lnTo>
                    <a:lnTo>
                      <a:pt x="163" y="0"/>
                    </a:lnTo>
                    <a:lnTo>
                      <a:pt x="175" y="44"/>
                    </a:lnTo>
                    <a:lnTo>
                      <a:pt x="182" y="65"/>
                    </a:lnTo>
                    <a:lnTo>
                      <a:pt x="163" y="89"/>
                    </a:lnTo>
                    <a:lnTo>
                      <a:pt x="131" y="233"/>
                    </a:lnTo>
                    <a:lnTo>
                      <a:pt x="100" y="223"/>
                    </a:lnTo>
                    <a:lnTo>
                      <a:pt x="87" y="288"/>
                    </a:lnTo>
                    <a:lnTo>
                      <a:pt x="50" y="311"/>
                    </a:lnTo>
                    <a:lnTo>
                      <a:pt x="31" y="244"/>
                    </a:lnTo>
                    <a:lnTo>
                      <a:pt x="0" y="24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192" name="Freeform 1004"/>
              <p:cNvSpPr>
                <a:spLocks/>
              </p:cNvSpPr>
              <p:nvPr/>
            </p:nvSpPr>
            <p:spPr bwMode="auto">
              <a:xfrm>
                <a:off x="2989" y="2431"/>
                <a:ext cx="182" cy="156"/>
              </a:xfrm>
              <a:custGeom>
                <a:avLst/>
                <a:gdLst>
                  <a:gd name="T0" fmla="*/ 0 w 182"/>
                  <a:gd name="T1" fmla="*/ 1 h 311"/>
                  <a:gd name="T2" fmla="*/ 12 w 182"/>
                  <a:gd name="T3" fmla="*/ 1 h 311"/>
                  <a:gd name="T4" fmla="*/ 31 w 182"/>
                  <a:gd name="T5" fmla="*/ 0 h 311"/>
                  <a:gd name="T6" fmla="*/ 100 w 182"/>
                  <a:gd name="T7" fmla="*/ 1 h 311"/>
                  <a:gd name="T8" fmla="*/ 163 w 182"/>
                  <a:gd name="T9" fmla="*/ 0 h 311"/>
                  <a:gd name="T10" fmla="*/ 175 w 182"/>
                  <a:gd name="T11" fmla="*/ 1 h 311"/>
                  <a:gd name="T12" fmla="*/ 182 w 182"/>
                  <a:gd name="T13" fmla="*/ 1 h 311"/>
                  <a:gd name="T14" fmla="*/ 163 w 182"/>
                  <a:gd name="T15" fmla="*/ 1 h 311"/>
                  <a:gd name="T16" fmla="*/ 131 w 182"/>
                  <a:gd name="T17" fmla="*/ 1 h 311"/>
                  <a:gd name="T18" fmla="*/ 100 w 182"/>
                  <a:gd name="T19" fmla="*/ 1 h 311"/>
                  <a:gd name="T20" fmla="*/ 87 w 182"/>
                  <a:gd name="T21" fmla="*/ 1 h 311"/>
                  <a:gd name="T22" fmla="*/ 50 w 182"/>
                  <a:gd name="T23" fmla="*/ 1 h 311"/>
                  <a:gd name="T24" fmla="*/ 31 w 182"/>
                  <a:gd name="T25" fmla="*/ 1 h 311"/>
                  <a:gd name="T26" fmla="*/ 0 w 182"/>
                  <a:gd name="T27" fmla="*/ 1 h 3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82" h="311">
                    <a:moveTo>
                      <a:pt x="0" y="244"/>
                    </a:moveTo>
                    <a:lnTo>
                      <a:pt x="12" y="65"/>
                    </a:lnTo>
                    <a:lnTo>
                      <a:pt x="31" y="0"/>
                    </a:lnTo>
                    <a:lnTo>
                      <a:pt x="100" y="33"/>
                    </a:lnTo>
                    <a:lnTo>
                      <a:pt x="163" y="0"/>
                    </a:lnTo>
                    <a:lnTo>
                      <a:pt x="175" y="44"/>
                    </a:lnTo>
                    <a:lnTo>
                      <a:pt x="182" y="65"/>
                    </a:lnTo>
                    <a:lnTo>
                      <a:pt x="163" y="89"/>
                    </a:lnTo>
                    <a:lnTo>
                      <a:pt x="131" y="233"/>
                    </a:lnTo>
                    <a:lnTo>
                      <a:pt x="100" y="223"/>
                    </a:lnTo>
                    <a:lnTo>
                      <a:pt x="87" y="288"/>
                    </a:lnTo>
                    <a:lnTo>
                      <a:pt x="50" y="311"/>
                    </a:lnTo>
                    <a:lnTo>
                      <a:pt x="31" y="244"/>
                    </a:lnTo>
                    <a:lnTo>
                      <a:pt x="0" y="24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3033" name="Freeform 1005"/>
            <p:cNvSpPr>
              <a:spLocks/>
            </p:cNvSpPr>
            <p:nvPr>
              <p:custDataLst>
                <p:tags r:id="rId841"/>
              </p:custDataLst>
            </p:nvPr>
          </p:nvSpPr>
          <p:spPr bwMode="auto">
            <a:xfrm>
              <a:off x="6099256" y="4446158"/>
              <a:ext cx="336823" cy="247650"/>
            </a:xfrm>
            <a:custGeom>
              <a:avLst/>
              <a:gdLst>
                <a:gd name="T0" fmla="*/ 0 w 182"/>
                <a:gd name="T1" fmla="*/ 2147483647 h 311"/>
                <a:gd name="T2" fmla="*/ 2147483647 w 182"/>
                <a:gd name="T3" fmla="*/ 2147483647 h 311"/>
                <a:gd name="T4" fmla="*/ 2147483647 w 182"/>
                <a:gd name="T5" fmla="*/ 0 h 311"/>
                <a:gd name="T6" fmla="*/ 2147483647 w 182"/>
                <a:gd name="T7" fmla="*/ 2147483647 h 311"/>
                <a:gd name="T8" fmla="*/ 2147483647 w 182"/>
                <a:gd name="T9" fmla="*/ 0 h 311"/>
                <a:gd name="T10" fmla="*/ 2147483647 w 182"/>
                <a:gd name="T11" fmla="*/ 2147483647 h 311"/>
                <a:gd name="T12" fmla="*/ 2147483647 w 182"/>
                <a:gd name="T13" fmla="*/ 2147483647 h 311"/>
                <a:gd name="T14" fmla="*/ 2147483647 w 182"/>
                <a:gd name="T15" fmla="*/ 2147483647 h 311"/>
                <a:gd name="T16" fmla="*/ 2147483647 w 182"/>
                <a:gd name="T17" fmla="*/ 2147483647 h 311"/>
                <a:gd name="T18" fmla="*/ 2147483647 w 182"/>
                <a:gd name="T19" fmla="*/ 2147483647 h 311"/>
                <a:gd name="T20" fmla="*/ 2147483647 w 182"/>
                <a:gd name="T21" fmla="*/ 2147483647 h 311"/>
                <a:gd name="T22" fmla="*/ 2147483647 w 182"/>
                <a:gd name="T23" fmla="*/ 2147483647 h 311"/>
                <a:gd name="T24" fmla="*/ 2147483647 w 182"/>
                <a:gd name="T25" fmla="*/ 2147483647 h 311"/>
                <a:gd name="T26" fmla="*/ 0 w 182"/>
                <a:gd name="T27" fmla="*/ 2147483647 h 3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82" h="311">
                  <a:moveTo>
                    <a:pt x="0" y="244"/>
                  </a:moveTo>
                  <a:lnTo>
                    <a:pt x="12" y="65"/>
                  </a:lnTo>
                  <a:lnTo>
                    <a:pt x="31" y="0"/>
                  </a:lnTo>
                  <a:lnTo>
                    <a:pt x="100" y="33"/>
                  </a:lnTo>
                  <a:lnTo>
                    <a:pt x="163" y="0"/>
                  </a:lnTo>
                  <a:lnTo>
                    <a:pt x="175" y="44"/>
                  </a:lnTo>
                  <a:lnTo>
                    <a:pt x="182" y="65"/>
                  </a:lnTo>
                  <a:lnTo>
                    <a:pt x="163" y="89"/>
                  </a:lnTo>
                  <a:lnTo>
                    <a:pt x="131" y="233"/>
                  </a:lnTo>
                  <a:lnTo>
                    <a:pt x="100" y="223"/>
                  </a:lnTo>
                  <a:lnTo>
                    <a:pt x="87" y="288"/>
                  </a:lnTo>
                  <a:lnTo>
                    <a:pt x="50" y="311"/>
                  </a:lnTo>
                  <a:lnTo>
                    <a:pt x="31" y="244"/>
                  </a:lnTo>
                  <a:lnTo>
                    <a:pt x="0" y="244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34" name="Freeform 1009"/>
            <p:cNvSpPr>
              <a:spLocks/>
            </p:cNvSpPr>
            <p:nvPr>
              <p:custDataLst>
                <p:tags r:id="rId842"/>
              </p:custDataLst>
            </p:nvPr>
          </p:nvSpPr>
          <p:spPr bwMode="auto">
            <a:xfrm>
              <a:off x="5529868" y="4471558"/>
              <a:ext cx="92225" cy="44450"/>
            </a:xfrm>
            <a:custGeom>
              <a:avLst/>
              <a:gdLst>
                <a:gd name="T0" fmla="*/ 0 w 50"/>
                <a:gd name="T1" fmla="*/ 2147483647 h 56"/>
                <a:gd name="T2" fmla="*/ 2147483647 w 50"/>
                <a:gd name="T3" fmla="*/ 2147483647 h 56"/>
                <a:gd name="T4" fmla="*/ 2147483647 w 50"/>
                <a:gd name="T5" fmla="*/ 2147483647 h 56"/>
                <a:gd name="T6" fmla="*/ 2147483647 w 50"/>
                <a:gd name="T7" fmla="*/ 2147483647 h 56"/>
                <a:gd name="T8" fmla="*/ 2147483647 w 50"/>
                <a:gd name="T9" fmla="*/ 2147483647 h 56"/>
                <a:gd name="T10" fmla="*/ 2147483647 w 50"/>
                <a:gd name="T11" fmla="*/ 2147483647 h 56"/>
                <a:gd name="T12" fmla="*/ 2147483647 w 50"/>
                <a:gd name="T13" fmla="*/ 0 h 56"/>
                <a:gd name="T14" fmla="*/ 0 w 50"/>
                <a:gd name="T15" fmla="*/ 2147483647 h 5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0" h="56">
                  <a:moveTo>
                    <a:pt x="0" y="11"/>
                  </a:moveTo>
                  <a:lnTo>
                    <a:pt x="13" y="32"/>
                  </a:lnTo>
                  <a:lnTo>
                    <a:pt x="31" y="32"/>
                  </a:lnTo>
                  <a:lnTo>
                    <a:pt x="19" y="32"/>
                  </a:lnTo>
                  <a:lnTo>
                    <a:pt x="31" y="56"/>
                  </a:lnTo>
                  <a:lnTo>
                    <a:pt x="50" y="32"/>
                  </a:lnTo>
                  <a:lnTo>
                    <a:pt x="50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35" name="Freeform 1010"/>
            <p:cNvSpPr>
              <a:spLocks/>
            </p:cNvSpPr>
            <p:nvPr>
              <p:custDataLst>
                <p:tags r:id="rId843"/>
              </p:custDataLst>
            </p:nvPr>
          </p:nvSpPr>
          <p:spPr bwMode="auto">
            <a:xfrm>
              <a:off x="5529868" y="4471558"/>
              <a:ext cx="92225" cy="44450"/>
            </a:xfrm>
            <a:custGeom>
              <a:avLst/>
              <a:gdLst>
                <a:gd name="T0" fmla="*/ 0 w 50"/>
                <a:gd name="T1" fmla="*/ 2147483647 h 56"/>
                <a:gd name="T2" fmla="*/ 2147483647 w 50"/>
                <a:gd name="T3" fmla="*/ 2147483647 h 56"/>
                <a:gd name="T4" fmla="*/ 2147483647 w 50"/>
                <a:gd name="T5" fmla="*/ 2147483647 h 56"/>
                <a:gd name="T6" fmla="*/ 2147483647 w 50"/>
                <a:gd name="T7" fmla="*/ 2147483647 h 56"/>
                <a:gd name="T8" fmla="*/ 2147483647 w 50"/>
                <a:gd name="T9" fmla="*/ 2147483647 h 56"/>
                <a:gd name="T10" fmla="*/ 2147483647 w 50"/>
                <a:gd name="T11" fmla="*/ 2147483647 h 56"/>
                <a:gd name="T12" fmla="*/ 2147483647 w 50"/>
                <a:gd name="T13" fmla="*/ 0 h 56"/>
                <a:gd name="T14" fmla="*/ 0 w 50"/>
                <a:gd name="T15" fmla="*/ 2147483647 h 5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0" h="56">
                  <a:moveTo>
                    <a:pt x="0" y="11"/>
                  </a:moveTo>
                  <a:lnTo>
                    <a:pt x="13" y="32"/>
                  </a:lnTo>
                  <a:lnTo>
                    <a:pt x="31" y="32"/>
                  </a:lnTo>
                  <a:lnTo>
                    <a:pt x="19" y="32"/>
                  </a:lnTo>
                  <a:lnTo>
                    <a:pt x="31" y="56"/>
                  </a:lnTo>
                  <a:lnTo>
                    <a:pt x="50" y="32"/>
                  </a:lnTo>
                  <a:lnTo>
                    <a:pt x="50" y="0"/>
                  </a:lnTo>
                  <a:lnTo>
                    <a:pt x="0" y="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36" name="Freeform 1011"/>
            <p:cNvSpPr>
              <a:spLocks/>
            </p:cNvSpPr>
            <p:nvPr>
              <p:custDataLst>
                <p:tags r:id="rId844"/>
              </p:custDataLst>
            </p:nvPr>
          </p:nvSpPr>
          <p:spPr bwMode="auto">
            <a:xfrm>
              <a:off x="5529868" y="4471558"/>
              <a:ext cx="92225" cy="44450"/>
            </a:xfrm>
            <a:custGeom>
              <a:avLst/>
              <a:gdLst>
                <a:gd name="T0" fmla="*/ 0 w 50"/>
                <a:gd name="T1" fmla="*/ 2147483647 h 56"/>
                <a:gd name="T2" fmla="*/ 2147483647 w 50"/>
                <a:gd name="T3" fmla="*/ 2147483647 h 56"/>
                <a:gd name="T4" fmla="*/ 2147483647 w 50"/>
                <a:gd name="T5" fmla="*/ 2147483647 h 56"/>
                <a:gd name="T6" fmla="*/ 2147483647 w 50"/>
                <a:gd name="T7" fmla="*/ 2147483647 h 56"/>
                <a:gd name="T8" fmla="*/ 2147483647 w 50"/>
                <a:gd name="T9" fmla="*/ 2147483647 h 56"/>
                <a:gd name="T10" fmla="*/ 2147483647 w 50"/>
                <a:gd name="T11" fmla="*/ 2147483647 h 56"/>
                <a:gd name="T12" fmla="*/ 2147483647 w 50"/>
                <a:gd name="T13" fmla="*/ 0 h 56"/>
                <a:gd name="T14" fmla="*/ 0 w 50"/>
                <a:gd name="T15" fmla="*/ 2147483647 h 5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0" h="56">
                  <a:moveTo>
                    <a:pt x="0" y="11"/>
                  </a:moveTo>
                  <a:lnTo>
                    <a:pt x="13" y="32"/>
                  </a:lnTo>
                  <a:lnTo>
                    <a:pt x="31" y="32"/>
                  </a:lnTo>
                  <a:lnTo>
                    <a:pt x="19" y="32"/>
                  </a:lnTo>
                  <a:lnTo>
                    <a:pt x="31" y="56"/>
                  </a:lnTo>
                  <a:lnTo>
                    <a:pt x="50" y="32"/>
                  </a:lnTo>
                  <a:lnTo>
                    <a:pt x="50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37" name="Freeform 1012"/>
            <p:cNvSpPr>
              <a:spLocks/>
            </p:cNvSpPr>
            <p:nvPr>
              <p:custDataLst>
                <p:tags r:id="rId845"/>
              </p:custDataLst>
            </p:nvPr>
          </p:nvSpPr>
          <p:spPr bwMode="auto">
            <a:xfrm>
              <a:off x="5529868" y="4471558"/>
              <a:ext cx="92225" cy="44450"/>
            </a:xfrm>
            <a:custGeom>
              <a:avLst/>
              <a:gdLst>
                <a:gd name="T0" fmla="*/ 0 w 50"/>
                <a:gd name="T1" fmla="*/ 2147483647 h 56"/>
                <a:gd name="T2" fmla="*/ 2147483647 w 50"/>
                <a:gd name="T3" fmla="*/ 2147483647 h 56"/>
                <a:gd name="T4" fmla="*/ 2147483647 w 50"/>
                <a:gd name="T5" fmla="*/ 2147483647 h 56"/>
                <a:gd name="T6" fmla="*/ 2147483647 w 50"/>
                <a:gd name="T7" fmla="*/ 2147483647 h 56"/>
                <a:gd name="T8" fmla="*/ 2147483647 w 50"/>
                <a:gd name="T9" fmla="*/ 2147483647 h 56"/>
                <a:gd name="T10" fmla="*/ 2147483647 w 50"/>
                <a:gd name="T11" fmla="*/ 2147483647 h 56"/>
                <a:gd name="T12" fmla="*/ 2147483647 w 50"/>
                <a:gd name="T13" fmla="*/ 0 h 56"/>
                <a:gd name="T14" fmla="*/ 0 w 50"/>
                <a:gd name="T15" fmla="*/ 2147483647 h 5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0" h="56">
                  <a:moveTo>
                    <a:pt x="0" y="11"/>
                  </a:moveTo>
                  <a:lnTo>
                    <a:pt x="13" y="32"/>
                  </a:lnTo>
                  <a:lnTo>
                    <a:pt x="31" y="32"/>
                  </a:lnTo>
                  <a:lnTo>
                    <a:pt x="19" y="32"/>
                  </a:lnTo>
                  <a:lnTo>
                    <a:pt x="31" y="56"/>
                  </a:lnTo>
                  <a:lnTo>
                    <a:pt x="50" y="32"/>
                  </a:lnTo>
                  <a:lnTo>
                    <a:pt x="50" y="0"/>
                  </a:lnTo>
                  <a:lnTo>
                    <a:pt x="0" y="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38" name="Freeform 1013"/>
            <p:cNvSpPr>
              <a:spLocks/>
            </p:cNvSpPr>
            <p:nvPr>
              <p:custDataLst>
                <p:tags r:id="rId846"/>
              </p:custDataLst>
            </p:nvPr>
          </p:nvSpPr>
          <p:spPr bwMode="auto">
            <a:xfrm>
              <a:off x="7476614" y="4119133"/>
              <a:ext cx="34084" cy="42862"/>
            </a:xfrm>
            <a:custGeom>
              <a:avLst/>
              <a:gdLst>
                <a:gd name="T0" fmla="*/ 0 w 19"/>
                <a:gd name="T1" fmla="*/ 2147483647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2147483647 w 19"/>
                <a:gd name="T7" fmla="*/ 0 h 56"/>
                <a:gd name="T8" fmla="*/ 0 w 19"/>
                <a:gd name="T9" fmla="*/ 2147483647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6">
                  <a:moveTo>
                    <a:pt x="0" y="44"/>
                  </a:moveTo>
                  <a:lnTo>
                    <a:pt x="5" y="56"/>
                  </a:lnTo>
                  <a:lnTo>
                    <a:pt x="19" y="56"/>
                  </a:lnTo>
                  <a:lnTo>
                    <a:pt x="5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39" name="Freeform 1014"/>
            <p:cNvSpPr>
              <a:spLocks/>
            </p:cNvSpPr>
            <p:nvPr>
              <p:custDataLst>
                <p:tags r:id="rId847"/>
              </p:custDataLst>
            </p:nvPr>
          </p:nvSpPr>
          <p:spPr bwMode="auto">
            <a:xfrm>
              <a:off x="7476614" y="4119133"/>
              <a:ext cx="34084" cy="42862"/>
            </a:xfrm>
            <a:custGeom>
              <a:avLst/>
              <a:gdLst>
                <a:gd name="T0" fmla="*/ 0 w 19"/>
                <a:gd name="T1" fmla="*/ 2147483647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2147483647 w 19"/>
                <a:gd name="T7" fmla="*/ 0 h 56"/>
                <a:gd name="T8" fmla="*/ 0 w 19"/>
                <a:gd name="T9" fmla="*/ 2147483647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6">
                  <a:moveTo>
                    <a:pt x="0" y="44"/>
                  </a:moveTo>
                  <a:lnTo>
                    <a:pt x="5" y="56"/>
                  </a:lnTo>
                  <a:lnTo>
                    <a:pt x="19" y="56"/>
                  </a:lnTo>
                  <a:lnTo>
                    <a:pt x="5" y="0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40" name="Freeform 1015"/>
            <p:cNvSpPr>
              <a:spLocks/>
            </p:cNvSpPr>
            <p:nvPr>
              <p:custDataLst>
                <p:tags r:id="rId848"/>
              </p:custDataLst>
            </p:nvPr>
          </p:nvSpPr>
          <p:spPr bwMode="auto">
            <a:xfrm>
              <a:off x="7476614" y="4119133"/>
              <a:ext cx="34084" cy="42862"/>
            </a:xfrm>
            <a:custGeom>
              <a:avLst/>
              <a:gdLst>
                <a:gd name="T0" fmla="*/ 0 w 19"/>
                <a:gd name="T1" fmla="*/ 2147483647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2147483647 w 19"/>
                <a:gd name="T7" fmla="*/ 0 h 56"/>
                <a:gd name="T8" fmla="*/ 0 w 19"/>
                <a:gd name="T9" fmla="*/ 2147483647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6">
                  <a:moveTo>
                    <a:pt x="0" y="44"/>
                  </a:moveTo>
                  <a:lnTo>
                    <a:pt x="5" y="56"/>
                  </a:lnTo>
                  <a:lnTo>
                    <a:pt x="19" y="56"/>
                  </a:lnTo>
                  <a:lnTo>
                    <a:pt x="5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41" name="Freeform 1016"/>
            <p:cNvSpPr>
              <a:spLocks/>
            </p:cNvSpPr>
            <p:nvPr>
              <p:custDataLst>
                <p:tags r:id="rId849"/>
              </p:custDataLst>
            </p:nvPr>
          </p:nvSpPr>
          <p:spPr bwMode="auto">
            <a:xfrm>
              <a:off x="7476614" y="4119133"/>
              <a:ext cx="34084" cy="42862"/>
            </a:xfrm>
            <a:custGeom>
              <a:avLst/>
              <a:gdLst>
                <a:gd name="T0" fmla="*/ 0 w 19"/>
                <a:gd name="T1" fmla="*/ 2147483647 h 56"/>
                <a:gd name="T2" fmla="*/ 2147483647 w 19"/>
                <a:gd name="T3" fmla="*/ 2147483647 h 56"/>
                <a:gd name="T4" fmla="*/ 2147483647 w 19"/>
                <a:gd name="T5" fmla="*/ 2147483647 h 56"/>
                <a:gd name="T6" fmla="*/ 2147483647 w 19"/>
                <a:gd name="T7" fmla="*/ 0 h 56"/>
                <a:gd name="T8" fmla="*/ 0 w 19"/>
                <a:gd name="T9" fmla="*/ 2147483647 h 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6">
                  <a:moveTo>
                    <a:pt x="0" y="44"/>
                  </a:moveTo>
                  <a:lnTo>
                    <a:pt x="5" y="56"/>
                  </a:lnTo>
                  <a:lnTo>
                    <a:pt x="19" y="56"/>
                  </a:lnTo>
                  <a:lnTo>
                    <a:pt x="5" y="0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42" name="Freeform 1017"/>
            <p:cNvSpPr>
              <a:spLocks/>
            </p:cNvSpPr>
            <p:nvPr>
              <p:custDataLst>
                <p:tags r:id="rId850"/>
              </p:custDataLst>
            </p:nvPr>
          </p:nvSpPr>
          <p:spPr bwMode="auto">
            <a:xfrm>
              <a:off x="6851081" y="4825606"/>
              <a:ext cx="46113" cy="34925"/>
            </a:xfrm>
            <a:custGeom>
              <a:avLst/>
              <a:gdLst>
                <a:gd name="T0" fmla="*/ 0 w 25"/>
                <a:gd name="T1" fmla="*/ 2147483647 h 45"/>
                <a:gd name="T2" fmla="*/ 2147483647 w 25"/>
                <a:gd name="T3" fmla="*/ 2147483647 h 45"/>
                <a:gd name="T4" fmla="*/ 2147483647 w 25"/>
                <a:gd name="T5" fmla="*/ 0 h 45"/>
                <a:gd name="T6" fmla="*/ 2147483647 w 25"/>
                <a:gd name="T7" fmla="*/ 2147483647 h 45"/>
                <a:gd name="T8" fmla="*/ 0 w 25"/>
                <a:gd name="T9" fmla="*/ 2147483647 h 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45">
                  <a:moveTo>
                    <a:pt x="0" y="45"/>
                  </a:moveTo>
                  <a:lnTo>
                    <a:pt x="13" y="12"/>
                  </a:lnTo>
                  <a:lnTo>
                    <a:pt x="25" y="0"/>
                  </a:lnTo>
                  <a:lnTo>
                    <a:pt x="25" y="3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43" name="Freeform 1018"/>
            <p:cNvSpPr>
              <a:spLocks/>
            </p:cNvSpPr>
            <p:nvPr>
              <p:custDataLst>
                <p:tags r:id="rId851"/>
              </p:custDataLst>
            </p:nvPr>
          </p:nvSpPr>
          <p:spPr bwMode="auto">
            <a:xfrm>
              <a:off x="6851081" y="4825606"/>
              <a:ext cx="46113" cy="34925"/>
            </a:xfrm>
            <a:custGeom>
              <a:avLst/>
              <a:gdLst>
                <a:gd name="T0" fmla="*/ 0 w 25"/>
                <a:gd name="T1" fmla="*/ 2147483647 h 45"/>
                <a:gd name="T2" fmla="*/ 2147483647 w 25"/>
                <a:gd name="T3" fmla="*/ 2147483647 h 45"/>
                <a:gd name="T4" fmla="*/ 2147483647 w 25"/>
                <a:gd name="T5" fmla="*/ 0 h 45"/>
                <a:gd name="T6" fmla="*/ 2147483647 w 25"/>
                <a:gd name="T7" fmla="*/ 2147483647 h 45"/>
                <a:gd name="T8" fmla="*/ 0 w 25"/>
                <a:gd name="T9" fmla="*/ 2147483647 h 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45">
                  <a:moveTo>
                    <a:pt x="0" y="45"/>
                  </a:moveTo>
                  <a:lnTo>
                    <a:pt x="13" y="12"/>
                  </a:lnTo>
                  <a:lnTo>
                    <a:pt x="25" y="0"/>
                  </a:lnTo>
                  <a:lnTo>
                    <a:pt x="25" y="35"/>
                  </a:lnTo>
                  <a:lnTo>
                    <a:pt x="0" y="4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44" name="Freeform 1019"/>
            <p:cNvSpPr>
              <a:spLocks/>
            </p:cNvSpPr>
            <p:nvPr>
              <p:custDataLst>
                <p:tags r:id="rId852"/>
              </p:custDataLst>
            </p:nvPr>
          </p:nvSpPr>
          <p:spPr bwMode="auto">
            <a:xfrm>
              <a:off x="6851081" y="4825606"/>
              <a:ext cx="46113" cy="34925"/>
            </a:xfrm>
            <a:custGeom>
              <a:avLst/>
              <a:gdLst>
                <a:gd name="T0" fmla="*/ 0 w 25"/>
                <a:gd name="T1" fmla="*/ 2147483647 h 45"/>
                <a:gd name="T2" fmla="*/ 2147483647 w 25"/>
                <a:gd name="T3" fmla="*/ 2147483647 h 45"/>
                <a:gd name="T4" fmla="*/ 2147483647 w 25"/>
                <a:gd name="T5" fmla="*/ 0 h 45"/>
                <a:gd name="T6" fmla="*/ 2147483647 w 25"/>
                <a:gd name="T7" fmla="*/ 2147483647 h 45"/>
                <a:gd name="T8" fmla="*/ 0 w 25"/>
                <a:gd name="T9" fmla="*/ 2147483647 h 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45">
                  <a:moveTo>
                    <a:pt x="0" y="45"/>
                  </a:moveTo>
                  <a:lnTo>
                    <a:pt x="13" y="12"/>
                  </a:lnTo>
                  <a:lnTo>
                    <a:pt x="25" y="0"/>
                  </a:lnTo>
                  <a:lnTo>
                    <a:pt x="25" y="35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45" name="Freeform 1020"/>
            <p:cNvSpPr>
              <a:spLocks/>
            </p:cNvSpPr>
            <p:nvPr>
              <p:custDataLst>
                <p:tags r:id="rId853"/>
              </p:custDataLst>
            </p:nvPr>
          </p:nvSpPr>
          <p:spPr bwMode="auto">
            <a:xfrm>
              <a:off x="6851081" y="4825606"/>
              <a:ext cx="46113" cy="34925"/>
            </a:xfrm>
            <a:custGeom>
              <a:avLst/>
              <a:gdLst>
                <a:gd name="T0" fmla="*/ 0 w 25"/>
                <a:gd name="T1" fmla="*/ 2147483647 h 45"/>
                <a:gd name="T2" fmla="*/ 2147483647 w 25"/>
                <a:gd name="T3" fmla="*/ 2147483647 h 45"/>
                <a:gd name="T4" fmla="*/ 2147483647 w 25"/>
                <a:gd name="T5" fmla="*/ 0 h 45"/>
                <a:gd name="T6" fmla="*/ 2147483647 w 25"/>
                <a:gd name="T7" fmla="*/ 2147483647 h 45"/>
                <a:gd name="T8" fmla="*/ 0 w 25"/>
                <a:gd name="T9" fmla="*/ 2147483647 h 4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5" h="45">
                  <a:moveTo>
                    <a:pt x="0" y="45"/>
                  </a:moveTo>
                  <a:lnTo>
                    <a:pt x="13" y="12"/>
                  </a:lnTo>
                  <a:lnTo>
                    <a:pt x="25" y="0"/>
                  </a:lnTo>
                  <a:lnTo>
                    <a:pt x="25" y="35"/>
                  </a:lnTo>
                  <a:lnTo>
                    <a:pt x="0" y="4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46" name="Freeform 1021"/>
            <p:cNvSpPr>
              <a:spLocks/>
            </p:cNvSpPr>
            <p:nvPr>
              <p:custDataLst>
                <p:tags r:id="rId854"/>
              </p:custDataLst>
            </p:nvPr>
          </p:nvSpPr>
          <p:spPr bwMode="auto">
            <a:xfrm>
              <a:off x="5509808" y="4374748"/>
              <a:ext cx="170416" cy="106363"/>
            </a:xfrm>
            <a:custGeom>
              <a:avLst/>
              <a:gdLst>
                <a:gd name="T0" fmla="*/ 0 w 93"/>
                <a:gd name="T1" fmla="*/ 2147483647 h 134"/>
                <a:gd name="T2" fmla="*/ 2147483647 w 93"/>
                <a:gd name="T3" fmla="*/ 2147483647 h 134"/>
                <a:gd name="T4" fmla="*/ 2147483647 w 93"/>
                <a:gd name="T5" fmla="*/ 2147483647 h 134"/>
                <a:gd name="T6" fmla="*/ 2147483647 w 93"/>
                <a:gd name="T7" fmla="*/ 2147483647 h 134"/>
                <a:gd name="T8" fmla="*/ 2147483647 w 93"/>
                <a:gd name="T9" fmla="*/ 2147483647 h 134"/>
                <a:gd name="T10" fmla="*/ 2147483647 w 93"/>
                <a:gd name="T11" fmla="*/ 2147483647 h 134"/>
                <a:gd name="T12" fmla="*/ 2147483647 w 93"/>
                <a:gd name="T13" fmla="*/ 2147483647 h 134"/>
                <a:gd name="T14" fmla="*/ 2147483647 w 93"/>
                <a:gd name="T15" fmla="*/ 2147483647 h 134"/>
                <a:gd name="T16" fmla="*/ 2147483647 w 93"/>
                <a:gd name="T17" fmla="*/ 0 h 134"/>
                <a:gd name="T18" fmla="*/ 2147483647 w 93"/>
                <a:gd name="T19" fmla="*/ 2147483647 h 134"/>
                <a:gd name="T20" fmla="*/ 0 w 93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3" h="134">
                  <a:moveTo>
                    <a:pt x="0" y="56"/>
                  </a:moveTo>
                  <a:lnTo>
                    <a:pt x="18" y="102"/>
                  </a:lnTo>
                  <a:lnTo>
                    <a:pt x="56" y="102"/>
                  </a:lnTo>
                  <a:lnTo>
                    <a:pt x="11" y="111"/>
                  </a:lnTo>
                  <a:lnTo>
                    <a:pt x="11" y="134"/>
                  </a:lnTo>
                  <a:lnTo>
                    <a:pt x="56" y="123"/>
                  </a:lnTo>
                  <a:lnTo>
                    <a:pt x="93" y="134"/>
                  </a:lnTo>
                  <a:lnTo>
                    <a:pt x="87" y="56"/>
                  </a:lnTo>
                  <a:lnTo>
                    <a:pt x="50" y="0"/>
                  </a:lnTo>
                  <a:lnTo>
                    <a:pt x="18" y="23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47" name="Freeform 1022"/>
            <p:cNvSpPr>
              <a:spLocks/>
            </p:cNvSpPr>
            <p:nvPr>
              <p:custDataLst>
                <p:tags r:id="rId855"/>
              </p:custDataLst>
            </p:nvPr>
          </p:nvSpPr>
          <p:spPr bwMode="auto">
            <a:xfrm>
              <a:off x="5509808" y="4374748"/>
              <a:ext cx="170416" cy="106363"/>
            </a:xfrm>
            <a:custGeom>
              <a:avLst/>
              <a:gdLst>
                <a:gd name="T0" fmla="*/ 0 w 93"/>
                <a:gd name="T1" fmla="*/ 2147483647 h 134"/>
                <a:gd name="T2" fmla="*/ 2147483647 w 93"/>
                <a:gd name="T3" fmla="*/ 2147483647 h 134"/>
                <a:gd name="T4" fmla="*/ 2147483647 w 93"/>
                <a:gd name="T5" fmla="*/ 2147483647 h 134"/>
                <a:gd name="T6" fmla="*/ 2147483647 w 93"/>
                <a:gd name="T7" fmla="*/ 2147483647 h 134"/>
                <a:gd name="T8" fmla="*/ 2147483647 w 93"/>
                <a:gd name="T9" fmla="*/ 2147483647 h 134"/>
                <a:gd name="T10" fmla="*/ 2147483647 w 93"/>
                <a:gd name="T11" fmla="*/ 2147483647 h 134"/>
                <a:gd name="T12" fmla="*/ 2147483647 w 93"/>
                <a:gd name="T13" fmla="*/ 2147483647 h 134"/>
                <a:gd name="T14" fmla="*/ 2147483647 w 93"/>
                <a:gd name="T15" fmla="*/ 2147483647 h 134"/>
                <a:gd name="T16" fmla="*/ 2147483647 w 93"/>
                <a:gd name="T17" fmla="*/ 0 h 134"/>
                <a:gd name="T18" fmla="*/ 2147483647 w 93"/>
                <a:gd name="T19" fmla="*/ 2147483647 h 134"/>
                <a:gd name="T20" fmla="*/ 0 w 93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3" h="134">
                  <a:moveTo>
                    <a:pt x="0" y="56"/>
                  </a:moveTo>
                  <a:lnTo>
                    <a:pt x="18" y="102"/>
                  </a:lnTo>
                  <a:lnTo>
                    <a:pt x="56" y="102"/>
                  </a:lnTo>
                  <a:lnTo>
                    <a:pt x="11" y="111"/>
                  </a:lnTo>
                  <a:lnTo>
                    <a:pt x="11" y="134"/>
                  </a:lnTo>
                  <a:lnTo>
                    <a:pt x="56" y="123"/>
                  </a:lnTo>
                  <a:lnTo>
                    <a:pt x="93" y="134"/>
                  </a:lnTo>
                  <a:lnTo>
                    <a:pt x="87" y="56"/>
                  </a:lnTo>
                  <a:lnTo>
                    <a:pt x="50" y="0"/>
                  </a:lnTo>
                  <a:lnTo>
                    <a:pt x="18" y="23"/>
                  </a:lnTo>
                  <a:lnTo>
                    <a:pt x="0" y="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48" name="Freeform 1023"/>
            <p:cNvSpPr>
              <a:spLocks/>
            </p:cNvSpPr>
            <p:nvPr>
              <p:custDataLst>
                <p:tags r:id="rId856"/>
              </p:custDataLst>
            </p:nvPr>
          </p:nvSpPr>
          <p:spPr bwMode="auto">
            <a:xfrm>
              <a:off x="5509808" y="4374748"/>
              <a:ext cx="170416" cy="106363"/>
            </a:xfrm>
            <a:custGeom>
              <a:avLst/>
              <a:gdLst>
                <a:gd name="T0" fmla="*/ 0 w 93"/>
                <a:gd name="T1" fmla="*/ 2147483647 h 134"/>
                <a:gd name="T2" fmla="*/ 2147483647 w 93"/>
                <a:gd name="T3" fmla="*/ 2147483647 h 134"/>
                <a:gd name="T4" fmla="*/ 2147483647 w 93"/>
                <a:gd name="T5" fmla="*/ 2147483647 h 134"/>
                <a:gd name="T6" fmla="*/ 2147483647 w 93"/>
                <a:gd name="T7" fmla="*/ 2147483647 h 134"/>
                <a:gd name="T8" fmla="*/ 2147483647 w 93"/>
                <a:gd name="T9" fmla="*/ 2147483647 h 134"/>
                <a:gd name="T10" fmla="*/ 2147483647 w 93"/>
                <a:gd name="T11" fmla="*/ 2147483647 h 134"/>
                <a:gd name="T12" fmla="*/ 2147483647 w 93"/>
                <a:gd name="T13" fmla="*/ 2147483647 h 134"/>
                <a:gd name="T14" fmla="*/ 2147483647 w 93"/>
                <a:gd name="T15" fmla="*/ 2147483647 h 134"/>
                <a:gd name="T16" fmla="*/ 2147483647 w 93"/>
                <a:gd name="T17" fmla="*/ 0 h 134"/>
                <a:gd name="T18" fmla="*/ 2147483647 w 93"/>
                <a:gd name="T19" fmla="*/ 2147483647 h 134"/>
                <a:gd name="T20" fmla="*/ 0 w 93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3" h="134">
                  <a:moveTo>
                    <a:pt x="0" y="56"/>
                  </a:moveTo>
                  <a:lnTo>
                    <a:pt x="18" y="102"/>
                  </a:lnTo>
                  <a:lnTo>
                    <a:pt x="56" y="102"/>
                  </a:lnTo>
                  <a:lnTo>
                    <a:pt x="11" y="111"/>
                  </a:lnTo>
                  <a:lnTo>
                    <a:pt x="11" y="134"/>
                  </a:lnTo>
                  <a:lnTo>
                    <a:pt x="56" y="123"/>
                  </a:lnTo>
                  <a:lnTo>
                    <a:pt x="93" y="134"/>
                  </a:lnTo>
                  <a:lnTo>
                    <a:pt x="87" y="56"/>
                  </a:lnTo>
                  <a:lnTo>
                    <a:pt x="50" y="0"/>
                  </a:lnTo>
                  <a:lnTo>
                    <a:pt x="18" y="23"/>
                  </a:lnTo>
                  <a:lnTo>
                    <a:pt x="0" y="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49" name="Freeform 1024"/>
            <p:cNvSpPr>
              <a:spLocks/>
            </p:cNvSpPr>
            <p:nvPr>
              <p:custDataLst>
                <p:tags r:id="rId857"/>
              </p:custDataLst>
            </p:nvPr>
          </p:nvSpPr>
          <p:spPr bwMode="auto">
            <a:xfrm>
              <a:off x="5509808" y="4374748"/>
              <a:ext cx="170416" cy="106363"/>
            </a:xfrm>
            <a:custGeom>
              <a:avLst/>
              <a:gdLst>
                <a:gd name="T0" fmla="*/ 0 w 93"/>
                <a:gd name="T1" fmla="*/ 2147483647 h 134"/>
                <a:gd name="T2" fmla="*/ 2147483647 w 93"/>
                <a:gd name="T3" fmla="*/ 2147483647 h 134"/>
                <a:gd name="T4" fmla="*/ 2147483647 w 93"/>
                <a:gd name="T5" fmla="*/ 2147483647 h 134"/>
                <a:gd name="T6" fmla="*/ 2147483647 w 93"/>
                <a:gd name="T7" fmla="*/ 2147483647 h 134"/>
                <a:gd name="T8" fmla="*/ 2147483647 w 93"/>
                <a:gd name="T9" fmla="*/ 2147483647 h 134"/>
                <a:gd name="T10" fmla="*/ 2147483647 w 93"/>
                <a:gd name="T11" fmla="*/ 2147483647 h 134"/>
                <a:gd name="T12" fmla="*/ 2147483647 w 93"/>
                <a:gd name="T13" fmla="*/ 2147483647 h 134"/>
                <a:gd name="T14" fmla="*/ 2147483647 w 93"/>
                <a:gd name="T15" fmla="*/ 2147483647 h 134"/>
                <a:gd name="T16" fmla="*/ 2147483647 w 93"/>
                <a:gd name="T17" fmla="*/ 0 h 134"/>
                <a:gd name="T18" fmla="*/ 2147483647 w 93"/>
                <a:gd name="T19" fmla="*/ 2147483647 h 134"/>
                <a:gd name="T20" fmla="*/ 0 w 93"/>
                <a:gd name="T21" fmla="*/ 2147483647 h 1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93" h="134">
                  <a:moveTo>
                    <a:pt x="0" y="56"/>
                  </a:moveTo>
                  <a:lnTo>
                    <a:pt x="18" y="102"/>
                  </a:lnTo>
                  <a:lnTo>
                    <a:pt x="56" y="102"/>
                  </a:lnTo>
                  <a:lnTo>
                    <a:pt x="11" y="111"/>
                  </a:lnTo>
                  <a:lnTo>
                    <a:pt x="11" y="134"/>
                  </a:lnTo>
                  <a:lnTo>
                    <a:pt x="56" y="123"/>
                  </a:lnTo>
                  <a:lnTo>
                    <a:pt x="93" y="134"/>
                  </a:lnTo>
                  <a:lnTo>
                    <a:pt x="87" y="56"/>
                  </a:lnTo>
                  <a:lnTo>
                    <a:pt x="50" y="0"/>
                  </a:lnTo>
                  <a:lnTo>
                    <a:pt x="18" y="23"/>
                  </a:lnTo>
                  <a:lnTo>
                    <a:pt x="0" y="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50" name="Freeform 1025"/>
            <p:cNvSpPr>
              <a:spLocks/>
            </p:cNvSpPr>
            <p:nvPr>
              <p:custDataLst>
                <p:tags r:id="rId858"/>
              </p:custDataLst>
            </p:nvPr>
          </p:nvSpPr>
          <p:spPr bwMode="auto">
            <a:xfrm>
              <a:off x="5636112" y="4544619"/>
              <a:ext cx="80196" cy="77787"/>
            </a:xfrm>
            <a:custGeom>
              <a:avLst/>
              <a:gdLst>
                <a:gd name="T0" fmla="*/ 0 w 43"/>
                <a:gd name="T1" fmla="*/ 2147483647 h 100"/>
                <a:gd name="T2" fmla="*/ 2147483647 w 43"/>
                <a:gd name="T3" fmla="*/ 2147483647 h 100"/>
                <a:gd name="T4" fmla="*/ 2147483647 w 43"/>
                <a:gd name="T5" fmla="*/ 2147483647 h 100"/>
                <a:gd name="T6" fmla="*/ 2147483647 w 43"/>
                <a:gd name="T7" fmla="*/ 2147483647 h 100"/>
                <a:gd name="T8" fmla="*/ 2147483647 w 43"/>
                <a:gd name="T9" fmla="*/ 0 h 100"/>
                <a:gd name="T10" fmla="*/ 0 w 43"/>
                <a:gd name="T11" fmla="*/ 2147483647 h 1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3" h="100">
                  <a:moveTo>
                    <a:pt x="0" y="33"/>
                  </a:moveTo>
                  <a:lnTo>
                    <a:pt x="6" y="65"/>
                  </a:lnTo>
                  <a:lnTo>
                    <a:pt x="25" y="100"/>
                  </a:lnTo>
                  <a:lnTo>
                    <a:pt x="43" y="56"/>
                  </a:lnTo>
                  <a:lnTo>
                    <a:pt x="32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51" name="Freeform 1026"/>
            <p:cNvSpPr>
              <a:spLocks/>
            </p:cNvSpPr>
            <p:nvPr>
              <p:custDataLst>
                <p:tags r:id="rId859"/>
              </p:custDataLst>
            </p:nvPr>
          </p:nvSpPr>
          <p:spPr bwMode="auto">
            <a:xfrm>
              <a:off x="5636112" y="4544619"/>
              <a:ext cx="80196" cy="77787"/>
            </a:xfrm>
            <a:custGeom>
              <a:avLst/>
              <a:gdLst>
                <a:gd name="T0" fmla="*/ 0 w 43"/>
                <a:gd name="T1" fmla="*/ 2147483647 h 100"/>
                <a:gd name="T2" fmla="*/ 2147483647 w 43"/>
                <a:gd name="T3" fmla="*/ 2147483647 h 100"/>
                <a:gd name="T4" fmla="*/ 2147483647 w 43"/>
                <a:gd name="T5" fmla="*/ 2147483647 h 100"/>
                <a:gd name="T6" fmla="*/ 2147483647 w 43"/>
                <a:gd name="T7" fmla="*/ 2147483647 h 100"/>
                <a:gd name="T8" fmla="*/ 2147483647 w 43"/>
                <a:gd name="T9" fmla="*/ 0 h 100"/>
                <a:gd name="T10" fmla="*/ 0 w 43"/>
                <a:gd name="T11" fmla="*/ 2147483647 h 1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3" h="100">
                  <a:moveTo>
                    <a:pt x="0" y="33"/>
                  </a:moveTo>
                  <a:lnTo>
                    <a:pt x="6" y="65"/>
                  </a:lnTo>
                  <a:lnTo>
                    <a:pt x="25" y="100"/>
                  </a:lnTo>
                  <a:lnTo>
                    <a:pt x="43" y="56"/>
                  </a:lnTo>
                  <a:lnTo>
                    <a:pt x="32" y="0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52" name="Freeform 1027"/>
            <p:cNvSpPr>
              <a:spLocks/>
            </p:cNvSpPr>
            <p:nvPr>
              <p:custDataLst>
                <p:tags r:id="rId860"/>
              </p:custDataLst>
            </p:nvPr>
          </p:nvSpPr>
          <p:spPr bwMode="auto">
            <a:xfrm>
              <a:off x="5636112" y="4544619"/>
              <a:ext cx="80196" cy="77787"/>
            </a:xfrm>
            <a:custGeom>
              <a:avLst/>
              <a:gdLst>
                <a:gd name="T0" fmla="*/ 0 w 43"/>
                <a:gd name="T1" fmla="*/ 2147483647 h 100"/>
                <a:gd name="T2" fmla="*/ 2147483647 w 43"/>
                <a:gd name="T3" fmla="*/ 2147483647 h 100"/>
                <a:gd name="T4" fmla="*/ 2147483647 w 43"/>
                <a:gd name="T5" fmla="*/ 2147483647 h 100"/>
                <a:gd name="T6" fmla="*/ 2147483647 w 43"/>
                <a:gd name="T7" fmla="*/ 2147483647 h 100"/>
                <a:gd name="T8" fmla="*/ 2147483647 w 43"/>
                <a:gd name="T9" fmla="*/ 0 h 100"/>
                <a:gd name="T10" fmla="*/ 0 w 43"/>
                <a:gd name="T11" fmla="*/ 2147483647 h 1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3" h="100">
                  <a:moveTo>
                    <a:pt x="0" y="33"/>
                  </a:moveTo>
                  <a:lnTo>
                    <a:pt x="6" y="65"/>
                  </a:lnTo>
                  <a:lnTo>
                    <a:pt x="25" y="100"/>
                  </a:lnTo>
                  <a:lnTo>
                    <a:pt x="43" y="56"/>
                  </a:lnTo>
                  <a:lnTo>
                    <a:pt x="32" y="0"/>
                  </a:lnTo>
                  <a:lnTo>
                    <a:pt x="0" y="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53" name="Freeform 1028"/>
            <p:cNvSpPr>
              <a:spLocks/>
            </p:cNvSpPr>
            <p:nvPr>
              <p:custDataLst>
                <p:tags r:id="rId861"/>
              </p:custDataLst>
            </p:nvPr>
          </p:nvSpPr>
          <p:spPr bwMode="auto">
            <a:xfrm>
              <a:off x="5636112" y="4544619"/>
              <a:ext cx="80196" cy="77787"/>
            </a:xfrm>
            <a:custGeom>
              <a:avLst/>
              <a:gdLst>
                <a:gd name="T0" fmla="*/ 0 w 43"/>
                <a:gd name="T1" fmla="*/ 2147483647 h 100"/>
                <a:gd name="T2" fmla="*/ 2147483647 w 43"/>
                <a:gd name="T3" fmla="*/ 2147483647 h 100"/>
                <a:gd name="T4" fmla="*/ 2147483647 w 43"/>
                <a:gd name="T5" fmla="*/ 2147483647 h 100"/>
                <a:gd name="T6" fmla="*/ 2147483647 w 43"/>
                <a:gd name="T7" fmla="*/ 2147483647 h 100"/>
                <a:gd name="T8" fmla="*/ 2147483647 w 43"/>
                <a:gd name="T9" fmla="*/ 0 h 100"/>
                <a:gd name="T10" fmla="*/ 0 w 43"/>
                <a:gd name="T11" fmla="*/ 2147483647 h 1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3" h="100">
                  <a:moveTo>
                    <a:pt x="0" y="33"/>
                  </a:moveTo>
                  <a:lnTo>
                    <a:pt x="6" y="65"/>
                  </a:lnTo>
                  <a:lnTo>
                    <a:pt x="25" y="100"/>
                  </a:lnTo>
                  <a:lnTo>
                    <a:pt x="43" y="56"/>
                  </a:lnTo>
                  <a:lnTo>
                    <a:pt x="32" y="0"/>
                  </a:lnTo>
                  <a:lnTo>
                    <a:pt x="0" y="3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54" name="Freeform 1029"/>
            <p:cNvSpPr>
              <a:spLocks/>
            </p:cNvSpPr>
            <p:nvPr>
              <p:custDataLst>
                <p:tags r:id="rId862"/>
              </p:custDataLst>
            </p:nvPr>
          </p:nvSpPr>
          <p:spPr bwMode="auto">
            <a:xfrm>
              <a:off x="7195921" y="4489051"/>
              <a:ext cx="290711" cy="346075"/>
            </a:xfrm>
            <a:custGeom>
              <a:avLst/>
              <a:gdLst>
                <a:gd name="T0" fmla="*/ 0 w 157"/>
                <a:gd name="T1" fmla="*/ 2147483647 h 436"/>
                <a:gd name="T2" fmla="*/ 0 w 157"/>
                <a:gd name="T3" fmla="*/ 2147483647 h 436"/>
                <a:gd name="T4" fmla="*/ 2147483647 w 157"/>
                <a:gd name="T5" fmla="*/ 2147483647 h 436"/>
                <a:gd name="T6" fmla="*/ 2147483647 w 157"/>
                <a:gd name="T7" fmla="*/ 2147483647 h 436"/>
                <a:gd name="T8" fmla="*/ 2147483647 w 157"/>
                <a:gd name="T9" fmla="*/ 2147483647 h 436"/>
                <a:gd name="T10" fmla="*/ 2147483647 w 157"/>
                <a:gd name="T11" fmla="*/ 2147483647 h 436"/>
                <a:gd name="T12" fmla="*/ 2147483647 w 157"/>
                <a:gd name="T13" fmla="*/ 2147483647 h 436"/>
                <a:gd name="T14" fmla="*/ 2147483647 w 157"/>
                <a:gd name="T15" fmla="*/ 2147483647 h 436"/>
                <a:gd name="T16" fmla="*/ 2147483647 w 157"/>
                <a:gd name="T17" fmla="*/ 2147483647 h 436"/>
                <a:gd name="T18" fmla="*/ 2147483647 w 157"/>
                <a:gd name="T19" fmla="*/ 0 h 436"/>
                <a:gd name="T20" fmla="*/ 2147483647 w 157"/>
                <a:gd name="T21" fmla="*/ 2147483647 h 436"/>
                <a:gd name="T22" fmla="*/ 2147483647 w 157"/>
                <a:gd name="T23" fmla="*/ 2147483647 h 436"/>
                <a:gd name="T24" fmla="*/ 2147483647 w 157"/>
                <a:gd name="T25" fmla="*/ 2147483647 h 436"/>
                <a:gd name="T26" fmla="*/ 0 w 157"/>
                <a:gd name="T27" fmla="*/ 2147483647 h 4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7" h="436">
                  <a:moveTo>
                    <a:pt x="0" y="413"/>
                  </a:moveTo>
                  <a:lnTo>
                    <a:pt x="0" y="290"/>
                  </a:lnTo>
                  <a:lnTo>
                    <a:pt x="13" y="257"/>
                  </a:lnTo>
                  <a:lnTo>
                    <a:pt x="63" y="223"/>
                  </a:lnTo>
                  <a:lnTo>
                    <a:pt x="108" y="134"/>
                  </a:lnTo>
                  <a:lnTo>
                    <a:pt x="45" y="100"/>
                  </a:lnTo>
                  <a:lnTo>
                    <a:pt x="26" y="46"/>
                  </a:lnTo>
                  <a:lnTo>
                    <a:pt x="38" y="23"/>
                  </a:lnTo>
                  <a:lnTo>
                    <a:pt x="57" y="56"/>
                  </a:lnTo>
                  <a:lnTo>
                    <a:pt x="151" y="0"/>
                  </a:lnTo>
                  <a:lnTo>
                    <a:pt x="157" y="56"/>
                  </a:lnTo>
                  <a:lnTo>
                    <a:pt x="101" y="257"/>
                  </a:lnTo>
                  <a:lnTo>
                    <a:pt x="7" y="436"/>
                  </a:lnTo>
                  <a:lnTo>
                    <a:pt x="0" y="41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55" name="Freeform 1030"/>
            <p:cNvSpPr>
              <a:spLocks/>
            </p:cNvSpPr>
            <p:nvPr>
              <p:custDataLst>
                <p:tags r:id="rId863"/>
              </p:custDataLst>
            </p:nvPr>
          </p:nvSpPr>
          <p:spPr bwMode="auto">
            <a:xfrm>
              <a:off x="7195921" y="4489051"/>
              <a:ext cx="290711" cy="346075"/>
            </a:xfrm>
            <a:custGeom>
              <a:avLst/>
              <a:gdLst>
                <a:gd name="T0" fmla="*/ 0 w 157"/>
                <a:gd name="T1" fmla="*/ 2147483647 h 436"/>
                <a:gd name="T2" fmla="*/ 0 w 157"/>
                <a:gd name="T3" fmla="*/ 2147483647 h 436"/>
                <a:gd name="T4" fmla="*/ 2147483647 w 157"/>
                <a:gd name="T5" fmla="*/ 2147483647 h 436"/>
                <a:gd name="T6" fmla="*/ 2147483647 w 157"/>
                <a:gd name="T7" fmla="*/ 2147483647 h 436"/>
                <a:gd name="T8" fmla="*/ 2147483647 w 157"/>
                <a:gd name="T9" fmla="*/ 2147483647 h 436"/>
                <a:gd name="T10" fmla="*/ 2147483647 w 157"/>
                <a:gd name="T11" fmla="*/ 2147483647 h 436"/>
                <a:gd name="T12" fmla="*/ 2147483647 w 157"/>
                <a:gd name="T13" fmla="*/ 2147483647 h 436"/>
                <a:gd name="T14" fmla="*/ 2147483647 w 157"/>
                <a:gd name="T15" fmla="*/ 2147483647 h 436"/>
                <a:gd name="T16" fmla="*/ 2147483647 w 157"/>
                <a:gd name="T17" fmla="*/ 2147483647 h 436"/>
                <a:gd name="T18" fmla="*/ 2147483647 w 157"/>
                <a:gd name="T19" fmla="*/ 0 h 436"/>
                <a:gd name="T20" fmla="*/ 2147483647 w 157"/>
                <a:gd name="T21" fmla="*/ 2147483647 h 436"/>
                <a:gd name="T22" fmla="*/ 2147483647 w 157"/>
                <a:gd name="T23" fmla="*/ 2147483647 h 436"/>
                <a:gd name="T24" fmla="*/ 2147483647 w 157"/>
                <a:gd name="T25" fmla="*/ 2147483647 h 436"/>
                <a:gd name="T26" fmla="*/ 0 w 157"/>
                <a:gd name="T27" fmla="*/ 2147483647 h 4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7" h="436">
                  <a:moveTo>
                    <a:pt x="0" y="413"/>
                  </a:moveTo>
                  <a:lnTo>
                    <a:pt x="0" y="290"/>
                  </a:lnTo>
                  <a:lnTo>
                    <a:pt x="13" y="257"/>
                  </a:lnTo>
                  <a:lnTo>
                    <a:pt x="63" y="223"/>
                  </a:lnTo>
                  <a:lnTo>
                    <a:pt x="108" y="134"/>
                  </a:lnTo>
                  <a:lnTo>
                    <a:pt x="45" y="100"/>
                  </a:lnTo>
                  <a:lnTo>
                    <a:pt x="26" y="46"/>
                  </a:lnTo>
                  <a:lnTo>
                    <a:pt x="38" y="23"/>
                  </a:lnTo>
                  <a:lnTo>
                    <a:pt x="57" y="56"/>
                  </a:lnTo>
                  <a:lnTo>
                    <a:pt x="151" y="0"/>
                  </a:lnTo>
                  <a:lnTo>
                    <a:pt x="157" y="56"/>
                  </a:lnTo>
                  <a:lnTo>
                    <a:pt x="101" y="257"/>
                  </a:lnTo>
                  <a:lnTo>
                    <a:pt x="7" y="436"/>
                  </a:lnTo>
                  <a:lnTo>
                    <a:pt x="0" y="41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56" name="Freeform 1031"/>
            <p:cNvSpPr>
              <a:spLocks/>
            </p:cNvSpPr>
            <p:nvPr>
              <p:custDataLst>
                <p:tags r:id="rId864"/>
              </p:custDataLst>
            </p:nvPr>
          </p:nvSpPr>
          <p:spPr bwMode="auto">
            <a:xfrm>
              <a:off x="7195921" y="4489051"/>
              <a:ext cx="290711" cy="346075"/>
            </a:xfrm>
            <a:custGeom>
              <a:avLst/>
              <a:gdLst>
                <a:gd name="T0" fmla="*/ 0 w 157"/>
                <a:gd name="T1" fmla="*/ 2147483647 h 436"/>
                <a:gd name="T2" fmla="*/ 0 w 157"/>
                <a:gd name="T3" fmla="*/ 2147483647 h 436"/>
                <a:gd name="T4" fmla="*/ 2147483647 w 157"/>
                <a:gd name="T5" fmla="*/ 2147483647 h 436"/>
                <a:gd name="T6" fmla="*/ 2147483647 w 157"/>
                <a:gd name="T7" fmla="*/ 2147483647 h 436"/>
                <a:gd name="T8" fmla="*/ 2147483647 w 157"/>
                <a:gd name="T9" fmla="*/ 2147483647 h 436"/>
                <a:gd name="T10" fmla="*/ 2147483647 w 157"/>
                <a:gd name="T11" fmla="*/ 2147483647 h 436"/>
                <a:gd name="T12" fmla="*/ 2147483647 w 157"/>
                <a:gd name="T13" fmla="*/ 2147483647 h 436"/>
                <a:gd name="T14" fmla="*/ 2147483647 w 157"/>
                <a:gd name="T15" fmla="*/ 2147483647 h 436"/>
                <a:gd name="T16" fmla="*/ 2147483647 w 157"/>
                <a:gd name="T17" fmla="*/ 2147483647 h 436"/>
                <a:gd name="T18" fmla="*/ 2147483647 w 157"/>
                <a:gd name="T19" fmla="*/ 0 h 436"/>
                <a:gd name="T20" fmla="*/ 2147483647 w 157"/>
                <a:gd name="T21" fmla="*/ 2147483647 h 436"/>
                <a:gd name="T22" fmla="*/ 2147483647 w 157"/>
                <a:gd name="T23" fmla="*/ 2147483647 h 436"/>
                <a:gd name="T24" fmla="*/ 2147483647 w 157"/>
                <a:gd name="T25" fmla="*/ 2147483647 h 436"/>
                <a:gd name="T26" fmla="*/ 0 w 157"/>
                <a:gd name="T27" fmla="*/ 2147483647 h 4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7" h="436">
                  <a:moveTo>
                    <a:pt x="0" y="413"/>
                  </a:moveTo>
                  <a:lnTo>
                    <a:pt x="0" y="290"/>
                  </a:lnTo>
                  <a:lnTo>
                    <a:pt x="13" y="257"/>
                  </a:lnTo>
                  <a:lnTo>
                    <a:pt x="63" y="223"/>
                  </a:lnTo>
                  <a:lnTo>
                    <a:pt x="108" y="134"/>
                  </a:lnTo>
                  <a:lnTo>
                    <a:pt x="45" y="100"/>
                  </a:lnTo>
                  <a:lnTo>
                    <a:pt x="26" y="46"/>
                  </a:lnTo>
                  <a:lnTo>
                    <a:pt x="38" y="23"/>
                  </a:lnTo>
                  <a:lnTo>
                    <a:pt x="57" y="56"/>
                  </a:lnTo>
                  <a:lnTo>
                    <a:pt x="151" y="0"/>
                  </a:lnTo>
                  <a:lnTo>
                    <a:pt x="157" y="56"/>
                  </a:lnTo>
                  <a:lnTo>
                    <a:pt x="101" y="257"/>
                  </a:lnTo>
                  <a:lnTo>
                    <a:pt x="7" y="436"/>
                  </a:lnTo>
                  <a:lnTo>
                    <a:pt x="0" y="41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57" name="Freeform 1032"/>
            <p:cNvSpPr>
              <a:spLocks/>
            </p:cNvSpPr>
            <p:nvPr>
              <p:custDataLst>
                <p:tags r:id="rId865"/>
              </p:custDataLst>
            </p:nvPr>
          </p:nvSpPr>
          <p:spPr bwMode="auto">
            <a:xfrm>
              <a:off x="7195921" y="4489051"/>
              <a:ext cx="290711" cy="346075"/>
            </a:xfrm>
            <a:custGeom>
              <a:avLst/>
              <a:gdLst>
                <a:gd name="T0" fmla="*/ 0 w 157"/>
                <a:gd name="T1" fmla="*/ 2147483647 h 436"/>
                <a:gd name="T2" fmla="*/ 0 w 157"/>
                <a:gd name="T3" fmla="*/ 2147483647 h 436"/>
                <a:gd name="T4" fmla="*/ 2147483647 w 157"/>
                <a:gd name="T5" fmla="*/ 2147483647 h 436"/>
                <a:gd name="T6" fmla="*/ 2147483647 w 157"/>
                <a:gd name="T7" fmla="*/ 2147483647 h 436"/>
                <a:gd name="T8" fmla="*/ 2147483647 w 157"/>
                <a:gd name="T9" fmla="*/ 2147483647 h 436"/>
                <a:gd name="T10" fmla="*/ 2147483647 w 157"/>
                <a:gd name="T11" fmla="*/ 2147483647 h 436"/>
                <a:gd name="T12" fmla="*/ 2147483647 w 157"/>
                <a:gd name="T13" fmla="*/ 2147483647 h 436"/>
                <a:gd name="T14" fmla="*/ 2147483647 w 157"/>
                <a:gd name="T15" fmla="*/ 2147483647 h 436"/>
                <a:gd name="T16" fmla="*/ 2147483647 w 157"/>
                <a:gd name="T17" fmla="*/ 2147483647 h 436"/>
                <a:gd name="T18" fmla="*/ 2147483647 w 157"/>
                <a:gd name="T19" fmla="*/ 0 h 436"/>
                <a:gd name="T20" fmla="*/ 2147483647 w 157"/>
                <a:gd name="T21" fmla="*/ 2147483647 h 436"/>
                <a:gd name="T22" fmla="*/ 2147483647 w 157"/>
                <a:gd name="T23" fmla="*/ 2147483647 h 436"/>
                <a:gd name="T24" fmla="*/ 2147483647 w 157"/>
                <a:gd name="T25" fmla="*/ 2147483647 h 436"/>
                <a:gd name="T26" fmla="*/ 0 w 157"/>
                <a:gd name="T27" fmla="*/ 2147483647 h 4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57" h="436">
                  <a:moveTo>
                    <a:pt x="0" y="413"/>
                  </a:moveTo>
                  <a:lnTo>
                    <a:pt x="0" y="290"/>
                  </a:lnTo>
                  <a:lnTo>
                    <a:pt x="13" y="257"/>
                  </a:lnTo>
                  <a:lnTo>
                    <a:pt x="63" y="223"/>
                  </a:lnTo>
                  <a:lnTo>
                    <a:pt x="108" y="134"/>
                  </a:lnTo>
                  <a:lnTo>
                    <a:pt x="45" y="100"/>
                  </a:lnTo>
                  <a:lnTo>
                    <a:pt x="26" y="46"/>
                  </a:lnTo>
                  <a:lnTo>
                    <a:pt x="38" y="23"/>
                  </a:lnTo>
                  <a:lnTo>
                    <a:pt x="57" y="56"/>
                  </a:lnTo>
                  <a:lnTo>
                    <a:pt x="151" y="0"/>
                  </a:lnTo>
                  <a:lnTo>
                    <a:pt x="157" y="56"/>
                  </a:lnTo>
                  <a:lnTo>
                    <a:pt x="101" y="257"/>
                  </a:lnTo>
                  <a:lnTo>
                    <a:pt x="7" y="436"/>
                  </a:lnTo>
                  <a:lnTo>
                    <a:pt x="0" y="41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58" name="Freeform 1033"/>
            <p:cNvSpPr>
              <a:spLocks/>
            </p:cNvSpPr>
            <p:nvPr>
              <p:custDataLst>
                <p:tags r:id="rId866"/>
              </p:custDataLst>
            </p:nvPr>
          </p:nvSpPr>
          <p:spPr bwMode="auto">
            <a:xfrm>
              <a:off x="6736800" y="5198633"/>
              <a:ext cx="230562" cy="184150"/>
            </a:xfrm>
            <a:custGeom>
              <a:avLst/>
              <a:gdLst>
                <a:gd name="T0" fmla="*/ 0 w 125"/>
                <a:gd name="T1" fmla="*/ 2147483647 h 232"/>
                <a:gd name="T2" fmla="*/ 2147483647 w 125"/>
                <a:gd name="T3" fmla="*/ 2147483647 h 232"/>
                <a:gd name="T4" fmla="*/ 2147483647 w 125"/>
                <a:gd name="T5" fmla="*/ 2147483647 h 232"/>
                <a:gd name="T6" fmla="*/ 2147483647 w 125"/>
                <a:gd name="T7" fmla="*/ 2147483647 h 232"/>
                <a:gd name="T8" fmla="*/ 2147483647 w 125"/>
                <a:gd name="T9" fmla="*/ 0 h 232"/>
                <a:gd name="T10" fmla="*/ 2147483647 w 125"/>
                <a:gd name="T11" fmla="*/ 2147483647 h 232"/>
                <a:gd name="T12" fmla="*/ 2147483647 w 125"/>
                <a:gd name="T13" fmla="*/ 2147483647 h 232"/>
                <a:gd name="T14" fmla="*/ 2147483647 w 125"/>
                <a:gd name="T15" fmla="*/ 2147483647 h 232"/>
                <a:gd name="T16" fmla="*/ 2147483647 w 125"/>
                <a:gd name="T17" fmla="*/ 2147483647 h 232"/>
                <a:gd name="T18" fmla="*/ 2147483647 w 125"/>
                <a:gd name="T19" fmla="*/ 2147483647 h 232"/>
                <a:gd name="T20" fmla="*/ 2147483647 w 125"/>
                <a:gd name="T21" fmla="*/ 2147483647 h 232"/>
                <a:gd name="T22" fmla="*/ 0 w 125"/>
                <a:gd name="T23" fmla="*/ 2147483647 h 2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5" h="232">
                  <a:moveTo>
                    <a:pt x="0" y="65"/>
                  </a:moveTo>
                  <a:lnTo>
                    <a:pt x="31" y="65"/>
                  </a:lnTo>
                  <a:lnTo>
                    <a:pt x="55" y="33"/>
                  </a:lnTo>
                  <a:lnTo>
                    <a:pt x="55" y="12"/>
                  </a:lnTo>
                  <a:lnTo>
                    <a:pt x="81" y="0"/>
                  </a:lnTo>
                  <a:lnTo>
                    <a:pt x="118" y="21"/>
                  </a:lnTo>
                  <a:lnTo>
                    <a:pt x="125" y="56"/>
                  </a:lnTo>
                  <a:lnTo>
                    <a:pt x="125" y="144"/>
                  </a:lnTo>
                  <a:lnTo>
                    <a:pt x="100" y="232"/>
                  </a:lnTo>
                  <a:lnTo>
                    <a:pt x="68" y="211"/>
                  </a:lnTo>
                  <a:lnTo>
                    <a:pt x="42" y="188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59" name="Freeform 1034"/>
            <p:cNvSpPr>
              <a:spLocks/>
            </p:cNvSpPr>
            <p:nvPr>
              <p:custDataLst>
                <p:tags r:id="rId867"/>
              </p:custDataLst>
            </p:nvPr>
          </p:nvSpPr>
          <p:spPr bwMode="auto">
            <a:xfrm>
              <a:off x="6736800" y="5198633"/>
              <a:ext cx="230562" cy="184150"/>
            </a:xfrm>
            <a:custGeom>
              <a:avLst/>
              <a:gdLst>
                <a:gd name="T0" fmla="*/ 0 w 125"/>
                <a:gd name="T1" fmla="*/ 2147483647 h 232"/>
                <a:gd name="T2" fmla="*/ 2147483647 w 125"/>
                <a:gd name="T3" fmla="*/ 2147483647 h 232"/>
                <a:gd name="T4" fmla="*/ 2147483647 w 125"/>
                <a:gd name="T5" fmla="*/ 2147483647 h 232"/>
                <a:gd name="T6" fmla="*/ 2147483647 w 125"/>
                <a:gd name="T7" fmla="*/ 2147483647 h 232"/>
                <a:gd name="T8" fmla="*/ 2147483647 w 125"/>
                <a:gd name="T9" fmla="*/ 0 h 232"/>
                <a:gd name="T10" fmla="*/ 2147483647 w 125"/>
                <a:gd name="T11" fmla="*/ 2147483647 h 232"/>
                <a:gd name="T12" fmla="*/ 2147483647 w 125"/>
                <a:gd name="T13" fmla="*/ 2147483647 h 232"/>
                <a:gd name="T14" fmla="*/ 2147483647 w 125"/>
                <a:gd name="T15" fmla="*/ 2147483647 h 232"/>
                <a:gd name="T16" fmla="*/ 2147483647 w 125"/>
                <a:gd name="T17" fmla="*/ 2147483647 h 232"/>
                <a:gd name="T18" fmla="*/ 2147483647 w 125"/>
                <a:gd name="T19" fmla="*/ 2147483647 h 232"/>
                <a:gd name="T20" fmla="*/ 2147483647 w 125"/>
                <a:gd name="T21" fmla="*/ 2147483647 h 232"/>
                <a:gd name="T22" fmla="*/ 0 w 125"/>
                <a:gd name="T23" fmla="*/ 2147483647 h 2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5" h="232">
                  <a:moveTo>
                    <a:pt x="0" y="65"/>
                  </a:moveTo>
                  <a:lnTo>
                    <a:pt x="31" y="65"/>
                  </a:lnTo>
                  <a:lnTo>
                    <a:pt x="55" y="33"/>
                  </a:lnTo>
                  <a:lnTo>
                    <a:pt x="55" y="12"/>
                  </a:lnTo>
                  <a:lnTo>
                    <a:pt x="81" y="0"/>
                  </a:lnTo>
                  <a:lnTo>
                    <a:pt x="118" y="21"/>
                  </a:lnTo>
                  <a:lnTo>
                    <a:pt x="125" y="56"/>
                  </a:lnTo>
                  <a:lnTo>
                    <a:pt x="125" y="144"/>
                  </a:lnTo>
                  <a:lnTo>
                    <a:pt x="100" y="232"/>
                  </a:lnTo>
                  <a:lnTo>
                    <a:pt x="68" y="211"/>
                  </a:lnTo>
                  <a:lnTo>
                    <a:pt x="42" y="188"/>
                  </a:lnTo>
                  <a:lnTo>
                    <a:pt x="0" y="6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60" name="Freeform 1035"/>
            <p:cNvSpPr>
              <a:spLocks/>
            </p:cNvSpPr>
            <p:nvPr>
              <p:custDataLst>
                <p:tags r:id="rId868"/>
              </p:custDataLst>
            </p:nvPr>
          </p:nvSpPr>
          <p:spPr bwMode="auto">
            <a:xfrm>
              <a:off x="6736800" y="5198633"/>
              <a:ext cx="230562" cy="184150"/>
            </a:xfrm>
            <a:custGeom>
              <a:avLst/>
              <a:gdLst>
                <a:gd name="T0" fmla="*/ 0 w 125"/>
                <a:gd name="T1" fmla="*/ 2147483647 h 232"/>
                <a:gd name="T2" fmla="*/ 2147483647 w 125"/>
                <a:gd name="T3" fmla="*/ 2147483647 h 232"/>
                <a:gd name="T4" fmla="*/ 2147483647 w 125"/>
                <a:gd name="T5" fmla="*/ 2147483647 h 232"/>
                <a:gd name="T6" fmla="*/ 2147483647 w 125"/>
                <a:gd name="T7" fmla="*/ 2147483647 h 232"/>
                <a:gd name="T8" fmla="*/ 2147483647 w 125"/>
                <a:gd name="T9" fmla="*/ 0 h 232"/>
                <a:gd name="T10" fmla="*/ 2147483647 w 125"/>
                <a:gd name="T11" fmla="*/ 2147483647 h 232"/>
                <a:gd name="T12" fmla="*/ 2147483647 w 125"/>
                <a:gd name="T13" fmla="*/ 2147483647 h 232"/>
                <a:gd name="T14" fmla="*/ 2147483647 w 125"/>
                <a:gd name="T15" fmla="*/ 2147483647 h 232"/>
                <a:gd name="T16" fmla="*/ 2147483647 w 125"/>
                <a:gd name="T17" fmla="*/ 2147483647 h 232"/>
                <a:gd name="T18" fmla="*/ 2147483647 w 125"/>
                <a:gd name="T19" fmla="*/ 2147483647 h 232"/>
                <a:gd name="T20" fmla="*/ 2147483647 w 125"/>
                <a:gd name="T21" fmla="*/ 2147483647 h 232"/>
                <a:gd name="T22" fmla="*/ 0 w 125"/>
                <a:gd name="T23" fmla="*/ 2147483647 h 2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5" h="232">
                  <a:moveTo>
                    <a:pt x="0" y="65"/>
                  </a:moveTo>
                  <a:lnTo>
                    <a:pt x="31" y="65"/>
                  </a:lnTo>
                  <a:lnTo>
                    <a:pt x="55" y="33"/>
                  </a:lnTo>
                  <a:lnTo>
                    <a:pt x="55" y="12"/>
                  </a:lnTo>
                  <a:lnTo>
                    <a:pt x="81" y="0"/>
                  </a:lnTo>
                  <a:lnTo>
                    <a:pt x="118" y="21"/>
                  </a:lnTo>
                  <a:lnTo>
                    <a:pt x="125" y="56"/>
                  </a:lnTo>
                  <a:lnTo>
                    <a:pt x="125" y="144"/>
                  </a:lnTo>
                  <a:lnTo>
                    <a:pt x="100" y="232"/>
                  </a:lnTo>
                  <a:lnTo>
                    <a:pt x="68" y="211"/>
                  </a:lnTo>
                  <a:lnTo>
                    <a:pt x="42" y="188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61" name="Freeform 1036"/>
            <p:cNvSpPr>
              <a:spLocks/>
            </p:cNvSpPr>
            <p:nvPr>
              <p:custDataLst>
                <p:tags r:id="rId869"/>
              </p:custDataLst>
            </p:nvPr>
          </p:nvSpPr>
          <p:spPr bwMode="auto">
            <a:xfrm>
              <a:off x="6736800" y="5198633"/>
              <a:ext cx="230562" cy="184150"/>
            </a:xfrm>
            <a:custGeom>
              <a:avLst/>
              <a:gdLst>
                <a:gd name="T0" fmla="*/ 0 w 125"/>
                <a:gd name="T1" fmla="*/ 2147483647 h 232"/>
                <a:gd name="T2" fmla="*/ 2147483647 w 125"/>
                <a:gd name="T3" fmla="*/ 2147483647 h 232"/>
                <a:gd name="T4" fmla="*/ 2147483647 w 125"/>
                <a:gd name="T5" fmla="*/ 2147483647 h 232"/>
                <a:gd name="T6" fmla="*/ 2147483647 w 125"/>
                <a:gd name="T7" fmla="*/ 2147483647 h 232"/>
                <a:gd name="T8" fmla="*/ 2147483647 w 125"/>
                <a:gd name="T9" fmla="*/ 0 h 232"/>
                <a:gd name="T10" fmla="*/ 2147483647 w 125"/>
                <a:gd name="T11" fmla="*/ 2147483647 h 232"/>
                <a:gd name="T12" fmla="*/ 2147483647 w 125"/>
                <a:gd name="T13" fmla="*/ 2147483647 h 232"/>
                <a:gd name="T14" fmla="*/ 2147483647 w 125"/>
                <a:gd name="T15" fmla="*/ 2147483647 h 232"/>
                <a:gd name="T16" fmla="*/ 2147483647 w 125"/>
                <a:gd name="T17" fmla="*/ 2147483647 h 232"/>
                <a:gd name="T18" fmla="*/ 2147483647 w 125"/>
                <a:gd name="T19" fmla="*/ 2147483647 h 232"/>
                <a:gd name="T20" fmla="*/ 2147483647 w 125"/>
                <a:gd name="T21" fmla="*/ 2147483647 h 232"/>
                <a:gd name="T22" fmla="*/ 0 w 125"/>
                <a:gd name="T23" fmla="*/ 2147483647 h 23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125" h="232">
                  <a:moveTo>
                    <a:pt x="0" y="65"/>
                  </a:moveTo>
                  <a:lnTo>
                    <a:pt x="31" y="65"/>
                  </a:lnTo>
                  <a:lnTo>
                    <a:pt x="55" y="33"/>
                  </a:lnTo>
                  <a:lnTo>
                    <a:pt x="55" y="12"/>
                  </a:lnTo>
                  <a:lnTo>
                    <a:pt x="81" y="0"/>
                  </a:lnTo>
                  <a:lnTo>
                    <a:pt x="118" y="21"/>
                  </a:lnTo>
                  <a:lnTo>
                    <a:pt x="125" y="56"/>
                  </a:lnTo>
                  <a:lnTo>
                    <a:pt x="125" y="144"/>
                  </a:lnTo>
                  <a:lnTo>
                    <a:pt x="100" y="232"/>
                  </a:lnTo>
                  <a:lnTo>
                    <a:pt x="68" y="211"/>
                  </a:lnTo>
                  <a:lnTo>
                    <a:pt x="42" y="188"/>
                  </a:lnTo>
                  <a:lnTo>
                    <a:pt x="0" y="65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62" name="Freeform 1037"/>
            <p:cNvSpPr>
              <a:spLocks/>
            </p:cNvSpPr>
            <p:nvPr>
              <p:custDataLst>
                <p:tags r:id="rId870"/>
              </p:custDataLst>
            </p:nvPr>
          </p:nvSpPr>
          <p:spPr bwMode="auto">
            <a:xfrm>
              <a:off x="6343843" y="5233558"/>
              <a:ext cx="392960" cy="315912"/>
            </a:xfrm>
            <a:custGeom>
              <a:avLst/>
              <a:gdLst>
                <a:gd name="T0" fmla="*/ 0 w 212"/>
                <a:gd name="T1" fmla="*/ 2147483647 h 400"/>
                <a:gd name="T2" fmla="*/ 2147483647 w 212"/>
                <a:gd name="T3" fmla="*/ 0 h 400"/>
                <a:gd name="T4" fmla="*/ 2147483647 w 212"/>
                <a:gd name="T5" fmla="*/ 2147483647 h 400"/>
                <a:gd name="T6" fmla="*/ 2147483647 w 212"/>
                <a:gd name="T7" fmla="*/ 2147483647 h 400"/>
                <a:gd name="T8" fmla="*/ 2147483647 w 212"/>
                <a:gd name="T9" fmla="*/ 2147483647 h 400"/>
                <a:gd name="T10" fmla="*/ 2147483647 w 212"/>
                <a:gd name="T11" fmla="*/ 2147483647 h 400"/>
                <a:gd name="T12" fmla="*/ 2147483647 w 212"/>
                <a:gd name="T13" fmla="*/ 2147483647 h 400"/>
                <a:gd name="T14" fmla="*/ 2147483647 w 212"/>
                <a:gd name="T15" fmla="*/ 2147483647 h 400"/>
                <a:gd name="T16" fmla="*/ 2147483647 w 212"/>
                <a:gd name="T17" fmla="*/ 2147483647 h 400"/>
                <a:gd name="T18" fmla="*/ 2147483647 w 212"/>
                <a:gd name="T19" fmla="*/ 2147483647 h 400"/>
                <a:gd name="T20" fmla="*/ 2147483647 w 212"/>
                <a:gd name="T21" fmla="*/ 2147483647 h 400"/>
                <a:gd name="T22" fmla="*/ 2147483647 w 212"/>
                <a:gd name="T23" fmla="*/ 2147483647 h 400"/>
                <a:gd name="T24" fmla="*/ 2147483647 w 212"/>
                <a:gd name="T25" fmla="*/ 2147483647 h 400"/>
                <a:gd name="T26" fmla="*/ 2147483647 w 212"/>
                <a:gd name="T27" fmla="*/ 2147483647 h 400"/>
                <a:gd name="T28" fmla="*/ 2147483647 w 212"/>
                <a:gd name="T29" fmla="*/ 2147483647 h 400"/>
                <a:gd name="T30" fmla="*/ 2147483647 w 212"/>
                <a:gd name="T31" fmla="*/ 2147483647 h 400"/>
                <a:gd name="T32" fmla="*/ 2147483647 w 212"/>
                <a:gd name="T33" fmla="*/ 2147483647 h 400"/>
                <a:gd name="T34" fmla="*/ 2147483647 w 212"/>
                <a:gd name="T35" fmla="*/ 2147483647 h 400"/>
                <a:gd name="T36" fmla="*/ 2147483647 w 212"/>
                <a:gd name="T37" fmla="*/ 2147483647 h 400"/>
                <a:gd name="T38" fmla="*/ 0 w 212"/>
                <a:gd name="T39" fmla="*/ 2147483647 h 4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2" h="400">
                  <a:moveTo>
                    <a:pt x="0" y="10"/>
                  </a:moveTo>
                  <a:lnTo>
                    <a:pt x="31" y="0"/>
                  </a:lnTo>
                  <a:lnTo>
                    <a:pt x="155" y="33"/>
                  </a:lnTo>
                  <a:lnTo>
                    <a:pt x="187" y="21"/>
                  </a:lnTo>
                  <a:lnTo>
                    <a:pt x="212" y="21"/>
                  </a:lnTo>
                  <a:lnTo>
                    <a:pt x="187" y="56"/>
                  </a:lnTo>
                  <a:lnTo>
                    <a:pt x="180" y="33"/>
                  </a:lnTo>
                  <a:lnTo>
                    <a:pt x="149" y="44"/>
                  </a:lnTo>
                  <a:lnTo>
                    <a:pt x="149" y="167"/>
                  </a:lnTo>
                  <a:lnTo>
                    <a:pt x="130" y="167"/>
                  </a:lnTo>
                  <a:lnTo>
                    <a:pt x="130" y="256"/>
                  </a:lnTo>
                  <a:lnTo>
                    <a:pt x="130" y="379"/>
                  </a:lnTo>
                  <a:lnTo>
                    <a:pt x="119" y="400"/>
                  </a:lnTo>
                  <a:lnTo>
                    <a:pt x="99" y="400"/>
                  </a:lnTo>
                  <a:lnTo>
                    <a:pt x="87" y="379"/>
                  </a:lnTo>
                  <a:lnTo>
                    <a:pt x="80" y="390"/>
                  </a:lnTo>
                  <a:lnTo>
                    <a:pt x="55" y="346"/>
                  </a:lnTo>
                  <a:lnTo>
                    <a:pt x="50" y="200"/>
                  </a:lnTo>
                  <a:lnTo>
                    <a:pt x="50" y="188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63" name="Freeform 1038"/>
            <p:cNvSpPr>
              <a:spLocks/>
            </p:cNvSpPr>
            <p:nvPr>
              <p:custDataLst>
                <p:tags r:id="rId871"/>
              </p:custDataLst>
            </p:nvPr>
          </p:nvSpPr>
          <p:spPr bwMode="auto">
            <a:xfrm>
              <a:off x="6343843" y="5233558"/>
              <a:ext cx="392960" cy="315912"/>
            </a:xfrm>
            <a:custGeom>
              <a:avLst/>
              <a:gdLst>
                <a:gd name="T0" fmla="*/ 0 w 212"/>
                <a:gd name="T1" fmla="*/ 2147483647 h 400"/>
                <a:gd name="T2" fmla="*/ 2147483647 w 212"/>
                <a:gd name="T3" fmla="*/ 0 h 400"/>
                <a:gd name="T4" fmla="*/ 2147483647 w 212"/>
                <a:gd name="T5" fmla="*/ 2147483647 h 400"/>
                <a:gd name="T6" fmla="*/ 2147483647 w 212"/>
                <a:gd name="T7" fmla="*/ 2147483647 h 400"/>
                <a:gd name="T8" fmla="*/ 2147483647 w 212"/>
                <a:gd name="T9" fmla="*/ 2147483647 h 400"/>
                <a:gd name="T10" fmla="*/ 2147483647 w 212"/>
                <a:gd name="T11" fmla="*/ 2147483647 h 400"/>
                <a:gd name="T12" fmla="*/ 2147483647 w 212"/>
                <a:gd name="T13" fmla="*/ 2147483647 h 400"/>
                <a:gd name="T14" fmla="*/ 2147483647 w 212"/>
                <a:gd name="T15" fmla="*/ 2147483647 h 400"/>
                <a:gd name="T16" fmla="*/ 2147483647 w 212"/>
                <a:gd name="T17" fmla="*/ 2147483647 h 400"/>
                <a:gd name="T18" fmla="*/ 2147483647 w 212"/>
                <a:gd name="T19" fmla="*/ 2147483647 h 400"/>
                <a:gd name="T20" fmla="*/ 2147483647 w 212"/>
                <a:gd name="T21" fmla="*/ 2147483647 h 400"/>
                <a:gd name="T22" fmla="*/ 2147483647 w 212"/>
                <a:gd name="T23" fmla="*/ 2147483647 h 400"/>
                <a:gd name="T24" fmla="*/ 2147483647 w 212"/>
                <a:gd name="T25" fmla="*/ 2147483647 h 400"/>
                <a:gd name="T26" fmla="*/ 2147483647 w 212"/>
                <a:gd name="T27" fmla="*/ 2147483647 h 400"/>
                <a:gd name="T28" fmla="*/ 2147483647 w 212"/>
                <a:gd name="T29" fmla="*/ 2147483647 h 400"/>
                <a:gd name="T30" fmla="*/ 2147483647 w 212"/>
                <a:gd name="T31" fmla="*/ 2147483647 h 400"/>
                <a:gd name="T32" fmla="*/ 2147483647 w 212"/>
                <a:gd name="T33" fmla="*/ 2147483647 h 400"/>
                <a:gd name="T34" fmla="*/ 2147483647 w 212"/>
                <a:gd name="T35" fmla="*/ 2147483647 h 400"/>
                <a:gd name="T36" fmla="*/ 2147483647 w 212"/>
                <a:gd name="T37" fmla="*/ 2147483647 h 400"/>
                <a:gd name="T38" fmla="*/ 0 w 212"/>
                <a:gd name="T39" fmla="*/ 2147483647 h 4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2" h="400">
                  <a:moveTo>
                    <a:pt x="0" y="10"/>
                  </a:moveTo>
                  <a:lnTo>
                    <a:pt x="31" y="0"/>
                  </a:lnTo>
                  <a:lnTo>
                    <a:pt x="155" y="33"/>
                  </a:lnTo>
                  <a:lnTo>
                    <a:pt x="187" y="21"/>
                  </a:lnTo>
                  <a:lnTo>
                    <a:pt x="212" y="21"/>
                  </a:lnTo>
                  <a:lnTo>
                    <a:pt x="187" y="56"/>
                  </a:lnTo>
                  <a:lnTo>
                    <a:pt x="180" y="33"/>
                  </a:lnTo>
                  <a:lnTo>
                    <a:pt x="149" y="44"/>
                  </a:lnTo>
                  <a:lnTo>
                    <a:pt x="149" y="167"/>
                  </a:lnTo>
                  <a:lnTo>
                    <a:pt x="130" y="167"/>
                  </a:lnTo>
                  <a:lnTo>
                    <a:pt x="130" y="256"/>
                  </a:lnTo>
                  <a:lnTo>
                    <a:pt x="130" y="379"/>
                  </a:lnTo>
                  <a:lnTo>
                    <a:pt x="119" y="400"/>
                  </a:lnTo>
                  <a:lnTo>
                    <a:pt x="99" y="400"/>
                  </a:lnTo>
                  <a:lnTo>
                    <a:pt x="87" y="379"/>
                  </a:lnTo>
                  <a:lnTo>
                    <a:pt x="80" y="390"/>
                  </a:lnTo>
                  <a:lnTo>
                    <a:pt x="55" y="346"/>
                  </a:lnTo>
                  <a:lnTo>
                    <a:pt x="50" y="200"/>
                  </a:lnTo>
                  <a:lnTo>
                    <a:pt x="50" y="188"/>
                  </a:lnTo>
                  <a:lnTo>
                    <a:pt x="0" y="1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64" name="Freeform 1039"/>
            <p:cNvSpPr>
              <a:spLocks/>
            </p:cNvSpPr>
            <p:nvPr>
              <p:custDataLst>
                <p:tags r:id="rId872"/>
              </p:custDataLst>
            </p:nvPr>
          </p:nvSpPr>
          <p:spPr bwMode="auto">
            <a:xfrm>
              <a:off x="6343843" y="5233558"/>
              <a:ext cx="392960" cy="315912"/>
            </a:xfrm>
            <a:custGeom>
              <a:avLst/>
              <a:gdLst>
                <a:gd name="T0" fmla="*/ 0 w 212"/>
                <a:gd name="T1" fmla="*/ 2147483647 h 400"/>
                <a:gd name="T2" fmla="*/ 2147483647 w 212"/>
                <a:gd name="T3" fmla="*/ 0 h 400"/>
                <a:gd name="T4" fmla="*/ 2147483647 w 212"/>
                <a:gd name="T5" fmla="*/ 2147483647 h 400"/>
                <a:gd name="T6" fmla="*/ 2147483647 w 212"/>
                <a:gd name="T7" fmla="*/ 2147483647 h 400"/>
                <a:gd name="T8" fmla="*/ 2147483647 w 212"/>
                <a:gd name="T9" fmla="*/ 2147483647 h 400"/>
                <a:gd name="T10" fmla="*/ 2147483647 w 212"/>
                <a:gd name="T11" fmla="*/ 2147483647 h 400"/>
                <a:gd name="T12" fmla="*/ 2147483647 w 212"/>
                <a:gd name="T13" fmla="*/ 2147483647 h 400"/>
                <a:gd name="T14" fmla="*/ 2147483647 w 212"/>
                <a:gd name="T15" fmla="*/ 2147483647 h 400"/>
                <a:gd name="T16" fmla="*/ 2147483647 w 212"/>
                <a:gd name="T17" fmla="*/ 2147483647 h 400"/>
                <a:gd name="T18" fmla="*/ 2147483647 w 212"/>
                <a:gd name="T19" fmla="*/ 2147483647 h 400"/>
                <a:gd name="T20" fmla="*/ 2147483647 w 212"/>
                <a:gd name="T21" fmla="*/ 2147483647 h 400"/>
                <a:gd name="T22" fmla="*/ 2147483647 w 212"/>
                <a:gd name="T23" fmla="*/ 2147483647 h 400"/>
                <a:gd name="T24" fmla="*/ 2147483647 w 212"/>
                <a:gd name="T25" fmla="*/ 2147483647 h 400"/>
                <a:gd name="T26" fmla="*/ 2147483647 w 212"/>
                <a:gd name="T27" fmla="*/ 2147483647 h 400"/>
                <a:gd name="T28" fmla="*/ 2147483647 w 212"/>
                <a:gd name="T29" fmla="*/ 2147483647 h 400"/>
                <a:gd name="T30" fmla="*/ 2147483647 w 212"/>
                <a:gd name="T31" fmla="*/ 2147483647 h 400"/>
                <a:gd name="T32" fmla="*/ 2147483647 w 212"/>
                <a:gd name="T33" fmla="*/ 2147483647 h 400"/>
                <a:gd name="T34" fmla="*/ 2147483647 w 212"/>
                <a:gd name="T35" fmla="*/ 2147483647 h 400"/>
                <a:gd name="T36" fmla="*/ 2147483647 w 212"/>
                <a:gd name="T37" fmla="*/ 2147483647 h 400"/>
                <a:gd name="T38" fmla="*/ 0 w 212"/>
                <a:gd name="T39" fmla="*/ 2147483647 h 4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2" h="400">
                  <a:moveTo>
                    <a:pt x="0" y="10"/>
                  </a:moveTo>
                  <a:lnTo>
                    <a:pt x="31" y="0"/>
                  </a:lnTo>
                  <a:lnTo>
                    <a:pt x="155" y="33"/>
                  </a:lnTo>
                  <a:lnTo>
                    <a:pt x="187" y="21"/>
                  </a:lnTo>
                  <a:lnTo>
                    <a:pt x="212" y="21"/>
                  </a:lnTo>
                  <a:lnTo>
                    <a:pt x="187" y="56"/>
                  </a:lnTo>
                  <a:lnTo>
                    <a:pt x="180" y="33"/>
                  </a:lnTo>
                  <a:lnTo>
                    <a:pt x="149" y="44"/>
                  </a:lnTo>
                  <a:lnTo>
                    <a:pt x="149" y="167"/>
                  </a:lnTo>
                  <a:lnTo>
                    <a:pt x="130" y="167"/>
                  </a:lnTo>
                  <a:lnTo>
                    <a:pt x="130" y="256"/>
                  </a:lnTo>
                  <a:lnTo>
                    <a:pt x="130" y="379"/>
                  </a:lnTo>
                  <a:lnTo>
                    <a:pt x="119" y="400"/>
                  </a:lnTo>
                  <a:lnTo>
                    <a:pt x="99" y="400"/>
                  </a:lnTo>
                  <a:lnTo>
                    <a:pt x="87" y="379"/>
                  </a:lnTo>
                  <a:lnTo>
                    <a:pt x="80" y="390"/>
                  </a:lnTo>
                  <a:lnTo>
                    <a:pt x="55" y="346"/>
                  </a:lnTo>
                  <a:lnTo>
                    <a:pt x="50" y="200"/>
                  </a:lnTo>
                  <a:lnTo>
                    <a:pt x="50" y="188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65" name="Freeform 1040"/>
            <p:cNvSpPr>
              <a:spLocks/>
            </p:cNvSpPr>
            <p:nvPr>
              <p:custDataLst>
                <p:tags r:id="rId873"/>
              </p:custDataLst>
            </p:nvPr>
          </p:nvSpPr>
          <p:spPr bwMode="auto">
            <a:xfrm>
              <a:off x="6343843" y="5233558"/>
              <a:ext cx="392960" cy="315912"/>
            </a:xfrm>
            <a:custGeom>
              <a:avLst/>
              <a:gdLst>
                <a:gd name="T0" fmla="*/ 0 w 212"/>
                <a:gd name="T1" fmla="*/ 2147483647 h 400"/>
                <a:gd name="T2" fmla="*/ 2147483647 w 212"/>
                <a:gd name="T3" fmla="*/ 0 h 400"/>
                <a:gd name="T4" fmla="*/ 2147483647 w 212"/>
                <a:gd name="T5" fmla="*/ 2147483647 h 400"/>
                <a:gd name="T6" fmla="*/ 2147483647 w 212"/>
                <a:gd name="T7" fmla="*/ 2147483647 h 400"/>
                <a:gd name="T8" fmla="*/ 2147483647 w 212"/>
                <a:gd name="T9" fmla="*/ 2147483647 h 400"/>
                <a:gd name="T10" fmla="*/ 2147483647 w 212"/>
                <a:gd name="T11" fmla="*/ 2147483647 h 400"/>
                <a:gd name="T12" fmla="*/ 2147483647 w 212"/>
                <a:gd name="T13" fmla="*/ 2147483647 h 400"/>
                <a:gd name="T14" fmla="*/ 2147483647 w 212"/>
                <a:gd name="T15" fmla="*/ 2147483647 h 400"/>
                <a:gd name="T16" fmla="*/ 2147483647 w 212"/>
                <a:gd name="T17" fmla="*/ 2147483647 h 400"/>
                <a:gd name="T18" fmla="*/ 2147483647 w 212"/>
                <a:gd name="T19" fmla="*/ 2147483647 h 400"/>
                <a:gd name="T20" fmla="*/ 2147483647 w 212"/>
                <a:gd name="T21" fmla="*/ 2147483647 h 400"/>
                <a:gd name="T22" fmla="*/ 2147483647 w 212"/>
                <a:gd name="T23" fmla="*/ 2147483647 h 400"/>
                <a:gd name="T24" fmla="*/ 2147483647 w 212"/>
                <a:gd name="T25" fmla="*/ 2147483647 h 400"/>
                <a:gd name="T26" fmla="*/ 2147483647 w 212"/>
                <a:gd name="T27" fmla="*/ 2147483647 h 400"/>
                <a:gd name="T28" fmla="*/ 2147483647 w 212"/>
                <a:gd name="T29" fmla="*/ 2147483647 h 400"/>
                <a:gd name="T30" fmla="*/ 2147483647 w 212"/>
                <a:gd name="T31" fmla="*/ 2147483647 h 400"/>
                <a:gd name="T32" fmla="*/ 2147483647 w 212"/>
                <a:gd name="T33" fmla="*/ 2147483647 h 400"/>
                <a:gd name="T34" fmla="*/ 2147483647 w 212"/>
                <a:gd name="T35" fmla="*/ 2147483647 h 400"/>
                <a:gd name="T36" fmla="*/ 2147483647 w 212"/>
                <a:gd name="T37" fmla="*/ 2147483647 h 400"/>
                <a:gd name="T38" fmla="*/ 0 w 212"/>
                <a:gd name="T39" fmla="*/ 2147483647 h 40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12" h="400">
                  <a:moveTo>
                    <a:pt x="0" y="10"/>
                  </a:moveTo>
                  <a:lnTo>
                    <a:pt x="31" y="0"/>
                  </a:lnTo>
                  <a:lnTo>
                    <a:pt x="155" y="33"/>
                  </a:lnTo>
                  <a:lnTo>
                    <a:pt x="187" y="21"/>
                  </a:lnTo>
                  <a:lnTo>
                    <a:pt x="212" y="21"/>
                  </a:lnTo>
                  <a:lnTo>
                    <a:pt x="187" y="56"/>
                  </a:lnTo>
                  <a:lnTo>
                    <a:pt x="180" y="33"/>
                  </a:lnTo>
                  <a:lnTo>
                    <a:pt x="149" y="44"/>
                  </a:lnTo>
                  <a:lnTo>
                    <a:pt x="149" y="167"/>
                  </a:lnTo>
                  <a:lnTo>
                    <a:pt x="130" y="167"/>
                  </a:lnTo>
                  <a:lnTo>
                    <a:pt x="130" y="256"/>
                  </a:lnTo>
                  <a:lnTo>
                    <a:pt x="130" y="379"/>
                  </a:lnTo>
                  <a:lnTo>
                    <a:pt x="119" y="400"/>
                  </a:lnTo>
                  <a:lnTo>
                    <a:pt x="99" y="400"/>
                  </a:lnTo>
                  <a:lnTo>
                    <a:pt x="87" y="379"/>
                  </a:lnTo>
                  <a:lnTo>
                    <a:pt x="80" y="390"/>
                  </a:lnTo>
                  <a:lnTo>
                    <a:pt x="55" y="346"/>
                  </a:lnTo>
                  <a:lnTo>
                    <a:pt x="50" y="200"/>
                  </a:lnTo>
                  <a:lnTo>
                    <a:pt x="50" y="188"/>
                  </a:lnTo>
                  <a:lnTo>
                    <a:pt x="0" y="1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66" name="Freeform 1041"/>
            <p:cNvSpPr>
              <a:spLocks/>
            </p:cNvSpPr>
            <p:nvPr>
              <p:custDataLst>
                <p:tags r:id="rId874"/>
              </p:custDataLst>
            </p:nvPr>
          </p:nvSpPr>
          <p:spPr bwMode="auto">
            <a:xfrm>
              <a:off x="5529854" y="4076282"/>
              <a:ext cx="246602" cy="182563"/>
            </a:xfrm>
            <a:custGeom>
              <a:avLst/>
              <a:gdLst>
                <a:gd name="T0" fmla="*/ 0 w 133"/>
                <a:gd name="T1" fmla="*/ 2147483647 h 231"/>
                <a:gd name="T2" fmla="*/ 2147483647 w 133"/>
                <a:gd name="T3" fmla="*/ 0 h 231"/>
                <a:gd name="T4" fmla="*/ 2147483647 w 133"/>
                <a:gd name="T5" fmla="*/ 2147483647 h 231"/>
                <a:gd name="T6" fmla="*/ 2147483647 w 133"/>
                <a:gd name="T7" fmla="*/ 2147483647 h 231"/>
                <a:gd name="T8" fmla="*/ 2147483647 w 133"/>
                <a:gd name="T9" fmla="*/ 2147483647 h 231"/>
                <a:gd name="T10" fmla="*/ 2147483647 w 133"/>
                <a:gd name="T11" fmla="*/ 2147483647 h 231"/>
                <a:gd name="T12" fmla="*/ 2147483647 w 133"/>
                <a:gd name="T13" fmla="*/ 2147483647 h 231"/>
                <a:gd name="T14" fmla="*/ 2147483647 w 133"/>
                <a:gd name="T15" fmla="*/ 2147483647 h 231"/>
                <a:gd name="T16" fmla="*/ 2147483647 w 133"/>
                <a:gd name="T17" fmla="*/ 2147483647 h 231"/>
                <a:gd name="T18" fmla="*/ 0 w 133"/>
                <a:gd name="T19" fmla="*/ 2147483647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3" h="231">
                  <a:moveTo>
                    <a:pt x="0" y="231"/>
                  </a:moveTo>
                  <a:lnTo>
                    <a:pt x="58" y="0"/>
                  </a:lnTo>
                  <a:lnTo>
                    <a:pt x="127" y="10"/>
                  </a:lnTo>
                  <a:lnTo>
                    <a:pt x="133" y="22"/>
                  </a:lnTo>
                  <a:lnTo>
                    <a:pt x="127" y="66"/>
                  </a:lnTo>
                  <a:lnTo>
                    <a:pt x="76" y="54"/>
                  </a:lnTo>
                  <a:lnTo>
                    <a:pt x="76" y="143"/>
                  </a:lnTo>
                  <a:lnTo>
                    <a:pt x="58" y="166"/>
                  </a:lnTo>
                  <a:lnTo>
                    <a:pt x="64" y="221"/>
                  </a:lnTo>
                  <a:lnTo>
                    <a:pt x="0" y="231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67" name="Freeform 1042"/>
            <p:cNvSpPr>
              <a:spLocks/>
            </p:cNvSpPr>
            <p:nvPr>
              <p:custDataLst>
                <p:tags r:id="rId875"/>
              </p:custDataLst>
            </p:nvPr>
          </p:nvSpPr>
          <p:spPr bwMode="auto">
            <a:xfrm>
              <a:off x="5529854" y="4076282"/>
              <a:ext cx="246602" cy="182563"/>
            </a:xfrm>
            <a:custGeom>
              <a:avLst/>
              <a:gdLst>
                <a:gd name="T0" fmla="*/ 0 w 133"/>
                <a:gd name="T1" fmla="*/ 2147483647 h 231"/>
                <a:gd name="T2" fmla="*/ 2147483647 w 133"/>
                <a:gd name="T3" fmla="*/ 0 h 231"/>
                <a:gd name="T4" fmla="*/ 2147483647 w 133"/>
                <a:gd name="T5" fmla="*/ 2147483647 h 231"/>
                <a:gd name="T6" fmla="*/ 2147483647 w 133"/>
                <a:gd name="T7" fmla="*/ 2147483647 h 231"/>
                <a:gd name="T8" fmla="*/ 2147483647 w 133"/>
                <a:gd name="T9" fmla="*/ 2147483647 h 231"/>
                <a:gd name="T10" fmla="*/ 2147483647 w 133"/>
                <a:gd name="T11" fmla="*/ 2147483647 h 231"/>
                <a:gd name="T12" fmla="*/ 2147483647 w 133"/>
                <a:gd name="T13" fmla="*/ 2147483647 h 231"/>
                <a:gd name="T14" fmla="*/ 2147483647 w 133"/>
                <a:gd name="T15" fmla="*/ 2147483647 h 231"/>
                <a:gd name="T16" fmla="*/ 2147483647 w 133"/>
                <a:gd name="T17" fmla="*/ 2147483647 h 231"/>
                <a:gd name="T18" fmla="*/ 0 w 133"/>
                <a:gd name="T19" fmla="*/ 2147483647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3" h="231">
                  <a:moveTo>
                    <a:pt x="0" y="231"/>
                  </a:moveTo>
                  <a:lnTo>
                    <a:pt x="58" y="0"/>
                  </a:lnTo>
                  <a:lnTo>
                    <a:pt x="127" y="10"/>
                  </a:lnTo>
                  <a:lnTo>
                    <a:pt x="133" y="22"/>
                  </a:lnTo>
                  <a:lnTo>
                    <a:pt x="127" y="66"/>
                  </a:lnTo>
                  <a:lnTo>
                    <a:pt x="76" y="54"/>
                  </a:lnTo>
                  <a:lnTo>
                    <a:pt x="76" y="143"/>
                  </a:lnTo>
                  <a:lnTo>
                    <a:pt x="58" y="166"/>
                  </a:lnTo>
                  <a:lnTo>
                    <a:pt x="64" y="221"/>
                  </a:lnTo>
                  <a:lnTo>
                    <a:pt x="0" y="231"/>
                  </a:lnTo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68" name="Freeform 1043"/>
            <p:cNvSpPr>
              <a:spLocks/>
            </p:cNvSpPr>
            <p:nvPr>
              <p:custDataLst>
                <p:tags r:id="rId876"/>
              </p:custDataLst>
            </p:nvPr>
          </p:nvSpPr>
          <p:spPr bwMode="auto">
            <a:xfrm>
              <a:off x="5529854" y="4076282"/>
              <a:ext cx="246602" cy="182563"/>
            </a:xfrm>
            <a:custGeom>
              <a:avLst/>
              <a:gdLst>
                <a:gd name="T0" fmla="*/ 0 w 133"/>
                <a:gd name="T1" fmla="*/ 2147483647 h 231"/>
                <a:gd name="T2" fmla="*/ 2147483647 w 133"/>
                <a:gd name="T3" fmla="*/ 0 h 231"/>
                <a:gd name="T4" fmla="*/ 2147483647 w 133"/>
                <a:gd name="T5" fmla="*/ 2147483647 h 231"/>
                <a:gd name="T6" fmla="*/ 2147483647 w 133"/>
                <a:gd name="T7" fmla="*/ 2147483647 h 231"/>
                <a:gd name="T8" fmla="*/ 2147483647 w 133"/>
                <a:gd name="T9" fmla="*/ 2147483647 h 231"/>
                <a:gd name="T10" fmla="*/ 2147483647 w 133"/>
                <a:gd name="T11" fmla="*/ 2147483647 h 231"/>
                <a:gd name="T12" fmla="*/ 2147483647 w 133"/>
                <a:gd name="T13" fmla="*/ 2147483647 h 231"/>
                <a:gd name="T14" fmla="*/ 2147483647 w 133"/>
                <a:gd name="T15" fmla="*/ 2147483647 h 231"/>
                <a:gd name="T16" fmla="*/ 2147483647 w 133"/>
                <a:gd name="T17" fmla="*/ 2147483647 h 231"/>
                <a:gd name="T18" fmla="*/ 0 w 133"/>
                <a:gd name="T19" fmla="*/ 2147483647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3" h="231">
                  <a:moveTo>
                    <a:pt x="0" y="231"/>
                  </a:moveTo>
                  <a:lnTo>
                    <a:pt x="58" y="0"/>
                  </a:lnTo>
                  <a:lnTo>
                    <a:pt x="127" y="10"/>
                  </a:lnTo>
                  <a:lnTo>
                    <a:pt x="133" y="22"/>
                  </a:lnTo>
                  <a:lnTo>
                    <a:pt x="127" y="66"/>
                  </a:lnTo>
                  <a:lnTo>
                    <a:pt x="76" y="54"/>
                  </a:lnTo>
                  <a:lnTo>
                    <a:pt x="76" y="143"/>
                  </a:lnTo>
                  <a:lnTo>
                    <a:pt x="58" y="166"/>
                  </a:lnTo>
                  <a:lnTo>
                    <a:pt x="64" y="221"/>
                  </a:lnTo>
                  <a:lnTo>
                    <a:pt x="0" y="231"/>
                  </a:lnTo>
                  <a:close/>
                </a:path>
              </a:pathLst>
            </a:custGeom>
            <a:solidFill>
              <a:srgbClr val="CCFFCC"/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69" name="Freeform 1044"/>
            <p:cNvSpPr>
              <a:spLocks/>
            </p:cNvSpPr>
            <p:nvPr>
              <p:custDataLst>
                <p:tags r:id="rId877"/>
              </p:custDataLst>
            </p:nvPr>
          </p:nvSpPr>
          <p:spPr bwMode="auto">
            <a:xfrm>
              <a:off x="5529854" y="4076282"/>
              <a:ext cx="246602" cy="182563"/>
            </a:xfrm>
            <a:custGeom>
              <a:avLst/>
              <a:gdLst>
                <a:gd name="T0" fmla="*/ 0 w 133"/>
                <a:gd name="T1" fmla="*/ 2147483647 h 231"/>
                <a:gd name="T2" fmla="*/ 2147483647 w 133"/>
                <a:gd name="T3" fmla="*/ 0 h 231"/>
                <a:gd name="T4" fmla="*/ 2147483647 w 133"/>
                <a:gd name="T5" fmla="*/ 2147483647 h 231"/>
                <a:gd name="T6" fmla="*/ 2147483647 w 133"/>
                <a:gd name="T7" fmla="*/ 2147483647 h 231"/>
                <a:gd name="T8" fmla="*/ 2147483647 w 133"/>
                <a:gd name="T9" fmla="*/ 2147483647 h 231"/>
                <a:gd name="T10" fmla="*/ 2147483647 w 133"/>
                <a:gd name="T11" fmla="*/ 2147483647 h 231"/>
                <a:gd name="T12" fmla="*/ 2147483647 w 133"/>
                <a:gd name="T13" fmla="*/ 2147483647 h 231"/>
                <a:gd name="T14" fmla="*/ 2147483647 w 133"/>
                <a:gd name="T15" fmla="*/ 2147483647 h 231"/>
                <a:gd name="T16" fmla="*/ 2147483647 w 133"/>
                <a:gd name="T17" fmla="*/ 2147483647 h 231"/>
                <a:gd name="T18" fmla="*/ 0 w 133"/>
                <a:gd name="T19" fmla="*/ 2147483647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33" h="231">
                  <a:moveTo>
                    <a:pt x="0" y="231"/>
                  </a:moveTo>
                  <a:lnTo>
                    <a:pt x="58" y="0"/>
                  </a:lnTo>
                  <a:lnTo>
                    <a:pt x="127" y="10"/>
                  </a:lnTo>
                  <a:lnTo>
                    <a:pt x="133" y="22"/>
                  </a:lnTo>
                  <a:lnTo>
                    <a:pt x="127" y="66"/>
                  </a:lnTo>
                  <a:lnTo>
                    <a:pt x="76" y="54"/>
                  </a:lnTo>
                  <a:lnTo>
                    <a:pt x="76" y="143"/>
                  </a:lnTo>
                  <a:lnTo>
                    <a:pt x="58" y="166"/>
                  </a:lnTo>
                  <a:lnTo>
                    <a:pt x="64" y="221"/>
                  </a:lnTo>
                  <a:lnTo>
                    <a:pt x="0" y="23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70" name="Freeform 1045"/>
            <p:cNvSpPr>
              <a:spLocks/>
            </p:cNvSpPr>
            <p:nvPr>
              <p:custDataLst>
                <p:tags r:id="rId878"/>
              </p:custDataLst>
            </p:nvPr>
          </p:nvSpPr>
          <p:spPr bwMode="auto">
            <a:xfrm>
              <a:off x="6642572" y="4206454"/>
              <a:ext cx="477165" cy="493713"/>
            </a:xfrm>
            <a:custGeom>
              <a:avLst/>
              <a:gdLst>
                <a:gd name="T0" fmla="*/ 0 w 257"/>
                <a:gd name="T1" fmla="*/ 2147483647 h 622"/>
                <a:gd name="T2" fmla="*/ 2147483647 w 257"/>
                <a:gd name="T3" fmla="*/ 2147483647 h 622"/>
                <a:gd name="T4" fmla="*/ 2147483647 w 257"/>
                <a:gd name="T5" fmla="*/ 2147483647 h 622"/>
                <a:gd name="T6" fmla="*/ 2147483647 w 257"/>
                <a:gd name="T7" fmla="*/ 2147483647 h 622"/>
                <a:gd name="T8" fmla="*/ 2147483647 w 257"/>
                <a:gd name="T9" fmla="*/ 2147483647 h 622"/>
                <a:gd name="T10" fmla="*/ 2147483647 w 257"/>
                <a:gd name="T11" fmla="*/ 2147483647 h 622"/>
                <a:gd name="T12" fmla="*/ 2147483647 w 257"/>
                <a:gd name="T13" fmla="*/ 2147483647 h 622"/>
                <a:gd name="T14" fmla="*/ 2147483647 w 257"/>
                <a:gd name="T15" fmla="*/ 2147483647 h 622"/>
                <a:gd name="T16" fmla="*/ 2147483647 w 257"/>
                <a:gd name="T17" fmla="*/ 2147483647 h 622"/>
                <a:gd name="T18" fmla="*/ 2147483647 w 257"/>
                <a:gd name="T19" fmla="*/ 2147483647 h 622"/>
                <a:gd name="T20" fmla="*/ 2147483647 w 257"/>
                <a:gd name="T21" fmla="*/ 2147483647 h 622"/>
                <a:gd name="T22" fmla="*/ 2147483647 w 257"/>
                <a:gd name="T23" fmla="*/ 2147483647 h 622"/>
                <a:gd name="T24" fmla="*/ 2147483647 w 257"/>
                <a:gd name="T25" fmla="*/ 2147483647 h 622"/>
                <a:gd name="T26" fmla="*/ 2147483647 w 257"/>
                <a:gd name="T27" fmla="*/ 2147483647 h 622"/>
                <a:gd name="T28" fmla="*/ 2147483647 w 257"/>
                <a:gd name="T29" fmla="*/ 2147483647 h 622"/>
                <a:gd name="T30" fmla="*/ 2147483647 w 257"/>
                <a:gd name="T31" fmla="*/ 2147483647 h 622"/>
                <a:gd name="T32" fmla="*/ 2147483647 w 257"/>
                <a:gd name="T33" fmla="*/ 2147483647 h 622"/>
                <a:gd name="T34" fmla="*/ 2147483647 w 257"/>
                <a:gd name="T35" fmla="*/ 0 h 622"/>
                <a:gd name="T36" fmla="*/ 2147483647 w 257"/>
                <a:gd name="T37" fmla="*/ 2147483647 h 622"/>
                <a:gd name="T38" fmla="*/ 2147483647 w 257"/>
                <a:gd name="T39" fmla="*/ 2147483647 h 622"/>
                <a:gd name="T40" fmla="*/ 2147483647 w 257"/>
                <a:gd name="T41" fmla="*/ 2147483647 h 622"/>
                <a:gd name="T42" fmla="*/ 2147483647 w 257"/>
                <a:gd name="T43" fmla="*/ 2147483647 h 622"/>
                <a:gd name="T44" fmla="*/ 2147483647 w 257"/>
                <a:gd name="T45" fmla="*/ 2147483647 h 622"/>
                <a:gd name="T46" fmla="*/ 2147483647 w 257"/>
                <a:gd name="T47" fmla="*/ 2147483647 h 622"/>
                <a:gd name="T48" fmla="*/ 2147483647 w 257"/>
                <a:gd name="T49" fmla="*/ 2147483647 h 622"/>
                <a:gd name="T50" fmla="*/ 0 w 257"/>
                <a:gd name="T51" fmla="*/ 2147483647 h 62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7" h="622">
                  <a:moveTo>
                    <a:pt x="0" y="322"/>
                  </a:moveTo>
                  <a:lnTo>
                    <a:pt x="12" y="390"/>
                  </a:lnTo>
                  <a:lnTo>
                    <a:pt x="25" y="455"/>
                  </a:lnTo>
                  <a:lnTo>
                    <a:pt x="50" y="489"/>
                  </a:lnTo>
                  <a:lnTo>
                    <a:pt x="87" y="578"/>
                  </a:lnTo>
                  <a:lnTo>
                    <a:pt x="143" y="622"/>
                  </a:lnTo>
                  <a:lnTo>
                    <a:pt x="187" y="610"/>
                  </a:lnTo>
                  <a:lnTo>
                    <a:pt x="219" y="601"/>
                  </a:lnTo>
                  <a:lnTo>
                    <a:pt x="201" y="534"/>
                  </a:lnTo>
                  <a:lnTo>
                    <a:pt x="175" y="489"/>
                  </a:lnTo>
                  <a:lnTo>
                    <a:pt x="193" y="466"/>
                  </a:lnTo>
                  <a:lnTo>
                    <a:pt x="193" y="411"/>
                  </a:lnTo>
                  <a:lnTo>
                    <a:pt x="225" y="332"/>
                  </a:lnTo>
                  <a:lnTo>
                    <a:pt x="238" y="188"/>
                  </a:lnTo>
                  <a:lnTo>
                    <a:pt x="257" y="167"/>
                  </a:lnTo>
                  <a:lnTo>
                    <a:pt x="243" y="132"/>
                  </a:lnTo>
                  <a:lnTo>
                    <a:pt x="231" y="32"/>
                  </a:lnTo>
                  <a:lnTo>
                    <a:pt x="212" y="0"/>
                  </a:lnTo>
                  <a:lnTo>
                    <a:pt x="187" y="44"/>
                  </a:lnTo>
                  <a:lnTo>
                    <a:pt x="50" y="32"/>
                  </a:lnTo>
                  <a:lnTo>
                    <a:pt x="50" y="100"/>
                  </a:lnTo>
                  <a:lnTo>
                    <a:pt x="37" y="100"/>
                  </a:lnTo>
                  <a:lnTo>
                    <a:pt x="37" y="109"/>
                  </a:lnTo>
                  <a:lnTo>
                    <a:pt x="37" y="232"/>
                  </a:lnTo>
                  <a:lnTo>
                    <a:pt x="18" y="244"/>
                  </a:lnTo>
                  <a:lnTo>
                    <a:pt x="0" y="32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71" name="Freeform 1046"/>
            <p:cNvSpPr>
              <a:spLocks/>
            </p:cNvSpPr>
            <p:nvPr>
              <p:custDataLst>
                <p:tags r:id="rId879"/>
              </p:custDataLst>
            </p:nvPr>
          </p:nvSpPr>
          <p:spPr bwMode="auto">
            <a:xfrm>
              <a:off x="6642572" y="4206454"/>
              <a:ext cx="477165" cy="493713"/>
            </a:xfrm>
            <a:custGeom>
              <a:avLst/>
              <a:gdLst>
                <a:gd name="T0" fmla="*/ 0 w 257"/>
                <a:gd name="T1" fmla="*/ 2147483647 h 622"/>
                <a:gd name="T2" fmla="*/ 2147483647 w 257"/>
                <a:gd name="T3" fmla="*/ 2147483647 h 622"/>
                <a:gd name="T4" fmla="*/ 2147483647 w 257"/>
                <a:gd name="T5" fmla="*/ 2147483647 h 622"/>
                <a:gd name="T6" fmla="*/ 2147483647 w 257"/>
                <a:gd name="T7" fmla="*/ 2147483647 h 622"/>
                <a:gd name="T8" fmla="*/ 2147483647 w 257"/>
                <a:gd name="T9" fmla="*/ 2147483647 h 622"/>
                <a:gd name="T10" fmla="*/ 2147483647 w 257"/>
                <a:gd name="T11" fmla="*/ 2147483647 h 622"/>
                <a:gd name="T12" fmla="*/ 2147483647 w 257"/>
                <a:gd name="T13" fmla="*/ 2147483647 h 622"/>
                <a:gd name="T14" fmla="*/ 2147483647 w 257"/>
                <a:gd name="T15" fmla="*/ 2147483647 h 622"/>
                <a:gd name="T16" fmla="*/ 2147483647 w 257"/>
                <a:gd name="T17" fmla="*/ 2147483647 h 622"/>
                <a:gd name="T18" fmla="*/ 2147483647 w 257"/>
                <a:gd name="T19" fmla="*/ 2147483647 h 622"/>
                <a:gd name="T20" fmla="*/ 2147483647 w 257"/>
                <a:gd name="T21" fmla="*/ 2147483647 h 622"/>
                <a:gd name="T22" fmla="*/ 2147483647 w 257"/>
                <a:gd name="T23" fmla="*/ 2147483647 h 622"/>
                <a:gd name="T24" fmla="*/ 2147483647 w 257"/>
                <a:gd name="T25" fmla="*/ 2147483647 h 622"/>
                <a:gd name="T26" fmla="*/ 2147483647 w 257"/>
                <a:gd name="T27" fmla="*/ 2147483647 h 622"/>
                <a:gd name="T28" fmla="*/ 2147483647 w 257"/>
                <a:gd name="T29" fmla="*/ 2147483647 h 622"/>
                <a:gd name="T30" fmla="*/ 2147483647 w 257"/>
                <a:gd name="T31" fmla="*/ 2147483647 h 622"/>
                <a:gd name="T32" fmla="*/ 2147483647 w 257"/>
                <a:gd name="T33" fmla="*/ 2147483647 h 622"/>
                <a:gd name="T34" fmla="*/ 2147483647 w 257"/>
                <a:gd name="T35" fmla="*/ 0 h 622"/>
                <a:gd name="T36" fmla="*/ 2147483647 w 257"/>
                <a:gd name="T37" fmla="*/ 2147483647 h 622"/>
                <a:gd name="T38" fmla="*/ 2147483647 w 257"/>
                <a:gd name="T39" fmla="*/ 2147483647 h 622"/>
                <a:gd name="T40" fmla="*/ 2147483647 w 257"/>
                <a:gd name="T41" fmla="*/ 2147483647 h 622"/>
                <a:gd name="T42" fmla="*/ 2147483647 w 257"/>
                <a:gd name="T43" fmla="*/ 2147483647 h 622"/>
                <a:gd name="T44" fmla="*/ 2147483647 w 257"/>
                <a:gd name="T45" fmla="*/ 2147483647 h 622"/>
                <a:gd name="T46" fmla="*/ 2147483647 w 257"/>
                <a:gd name="T47" fmla="*/ 2147483647 h 622"/>
                <a:gd name="T48" fmla="*/ 2147483647 w 257"/>
                <a:gd name="T49" fmla="*/ 2147483647 h 622"/>
                <a:gd name="T50" fmla="*/ 0 w 257"/>
                <a:gd name="T51" fmla="*/ 2147483647 h 62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7" h="622">
                  <a:moveTo>
                    <a:pt x="0" y="322"/>
                  </a:moveTo>
                  <a:lnTo>
                    <a:pt x="12" y="390"/>
                  </a:lnTo>
                  <a:lnTo>
                    <a:pt x="25" y="455"/>
                  </a:lnTo>
                  <a:lnTo>
                    <a:pt x="50" y="489"/>
                  </a:lnTo>
                  <a:lnTo>
                    <a:pt x="87" y="578"/>
                  </a:lnTo>
                  <a:lnTo>
                    <a:pt x="143" y="622"/>
                  </a:lnTo>
                  <a:lnTo>
                    <a:pt x="187" y="610"/>
                  </a:lnTo>
                  <a:lnTo>
                    <a:pt x="219" y="601"/>
                  </a:lnTo>
                  <a:lnTo>
                    <a:pt x="201" y="534"/>
                  </a:lnTo>
                  <a:lnTo>
                    <a:pt x="175" y="489"/>
                  </a:lnTo>
                  <a:lnTo>
                    <a:pt x="193" y="466"/>
                  </a:lnTo>
                  <a:lnTo>
                    <a:pt x="193" y="411"/>
                  </a:lnTo>
                  <a:lnTo>
                    <a:pt x="225" y="332"/>
                  </a:lnTo>
                  <a:lnTo>
                    <a:pt x="238" y="188"/>
                  </a:lnTo>
                  <a:lnTo>
                    <a:pt x="257" y="167"/>
                  </a:lnTo>
                  <a:lnTo>
                    <a:pt x="243" y="132"/>
                  </a:lnTo>
                  <a:lnTo>
                    <a:pt x="231" y="32"/>
                  </a:lnTo>
                  <a:lnTo>
                    <a:pt x="212" y="0"/>
                  </a:lnTo>
                  <a:lnTo>
                    <a:pt x="187" y="44"/>
                  </a:lnTo>
                  <a:lnTo>
                    <a:pt x="50" y="32"/>
                  </a:lnTo>
                  <a:lnTo>
                    <a:pt x="50" y="100"/>
                  </a:lnTo>
                  <a:lnTo>
                    <a:pt x="37" y="100"/>
                  </a:lnTo>
                  <a:lnTo>
                    <a:pt x="37" y="109"/>
                  </a:lnTo>
                  <a:lnTo>
                    <a:pt x="37" y="232"/>
                  </a:lnTo>
                  <a:lnTo>
                    <a:pt x="18" y="244"/>
                  </a:lnTo>
                  <a:lnTo>
                    <a:pt x="0" y="32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72" name="Freeform 1047"/>
            <p:cNvSpPr>
              <a:spLocks/>
            </p:cNvSpPr>
            <p:nvPr>
              <p:custDataLst>
                <p:tags r:id="rId880"/>
              </p:custDataLst>
            </p:nvPr>
          </p:nvSpPr>
          <p:spPr bwMode="auto">
            <a:xfrm>
              <a:off x="6642572" y="4206454"/>
              <a:ext cx="477165" cy="493713"/>
            </a:xfrm>
            <a:custGeom>
              <a:avLst/>
              <a:gdLst>
                <a:gd name="T0" fmla="*/ 0 w 257"/>
                <a:gd name="T1" fmla="*/ 2147483647 h 622"/>
                <a:gd name="T2" fmla="*/ 2147483647 w 257"/>
                <a:gd name="T3" fmla="*/ 2147483647 h 622"/>
                <a:gd name="T4" fmla="*/ 2147483647 w 257"/>
                <a:gd name="T5" fmla="*/ 2147483647 h 622"/>
                <a:gd name="T6" fmla="*/ 2147483647 w 257"/>
                <a:gd name="T7" fmla="*/ 2147483647 h 622"/>
                <a:gd name="T8" fmla="*/ 2147483647 w 257"/>
                <a:gd name="T9" fmla="*/ 2147483647 h 622"/>
                <a:gd name="T10" fmla="*/ 2147483647 w 257"/>
                <a:gd name="T11" fmla="*/ 2147483647 h 622"/>
                <a:gd name="T12" fmla="*/ 2147483647 w 257"/>
                <a:gd name="T13" fmla="*/ 2147483647 h 622"/>
                <a:gd name="T14" fmla="*/ 2147483647 w 257"/>
                <a:gd name="T15" fmla="*/ 2147483647 h 622"/>
                <a:gd name="T16" fmla="*/ 2147483647 w 257"/>
                <a:gd name="T17" fmla="*/ 2147483647 h 622"/>
                <a:gd name="T18" fmla="*/ 2147483647 w 257"/>
                <a:gd name="T19" fmla="*/ 2147483647 h 622"/>
                <a:gd name="T20" fmla="*/ 2147483647 w 257"/>
                <a:gd name="T21" fmla="*/ 2147483647 h 622"/>
                <a:gd name="T22" fmla="*/ 2147483647 w 257"/>
                <a:gd name="T23" fmla="*/ 2147483647 h 622"/>
                <a:gd name="T24" fmla="*/ 2147483647 w 257"/>
                <a:gd name="T25" fmla="*/ 2147483647 h 622"/>
                <a:gd name="T26" fmla="*/ 2147483647 w 257"/>
                <a:gd name="T27" fmla="*/ 2147483647 h 622"/>
                <a:gd name="T28" fmla="*/ 2147483647 w 257"/>
                <a:gd name="T29" fmla="*/ 2147483647 h 622"/>
                <a:gd name="T30" fmla="*/ 2147483647 w 257"/>
                <a:gd name="T31" fmla="*/ 2147483647 h 622"/>
                <a:gd name="T32" fmla="*/ 2147483647 w 257"/>
                <a:gd name="T33" fmla="*/ 2147483647 h 622"/>
                <a:gd name="T34" fmla="*/ 2147483647 w 257"/>
                <a:gd name="T35" fmla="*/ 0 h 622"/>
                <a:gd name="T36" fmla="*/ 2147483647 w 257"/>
                <a:gd name="T37" fmla="*/ 2147483647 h 622"/>
                <a:gd name="T38" fmla="*/ 2147483647 w 257"/>
                <a:gd name="T39" fmla="*/ 2147483647 h 622"/>
                <a:gd name="T40" fmla="*/ 2147483647 w 257"/>
                <a:gd name="T41" fmla="*/ 2147483647 h 622"/>
                <a:gd name="T42" fmla="*/ 2147483647 w 257"/>
                <a:gd name="T43" fmla="*/ 2147483647 h 622"/>
                <a:gd name="T44" fmla="*/ 2147483647 w 257"/>
                <a:gd name="T45" fmla="*/ 2147483647 h 622"/>
                <a:gd name="T46" fmla="*/ 2147483647 w 257"/>
                <a:gd name="T47" fmla="*/ 2147483647 h 622"/>
                <a:gd name="T48" fmla="*/ 2147483647 w 257"/>
                <a:gd name="T49" fmla="*/ 2147483647 h 622"/>
                <a:gd name="T50" fmla="*/ 0 w 257"/>
                <a:gd name="T51" fmla="*/ 2147483647 h 62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7" h="622">
                  <a:moveTo>
                    <a:pt x="0" y="322"/>
                  </a:moveTo>
                  <a:lnTo>
                    <a:pt x="12" y="390"/>
                  </a:lnTo>
                  <a:lnTo>
                    <a:pt x="25" y="455"/>
                  </a:lnTo>
                  <a:lnTo>
                    <a:pt x="50" y="489"/>
                  </a:lnTo>
                  <a:lnTo>
                    <a:pt x="87" y="578"/>
                  </a:lnTo>
                  <a:lnTo>
                    <a:pt x="143" y="622"/>
                  </a:lnTo>
                  <a:lnTo>
                    <a:pt x="187" y="610"/>
                  </a:lnTo>
                  <a:lnTo>
                    <a:pt x="219" y="601"/>
                  </a:lnTo>
                  <a:lnTo>
                    <a:pt x="201" y="534"/>
                  </a:lnTo>
                  <a:lnTo>
                    <a:pt x="175" y="489"/>
                  </a:lnTo>
                  <a:lnTo>
                    <a:pt x="193" y="466"/>
                  </a:lnTo>
                  <a:lnTo>
                    <a:pt x="193" y="411"/>
                  </a:lnTo>
                  <a:lnTo>
                    <a:pt x="225" y="332"/>
                  </a:lnTo>
                  <a:lnTo>
                    <a:pt x="238" y="188"/>
                  </a:lnTo>
                  <a:lnTo>
                    <a:pt x="257" y="167"/>
                  </a:lnTo>
                  <a:lnTo>
                    <a:pt x="243" y="132"/>
                  </a:lnTo>
                  <a:lnTo>
                    <a:pt x="231" y="32"/>
                  </a:lnTo>
                  <a:lnTo>
                    <a:pt x="212" y="0"/>
                  </a:lnTo>
                  <a:lnTo>
                    <a:pt x="187" y="44"/>
                  </a:lnTo>
                  <a:lnTo>
                    <a:pt x="50" y="32"/>
                  </a:lnTo>
                  <a:lnTo>
                    <a:pt x="50" y="100"/>
                  </a:lnTo>
                  <a:lnTo>
                    <a:pt x="37" y="100"/>
                  </a:lnTo>
                  <a:lnTo>
                    <a:pt x="37" y="109"/>
                  </a:lnTo>
                  <a:lnTo>
                    <a:pt x="37" y="232"/>
                  </a:lnTo>
                  <a:lnTo>
                    <a:pt x="18" y="244"/>
                  </a:lnTo>
                  <a:lnTo>
                    <a:pt x="0" y="32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73" name="Freeform 1048"/>
            <p:cNvSpPr>
              <a:spLocks/>
            </p:cNvSpPr>
            <p:nvPr>
              <p:custDataLst>
                <p:tags r:id="rId881"/>
              </p:custDataLst>
            </p:nvPr>
          </p:nvSpPr>
          <p:spPr bwMode="auto">
            <a:xfrm>
              <a:off x="6642572" y="4206454"/>
              <a:ext cx="477165" cy="493713"/>
            </a:xfrm>
            <a:custGeom>
              <a:avLst/>
              <a:gdLst>
                <a:gd name="T0" fmla="*/ 0 w 257"/>
                <a:gd name="T1" fmla="*/ 2147483647 h 622"/>
                <a:gd name="T2" fmla="*/ 2147483647 w 257"/>
                <a:gd name="T3" fmla="*/ 2147483647 h 622"/>
                <a:gd name="T4" fmla="*/ 2147483647 w 257"/>
                <a:gd name="T5" fmla="*/ 2147483647 h 622"/>
                <a:gd name="T6" fmla="*/ 2147483647 w 257"/>
                <a:gd name="T7" fmla="*/ 2147483647 h 622"/>
                <a:gd name="T8" fmla="*/ 2147483647 w 257"/>
                <a:gd name="T9" fmla="*/ 2147483647 h 622"/>
                <a:gd name="T10" fmla="*/ 2147483647 w 257"/>
                <a:gd name="T11" fmla="*/ 2147483647 h 622"/>
                <a:gd name="T12" fmla="*/ 2147483647 w 257"/>
                <a:gd name="T13" fmla="*/ 2147483647 h 622"/>
                <a:gd name="T14" fmla="*/ 2147483647 w 257"/>
                <a:gd name="T15" fmla="*/ 2147483647 h 622"/>
                <a:gd name="T16" fmla="*/ 2147483647 w 257"/>
                <a:gd name="T17" fmla="*/ 2147483647 h 622"/>
                <a:gd name="T18" fmla="*/ 2147483647 w 257"/>
                <a:gd name="T19" fmla="*/ 2147483647 h 622"/>
                <a:gd name="T20" fmla="*/ 2147483647 w 257"/>
                <a:gd name="T21" fmla="*/ 2147483647 h 622"/>
                <a:gd name="T22" fmla="*/ 2147483647 w 257"/>
                <a:gd name="T23" fmla="*/ 2147483647 h 622"/>
                <a:gd name="T24" fmla="*/ 2147483647 w 257"/>
                <a:gd name="T25" fmla="*/ 2147483647 h 622"/>
                <a:gd name="T26" fmla="*/ 2147483647 w 257"/>
                <a:gd name="T27" fmla="*/ 2147483647 h 622"/>
                <a:gd name="T28" fmla="*/ 2147483647 w 257"/>
                <a:gd name="T29" fmla="*/ 2147483647 h 622"/>
                <a:gd name="T30" fmla="*/ 2147483647 w 257"/>
                <a:gd name="T31" fmla="*/ 2147483647 h 622"/>
                <a:gd name="T32" fmla="*/ 2147483647 w 257"/>
                <a:gd name="T33" fmla="*/ 2147483647 h 622"/>
                <a:gd name="T34" fmla="*/ 2147483647 w 257"/>
                <a:gd name="T35" fmla="*/ 0 h 622"/>
                <a:gd name="T36" fmla="*/ 2147483647 w 257"/>
                <a:gd name="T37" fmla="*/ 2147483647 h 622"/>
                <a:gd name="T38" fmla="*/ 2147483647 w 257"/>
                <a:gd name="T39" fmla="*/ 2147483647 h 622"/>
                <a:gd name="T40" fmla="*/ 2147483647 w 257"/>
                <a:gd name="T41" fmla="*/ 2147483647 h 622"/>
                <a:gd name="T42" fmla="*/ 2147483647 w 257"/>
                <a:gd name="T43" fmla="*/ 2147483647 h 622"/>
                <a:gd name="T44" fmla="*/ 2147483647 w 257"/>
                <a:gd name="T45" fmla="*/ 2147483647 h 622"/>
                <a:gd name="T46" fmla="*/ 2147483647 w 257"/>
                <a:gd name="T47" fmla="*/ 2147483647 h 622"/>
                <a:gd name="T48" fmla="*/ 2147483647 w 257"/>
                <a:gd name="T49" fmla="*/ 2147483647 h 622"/>
                <a:gd name="T50" fmla="*/ 0 w 257"/>
                <a:gd name="T51" fmla="*/ 2147483647 h 62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7" h="622">
                  <a:moveTo>
                    <a:pt x="0" y="322"/>
                  </a:moveTo>
                  <a:lnTo>
                    <a:pt x="12" y="390"/>
                  </a:lnTo>
                  <a:lnTo>
                    <a:pt x="25" y="455"/>
                  </a:lnTo>
                  <a:lnTo>
                    <a:pt x="50" y="489"/>
                  </a:lnTo>
                  <a:lnTo>
                    <a:pt x="87" y="578"/>
                  </a:lnTo>
                  <a:lnTo>
                    <a:pt x="143" y="622"/>
                  </a:lnTo>
                  <a:lnTo>
                    <a:pt x="187" y="610"/>
                  </a:lnTo>
                  <a:lnTo>
                    <a:pt x="219" y="601"/>
                  </a:lnTo>
                  <a:lnTo>
                    <a:pt x="201" y="534"/>
                  </a:lnTo>
                  <a:lnTo>
                    <a:pt x="175" y="489"/>
                  </a:lnTo>
                  <a:lnTo>
                    <a:pt x="193" y="466"/>
                  </a:lnTo>
                  <a:lnTo>
                    <a:pt x="193" y="411"/>
                  </a:lnTo>
                  <a:lnTo>
                    <a:pt x="225" y="332"/>
                  </a:lnTo>
                  <a:lnTo>
                    <a:pt x="238" y="188"/>
                  </a:lnTo>
                  <a:lnTo>
                    <a:pt x="257" y="167"/>
                  </a:lnTo>
                  <a:lnTo>
                    <a:pt x="243" y="132"/>
                  </a:lnTo>
                  <a:lnTo>
                    <a:pt x="231" y="32"/>
                  </a:lnTo>
                  <a:lnTo>
                    <a:pt x="212" y="0"/>
                  </a:lnTo>
                  <a:lnTo>
                    <a:pt x="187" y="44"/>
                  </a:lnTo>
                  <a:lnTo>
                    <a:pt x="50" y="32"/>
                  </a:lnTo>
                  <a:lnTo>
                    <a:pt x="50" y="100"/>
                  </a:lnTo>
                  <a:lnTo>
                    <a:pt x="37" y="100"/>
                  </a:lnTo>
                  <a:lnTo>
                    <a:pt x="37" y="109"/>
                  </a:lnTo>
                  <a:lnTo>
                    <a:pt x="37" y="232"/>
                  </a:lnTo>
                  <a:lnTo>
                    <a:pt x="18" y="244"/>
                  </a:lnTo>
                  <a:lnTo>
                    <a:pt x="0" y="32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74" name="Freeform 1049"/>
            <p:cNvSpPr>
              <a:spLocks/>
            </p:cNvSpPr>
            <p:nvPr>
              <p:custDataLst>
                <p:tags r:id="rId882"/>
              </p:custDataLst>
            </p:nvPr>
          </p:nvSpPr>
          <p:spPr bwMode="auto">
            <a:xfrm>
              <a:off x="6897197" y="5462158"/>
              <a:ext cx="34083" cy="36512"/>
            </a:xfrm>
            <a:custGeom>
              <a:avLst/>
              <a:gdLst>
                <a:gd name="T0" fmla="*/ 0 w 19"/>
                <a:gd name="T1" fmla="*/ 2147483647 h 46"/>
                <a:gd name="T2" fmla="*/ 2147483647 w 19"/>
                <a:gd name="T3" fmla="*/ 2147483647 h 46"/>
                <a:gd name="T4" fmla="*/ 2147483647 w 19"/>
                <a:gd name="T5" fmla="*/ 2147483647 h 46"/>
                <a:gd name="T6" fmla="*/ 2147483647 w 19"/>
                <a:gd name="T7" fmla="*/ 0 h 46"/>
                <a:gd name="T8" fmla="*/ 0 w 19"/>
                <a:gd name="T9" fmla="*/ 2147483647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46">
                  <a:moveTo>
                    <a:pt x="0" y="23"/>
                  </a:moveTo>
                  <a:lnTo>
                    <a:pt x="13" y="46"/>
                  </a:lnTo>
                  <a:lnTo>
                    <a:pt x="19" y="33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75" name="Freeform 1050"/>
            <p:cNvSpPr>
              <a:spLocks/>
            </p:cNvSpPr>
            <p:nvPr>
              <p:custDataLst>
                <p:tags r:id="rId883"/>
              </p:custDataLst>
            </p:nvPr>
          </p:nvSpPr>
          <p:spPr bwMode="auto">
            <a:xfrm>
              <a:off x="6897197" y="5462158"/>
              <a:ext cx="34083" cy="36512"/>
            </a:xfrm>
            <a:custGeom>
              <a:avLst/>
              <a:gdLst>
                <a:gd name="T0" fmla="*/ 0 w 19"/>
                <a:gd name="T1" fmla="*/ 2147483647 h 46"/>
                <a:gd name="T2" fmla="*/ 2147483647 w 19"/>
                <a:gd name="T3" fmla="*/ 2147483647 h 46"/>
                <a:gd name="T4" fmla="*/ 2147483647 w 19"/>
                <a:gd name="T5" fmla="*/ 2147483647 h 46"/>
                <a:gd name="T6" fmla="*/ 2147483647 w 19"/>
                <a:gd name="T7" fmla="*/ 0 h 46"/>
                <a:gd name="T8" fmla="*/ 0 w 19"/>
                <a:gd name="T9" fmla="*/ 2147483647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46">
                  <a:moveTo>
                    <a:pt x="0" y="23"/>
                  </a:moveTo>
                  <a:lnTo>
                    <a:pt x="13" y="46"/>
                  </a:lnTo>
                  <a:lnTo>
                    <a:pt x="19" y="33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76" name="Freeform 1051"/>
            <p:cNvSpPr>
              <a:spLocks/>
            </p:cNvSpPr>
            <p:nvPr>
              <p:custDataLst>
                <p:tags r:id="rId884"/>
              </p:custDataLst>
            </p:nvPr>
          </p:nvSpPr>
          <p:spPr bwMode="auto">
            <a:xfrm>
              <a:off x="6897197" y="5462158"/>
              <a:ext cx="34083" cy="36512"/>
            </a:xfrm>
            <a:custGeom>
              <a:avLst/>
              <a:gdLst>
                <a:gd name="T0" fmla="*/ 0 w 19"/>
                <a:gd name="T1" fmla="*/ 2147483647 h 46"/>
                <a:gd name="T2" fmla="*/ 2147483647 w 19"/>
                <a:gd name="T3" fmla="*/ 2147483647 h 46"/>
                <a:gd name="T4" fmla="*/ 2147483647 w 19"/>
                <a:gd name="T5" fmla="*/ 2147483647 h 46"/>
                <a:gd name="T6" fmla="*/ 2147483647 w 19"/>
                <a:gd name="T7" fmla="*/ 0 h 46"/>
                <a:gd name="T8" fmla="*/ 0 w 19"/>
                <a:gd name="T9" fmla="*/ 2147483647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46">
                  <a:moveTo>
                    <a:pt x="0" y="23"/>
                  </a:moveTo>
                  <a:lnTo>
                    <a:pt x="13" y="46"/>
                  </a:lnTo>
                  <a:lnTo>
                    <a:pt x="19" y="33"/>
                  </a:lnTo>
                  <a:lnTo>
                    <a:pt x="19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77" name="Freeform 1052"/>
            <p:cNvSpPr>
              <a:spLocks/>
            </p:cNvSpPr>
            <p:nvPr>
              <p:custDataLst>
                <p:tags r:id="rId885"/>
              </p:custDataLst>
            </p:nvPr>
          </p:nvSpPr>
          <p:spPr bwMode="auto">
            <a:xfrm>
              <a:off x="6897197" y="5462158"/>
              <a:ext cx="34083" cy="36512"/>
            </a:xfrm>
            <a:custGeom>
              <a:avLst/>
              <a:gdLst>
                <a:gd name="T0" fmla="*/ 0 w 19"/>
                <a:gd name="T1" fmla="*/ 2147483647 h 46"/>
                <a:gd name="T2" fmla="*/ 2147483647 w 19"/>
                <a:gd name="T3" fmla="*/ 2147483647 h 46"/>
                <a:gd name="T4" fmla="*/ 2147483647 w 19"/>
                <a:gd name="T5" fmla="*/ 2147483647 h 46"/>
                <a:gd name="T6" fmla="*/ 2147483647 w 19"/>
                <a:gd name="T7" fmla="*/ 0 h 46"/>
                <a:gd name="T8" fmla="*/ 0 w 19"/>
                <a:gd name="T9" fmla="*/ 2147483647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46">
                  <a:moveTo>
                    <a:pt x="0" y="23"/>
                  </a:moveTo>
                  <a:lnTo>
                    <a:pt x="13" y="46"/>
                  </a:lnTo>
                  <a:lnTo>
                    <a:pt x="19" y="33"/>
                  </a:lnTo>
                  <a:lnTo>
                    <a:pt x="19" y="0"/>
                  </a:lnTo>
                  <a:lnTo>
                    <a:pt x="0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78" name="Freeform 1053"/>
            <p:cNvSpPr>
              <a:spLocks/>
            </p:cNvSpPr>
            <p:nvPr>
              <p:custDataLst>
                <p:tags r:id="rId886"/>
              </p:custDataLst>
            </p:nvPr>
          </p:nvSpPr>
          <p:spPr bwMode="auto">
            <a:xfrm>
              <a:off x="6875160" y="4816045"/>
              <a:ext cx="300734" cy="274638"/>
            </a:xfrm>
            <a:custGeom>
              <a:avLst/>
              <a:gdLst>
                <a:gd name="T0" fmla="*/ 0 w 163"/>
                <a:gd name="T1" fmla="*/ 2147483647 h 346"/>
                <a:gd name="T2" fmla="*/ 0 w 163"/>
                <a:gd name="T3" fmla="*/ 2147483647 h 346"/>
                <a:gd name="T4" fmla="*/ 2147483647 w 163"/>
                <a:gd name="T5" fmla="*/ 2147483647 h 346"/>
                <a:gd name="T6" fmla="*/ 2147483647 w 163"/>
                <a:gd name="T7" fmla="*/ 2147483647 h 346"/>
                <a:gd name="T8" fmla="*/ 2147483647 w 163"/>
                <a:gd name="T9" fmla="*/ 2147483647 h 346"/>
                <a:gd name="T10" fmla="*/ 2147483647 w 163"/>
                <a:gd name="T11" fmla="*/ 2147483647 h 346"/>
                <a:gd name="T12" fmla="*/ 2147483647 w 163"/>
                <a:gd name="T13" fmla="*/ 2147483647 h 346"/>
                <a:gd name="T14" fmla="*/ 2147483647 w 163"/>
                <a:gd name="T15" fmla="*/ 2147483647 h 346"/>
                <a:gd name="T16" fmla="*/ 2147483647 w 163"/>
                <a:gd name="T17" fmla="*/ 2147483647 h 346"/>
                <a:gd name="T18" fmla="*/ 2147483647 w 163"/>
                <a:gd name="T19" fmla="*/ 2147483647 h 346"/>
                <a:gd name="T20" fmla="*/ 2147483647 w 163"/>
                <a:gd name="T21" fmla="*/ 0 h 346"/>
                <a:gd name="T22" fmla="*/ 2147483647 w 163"/>
                <a:gd name="T23" fmla="*/ 2147483647 h 346"/>
                <a:gd name="T24" fmla="*/ 2147483647 w 163"/>
                <a:gd name="T25" fmla="*/ 2147483647 h 346"/>
                <a:gd name="T26" fmla="*/ 2147483647 w 163"/>
                <a:gd name="T27" fmla="*/ 2147483647 h 346"/>
                <a:gd name="T28" fmla="*/ 2147483647 w 163"/>
                <a:gd name="T29" fmla="*/ 0 h 346"/>
                <a:gd name="T30" fmla="*/ 2147483647 w 163"/>
                <a:gd name="T31" fmla="*/ 2147483647 h 346"/>
                <a:gd name="T32" fmla="*/ 2147483647 w 163"/>
                <a:gd name="T33" fmla="*/ 2147483647 h 346"/>
                <a:gd name="T34" fmla="*/ 2147483647 w 163"/>
                <a:gd name="T35" fmla="*/ 2147483647 h 346"/>
                <a:gd name="T36" fmla="*/ 0 w 163"/>
                <a:gd name="T37" fmla="*/ 2147483647 h 34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63" h="346">
                  <a:moveTo>
                    <a:pt x="0" y="111"/>
                  </a:moveTo>
                  <a:lnTo>
                    <a:pt x="0" y="178"/>
                  </a:lnTo>
                  <a:lnTo>
                    <a:pt x="18" y="244"/>
                  </a:lnTo>
                  <a:lnTo>
                    <a:pt x="50" y="278"/>
                  </a:lnTo>
                  <a:lnTo>
                    <a:pt x="62" y="278"/>
                  </a:lnTo>
                  <a:lnTo>
                    <a:pt x="81" y="346"/>
                  </a:lnTo>
                  <a:lnTo>
                    <a:pt x="145" y="334"/>
                  </a:lnTo>
                  <a:lnTo>
                    <a:pt x="163" y="313"/>
                  </a:lnTo>
                  <a:lnTo>
                    <a:pt x="145" y="178"/>
                  </a:lnTo>
                  <a:lnTo>
                    <a:pt x="150" y="121"/>
                  </a:lnTo>
                  <a:lnTo>
                    <a:pt x="68" y="0"/>
                  </a:lnTo>
                  <a:lnTo>
                    <a:pt x="50" y="65"/>
                  </a:lnTo>
                  <a:lnTo>
                    <a:pt x="37" y="56"/>
                  </a:lnTo>
                  <a:lnTo>
                    <a:pt x="31" y="65"/>
                  </a:lnTo>
                  <a:lnTo>
                    <a:pt x="31" y="0"/>
                  </a:lnTo>
                  <a:lnTo>
                    <a:pt x="12" y="11"/>
                  </a:lnTo>
                  <a:lnTo>
                    <a:pt x="12" y="56"/>
                  </a:lnTo>
                  <a:lnTo>
                    <a:pt x="18" y="77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79" name="Freeform 1054"/>
            <p:cNvSpPr>
              <a:spLocks/>
            </p:cNvSpPr>
            <p:nvPr>
              <p:custDataLst>
                <p:tags r:id="rId887"/>
              </p:custDataLst>
            </p:nvPr>
          </p:nvSpPr>
          <p:spPr bwMode="auto">
            <a:xfrm>
              <a:off x="6875160" y="4816045"/>
              <a:ext cx="300734" cy="274638"/>
            </a:xfrm>
            <a:custGeom>
              <a:avLst/>
              <a:gdLst>
                <a:gd name="T0" fmla="*/ 0 w 163"/>
                <a:gd name="T1" fmla="*/ 2147483647 h 346"/>
                <a:gd name="T2" fmla="*/ 0 w 163"/>
                <a:gd name="T3" fmla="*/ 2147483647 h 346"/>
                <a:gd name="T4" fmla="*/ 2147483647 w 163"/>
                <a:gd name="T5" fmla="*/ 2147483647 h 346"/>
                <a:gd name="T6" fmla="*/ 2147483647 w 163"/>
                <a:gd name="T7" fmla="*/ 2147483647 h 346"/>
                <a:gd name="T8" fmla="*/ 2147483647 w 163"/>
                <a:gd name="T9" fmla="*/ 2147483647 h 346"/>
                <a:gd name="T10" fmla="*/ 2147483647 w 163"/>
                <a:gd name="T11" fmla="*/ 2147483647 h 346"/>
                <a:gd name="T12" fmla="*/ 2147483647 w 163"/>
                <a:gd name="T13" fmla="*/ 2147483647 h 346"/>
                <a:gd name="T14" fmla="*/ 2147483647 w 163"/>
                <a:gd name="T15" fmla="*/ 2147483647 h 346"/>
                <a:gd name="T16" fmla="*/ 2147483647 w 163"/>
                <a:gd name="T17" fmla="*/ 2147483647 h 346"/>
                <a:gd name="T18" fmla="*/ 2147483647 w 163"/>
                <a:gd name="T19" fmla="*/ 2147483647 h 346"/>
                <a:gd name="T20" fmla="*/ 2147483647 w 163"/>
                <a:gd name="T21" fmla="*/ 0 h 346"/>
                <a:gd name="T22" fmla="*/ 2147483647 w 163"/>
                <a:gd name="T23" fmla="*/ 2147483647 h 346"/>
                <a:gd name="T24" fmla="*/ 2147483647 w 163"/>
                <a:gd name="T25" fmla="*/ 2147483647 h 346"/>
                <a:gd name="T26" fmla="*/ 2147483647 w 163"/>
                <a:gd name="T27" fmla="*/ 2147483647 h 346"/>
                <a:gd name="T28" fmla="*/ 2147483647 w 163"/>
                <a:gd name="T29" fmla="*/ 0 h 346"/>
                <a:gd name="T30" fmla="*/ 2147483647 w 163"/>
                <a:gd name="T31" fmla="*/ 2147483647 h 346"/>
                <a:gd name="T32" fmla="*/ 2147483647 w 163"/>
                <a:gd name="T33" fmla="*/ 2147483647 h 346"/>
                <a:gd name="T34" fmla="*/ 2147483647 w 163"/>
                <a:gd name="T35" fmla="*/ 2147483647 h 346"/>
                <a:gd name="T36" fmla="*/ 0 w 163"/>
                <a:gd name="T37" fmla="*/ 2147483647 h 34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63" h="346">
                  <a:moveTo>
                    <a:pt x="0" y="111"/>
                  </a:moveTo>
                  <a:lnTo>
                    <a:pt x="0" y="178"/>
                  </a:lnTo>
                  <a:lnTo>
                    <a:pt x="18" y="244"/>
                  </a:lnTo>
                  <a:lnTo>
                    <a:pt x="50" y="278"/>
                  </a:lnTo>
                  <a:lnTo>
                    <a:pt x="62" y="278"/>
                  </a:lnTo>
                  <a:lnTo>
                    <a:pt x="81" y="346"/>
                  </a:lnTo>
                  <a:lnTo>
                    <a:pt x="145" y="334"/>
                  </a:lnTo>
                  <a:lnTo>
                    <a:pt x="163" y="313"/>
                  </a:lnTo>
                  <a:lnTo>
                    <a:pt x="145" y="178"/>
                  </a:lnTo>
                  <a:lnTo>
                    <a:pt x="150" y="121"/>
                  </a:lnTo>
                  <a:lnTo>
                    <a:pt x="68" y="0"/>
                  </a:lnTo>
                  <a:lnTo>
                    <a:pt x="50" y="65"/>
                  </a:lnTo>
                  <a:lnTo>
                    <a:pt x="37" y="56"/>
                  </a:lnTo>
                  <a:lnTo>
                    <a:pt x="31" y="65"/>
                  </a:lnTo>
                  <a:lnTo>
                    <a:pt x="31" y="0"/>
                  </a:lnTo>
                  <a:lnTo>
                    <a:pt x="12" y="11"/>
                  </a:lnTo>
                  <a:lnTo>
                    <a:pt x="12" y="56"/>
                  </a:lnTo>
                  <a:lnTo>
                    <a:pt x="18" y="77"/>
                  </a:lnTo>
                  <a:lnTo>
                    <a:pt x="0" y="1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80" name="Freeform 1055"/>
            <p:cNvSpPr>
              <a:spLocks/>
            </p:cNvSpPr>
            <p:nvPr>
              <p:custDataLst>
                <p:tags r:id="rId888"/>
              </p:custDataLst>
            </p:nvPr>
          </p:nvSpPr>
          <p:spPr bwMode="auto">
            <a:xfrm>
              <a:off x="6875160" y="4816045"/>
              <a:ext cx="300734" cy="274638"/>
            </a:xfrm>
            <a:custGeom>
              <a:avLst/>
              <a:gdLst>
                <a:gd name="T0" fmla="*/ 0 w 163"/>
                <a:gd name="T1" fmla="*/ 2147483647 h 346"/>
                <a:gd name="T2" fmla="*/ 0 w 163"/>
                <a:gd name="T3" fmla="*/ 2147483647 h 346"/>
                <a:gd name="T4" fmla="*/ 2147483647 w 163"/>
                <a:gd name="T5" fmla="*/ 2147483647 h 346"/>
                <a:gd name="T6" fmla="*/ 2147483647 w 163"/>
                <a:gd name="T7" fmla="*/ 2147483647 h 346"/>
                <a:gd name="T8" fmla="*/ 2147483647 w 163"/>
                <a:gd name="T9" fmla="*/ 2147483647 h 346"/>
                <a:gd name="T10" fmla="*/ 2147483647 w 163"/>
                <a:gd name="T11" fmla="*/ 2147483647 h 346"/>
                <a:gd name="T12" fmla="*/ 2147483647 w 163"/>
                <a:gd name="T13" fmla="*/ 2147483647 h 346"/>
                <a:gd name="T14" fmla="*/ 2147483647 w 163"/>
                <a:gd name="T15" fmla="*/ 2147483647 h 346"/>
                <a:gd name="T16" fmla="*/ 2147483647 w 163"/>
                <a:gd name="T17" fmla="*/ 2147483647 h 346"/>
                <a:gd name="T18" fmla="*/ 2147483647 w 163"/>
                <a:gd name="T19" fmla="*/ 2147483647 h 346"/>
                <a:gd name="T20" fmla="*/ 2147483647 w 163"/>
                <a:gd name="T21" fmla="*/ 0 h 346"/>
                <a:gd name="T22" fmla="*/ 2147483647 w 163"/>
                <a:gd name="T23" fmla="*/ 2147483647 h 346"/>
                <a:gd name="T24" fmla="*/ 2147483647 w 163"/>
                <a:gd name="T25" fmla="*/ 2147483647 h 346"/>
                <a:gd name="T26" fmla="*/ 2147483647 w 163"/>
                <a:gd name="T27" fmla="*/ 2147483647 h 346"/>
                <a:gd name="T28" fmla="*/ 2147483647 w 163"/>
                <a:gd name="T29" fmla="*/ 0 h 346"/>
                <a:gd name="T30" fmla="*/ 2147483647 w 163"/>
                <a:gd name="T31" fmla="*/ 2147483647 h 346"/>
                <a:gd name="T32" fmla="*/ 2147483647 w 163"/>
                <a:gd name="T33" fmla="*/ 2147483647 h 346"/>
                <a:gd name="T34" fmla="*/ 2147483647 w 163"/>
                <a:gd name="T35" fmla="*/ 2147483647 h 346"/>
                <a:gd name="T36" fmla="*/ 0 w 163"/>
                <a:gd name="T37" fmla="*/ 2147483647 h 34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63" h="346">
                  <a:moveTo>
                    <a:pt x="0" y="111"/>
                  </a:moveTo>
                  <a:lnTo>
                    <a:pt x="0" y="178"/>
                  </a:lnTo>
                  <a:lnTo>
                    <a:pt x="18" y="244"/>
                  </a:lnTo>
                  <a:lnTo>
                    <a:pt x="50" y="278"/>
                  </a:lnTo>
                  <a:lnTo>
                    <a:pt x="62" y="278"/>
                  </a:lnTo>
                  <a:lnTo>
                    <a:pt x="81" y="346"/>
                  </a:lnTo>
                  <a:lnTo>
                    <a:pt x="145" y="334"/>
                  </a:lnTo>
                  <a:lnTo>
                    <a:pt x="163" y="313"/>
                  </a:lnTo>
                  <a:lnTo>
                    <a:pt x="145" y="178"/>
                  </a:lnTo>
                  <a:lnTo>
                    <a:pt x="150" y="121"/>
                  </a:lnTo>
                  <a:lnTo>
                    <a:pt x="68" y="0"/>
                  </a:lnTo>
                  <a:lnTo>
                    <a:pt x="50" y="65"/>
                  </a:lnTo>
                  <a:lnTo>
                    <a:pt x="37" y="56"/>
                  </a:lnTo>
                  <a:lnTo>
                    <a:pt x="31" y="65"/>
                  </a:lnTo>
                  <a:lnTo>
                    <a:pt x="31" y="0"/>
                  </a:lnTo>
                  <a:lnTo>
                    <a:pt x="12" y="11"/>
                  </a:lnTo>
                  <a:lnTo>
                    <a:pt x="12" y="56"/>
                  </a:lnTo>
                  <a:lnTo>
                    <a:pt x="18" y="77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81" name="Freeform 1056"/>
            <p:cNvSpPr>
              <a:spLocks/>
            </p:cNvSpPr>
            <p:nvPr>
              <p:custDataLst>
                <p:tags r:id="rId889"/>
              </p:custDataLst>
            </p:nvPr>
          </p:nvSpPr>
          <p:spPr bwMode="auto">
            <a:xfrm>
              <a:off x="6875160" y="4816045"/>
              <a:ext cx="300734" cy="274638"/>
            </a:xfrm>
            <a:custGeom>
              <a:avLst/>
              <a:gdLst>
                <a:gd name="T0" fmla="*/ 0 w 163"/>
                <a:gd name="T1" fmla="*/ 2147483647 h 346"/>
                <a:gd name="T2" fmla="*/ 0 w 163"/>
                <a:gd name="T3" fmla="*/ 2147483647 h 346"/>
                <a:gd name="T4" fmla="*/ 2147483647 w 163"/>
                <a:gd name="T5" fmla="*/ 2147483647 h 346"/>
                <a:gd name="T6" fmla="*/ 2147483647 w 163"/>
                <a:gd name="T7" fmla="*/ 2147483647 h 346"/>
                <a:gd name="T8" fmla="*/ 2147483647 w 163"/>
                <a:gd name="T9" fmla="*/ 2147483647 h 346"/>
                <a:gd name="T10" fmla="*/ 2147483647 w 163"/>
                <a:gd name="T11" fmla="*/ 2147483647 h 346"/>
                <a:gd name="T12" fmla="*/ 2147483647 w 163"/>
                <a:gd name="T13" fmla="*/ 2147483647 h 346"/>
                <a:gd name="T14" fmla="*/ 2147483647 w 163"/>
                <a:gd name="T15" fmla="*/ 2147483647 h 346"/>
                <a:gd name="T16" fmla="*/ 2147483647 w 163"/>
                <a:gd name="T17" fmla="*/ 2147483647 h 346"/>
                <a:gd name="T18" fmla="*/ 2147483647 w 163"/>
                <a:gd name="T19" fmla="*/ 2147483647 h 346"/>
                <a:gd name="T20" fmla="*/ 2147483647 w 163"/>
                <a:gd name="T21" fmla="*/ 0 h 346"/>
                <a:gd name="T22" fmla="*/ 2147483647 w 163"/>
                <a:gd name="T23" fmla="*/ 2147483647 h 346"/>
                <a:gd name="T24" fmla="*/ 2147483647 w 163"/>
                <a:gd name="T25" fmla="*/ 2147483647 h 346"/>
                <a:gd name="T26" fmla="*/ 2147483647 w 163"/>
                <a:gd name="T27" fmla="*/ 2147483647 h 346"/>
                <a:gd name="T28" fmla="*/ 2147483647 w 163"/>
                <a:gd name="T29" fmla="*/ 0 h 346"/>
                <a:gd name="T30" fmla="*/ 2147483647 w 163"/>
                <a:gd name="T31" fmla="*/ 2147483647 h 346"/>
                <a:gd name="T32" fmla="*/ 2147483647 w 163"/>
                <a:gd name="T33" fmla="*/ 2147483647 h 346"/>
                <a:gd name="T34" fmla="*/ 2147483647 w 163"/>
                <a:gd name="T35" fmla="*/ 2147483647 h 346"/>
                <a:gd name="T36" fmla="*/ 0 w 163"/>
                <a:gd name="T37" fmla="*/ 2147483647 h 34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163" h="346">
                  <a:moveTo>
                    <a:pt x="0" y="111"/>
                  </a:moveTo>
                  <a:lnTo>
                    <a:pt x="0" y="178"/>
                  </a:lnTo>
                  <a:lnTo>
                    <a:pt x="18" y="244"/>
                  </a:lnTo>
                  <a:lnTo>
                    <a:pt x="50" y="278"/>
                  </a:lnTo>
                  <a:lnTo>
                    <a:pt x="62" y="278"/>
                  </a:lnTo>
                  <a:lnTo>
                    <a:pt x="81" y="346"/>
                  </a:lnTo>
                  <a:lnTo>
                    <a:pt x="145" y="334"/>
                  </a:lnTo>
                  <a:lnTo>
                    <a:pt x="163" y="313"/>
                  </a:lnTo>
                  <a:lnTo>
                    <a:pt x="145" y="178"/>
                  </a:lnTo>
                  <a:lnTo>
                    <a:pt x="150" y="121"/>
                  </a:lnTo>
                  <a:lnTo>
                    <a:pt x="68" y="0"/>
                  </a:lnTo>
                  <a:lnTo>
                    <a:pt x="50" y="65"/>
                  </a:lnTo>
                  <a:lnTo>
                    <a:pt x="37" y="56"/>
                  </a:lnTo>
                  <a:lnTo>
                    <a:pt x="31" y="65"/>
                  </a:lnTo>
                  <a:lnTo>
                    <a:pt x="31" y="0"/>
                  </a:lnTo>
                  <a:lnTo>
                    <a:pt x="12" y="11"/>
                  </a:lnTo>
                  <a:lnTo>
                    <a:pt x="12" y="56"/>
                  </a:lnTo>
                  <a:lnTo>
                    <a:pt x="18" y="77"/>
                  </a:lnTo>
                  <a:lnTo>
                    <a:pt x="0" y="111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82" name="Freeform 1057"/>
            <p:cNvSpPr>
              <a:spLocks/>
            </p:cNvSpPr>
            <p:nvPr>
              <p:custDataLst>
                <p:tags r:id="rId890"/>
              </p:custDataLst>
            </p:nvPr>
          </p:nvSpPr>
          <p:spPr bwMode="auto">
            <a:xfrm>
              <a:off x="6007041" y="4516044"/>
              <a:ext cx="66161" cy="122237"/>
            </a:xfrm>
            <a:custGeom>
              <a:avLst/>
              <a:gdLst>
                <a:gd name="T0" fmla="*/ 0 w 36"/>
                <a:gd name="T1" fmla="*/ 0 h 153"/>
                <a:gd name="T2" fmla="*/ 2147483647 w 36"/>
                <a:gd name="T3" fmla="*/ 0 h 153"/>
                <a:gd name="T4" fmla="*/ 2147483647 w 36"/>
                <a:gd name="T5" fmla="*/ 2147483647 h 153"/>
                <a:gd name="T6" fmla="*/ 2147483647 w 36"/>
                <a:gd name="T7" fmla="*/ 2147483647 h 153"/>
                <a:gd name="T8" fmla="*/ 0 w 36"/>
                <a:gd name="T9" fmla="*/ 0 h 1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153">
                  <a:moveTo>
                    <a:pt x="0" y="0"/>
                  </a:moveTo>
                  <a:lnTo>
                    <a:pt x="18" y="0"/>
                  </a:lnTo>
                  <a:lnTo>
                    <a:pt x="36" y="153"/>
                  </a:lnTo>
                  <a:lnTo>
                    <a:pt x="25" y="1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83" name="Freeform 1058"/>
            <p:cNvSpPr>
              <a:spLocks/>
            </p:cNvSpPr>
            <p:nvPr>
              <p:custDataLst>
                <p:tags r:id="rId891"/>
              </p:custDataLst>
            </p:nvPr>
          </p:nvSpPr>
          <p:spPr bwMode="auto">
            <a:xfrm>
              <a:off x="6007041" y="4516044"/>
              <a:ext cx="66161" cy="122237"/>
            </a:xfrm>
            <a:custGeom>
              <a:avLst/>
              <a:gdLst>
                <a:gd name="T0" fmla="*/ 0 w 36"/>
                <a:gd name="T1" fmla="*/ 0 h 153"/>
                <a:gd name="T2" fmla="*/ 2147483647 w 36"/>
                <a:gd name="T3" fmla="*/ 0 h 153"/>
                <a:gd name="T4" fmla="*/ 2147483647 w 36"/>
                <a:gd name="T5" fmla="*/ 2147483647 h 153"/>
                <a:gd name="T6" fmla="*/ 2147483647 w 36"/>
                <a:gd name="T7" fmla="*/ 2147483647 h 153"/>
                <a:gd name="T8" fmla="*/ 0 w 36"/>
                <a:gd name="T9" fmla="*/ 0 h 1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153">
                  <a:moveTo>
                    <a:pt x="0" y="0"/>
                  </a:moveTo>
                  <a:lnTo>
                    <a:pt x="18" y="0"/>
                  </a:lnTo>
                  <a:lnTo>
                    <a:pt x="36" y="153"/>
                  </a:lnTo>
                  <a:lnTo>
                    <a:pt x="25" y="153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84" name="Freeform 1059"/>
            <p:cNvSpPr>
              <a:spLocks/>
            </p:cNvSpPr>
            <p:nvPr>
              <p:custDataLst>
                <p:tags r:id="rId892"/>
              </p:custDataLst>
            </p:nvPr>
          </p:nvSpPr>
          <p:spPr bwMode="auto">
            <a:xfrm>
              <a:off x="6007041" y="4516044"/>
              <a:ext cx="66161" cy="122237"/>
            </a:xfrm>
            <a:custGeom>
              <a:avLst/>
              <a:gdLst>
                <a:gd name="T0" fmla="*/ 0 w 36"/>
                <a:gd name="T1" fmla="*/ 0 h 153"/>
                <a:gd name="T2" fmla="*/ 2147483647 w 36"/>
                <a:gd name="T3" fmla="*/ 0 h 153"/>
                <a:gd name="T4" fmla="*/ 2147483647 w 36"/>
                <a:gd name="T5" fmla="*/ 2147483647 h 153"/>
                <a:gd name="T6" fmla="*/ 2147483647 w 36"/>
                <a:gd name="T7" fmla="*/ 2147483647 h 153"/>
                <a:gd name="T8" fmla="*/ 0 w 36"/>
                <a:gd name="T9" fmla="*/ 0 h 1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153">
                  <a:moveTo>
                    <a:pt x="0" y="0"/>
                  </a:moveTo>
                  <a:lnTo>
                    <a:pt x="18" y="0"/>
                  </a:lnTo>
                  <a:lnTo>
                    <a:pt x="36" y="153"/>
                  </a:lnTo>
                  <a:lnTo>
                    <a:pt x="25" y="1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85" name="Freeform 1060"/>
            <p:cNvSpPr>
              <a:spLocks/>
            </p:cNvSpPr>
            <p:nvPr>
              <p:custDataLst>
                <p:tags r:id="rId893"/>
              </p:custDataLst>
            </p:nvPr>
          </p:nvSpPr>
          <p:spPr bwMode="auto">
            <a:xfrm>
              <a:off x="6007041" y="4516044"/>
              <a:ext cx="66161" cy="122237"/>
            </a:xfrm>
            <a:custGeom>
              <a:avLst/>
              <a:gdLst>
                <a:gd name="T0" fmla="*/ 0 w 36"/>
                <a:gd name="T1" fmla="*/ 0 h 153"/>
                <a:gd name="T2" fmla="*/ 2147483647 w 36"/>
                <a:gd name="T3" fmla="*/ 0 h 153"/>
                <a:gd name="T4" fmla="*/ 2147483647 w 36"/>
                <a:gd name="T5" fmla="*/ 2147483647 h 153"/>
                <a:gd name="T6" fmla="*/ 2147483647 w 36"/>
                <a:gd name="T7" fmla="*/ 2147483647 h 153"/>
                <a:gd name="T8" fmla="*/ 0 w 36"/>
                <a:gd name="T9" fmla="*/ 0 h 15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6" h="153">
                  <a:moveTo>
                    <a:pt x="0" y="0"/>
                  </a:moveTo>
                  <a:lnTo>
                    <a:pt x="18" y="0"/>
                  </a:lnTo>
                  <a:lnTo>
                    <a:pt x="36" y="153"/>
                  </a:lnTo>
                  <a:lnTo>
                    <a:pt x="25" y="153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86" name="Freeform 1061"/>
            <p:cNvSpPr>
              <a:spLocks/>
            </p:cNvSpPr>
            <p:nvPr>
              <p:custDataLst>
                <p:tags r:id="rId894"/>
              </p:custDataLst>
            </p:nvPr>
          </p:nvSpPr>
          <p:spPr bwMode="auto">
            <a:xfrm>
              <a:off x="6875160" y="4693844"/>
              <a:ext cx="150368" cy="141287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2147483647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0 h 179"/>
                <a:gd name="T14" fmla="*/ 2147483647 w 81"/>
                <a:gd name="T15" fmla="*/ 2147483647 h 179"/>
                <a:gd name="T16" fmla="*/ 2147483647 w 81"/>
                <a:gd name="T17" fmla="*/ 2147483647 h 179"/>
                <a:gd name="T18" fmla="*/ 2147483647 w 81"/>
                <a:gd name="T19" fmla="*/ 2147483647 h 179"/>
                <a:gd name="T20" fmla="*/ 0 w 8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79">
                  <a:moveTo>
                    <a:pt x="0" y="179"/>
                  </a:moveTo>
                  <a:lnTo>
                    <a:pt x="12" y="167"/>
                  </a:lnTo>
                  <a:lnTo>
                    <a:pt x="31" y="167"/>
                  </a:lnTo>
                  <a:lnTo>
                    <a:pt x="31" y="133"/>
                  </a:lnTo>
                  <a:lnTo>
                    <a:pt x="62" y="123"/>
                  </a:lnTo>
                  <a:lnTo>
                    <a:pt x="81" y="66"/>
                  </a:lnTo>
                  <a:lnTo>
                    <a:pt x="62" y="0"/>
                  </a:lnTo>
                  <a:lnTo>
                    <a:pt x="17" y="10"/>
                  </a:lnTo>
                  <a:lnTo>
                    <a:pt x="25" y="66"/>
                  </a:lnTo>
                  <a:lnTo>
                    <a:pt x="12" y="89"/>
                  </a:lnTo>
                  <a:lnTo>
                    <a:pt x="0" y="17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87" name="Freeform 1062"/>
            <p:cNvSpPr>
              <a:spLocks/>
            </p:cNvSpPr>
            <p:nvPr>
              <p:custDataLst>
                <p:tags r:id="rId895"/>
              </p:custDataLst>
            </p:nvPr>
          </p:nvSpPr>
          <p:spPr bwMode="auto">
            <a:xfrm>
              <a:off x="6875160" y="4693844"/>
              <a:ext cx="150368" cy="141287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2147483647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0 h 179"/>
                <a:gd name="T14" fmla="*/ 2147483647 w 81"/>
                <a:gd name="T15" fmla="*/ 2147483647 h 179"/>
                <a:gd name="T16" fmla="*/ 2147483647 w 81"/>
                <a:gd name="T17" fmla="*/ 2147483647 h 179"/>
                <a:gd name="T18" fmla="*/ 2147483647 w 81"/>
                <a:gd name="T19" fmla="*/ 2147483647 h 179"/>
                <a:gd name="T20" fmla="*/ 0 w 8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79">
                  <a:moveTo>
                    <a:pt x="0" y="179"/>
                  </a:moveTo>
                  <a:lnTo>
                    <a:pt x="12" y="167"/>
                  </a:lnTo>
                  <a:lnTo>
                    <a:pt x="31" y="167"/>
                  </a:lnTo>
                  <a:lnTo>
                    <a:pt x="31" y="133"/>
                  </a:lnTo>
                  <a:lnTo>
                    <a:pt x="62" y="123"/>
                  </a:lnTo>
                  <a:lnTo>
                    <a:pt x="81" y="66"/>
                  </a:lnTo>
                  <a:lnTo>
                    <a:pt x="62" y="0"/>
                  </a:lnTo>
                  <a:lnTo>
                    <a:pt x="17" y="10"/>
                  </a:lnTo>
                  <a:lnTo>
                    <a:pt x="25" y="66"/>
                  </a:lnTo>
                  <a:lnTo>
                    <a:pt x="12" y="89"/>
                  </a:lnTo>
                  <a:lnTo>
                    <a:pt x="0" y="17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88" name="Freeform 1063"/>
            <p:cNvSpPr>
              <a:spLocks/>
            </p:cNvSpPr>
            <p:nvPr>
              <p:custDataLst>
                <p:tags r:id="rId896"/>
              </p:custDataLst>
            </p:nvPr>
          </p:nvSpPr>
          <p:spPr bwMode="auto">
            <a:xfrm>
              <a:off x="6875160" y="4693844"/>
              <a:ext cx="150368" cy="141287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2147483647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0 h 179"/>
                <a:gd name="T14" fmla="*/ 2147483647 w 81"/>
                <a:gd name="T15" fmla="*/ 2147483647 h 179"/>
                <a:gd name="T16" fmla="*/ 2147483647 w 81"/>
                <a:gd name="T17" fmla="*/ 2147483647 h 179"/>
                <a:gd name="T18" fmla="*/ 2147483647 w 81"/>
                <a:gd name="T19" fmla="*/ 2147483647 h 179"/>
                <a:gd name="T20" fmla="*/ 0 w 8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79">
                  <a:moveTo>
                    <a:pt x="0" y="179"/>
                  </a:moveTo>
                  <a:lnTo>
                    <a:pt x="12" y="167"/>
                  </a:lnTo>
                  <a:lnTo>
                    <a:pt x="31" y="167"/>
                  </a:lnTo>
                  <a:lnTo>
                    <a:pt x="31" y="133"/>
                  </a:lnTo>
                  <a:lnTo>
                    <a:pt x="62" y="123"/>
                  </a:lnTo>
                  <a:lnTo>
                    <a:pt x="81" y="66"/>
                  </a:lnTo>
                  <a:lnTo>
                    <a:pt x="62" y="0"/>
                  </a:lnTo>
                  <a:lnTo>
                    <a:pt x="17" y="10"/>
                  </a:lnTo>
                  <a:lnTo>
                    <a:pt x="25" y="66"/>
                  </a:lnTo>
                  <a:lnTo>
                    <a:pt x="12" y="89"/>
                  </a:lnTo>
                  <a:lnTo>
                    <a:pt x="0" y="17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89" name="Freeform 1064"/>
            <p:cNvSpPr>
              <a:spLocks/>
            </p:cNvSpPr>
            <p:nvPr>
              <p:custDataLst>
                <p:tags r:id="rId897"/>
              </p:custDataLst>
            </p:nvPr>
          </p:nvSpPr>
          <p:spPr bwMode="auto">
            <a:xfrm>
              <a:off x="6875160" y="4693844"/>
              <a:ext cx="150368" cy="141287"/>
            </a:xfrm>
            <a:custGeom>
              <a:avLst/>
              <a:gdLst>
                <a:gd name="T0" fmla="*/ 0 w 81"/>
                <a:gd name="T1" fmla="*/ 2147483647 h 179"/>
                <a:gd name="T2" fmla="*/ 2147483647 w 81"/>
                <a:gd name="T3" fmla="*/ 2147483647 h 179"/>
                <a:gd name="T4" fmla="*/ 2147483647 w 81"/>
                <a:gd name="T5" fmla="*/ 2147483647 h 179"/>
                <a:gd name="T6" fmla="*/ 2147483647 w 81"/>
                <a:gd name="T7" fmla="*/ 2147483647 h 179"/>
                <a:gd name="T8" fmla="*/ 2147483647 w 81"/>
                <a:gd name="T9" fmla="*/ 2147483647 h 179"/>
                <a:gd name="T10" fmla="*/ 2147483647 w 81"/>
                <a:gd name="T11" fmla="*/ 2147483647 h 179"/>
                <a:gd name="T12" fmla="*/ 2147483647 w 81"/>
                <a:gd name="T13" fmla="*/ 0 h 179"/>
                <a:gd name="T14" fmla="*/ 2147483647 w 81"/>
                <a:gd name="T15" fmla="*/ 2147483647 h 179"/>
                <a:gd name="T16" fmla="*/ 2147483647 w 81"/>
                <a:gd name="T17" fmla="*/ 2147483647 h 179"/>
                <a:gd name="T18" fmla="*/ 2147483647 w 81"/>
                <a:gd name="T19" fmla="*/ 2147483647 h 179"/>
                <a:gd name="T20" fmla="*/ 0 w 8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81" h="179">
                  <a:moveTo>
                    <a:pt x="0" y="179"/>
                  </a:moveTo>
                  <a:lnTo>
                    <a:pt x="12" y="167"/>
                  </a:lnTo>
                  <a:lnTo>
                    <a:pt x="31" y="167"/>
                  </a:lnTo>
                  <a:lnTo>
                    <a:pt x="31" y="133"/>
                  </a:lnTo>
                  <a:lnTo>
                    <a:pt x="62" y="123"/>
                  </a:lnTo>
                  <a:lnTo>
                    <a:pt x="81" y="66"/>
                  </a:lnTo>
                  <a:lnTo>
                    <a:pt x="62" y="0"/>
                  </a:lnTo>
                  <a:lnTo>
                    <a:pt x="17" y="10"/>
                  </a:lnTo>
                  <a:lnTo>
                    <a:pt x="25" y="66"/>
                  </a:lnTo>
                  <a:lnTo>
                    <a:pt x="12" y="89"/>
                  </a:lnTo>
                  <a:lnTo>
                    <a:pt x="0" y="17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90" name="Freeform 1065"/>
            <p:cNvSpPr>
              <a:spLocks/>
            </p:cNvSpPr>
            <p:nvPr>
              <p:custDataLst>
                <p:tags r:id="rId898"/>
              </p:custDataLst>
            </p:nvPr>
          </p:nvSpPr>
          <p:spPr bwMode="auto">
            <a:xfrm>
              <a:off x="6722774" y="3969926"/>
              <a:ext cx="324793" cy="263525"/>
            </a:xfrm>
            <a:custGeom>
              <a:avLst/>
              <a:gdLst>
                <a:gd name="T0" fmla="*/ 0 w 175"/>
                <a:gd name="T1" fmla="*/ 2147483647 h 332"/>
                <a:gd name="T2" fmla="*/ 2147483647 w 175"/>
                <a:gd name="T3" fmla="*/ 2147483647 h 332"/>
                <a:gd name="T4" fmla="*/ 2147483647 w 175"/>
                <a:gd name="T5" fmla="*/ 2147483647 h 332"/>
                <a:gd name="T6" fmla="*/ 2147483647 w 175"/>
                <a:gd name="T7" fmla="*/ 2147483647 h 332"/>
                <a:gd name="T8" fmla="*/ 2147483647 w 175"/>
                <a:gd name="T9" fmla="*/ 2147483647 h 332"/>
                <a:gd name="T10" fmla="*/ 2147483647 w 175"/>
                <a:gd name="T11" fmla="*/ 2147483647 h 332"/>
                <a:gd name="T12" fmla="*/ 2147483647 w 175"/>
                <a:gd name="T13" fmla="*/ 2147483647 h 332"/>
                <a:gd name="T14" fmla="*/ 2147483647 w 175"/>
                <a:gd name="T15" fmla="*/ 2147483647 h 332"/>
                <a:gd name="T16" fmla="*/ 2147483647 w 175"/>
                <a:gd name="T17" fmla="*/ 2147483647 h 332"/>
                <a:gd name="T18" fmla="*/ 2147483647 w 175"/>
                <a:gd name="T19" fmla="*/ 2147483647 h 332"/>
                <a:gd name="T20" fmla="*/ 2147483647 w 175"/>
                <a:gd name="T21" fmla="*/ 2147483647 h 332"/>
                <a:gd name="T22" fmla="*/ 2147483647 w 175"/>
                <a:gd name="T23" fmla="*/ 2147483647 h 332"/>
                <a:gd name="T24" fmla="*/ 2147483647 w 175"/>
                <a:gd name="T25" fmla="*/ 2147483647 h 332"/>
                <a:gd name="T26" fmla="*/ 2147483647 w 175"/>
                <a:gd name="T27" fmla="*/ 0 h 332"/>
                <a:gd name="T28" fmla="*/ 0 w 175"/>
                <a:gd name="T29" fmla="*/ 2147483647 h 3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75" h="332">
                  <a:moveTo>
                    <a:pt x="0" y="54"/>
                  </a:moveTo>
                  <a:lnTo>
                    <a:pt x="7" y="332"/>
                  </a:lnTo>
                  <a:lnTo>
                    <a:pt x="144" y="332"/>
                  </a:lnTo>
                  <a:lnTo>
                    <a:pt x="169" y="300"/>
                  </a:lnTo>
                  <a:lnTo>
                    <a:pt x="175" y="267"/>
                  </a:lnTo>
                  <a:lnTo>
                    <a:pt x="118" y="77"/>
                  </a:lnTo>
                  <a:lnTo>
                    <a:pt x="144" y="133"/>
                  </a:lnTo>
                  <a:lnTo>
                    <a:pt x="163" y="77"/>
                  </a:lnTo>
                  <a:lnTo>
                    <a:pt x="144" y="10"/>
                  </a:lnTo>
                  <a:lnTo>
                    <a:pt x="113" y="21"/>
                  </a:lnTo>
                  <a:lnTo>
                    <a:pt x="113" y="10"/>
                  </a:lnTo>
                  <a:lnTo>
                    <a:pt x="94" y="10"/>
                  </a:lnTo>
                  <a:lnTo>
                    <a:pt x="69" y="31"/>
                  </a:lnTo>
                  <a:lnTo>
                    <a:pt x="7" y="0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91" name="Freeform 1066"/>
            <p:cNvSpPr>
              <a:spLocks/>
            </p:cNvSpPr>
            <p:nvPr>
              <p:custDataLst>
                <p:tags r:id="rId899"/>
              </p:custDataLst>
            </p:nvPr>
          </p:nvSpPr>
          <p:spPr bwMode="auto">
            <a:xfrm>
              <a:off x="6722774" y="3969926"/>
              <a:ext cx="324793" cy="263525"/>
            </a:xfrm>
            <a:custGeom>
              <a:avLst/>
              <a:gdLst>
                <a:gd name="T0" fmla="*/ 0 w 175"/>
                <a:gd name="T1" fmla="*/ 2147483647 h 332"/>
                <a:gd name="T2" fmla="*/ 2147483647 w 175"/>
                <a:gd name="T3" fmla="*/ 2147483647 h 332"/>
                <a:gd name="T4" fmla="*/ 2147483647 w 175"/>
                <a:gd name="T5" fmla="*/ 2147483647 h 332"/>
                <a:gd name="T6" fmla="*/ 2147483647 w 175"/>
                <a:gd name="T7" fmla="*/ 2147483647 h 332"/>
                <a:gd name="T8" fmla="*/ 2147483647 w 175"/>
                <a:gd name="T9" fmla="*/ 2147483647 h 332"/>
                <a:gd name="T10" fmla="*/ 2147483647 w 175"/>
                <a:gd name="T11" fmla="*/ 2147483647 h 332"/>
                <a:gd name="T12" fmla="*/ 2147483647 w 175"/>
                <a:gd name="T13" fmla="*/ 2147483647 h 332"/>
                <a:gd name="T14" fmla="*/ 2147483647 w 175"/>
                <a:gd name="T15" fmla="*/ 2147483647 h 332"/>
                <a:gd name="T16" fmla="*/ 2147483647 w 175"/>
                <a:gd name="T17" fmla="*/ 2147483647 h 332"/>
                <a:gd name="T18" fmla="*/ 2147483647 w 175"/>
                <a:gd name="T19" fmla="*/ 2147483647 h 332"/>
                <a:gd name="T20" fmla="*/ 2147483647 w 175"/>
                <a:gd name="T21" fmla="*/ 2147483647 h 332"/>
                <a:gd name="T22" fmla="*/ 2147483647 w 175"/>
                <a:gd name="T23" fmla="*/ 2147483647 h 332"/>
                <a:gd name="T24" fmla="*/ 2147483647 w 175"/>
                <a:gd name="T25" fmla="*/ 2147483647 h 332"/>
                <a:gd name="T26" fmla="*/ 2147483647 w 175"/>
                <a:gd name="T27" fmla="*/ 0 h 332"/>
                <a:gd name="T28" fmla="*/ 0 w 175"/>
                <a:gd name="T29" fmla="*/ 2147483647 h 3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75" h="332">
                  <a:moveTo>
                    <a:pt x="0" y="54"/>
                  </a:moveTo>
                  <a:lnTo>
                    <a:pt x="7" y="332"/>
                  </a:lnTo>
                  <a:lnTo>
                    <a:pt x="144" y="332"/>
                  </a:lnTo>
                  <a:lnTo>
                    <a:pt x="169" y="300"/>
                  </a:lnTo>
                  <a:lnTo>
                    <a:pt x="175" y="267"/>
                  </a:lnTo>
                  <a:lnTo>
                    <a:pt x="118" y="77"/>
                  </a:lnTo>
                  <a:lnTo>
                    <a:pt x="144" y="133"/>
                  </a:lnTo>
                  <a:lnTo>
                    <a:pt x="163" y="77"/>
                  </a:lnTo>
                  <a:lnTo>
                    <a:pt x="144" y="10"/>
                  </a:lnTo>
                  <a:lnTo>
                    <a:pt x="113" y="21"/>
                  </a:lnTo>
                  <a:lnTo>
                    <a:pt x="113" y="10"/>
                  </a:lnTo>
                  <a:lnTo>
                    <a:pt x="94" y="10"/>
                  </a:lnTo>
                  <a:lnTo>
                    <a:pt x="69" y="31"/>
                  </a:lnTo>
                  <a:lnTo>
                    <a:pt x="7" y="0"/>
                  </a:lnTo>
                  <a:lnTo>
                    <a:pt x="0" y="5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92" name="Freeform 1067"/>
            <p:cNvSpPr>
              <a:spLocks/>
            </p:cNvSpPr>
            <p:nvPr>
              <p:custDataLst>
                <p:tags r:id="rId900"/>
              </p:custDataLst>
            </p:nvPr>
          </p:nvSpPr>
          <p:spPr bwMode="auto">
            <a:xfrm>
              <a:off x="6722774" y="3969926"/>
              <a:ext cx="324793" cy="263525"/>
            </a:xfrm>
            <a:custGeom>
              <a:avLst/>
              <a:gdLst>
                <a:gd name="T0" fmla="*/ 0 w 175"/>
                <a:gd name="T1" fmla="*/ 2147483647 h 332"/>
                <a:gd name="T2" fmla="*/ 2147483647 w 175"/>
                <a:gd name="T3" fmla="*/ 2147483647 h 332"/>
                <a:gd name="T4" fmla="*/ 2147483647 w 175"/>
                <a:gd name="T5" fmla="*/ 2147483647 h 332"/>
                <a:gd name="T6" fmla="*/ 2147483647 w 175"/>
                <a:gd name="T7" fmla="*/ 2147483647 h 332"/>
                <a:gd name="T8" fmla="*/ 2147483647 w 175"/>
                <a:gd name="T9" fmla="*/ 2147483647 h 332"/>
                <a:gd name="T10" fmla="*/ 2147483647 w 175"/>
                <a:gd name="T11" fmla="*/ 2147483647 h 332"/>
                <a:gd name="T12" fmla="*/ 2147483647 w 175"/>
                <a:gd name="T13" fmla="*/ 2147483647 h 332"/>
                <a:gd name="T14" fmla="*/ 2147483647 w 175"/>
                <a:gd name="T15" fmla="*/ 2147483647 h 332"/>
                <a:gd name="T16" fmla="*/ 2147483647 w 175"/>
                <a:gd name="T17" fmla="*/ 2147483647 h 332"/>
                <a:gd name="T18" fmla="*/ 2147483647 w 175"/>
                <a:gd name="T19" fmla="*/ 2147483647 h 332"/>
                <a:gd name="T20" fmla="*/ 2147483647 w 175"/>
                <a:gd name="T21" fmla="*/ 2147483647 h 332"/>
                <a:gd name="T22" fmla="*/ 2147483647 w 175"/>
                <a:gd name="T23" fmla="*/ 2147483647 h 332"/>
                <a:gd name="T24" fmla="*/ 2147483647 w 175"/>
                <a:gd name="T25" fmla="*/ 2147483647 h 332"/>
                <a:gd name="T26" fmla="*/ 2147483647 w 175"/>
                <a:gd name="T27" fmla="*/ 0 h 332"/>
                <a:gd name="T28" fmla="*/ 0 w 175"/>
                <a:gd name="T29" fmla="*/ 2147483647 h 3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75" h="332">
                  <a:moveTo>
                    <a:pt x="0" y="54"/>
                  </a:moveTo>
                  <a:lnTo>
                    <a:pt x="7" y="332"/>
                  </a:lnTo>
                  <a:lnTo>
                    <a:pt x="144" y="332"/>
                  </a:lnTo>
                  <a:lnTo>
                    <a:pt x="169" y="300"/>
                  </a:lnTo>
                  <a:lnTo>
                    <a:pt x="175" y="267"/>
                  </a:lnTo>
                  <a:lnTo>
                    <a:pt x="118" y="77"/>
                  </a:lnTo>
                  <a:lnTo>
                    <a:pt x="144" y="133"/>
                  </a:lnTo>
                  <a:lnTo>
                    <a:pt x="163" y="77"/>
                  </a:lnTo>
                  <a:lnTo>
                    <a:pt x="144" y="10"/>
                  </a:lnTo>
                  <a:lnTo>
                    <a:pt x="113" y="21"/>
                  </a:lnTo>
                  <a:lnTo>
                    <a:pt x="113" y="10"/>
                  </a:lnTo>
                  <a:lnTo>
                    <a:pt x="94" y="10"/>
                  </a:lnTo>
                  <a:lnTo>
                    <a:pt x="69" y="31"/>
                  </a:lnTo>
                  <a:lnTo>
                    <a:pt x="7" y="0"/>
                  </a:lnTo>
                  <a:lnTo>
                    <a:pt x="0" y="5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93" name="Freeform 1068"/>
            <p:cNvSpPr>
              <a:spLocks/>
            </p:cNvSpPr>
            <p:nvPr>
              <p:custDataLst>
                <p:tags r:id="rId901"/>
              </p:custDataLst>
            </p:nvPr>
          </p:nvSpPr>
          <p:spPr bwMode="auto">
            <a:xfrm>
              <a:off x="6722774" y="3969926"/>
              <a:ext cx="324793" cy="263525"/>
            </a:xfrm>
            <a:custGeom>
              <a:avLst/>
              <a:gdLst>
                <a:gd name="T0" fmla="*/ 0 w 175"/>
                <a:gd name="T1" fmla="*/ 2147483647 h 332"/>
                <a:gd name="T2" fmla="*/ 2147483647 w 175"/>
                <a:gd name="T3" fmla="*/ 2147483647 h 332"/>
                <a:gd name="T4" fmla="*/ 2147483647 w 175"/>
                <a:gd name="T5" fmla="*/ 2147483647 h 332"/>
                <a:gd name="T6" fmla="*/ 2147483647 w 175"/>
                <a:gd name="T7" fmla="*/ 2147483647 h 332"/>
                <a:gd name="T8" fmla="*/ 2147483647 w 175"/>
                <a:gd name="T9" fmla="*/ 2147483647 h 332"/>
                <a:gd name="T10" fmla="*/ 2147483647 w 175"/>
                <a:gd name="T11" fmla="*/ 2147483647 h 332"/>
                <a:gd name="T12" fmla="*/ 2147483647 w 175"/>
                <a:gd name="T13" fmla="*/ 2147483647 h 332"/>
                <a:gd name="T14" fmla="*/ 2147483647 w 175"/>
                <a:gd name="T15" fmla="*/ 2147483647 h 332"/>
                <a:gd name="T16" fmla="*/ 2147483647 w 175"/>
                <a:gd name="T17" fmla="*/ 2147483647 h 332"/>
                <a:gd name="T18" fmla="*/ 2147483647 w 175"/>
                <a:gd name="T19" fmla="*/ 2147483647 h 332"/>
                <a:gd name="T20" fmla="*/ 2147483647 w 175"/>
                <a:gd name="T21" fmla="*/ 2147483647 h 332"/>
                <a:gd name="T22" fmla="*/ 2147483647 w 175"/>
                <a:gd name="T23" fmla="*/ 2147483647 h 332"/>
                <a:gd name="T24" fmla="*/ 2147483647 w 175"/>
                <a:gd name="T25" fmla="*/ 2147483647 h 332"/>
                <a:gd name="T26" fmla="*/ 2147483647 w 175"/>
                <a:gd name="T27" fmla="*/ 0 h 332"/>
                <a:gd name="T28" fmla="*/ 0 w 175"/>
                <a:gd name="T29" fmla="*/ 2147483647 h 3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75" h="332">
                  <a:moveTo>
                    <a:pt x="0" y="54"/>
                  </a:moveTo>
                  <a:lnTo>
                    <a:pt x="7" y="332"/>
                  </a:lnTo>
                  <a:lnTo>
                    <a:pt x="144" y="332"/>
                  </a:lnTo>
                  <a:lnTo>
                    <a:pt x="169" y="300"/>
                  </a:lnTo>
                  <a:lnTo>
                    <a:pt x="175" y="267"/>
                  </a:lnTo>
                  <a:lnTo>
                    <a:pt x="118" y="77"/>
                  </a:lnTo>
                  <a:lnTo>
                    <a:pt x="144" y="133"/>
                  </a:lnTo>
                  <a:lnTo>
                    <a:pt x="163" y="77"/>
                  </a:lnTo>
                  <a:lnTo>
                    <a:pt x="144" y="10"/>
                  </a:lnTo>
                  <a:lnTo>
                    <a:pt x="113" y="21"/>
                  </a:lnTo>
                  <a:lnTo>
                    <a:pt x="113" y="10"/>
                  </a:lnTo>
                  <a:lnTo>
                    <a:pt x="94" y="10"/>
                  </a:lnTo>
                  <a:lnTo>
                    <a:pt x="69" y="31"/>
                  </a:lnTo>
                  <a:lnTo>
                    <a:pt x="7" y="0"/>
                  </a:lnTo>
                  <a:lnTo>
                    <a:pt x="0" y="5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94" name="Freeform 1069"/>
            <p:cNvSpPr>
              <a:spLocks/>
            </p:cNvSpPr>
            <p:nvPr>
              <p:custDataLst>
                <p:tags r:id="rId902"/>
              </p:custDataLst>
            </p:nvPr>
          </p:nvSpPr>
          <p:spPr bwMode="auto">
            <a:xfrm>
              <a:off x="5868704" y="4409645"/>
              <a:ext cx="204499" cy="141288"/>
            </a:xfrm>
            <a:custGeom>
              <a:avLst/>
              <a:gdLst>
                <a:gd name="T0" fmla="*/ 0 w 111"/>
                <a:gd name="T1" fmla="*/ 2147483647 h 179"/>
                <a:gd name="T2" fmla="*/ 2147483647 w 111"/>
                <a:gd name="T3" fmla="*/ 2147483647 h 179"/>
                <a:gd name="T4" fmla="*/ 2147483647 w 111"/>
                <a:gd name="T5" fmla="*/ 2147483647 h 179"/>
                <a:gd name="T6" fmla="*/ 2147483647 w 111"/>
                <a:gd name="T7" fmla="*/ 2147483647 h 179"/>
                <a:gd name="T8" fmla="*/ 2147483647 w 111"/>
                <a:gd name="T9" fmla="*/ 2147483647 h 179"/>
                <a:gd name="T10" fmla="*/ 2147483647 w 111"/>
                <a:gd name="T11" fmla="*/ 2147483647 h 179"/>
                <a:gd name="T12" fmla="*/ 2147483647 w 111"/>
                <a:gd name="T13" fmla="*/ 2147483647 h 179"/>
                <a:gd name="T14" fmla="*/ 2147483647 w 111"/>
                <a:gd name="T15" fmla="*/ 2147483647 h 179"/>
                <a:gd name="T16" fmla="*/ 2147483647 w 111"/>
                <a:gd name="T17" fmla="*/ 0 h 179"/>
                <a:gd name="T18" fmla="*/ 2147483647 w 111"/>
                <a:gd name="T19" fmla="*/ 2147483647 h 179"/>
                <a:gd name="T20" fmla="*/ 0 w 11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1" h="179">
                  <a:moveTo>
                    <a:pt x="0" y="156"/>
                  </a:moveTo>
                  <a:lnTo>
                    <a:pt x="6" y="179"/>
                  </a:lnTo>
                  <a:lnTo>
                    <a:pt x="37" y="179"/>
                  </a:lnTo>
                  <a:lnTo>
                    <a:pt x="37" y="135"/>
                  </a:lnTo>
                  <a:lnTo>
                    <a:pt x="81" y="135"/>
                  </a:lnTo>
                  <a:lnTo>
                    <a:pt x="92" y="135"/>
                  </a:lnTo>
                  <a:lnTo>
                    <a:pt x="111" y="100"/>
                  </a:lnTo>
                  <a:lnTo>
                    <a:pt x="87" y="33"/>
                  </a:lnTo>
                  <a:lnTo>
                    <a:pt x="81" y="0"/>
                  </a:lnTo>
                  <a:lnTo>
                    <a:pt x="18" y="67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95" name="Freeform 1070"/>
            <p:cNvSpPr>
              <a:spLocks/>
            </p:cNvSpPr>
            <p:nvPr>
              <p:custDataLst>
                <p:tags r:id="rId903"/>
              </p:custDataLst>
            </p:nvPr>
          </p:nvSpPr>
          <p:spPr bwMode="auto">
            <a:xfrm>
              <a:off x="5868704" y="4409645"/>
              <a:ext cx="204499" cy="141288"/>
            </a:xfrm>
            <a:custGeom>
              <a:avLst/>
              <a:gdLst>
                <a:gd name="T0" fmla="*/ 0 w 111"/>
                <a:gd name="T1" fmla="*/ 2147483647 h 179"/>
                <a:gd name="T2" fmla="*/ 2147483647 w 111"/>
                <a:gd name="T3" fmla="*/ 2147483647 h 179"/>
                <a:gd name="T4" fmla="*/ 2147483647 w 111"/>
                <a:gd name="T5" fmla="*/ 2147483647 h 179"/>
                <a:gd name="T6" fmla="*/ 2147483647 w 111"/>
                <a:gd name="T7" fmla="*/ 2147483647 h 179"/>
                <a:gd name="T8" fmla="*/ 2147483647 w 111"/>
                <a:gd name="T9" fmla="*/ 2147483647 h 179"/>
                <a:gd name="T10" fmla="*/ 2147483647 w 111"/>
                <a:gd name="T11" fmla="*/ 2147483647 h 179"/>
                <a:gd name="T12" fmla="*/ 2147483647 w 111"/>
                <a:gd name="T13" fmla="*/ 2147483647 h 179"/>
                <a:gd name="T14" fmla="*/ 2147483647 w 111"/>
                <a:gd name="T15" fmla="*/ 2147483647 h 179"/>
                <a:gd name="T16" fmla="*/ 2147483647 w 111"/>
                <a:gd name="T17" fmla="*/ 0 h 179"/>
                <a:gd name="T18" fmla="*/ 2147483647 w 111"/>
                <a:gd name="T19" fmla="*/ 2147483647 h 179"/>
                <a:gd name="T20" fmla="*/ 0 w 11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1" h="179">
                  <a:moveTo>
                    <a:pt x="0" y="156"/>
                  </a:moveTo>
                  <a:lnTo>
                    <a:pt x="6" y="179"/>
                  </a:lnTo>
                  <a:lnTo>
                    <a:pt x="37" y="179"/>
                  </a:lnTo>
                  <a:lnTo>
                    <a:pt x="37" y="135"/>
                  </a:lnTo>
                  <a:lnTo>
                    <a:pt x="81" y="135"/>
                  </a:lnTo>
                  <a:lnTo>
                    <a:pt x="92" y="135"/>
                  </a:lnTo>
                  <a:lnTo>
                    <a:pt x="111" y="100"/>
                  </a:lnTo>
                  <a:lnTo>
                    <a:pt x="87" y="33"/>
                  </a:lnTo>
                  <a:lnTo>
                    <a:pt x="81" y="0"/>
                  </a:lnTo>
                  <a:lnTo>
                    <a:pt x="18" y="67"/>
                  </a:lnTo>
                  <a:lnTo>
                    <a:pt x="0" y="1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96" name="Freeform 1071"/>
            <p:cNvSpPr>
              <a:spLocks/>
            </p:cNvSpPr>
            <p:nvPr>
              <p:custDataLst>
                <p:tags r:id="rId904"/>
              </p:custDataLst>
            </p:nvPr>
          </p:nvSpPr>
          <p:spPr bwMode="auto">
            <a:xfrm>
              <a:off x="5868704" y="4409645"/>
              <a:ext cx="204499" cy="141288"/>
            </a:xfrm>
            <a:custGeom>
              <a:avLst/>
              <a:gdLst>
                <a:gd name="T0" fmla="*/ 0 w 111"/>
                <a:gd name="T1" fmla="*/ 2147483647 h 179"/>
                <a:gd name="T2" fmla="*/ 2147483647 w 111"/>
                <a:gd name="T3" fmla="*/ 2147483647 h 179"/>
                <a:gd name="T4" fmla="*/ 2147483647 w 111"/>
                <a:gd name="T5" fmla="*/ 2147483647 h 179"/>
                <a:gd name="T6" fmla="*/ 2147483647 w 111"/>
                <a:gd name="T7" fmla="*/ 2147483647 h 179"/>
                <a:gd name="T8" fmla="*/ 2147483647 w 111"/>
                <a:gd name="T9" fmla="*/ 2147483647 h 179"/>
                <a:gd name="T10" fmla="*/ 2147483647 w 111"/>
                <a:gd name="T11" fmla="*/ 2147483647 h 179"/>
                <a:gd name="T12" fmla="*/ 2147483647 w 111"/>
                <a:gd name="T13" fmla="*/ 2147483647 h 179"/>
                <a:gd name="T14" fmla="*/ 2147483647 w 111"/>
                <a:gd name="T15" fmla="*/ 2147483647 h 179"/>
                <a:gd name="T16" fmla="*/ 2147483647 w 111"/>
                <a:gd name="T17" fmla="*/ 0 h 179"/>
                <a:gd name="T18" fmla="*/ 2147483647 w 111"/>
                <a:gd name="T19" fmla="*/ 2147483647 h 179"/>
                <a:gd name="T20" fmla="*/ 0 w 11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1" h="179">
                  <a:moveTo>
                    <a:pt x="0" y="156"/>
                  </a:moveTo>
                  <a:lnTo>
                    <a:pt x="6" y="179"/>
                  </a:lnTo>
                  <a:lnTo>
                    <a:pt x="37" y="179"/>
                  </a:lnTo>
                  <a:lnTo>
                    <a:pt x="37" y="135"/>
                  </a:lnTo>
                  <a:lnTo>
                    <a:pt x="81" y="135"/>
                  </a:lnTo>
                  <a:lnTo>
                    <a:pt x="92" y="135"/>
                  </a:lnTo>
                  <a:lnTo>
                    <a:pt x="111" y="100"/>
                  </a:lnTo>
                  <a:lnTo>
                    <a:pt x="87" y="33"/>
                  </a:lnTo>
                  <a:lnTo>
                    <a:pt x="81" y="0"/>
                  </a:lnTo>
                  <a:lnTo>
                    <a:pt x="18" y="67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97" name="Freeform 1072"/>
            <p:cNvSpPr>
              <a:spLocks/>
            </p:cNvSpPr>
            <p:nvPr>
              <p:custDataLst>
                <p:tags r:id="rId905"/>
              </p:custDataLst>
            </p:nvPr>
          </p:nvSpPr>
          <p:spPr bwMode="auto">
            <a:xfrm>
              <a:off x="5868704" y="4409645"/>
              <a:ext cx="204499" cy="141288"/>
            </a:xfrm>
            <a:custGeom>
              <a:avLst/>
              <a:gdLst>
                <a:gd name="T0" fmla="*/ 0 w 111"/>
                <a:gd name="T1" fmla="*/ 2147483647 h 179"/>
                <a:gd name="T2" fmla="*/ 2147483647 w 111"/>
                <a:gd name="T3" fmla="*/ 2147483647 h 179"/>
                <a:gd name="T4" fmla="*/ 2147483647 w 111"/>
                <a:gd name="T5" fmla="*/ 2147483647 h 179"/>
                <a:gd name="T6" fmla="*/ 2147483647 w 111"/>
                <a:gd name="T7" fmla="*/ 2147483647 h 179"/>
                <a:gd name="T8" fmla="*/ 2147483647 w 111"/>
                <a:gd name="T9" fmla="*/ 2147483647 h 179"/>
                <a:gd name="T10" fmla="*/ 2147483647 w 111"/>
                <a:gd name="T11" fmla="*/ 2147483647 h 179"/>
                <a:gd name="T12" fmla="*/ 2147483647 w 111"/>
                <a:gd name="T13" fmla="*/ 2147483647 h 179"/>
                <a:gd name="T14" fmla="*/ 2147483647 w 111"/>
                <a:gd name="T15" fmla="*/ 2147483647 h 179"/>
                <a:gd name="T16" fmla="*/ 2147483647 w 111"/>
                <a:gd name="T17" fmla="*/ 0 h 179"/>
                <a:gd name="T18" fmla="*/ 2147483647 w 111"/>
                <a:gd name="T19" fmla="*/ 2147483647 h 179"/>
                <a:gd name="T20" fmla="*/ 0 w 111"/>
                <a:gd name="T21" fmla="*/ 2147483647 h 17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11" h="179">
                  <a:moveTo>
                    <a:pt x="0" y="156"/>
                  </a:moveTo>
                  <a:lnTo>
                    <a:pt x="6" y="179"/>
                  </a:lnTo>
                  <a:lnTo>
                    <a:pt x="37" y="179"/>
                  </a:lnTo>
                  <a:lnTo>
                    <a:pt x="37" y="135"/>
                  </a:lnTo>
                  <a:lnTo>
                    <a:pt x="81" y="135"/>
                  </a:lnTo>
                  <a:lnTo>
                    <a:pt x="92" y="135"/>
                  </a:lnTo>
                  <a:lnTo>
                    <a:pt x="111" y="100"/>
                  </a:lnTo>
                  <a:lnTo>
                    <a:pt x="87" y="33"/>
                  </a:lnTo>
                  <a:lnTo>
                    <a:pt x="81" y="0"/>
                  </a:lnTo>
                  <a:lnTo>
                    <a:pt x="18" y="67"/>
                  </a:lnTo>
                  <a:lnTo>
                    <a:pt x="0" y="1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98" name="Freeform 1073"/>
            <p:cNvSpPr>
              <a:spLocks/>
            </p:cNvSpPr>
            <p:nvPr>
              <p:custDataLst>
                <p:tags r:id="rId906"/>
              </p:custDataLst>
            </p:nvPr>
          </p:nvSpPr>
          <p:spPr bwMode="auto">
            <a:xfrm>
              <a:off x="6642571" y="5003406"/>
              <a:ext cx="346848" cy="244475"/>
            </a:xfrm>
            <a:custGeom>
              <a:avLst/>
              <a:gdLst>
                <a:gd name="T0" fmla="*/ 0 w 187"/>
                <a:gd name="T1" fmla="*/ 2147483647 h 309"/>
                <a:gd name="T2" fmla="*/ 0 w 187"/>
                <a:gd name="T3" fmla="*/ 2147483647 h 309"/>
                <a:gd name="T4" fmla="*/ 2147483647 w 187"/>
                <a:gd name="T5" fmla="*/ 2147483647 h 309"/>
                <a:gd name="T6" fmla="*/ 2147483647 w 187"/>
                <a:gd name="T7" fmla="*/ 2147483647 h 309"/>
                <a:gd name="T8" fmla="*/ 2147483647 w 187"/>
                <a:gd name="T9" fmla="*/ 2147483647 h 309"/>
                <a:gd name="T10" fmla="*/ 2147483647 w 187"/>
                <a:gd name="T11" fmla="*/ 2147483647 h 309"/>
                <a:gd name="T12" fmla="*/ 2147483647 w 187"/>
                <a:gd name="T13" fmla="*/ 2147483647 h 309"/>
                <a:gd name="T14" fmla="*/ 2147483647 w 187"/>
                <a:gd name="T15" fmla="*/ 2147483647 h 309"/>
                <a:gd name="T16" fmla="*/ 2147483647 w 187"/>
                <a:gd name="T17" fmla="*/ 2147483647 h 309"/>
                <a:gd name="T18" fmla="*/ 2147483647 w 187"/>
                <a:gd name="T19" fmla="*/ 2147483647 h 309"/>
                <a:gd name="T20" fmla="*/ 2147483647 w 187"/>
                <a:gd name="T21" fmla="*/ 2147483647 h 309"/>
                <a:gd name="T22" fmla="*/ 2147483647 w 187"/>
                <a:gd name="T23" fmla="*/ 2147483647 h 309"/>
                <a:gd name="T24" fmla="*/ 2147483647 w 187"/>
                <a:gd name="T25" fmla="*/ 2147483647 h 309"/>
                <a:gd name="T26" fmla="*/ 2147483647 w 187"/>
                <a:gd name="T27" fmla="*/ 2147483647 h 309"/>
                <a:gd name="T28" fmla="*/ 2147483647 w 187"/>
                <a:gd name="T29" fmla="*/ 0 h 309"/>
                <a:gd name="T30" fmla="*/ 2147483647 w 187"/>
                <a:gd name="T31" fmla="*/ 2147483647 h 309"/>
                <a:gd name="T32" fmla="*/ 2147483647 w 187"/>
                <a:gd name="T33" fmla="*/ 2147483647 h 309"/>
                <a:gd name="T34" fmla="*/ 2147483647 w 187"/>
                <a:gd name="T35" fmla="*/ 2147483647 h 309"/>
                <a:gd name="T36" fmla="*/ 2147483647 w 187"/>
                <a:gd name="T37" fmla="*/ 2147483647 h 309"/>
                <a:gd name="T38" fmla="*/ 2147483647 w 187"/>
                <a:gd name="T39" fmla="*/ 2147483647 h 309"/>
                <a:gd name="T40" fmla="*/ 2147483647 w 187"/>
                <a:gd name="T41" fmla="*/ 2147483647 h 309"/>
                <a:gd name="T42" fmla="*/ 0 w 187"/>
                <a:gd name="T43" fmla="*/ 2147483647 h 3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7" h="309">
                  <a:moveTo>
                    <a:pt x="0" y="156"/>
                  </a:moveTo>
                  <a:lnTo>
                    <a:pt x="0" y="277"/>
                  </a:lnTo>
                  <a:lnTo>
                    <a:pt x="25" y="300"/>
                  </a:lnTo>
                  <a:lnTo>
                    <a:pt x="50" y="309"/>
                  </a:lnTo>
                  <a:lnTo>
                    <a:pt x="81" y="309"/>
                  </a:lnTo>
                  <a:lnTo>
                    <a:pt x="106" y="265"/>
                  </a:lnTo>
                  <a:lnTo>
                    <a:pt x="106" y="256"/>
                  </a:lnTo>
                  <a:lnTo>
                    <a:pt x="131" y="244"/>
                  </a:lnTo>
                  <a:lnTo>
                    <a:pt x="131" y="221"/>
                  </a:lnTo>
                  <a:lnTo>
                    <a:pt x="181" y="188"/>
                  </a:lnTo>
                  <a:lnTo>
                    <a:pt x="168" y="177"/>
                  </a:lnTo>
                  <a:lnTo>
                    <a:pt x="187" y="77"/>
                  </a:lnTo>
                  <a:lnTo>
                    <a:pt x="175" y="44"/>
                  </a:lnTo>
                  <a:lnTo>
                    <a:pt x="143" y="10"/>
                  </a:lnTo>
                  <a:lnTo>
                    <a:pt x="137" y="0"/>
                  </a:lnTo>
                  <a:lnTo>
                    <a:pt x="112" y="33"/>
                  </a:lnTo>
                  <a:lnTo>
                    <a:pt x="106" y="112"/>
                  </a:lnTo>
                  <a:lnTo>
                    <a:pt x="125" y="133"/>
                  </a:lnTo>
                  <a:lnTo>
                    <a:pt x="125" y="167"/>
                  </a:lnTo>
                  <a:lnTo>
                    <a:pt x="37" y="89"/>
                  </a:lnTo>
                  <a:lnTo>
                    <a:pt x="37" y="156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099" name="Freeform 1074"/>
            <p:cNvSpPr>
              <a:spLocks/>
            </p:cNvSpPr>
            <p:nvPr>
              <p:custDataLst>
                <p:tags r:id="rId907"/>
              </p:custDataLst>
            </p:nvPr>
          </p:nvSpPr>
          <p:spPr bwMode="auto">
            <a:xfrm>
              <a:off x="6642571" y="5003406"/>
              <a:ext cx="346848" cy="244475"/>
            </a:xfrm>
            <a:custGeom>
              <a:avLst/>
              <a:gdLst>
                <a:gd name="T0" fmla="*/ 0 w 187"/>
                <a:gd name="T1" fmla="*/ 2147483647 h 309"/>
                <a:gd name="T2" fmla="*/ 0 w 187"/>
                <a:gd name="T3" fmla="*/ 2147483647 h 309"/>
                <a:gd name="T4" fmla="*/ 2147483647 w 187"/>
                <a:gd name="T5" fmla="*/ 2147483647 h 309"/>
                <a:gd name="T6" fmla="*/ 2147483647 w 187"/>
                <a:gd name="T7" fmla="*/ 2147483647 h 309"/>
                <a:gd name="T8" fmla="*/ 2147483647 w 187"/>
                <a:gd name="T9" fmla="*/ 2147483647 h 309"/>
                <a:gd name="T10" fmla="*/ 2147483647 w 187"/>
                <a:gd name="T11" fmla="*/ 2147483647 h 309"/>
                <a:gd name="T12" fmla="*/ 2147483647 w 187"/>
                <a:gd name="T13" fmla="*/ 2147483647 h 309"/>
                <a:gd name="T14" fmla="*/ 2147483647 w 187"/>
                <a:gd name="T15" fmla="*/ 2147483647 h 309"/>
                <a:gd name="T16" fmla="*/ 2147483647 w 187"/>
                <a:gd name="T17" fmla="*/ 2147483647 h 309"/>
                <a:gd name="T18" fmla="*/ 2147483647 w 187"/>
                <a:gd name="T19" fmla="*/ 2147483647 h 309"/>
                <a:gd name="T20" fmla="*/ 2147483647 w 187"/>
                <a:gd name="T21" fmla="*/ 2147483647 h 309"/>
                <a:gd name="T22" fmla="*/ 2147483647 w 187"/>
                <a:gd name="T23" fmla="*/ 2147483647 h 309"/>
                <a:gd name="T24" fmla="*/ 2147483647 w 187"/>
                <a:gd name="T25" fmla="*/ 2147483647 h 309"/>
                <a:gd name="T26" fmla="*/ 2147483647 w 187"/>
                <a:gd name="T27" fmla="*/ 2147483647 h 309"/>
                <a:gd name="T28" fmla="*/ 2147483647 w 187"/>
                <a:gd name="T29" fmla="*/ 0 h 309"/>
                <a:gd name="T30" fmla="*/ 2147483647 w 187"/>
                <a:gd name="T31" fmla="*/ 2147483647 h 309"/>
                <a:gd name="T32" fmla="*/ 2147483647 w 187"/>
                <a:gd name="T33" fmla="*/ 2147483647 h 309"/>
                <a:gd name="T34" fmla="*/ 2147483647 w 187"/>
                <a:gd name="T35" fmla="*/ 2147483647 h 309"/>
                <a:gd name="T36" fmla="*/ 2147483647 w 187"/>
                <a:gd name="T37" fmla="*/ 2147483647 h 309"/>
                <a:gd name="T38" fmla="*/ 2147483647 w 187"/>
                <a:gd name="T39" fmla="*/ 2147483647 h 309"/>
                <a:gd name="T40" fmla="*/ 2147483647 w 187"/>
                <a:gd name="T41" fmla="*/ 2147483647 h 309"/>
                <a:gd name="T42" fmla="*/ 0 w 187"/>
                <a:gd name="T43" fmla="*/ 2147483647 h 3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7" h="309">
                  <a:moveTo>
                    <a:pt x="0" y="156"/>
                  </a:moveTo>
                  <a:lnTo>
                    <a:pt x="0" y="277"/>
                  </a:lnTo>
                  <a:lnTo>
                    <a:pt x="25" y="300"/>
                  </a:lnTo>
                  <a:lnTo>
                    <a:pt x="50" y="309"/>
                  </a:lnTo>
                  <a:lnTo>
                    <a:pt x="81" y="309"/>
                  </a:lnTo>
                  <a:lnTo>
                    <a:pt x="106" y="265"/>
                  </a:lnTo>
                  <a:lnTo>
                    <a:pt x="106" y="256"/>
                  </a:lnTo>
                  <a:lnTo>
                    <a:pt x="131" y="244"/>
                  </a:lnTo>
                  <a:lnTo>
                    <a:pt x="131" y="221"/>
                  </a:lnTo>
                  <a:lnTo>
                    <a:pt x="181" y="188"/>
                  </a:lnTo>
                  <a:lnTo>
                    <a:pt x="168" y="177"/>
                  </a:lnTo>
                  <a:lnTo>
                    <a:pt x="187" y="77"/>
                  </a:lnTo>
                  <a:lnTo>
                    <a:pt x="175" y="44"/>
                  </a:lnTo>
                  <a:lnTo>
                    <a:pt x="143" y="10"/>
                  </a:lnTo>
                  <a:lnTo>
                    <a:pt x="137" y="0"/>
                  </a:lnTo>
                  <a:lnTo>
                    <a:pt x="112" y="33"/>
                  </a:lnTo>
                  <a:lnTo>
                    <a:pt x="106" y="112"/>
                  </a:lnTo>
                  <a:lnTo>
                    <a:pt x="125" y="133"/>
                  </a:lnTo>
                  <a:lnTo>
                    <a:pt x="125" y="167"/>
                  </a:lnTo>
                  <a:lnTo>
                    <a:pt x="37" y="89"/>
                  </a:lnTo>
                  <a:lnTo>
                    <a:pt x="37" y="156"/>
                  </a:lnTo>
                  <a:lnTo>
                    <a:pt x="0" y="1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00" name="Freeform 1075"/>
            <p:cNvSpPr>
              <a:spLocks/>
            </p:cNvSpPr>
            <p:nvPr>
              <p:custDataLst>
                <p:tags r:id="rId908"/>
              </p:custDataLst>
            </p:nvPr>
          </p:nvSpPr>
          <p:spPr bwMode="auto">
            <a:xfrm>
              <a:off x="6642571" y="5003406"/>
              <a:ext cx="346848" cy="244475"/>
            </a:xfrm>
            <a:custGeom>
              <a:avLst/>
              <a:gdLst>
                <a:gd name="T0" fmla="*/ 0 w 187"/>
                <a:gd name="T1" fmla="*/ 2147483647 h 309"/>
                <a:gd name="T2" fmla="*/ 0 w 187"/>
                <a:gd name="T3" fmla="*/ 2147483647 h 309"/>
                <a:gd name="T4" fmla="*/ 2147483647 w 187"/>
                <a:gd name="T5" fmla="*/ 2147483647 h 309"/>
                <a:gd name="T6" fmla="*/ 2147483647 w 187"/>
                <a:gd name="T7" fmla="*/ 2147483647 h 309"/>
                <a:gd name="T8" fmla="*/ 2147483647 w 187"/>
                <a:gd name="T9" fmla="*/ 2147483647 h 309"/>
                <a:gd name="T10" fmla="*/ 2147483647 w 187"/>
                <a:gd name="T11" fmla="*/ 2147483647 h 309"/>
                <a:gd name="T12" fmla="*/ 2147483647 w 187"/>
                <a:gd name="T13" fmla="*/ 2147483647 h 309"/>
                <a:gd name="T14" fmla="*/ 2147483647 w 187"/>
                <a:gd name="T15" fmla="*/ 2147483647 h 309"/>
                <a:gd name="T16" fmla="*/ 2147483647 w 187"/>
                <a:gd name="T17" fmla="*/ 2147483647 h 309"/>
                <a:gd name="T18" fmla="*/ 2147483647 w 187"/>
                <a:gd name="T19" fmla="*/ 2147483647 h 309"/>
                <a:gd name="T20" fmla="*/ 2147483647 w 187"/>
                <a:gd name="T21" fmla="*/ 2147483647 h 309"/>
                <a:gd name="T22" fmla="*/ 2147483647 w 187"/>
                <a:gd name="T23" fmla="*/ 2147483647 h 309"/>
                <a:gd name="T24" fmla="*/ 2147483647 w 187"/>
                <a:gd name="T25" fmla="*/ 2147483647 h 309"/>
                <a:gd name="T26" fmla="*/ 2147483647 w 187"/>
                <a:gd name="T27" fmla="*/ 2147483647 h 309"/>
                <a:gd name="T28" fmla="*/ 2147483647 w 187"/>
                <a:gd name="T29" fmla="*/ 0 h 309"/>
                <a:gd name="T30" fmla="*/ 2147483647 w 187"/>
                <a:gd name="T31" fmla="*/ 2147483647 h 309"/>
                <a:gd name="T32" fmla="*/ 2147483647 w 187"/>
                <a:gd name="T33" fmla="*/ 2147483647 h 309"/>
                <a:gd name="T34" fmla="*/ 2147483647 w 187"/>
                <a:gd name="T35" fmla="*/ 2147483647 h 309"/>
                <a:gd name="T36" fmla="*/ 2147483647 w 187"/>
                <a:gd name="T37" fmla="*/ 2147483647 h 309"/>
                <a:gd name="T38" fmla="*/ 2147483647 w 187"/>
                <a:gd name="T39" fmla="*/ 2147483647 h 309"/>
                <a:gd name="T40" fmla="*/ 2147483647 w 187"/>
                <a:gd name="T41" fmla="*/ 2147483647 h 309"/>
                <a:gd name="T42" fmla="*/ 0 w 187"/>
                <a:gd name="T43" fmla="*/ 2147483647 h 3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7" h="309">
                  <a:moveTo>
                    <a:pt x="0" y="156"/>
                  </a:moveTo>
                  <a:lnTo>
                    <a:pt x="0" y="277"/>
                  </a:lnTo>
                  <a:lnTo>
                    <a:pt x="25" y="300"/>
                  </a:lnTo>
                  <a:lnTo>
                    <a:pt x="50" y="309"/>
                  </a:lnTo>
                  <a:lnTo>
                    <a:pt x="81" y="309"/>
                  </a:lnTo>
                  <a:lnTo>
                    <a:pt x="106" y="265"/>
                  </a:lnTo>
                  <a:lnTo>
                    <a:pt x="106" y="256"/>
                  </a:lnTo>
                  <a:lnTo>
                    <a:pt x="131" y="244"/>
                  </a:lnTo>
                  <a:lnTo>
                    <a:pt x="131" y="221"/>
                  </a:lnTo>
                  <a:lnTo>
                    <a:pt x="181" y="188"/>
                  </a:lnTo>
                  <a:lnTo>
                    <a:pt x="168" y="177"/>
                  </a:lnTo>
                  <a:lnTo>
                    <a:pt x="187" y="77"/>
                  </a:lnTo>
                  <a:lnTo>
                    <a:pt x="175" y="44"/>
                  </a:lnTo>
                  <a:lnTo>
                    <a:pt x="143" y="10"/>
                  </a:lnTo>
                  <a:lnTo>
                    <a:pt x="137" y="0"/>
                  </a:lnTo>
                  <a:lnTo>
                    <a:pt x="112" y="33"/>
                  </a:lnTo>
                  <a:lnTo>
                    <a:pt x="106" y="112"/>
                  </a:lnTo>
                  <a:lnTo>
                    <a:pt x="125" y="133"/>
                  </a:lnTo>
                  <a:lnTo>
                    <a:pt x="125" y="167"/>
                  </a:lnTo>
                  <a:lnTo>
                    <a:pt x="37" y="89"/>
                  </a:lnTo>
                  <a:lnTo>
                    <a:pt x="37" y="156"/>
                  </a:lnTo>
                  <a:lnTo>
                    <a:pt x="0" y="156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01" name="Freeform 1076"/>
            <p:cNvSpPr>
              <a:spLocks/>
            </p:cNvSpPr>
            <p:nvPr>
              <p:custDataLst>
                <p:tags r:id="rId909"/>
              </p:custDataLst>
            </p:nvPr>
          </p:nvSpPr>
          <p:spPr bwMode="auto">
            <a:xfrm>
              <a:off x="6642571" y="5003406"/>
              <a:ext cx="346848" cy="244475"/>
            </a:xfrm>
            <a:custGeom>
              <a:avLst/>
              <a:gdLst>
                <a:gd name="T0" fmla="*/ 0 w 187"/>
                <a:gd name="T1" fmla="*/ 2147483647 h 309"/>
                <a:gd name="T2" fmla="*/ 0 w 187"/>
                <a:gd name="T3" fmla="*/ 2147483647 h 309"/>
                <a:gd name="T4" fmla="*/ 2147483647 w 187"/>
                <a:gd name="T5" fmla="*/ 2147483647 h 309"/>
                <a:gd name="T6" fmla="*/ 2147483647 w 187"/>
                <a:gd name="T7" fmla="*/ 2147483647 h 309"/>
                <a:gd name="T8" fmla="*/ 2147483647 w 187"/>
                <a:gd name="T9" fmla="*/ 2147483647 h 309"/>
                <a:gd name="T10" fmla="*/ 2147483647 w 187"/>
                <a:gd name="T11" fmla="*/ 2147483647 h 309"/>
                <a:gd name="T12" fmla="*/ 2147483647 w 187"/>
                <a:gd name="T13" fmla="*/ 2147483647 h 309"/>
                <a:gd name="T14" fmla="*/ 2147483647 w 187"/>
                <a:gd name="T15" fmla="*/ 2147483647 h 309"/>
                <a:gd name="T16" fmla="*/ 2147483647 w 187"/>
                <a:gd name="T17" fmla="*/ 2147483647 h 309"/>
                <a:gd name="T18" fmla="*/ 2147483647 w 187"/>
                <a:gd name="T19" fmla="*/ 2147483647 h 309"/>
                <a:gd name="T20" fmla="*/ 2147483647 w 187"/>
                <a:gd name="T21" fmla="*/ 2147483647 h 309"/>
                <a:gd name="T22" fmla="*/ 2147483647 w 187"/>
                <a:gd name="T23" fmla="*/ 2147483647 h 309"/>
                <a:gd name="T24" fmla="*/ 2147483647 w 187"/>
                <a:gd name="T25" fmla="*/ 2147483647 h 309"/>
                <a:gd name="T26" fmla="*/ 2147483647 w 187"/>
                <a:gd name="T27" fmla="*/ 2147483647 h 309"/>
                <a:gd name="T28" fmla="*/ 2147483647 w 187"/>
                <a:gd name="T29" fmla="*/ 0 h 309"/>
                <a:gd name="T30" fmla="*/ 2147483647 w 187"/>
                <a:gd name="T31" fmla="*/ 2147483647 h 309"/>
                <a:gd name="T32" fmla="*/ 2147483647 w 187"/>
                <a:gd name="T33" fmla="*/ 2147483647 h 309"/>
                <a:gd name="T34" fmla="*/ 2147483647 w 187"/>
                <a:gd name="T35" fmla="*/ 2147483647 h 309"/>
                <a:gd name="T36" fmla="*/ 2147483647 w 187"/>
                <a:gd name="T37" fmla="*/ 2147483647 h 309"/>
                <a:gd name="T38" fmla="*/ 2147483647 w 187"/>
                <a:gd name="T39" fmla="*/ 2147483647 h 309"/>
                <a:gd name="T40" fmla="*/ 2147483647 w 187"/>
                <a:gd name="T41" fmla="*/ 2147483647 h 309"/>
                <a:gd name="T42" fmla="*/ 0 w 187"/>
                <a:gd name="T43" fmla="*/ 2147483647 h 30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87" h="309">
                  <a:moveTo>
                    <a:pt x="0" y="156"/>
                  </a:moveTo>
                  <a:lnTo>
                    <a:pt x="0" y="277"/>
                  </a:lnTo>
                  <a:lnTo>
                    <a:pt x="25" y="300"/>
                  </a:lnTo>
                  <a:lnTo>
                    <a:pt x="50" y="309"/>
                  </a:lnTo>
                  <a:lnTo>
                    <a:pt x="81" y="309"/>
                  </a:lnTo>
                  <a:lnTo>
                    <a:pt x="106" y="265"/>
                  </a:lnTo>
                  <a:lnTo>
                    <a:pt x="106" y="256"/>
                  </a:lnTo>
                  <a:lnTo>
                    <a:pt x="131" y="244"/>
                  </a:lnTo>
                  <a:lnTo>
                    <a:pt x="131" y="221"/>
                  </a:lnTo>
                  <a:lnTo>
                    <a:pt x="181" y="188"/>
                  </a:lnTo>
                  <a:lnTo>
                    <a:pt x="168" y="177"/>
                  </a:lnTo>
                  <a:lnTo>
                    <a:pt x="187" y="77"/>
                  </a:lnTo>
                  <a:lnTo>
                    <a:pt x="175" y="44"/>
                  </a:lnTo>
                  <a:lnTo>
                    <a:pt x="143" y="10"/>
                  </a:lnTo>
                  <a:lnTo>
                    <a:pt x="137" y="0"/>
                  </a:lnTo>
                  <a:lnTo>
                    <a:pt x="112" y="33"/>
                  </a:lnTo>
                  <a:lnTo>
                    <a:pt x="106" y="112"/>
                  </a:lnTo>
                  <a:lnTo>
                    <a:pt x="125" y="133"/>
                  </a:lnTo>
                  <a:lnTo>
                    <a:pt x="125" y="167"/>
                  </a:lnTo>
                  <a:lnTo>
                    <a:pt x="37" y="89"/>
                  </a:lnTo>
                  <a:lnTo>
                    <a:pt x="37" y="156"/>
                  </a:lnTo>
                  <a:lnTo>
                    <a:pt x="0" y="156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02" name="Freeform 1077"/>
            <p:cNvSpPr>
              <a:spLocks/>
            </p:cNvSpPr>
            <p:nvPr>
              <p:custDataLst>
                <p:tags r:id="rId910"/>
              </p:custDataLst>
            </p:nvPr>
          </p:nvSpPr>
          <p:spPr bwMode="auto">
            <a:xfrm>
              <a:off x="6492211" y="5363733"/>
              <a:ext cx="463130" cy="334962"/>
            </a:xfrm>
            <a:custGeom>
              <a:avLst/>
              <a:gdLst>
                <a:gd name="T0" fmla="*/ 0 w 250"/>
                <a:gd name="T1" fmla="*/ 2147483647 h 423"/>
                <a:gd name="T2" fmla="*/ 2147483647 w 250"/>
                <a:gd name="T3" fmla="*/ 2147483647 h 423"/>
                <a:gd name="T4" fmla="*/ 2147483647 w 250"/>
                <a:gd name="T5" fmla="*/ 2147483647 h 423"/>
                <a:gd name="T6" fmla="*/ 2147483647 w 250"/>
                <a:gd name="T7" fmla="*/ 2147483647 h 423"/>
                <a:gd name="T8" fmla="*/ 2147483647 w 250"/>
                <a:gd name="T9" fmla="*/ 2147483647 h 423"/>
                <a:gd name="T10" fmla="*/ 2147483647 w 250"/>
                <a:gd name="T11" fmla="*/ 2147483647 h 423"/>
                <a:gd name="T12" fmla="*/ 2147483647 w 250"/>
                <a:gd name="T13" fmla="*/ 2147483647 h 423"/>
                <a:gd name="T14" fmla="*/ 2147483647 w 250"/>
                <a:gd name="T15" fmla="*/ 2147483647 h 423"/>
                <a:gd name="T16" fmla="*/ 2147483647 w 250"/>
                <a:gd name="T17" fmla="*/ 2147483647 h 423"/>
                <a:gd name="T18" fmla="*/ 2147483647 w 250"/>
                <a:gd name="T19" fmla="*/ 2147483647 h 423"/>
                <a:gd name="T20" fmla="*/ 2147483647 w 250"/>
                <a:gd name="T21" fmla="*/ 2147483647 h 423"/>
                <a:gd name="T22" fmla="*/ 2147483647 w 250"/>
                <a:gd name="T23" fmla="*/ 0 h 423"/>
                <a:gd name="T24" fmla="*/ 2147483647 w 250"/>
                <a:gd name="T25" fmla="*/ 2147483647 h 423"/>
                <a:gd name="T26" fmla="*/ 2147483647 w 250"/>
                <a:gd name="T27" fmla="*/ 2147483647 h 423"/>
                <a:gd name="T28" fmla="*/ 2147483647 w 250"/>
                <a:gd name="T29" fmla="*/ 2147483647 h 423"/>
                <a:gd name="T30" fmla="*/ 2147483647 w 250"/>
                <a:gd name="T31" fmla="*/ 2147483647 h 423"/>
                <a:gd name="T32" fmla="*/ 2147483647 w 250"/>
                <a:gd name="T33" fmla="*/ 2147483647 h 423"/>
                <a:gd name="T34" fmla="*/ 2147483647 w 250"/>
                <a:gd name="T35" fmla="*/ 2147483647 h 423"/>
                <a:gd name="T36" fmla="*/ 2147483647 w 250"/>
                <a:gd name="T37" fmla="*/ 2147483647 h 423"/>
                <a:gd name="T38" fmla="*/ 2147483647 w 250"/>
                <a:gd name="T39" fmla="*/ 2147483647 h 423"/>
                <a:gd name="T40" fmla="*/ 2147483647 w 250"/>
                <a:gd name="T41" fmla="*/ 2147483647 h 423"/>
                <a:gd name="T42" fmla="*/ 2147483647 w 250"/>
                <a:gd name="T43" fmla="*/ 2147483647 h 423"/>
                <a:gd name="T44" fmla="*/ 2147483647 w 250"/>
                <a:gd name="T45" fmla="*/ 2147483647 h 423"/>
                <a:gd name="T46" fmla="*/ 2147483647 w 250"/>
                <a:gd name="T47" fmla="*/ 2147483647 h 423"/>
                <a:gd name="T48" fmla="*/ 2147483647 w 250"/>
                <a:gd name="T49" fmla="*/ 2147483647 h 423"/>
                <a:gd name="T50" fmla="*/ 0 w 250"/>
                <a:gd name="T51" fmla="*/ 2147483647 h 42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0" h="423">
                  <a:moveTo>
                    <a:pt x="0" y="223"/>
                  </a:moveTo>
                  <a:lnTo>
                    <a:pt x="7" y="214"/>
                  </a:lnTo>
                  <a:lnTo>
                    <a:pt x="19" y="235"/>
                  </a:lnTo>
                  <a:lnTo>
                    <a:pt x="39" y="235"/>
                  </a:lnTo>
                  <a:lnTo>
                    <a:pt x="50" y="214"/>
                  </a:lnTo>
                  <a:lnTo>
                    <a:pt x="50" y="91"/>
                  </a:lnTo>
                  <a:lnTo>
                    <a:pt x="63" y="121"/>
                  </a:lnTo>
                  <a:lnTo>
                    <a:pt x="63" y="156"/>
                  </a:lnTo>
                  <a:lnTo>
                    <a:pt x="88" y="156"/>
                  </a:lnTo>
                  <a:lnTo>
                    <a:pt x="108" y="112"/>
                  </a:lnTo>
                  <a:lnTo>
                    <a:pt x="138" y="112"/>
                  </a:lnTo>
                  <a:lnTo>
                    <a:pt x="195" y="0"/>
                  </a:lnTo>
                  <a:lnTo>
                    <a:pt x="232" y="21"/>
                  </a:lnTo>
                  <a:lnTo>
                    <a:pt x="238" y="121"/>
                  </a:lnTo>
                  <a:lnTo>
                    <a:pt x="219" y="156"/>
                  </a:lnTo>
                  <a:lnTo>
                    <a:pt x="232" y="179"/>
                  </a:lnTo>
                  <a:lnTo>
                    <a:pt x="238" y="156"/>
                  </a:lnTo>
                  <a:lnTo>
                    <a:pt x="250" y="156"/>
                  </a:lnTo>
                  <a:lnTo>
                    <a:pt x="244" y="214"/>
                  </a:lnTo>
                  <a:lnTo>
                    <a:pt x="207" y="313"/>
                  </a:lnTo>
                  <a:lnTo>
                    <a:pt x="163" y="402"/>
                  </a:lnTo>
                  <a:lnTo>
                    <a:pt x="126" y="423"/>
                  </a:lnTo>
                  <a:lnTo>
                    <a:pt x="32" y="423"/>
                  </a:lnTo>
                  <a:lnTo>
                    <a:pt x="19" y="379"/>
                  </a:lnTo>
                  <a:lnTo>
                    <a:pt x="25" y="346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3103" name="Group 1078"/>
            <p:cNvGrpSpPr>
              <a:grpSpLocks/>
            </p:cNvGrpSpPr>
            <p:nvPr>
              <p:custDataLst>
                <p:tags r:id="rId911"/>
              </p:custDataLst>
            </p:nvPr>
          </p:nvGrpSpPr>
          <p:grpSpPr bwMode="auto">
            <a:xfrm>
              <a:off x="6492211" y="5363733"/>
              <a:ext cx="463130" cy="334962"/>
              <a:chOff x="3201" y="3009"/>
              <a:chExt cx="250" cy="21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189" name="Freeform 1079"/>
              <p:cNvSpPr>
                <a:spLocks/>
              </p:cNvSpPr>
              <p:nvPr/>
            </p:nvSpPr>
            <p:spPr bwMode="auto">
              <a:xfrm>
                <a:off x="3201" y="3009"/>
                <a:ext cx="250" cy="211"/>
              </a:xfrm>
              <a:custGeom>
                <a:avLst/>
                <a:gdLst>
                  <a:gd name="T0" fmla="*/ 0 w 250"/>
                  <a:gd name="T1" fmla="*/ 0 h 423"/>
                  <a:gd name="T2" fmla="*/ 7 w 250"/>
                  <a:gd name="T3" fmla="*/ 0 h 423"/>
                  <a:gd name="T4" fmla="*/ 19 w 250"/>
                  <a:gd name="T5" fmla="*/ 0 h 423"/>
                  <a:gd name="T6" fmla="*/ 39 w 250"/>
                  <a:gd name="T7" fmla="*/ 0 h 423"/>
                  <a:gd name="T8" fmla="*/ 50 w 250"/>
                  <a:gd name="T9" fmla="*/ 0 h 423"/>
                  <a:gd name="T10" fmla="*/ 50 w 250"/>
                  <a:gd name="T11" fmla="*/ 0 h 423"/>
                  <a:gd name="T12" fmla="*/ 63 w 250"/>
                  <a:gd name="T13" fmla="*/ 0 h 423"/>
                  <a:gd name="T14" fmla="*/ 63 w 250"/>
                  <a:gd name="T15" fmla="*/ 0 h 423"/>
                  <a:gd name="T16" fmla="*/ 88 w 250"/>
                  <a:gd name="T17" fmla="*/ 0 h 423"/>
                  <a:gd name="T18" fmla="*/ 108 w 250"/>
                  <a:gd name="T19" fmla="*/ 0 h 423"/>
                  <a:gd name="T20" fmla="*/ 138 w 250"/>
                  <a:gd name="T21" fmla="*/ 0 h 423"/>
                  <a:gd name="T22" fmla="*/ 195 w 250"/>
                  <a:gd name="T23" fmla="*/ 0 h 423"/>
                  <a:gd name="T24" fmla="*/ 232 w 250"/>
                  <a:gd name="T25" fmla="*/ 0 h 423"/>
                  <a:gd name="T26" fmla="*/ 238 w 250"/>
                  <a:gd name="T27" fmla="*/ 0 h 423"/>
                  <a:gd name="T28" fmla="*/ 219 w 250"/>
                  <a:gd name="T29" fmla="*/ 0 h 423"/>
                  <a:gd name="T30" fmla="*/ 232 w 250"/>
                  <a:gd name="T31" fmla="*/ 0 h 423"/>
                  <a:gd name="T32" fmla="*/ 238 w 250"/>
                  <a:gd name="T33" fmla="*/ 0 h 423"/>
                  <a:gd name="T34" fmla="*/ 250 w 250"/>
                  <a:gd name="T35" fmla="*/ 0 h 423"/>
                  <a:gd name="T36" fmla="*/ 244 w 250"/>
                  <a:gd name="T37" fmla="*/ 0 h 423"/>
                  <a:gd name="T38" fmla="*/ 207 w 250"/>
                  <a:gd name="T39" fmla="*/ 0 h 423"/>
                  <a:gd name="T40" fmla="*/ 163 w 250"/>
                  <a:gd name="T41" fmla="*/ 0 h 423"/>
                  <a:gd name="T42" fmla="*/ 126 w 250"/>
                  <a:gd name="T43" fmla="*/ 0 h 423"/>
                  <a:gd name="T44" fmla="*/ 32 w 250"/>
                  <a:gd name="T45" fmla="*/ 0 h 423"/>
                  <a:gd name="T46" fmla="*/ 19 w 250"/>
                  <a:gd name="T47" fmla="*/ 0 h 423"/>
                  <a:gd name="T48" fmla="*/ 25 w 250"/>
                  <a:gd name="T49" fmla="*/ 0 h 423"/>
                  <a:gd name="T50" fmla="*/ 0 w 250"/>
                  <a:gd name="T51" fmla="*/ 0 h 42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250" h="423">
                    <a:moveTo>
                      <a:pt x="0" y="223"/>
                    </a:moveTo>
                    <a:lnTo>
                      <a:pt x="7" y="214"/>
                    </a:lnTo>
                    <a:lnTo>
                      <a:pt x="19" y="235"/>
                    </a:lnTo>
                    <a:lnTo>
                      <a:pt x="39" y="235"/>
                    </a:lnTo>
                    <a:lnTo>
                      <a:pt x="50" y="214"/>
                    </a:lnTo>
                    <a:lnTo>
                      <a:pt x="50" y="91"/>
                    </a:lnTo>
                    <a:lnTo>
                      <a:pt x="63" y="121"/>
                    </a:lnTo>
                    <a:lnTo>
                      <a:pt x="63" y="156"/>
                    </a:lnTo>
                    <a:lnTo>
                      <a:pt x="88" y="156"/>
                    </a:lnTo>
                    <a:lnTo>
                      <a:pt x="108" y="112"/>
                    </a:lnTo>
                    <a:lnTo>
                      <a:pt x="138" y="112"/>
                    </a:lnTo>
                    <a:lnTo>
                      <a:pt x="195" y="0"/>
                    </a:lnTo>
                    <a:lnTo>
                      <a:pt x="232" y="21"/>
                    </a:lnTo>
                    <a:lnTo>
                      <a:pt x="238" y="121"/>
                    </a:lnTo>
                    <a:lnTo>
                      <a:pt x="219" y="156"/>
                    </a:lnTo>
                    <a:lnTo>
                      <a:pt x="232" y="179"/>
                    </a:lnTo>
                    <a:lnTo>
                      <a:pt x="238" y="156"/>
                    </a:lnTo>
                    <a:lnTo>
                      <a:pt x="250" y="156"/>
                    </a:lnTo>
                    <a:lnTo>
                      <a:pt x="244" y="214"/>
                    </a:lnTo>
                    <a:lnTo>
                      <a:pt x="207" y="313"/>
                    </a:lnTo>
                    <a:lnTo>
                      <a:pt x="163" y="402"/>
                    </a:lnTo>
                    <a:lnTo>
                      <a:pt x="126" y="423"/>
                    </a:lnTo>
                    <a:lnTo>
                      <a:pt x="32" y="423"/>
                    </a:lnTo>
                    <a:lnTo>
                      <a:pt x="19" y="379"/>
                    </a:lnTo>
                    <a:lnTo>
                      <a:pt x="25" y="346"/>
                    </a:lnTo>
                    <a:lnTo>
                      <a:pt x="0" y="223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190" name="Freeform 1080"/>
              <p:cNvSpPr>
                <a:spLocks/>
              </p:cNvSpPr>
              <p:nvPr/>
            </p:nvSpPr>
            <p:spPr bwMode="auto">
              <a:xfrm>
                <a:off x="3201" y="3009"/>
                <a:ext cx="250" cy="211"/>
              </a:xfrm>
              <a:custGeom>
                <a:avLst/>
                <a:gdLst>
                  <a:gd name="T0" fmla="*/ 0 w 250"/>
                  <a:gd name="T1" fmla="*/ 0 h 423"/>
                  <a:gd name="T2" fmla="*/ 7 w 250"/>
                  <a:gd name="T3" fmla="*/ 0 h 423"/>
                  <a:gd name="T4" fmla="*/ 19 w 250"/>
                  <a:gd name="T5" fmla="*/ 0 h 423"/>
                  <a:gd name="T6" fmla="*/ 39 w 250"/>
                  <a:gd name="T7" fmla="*/ 0 h 423"/>
                  <a:gd name="T8" fmla="*/ 50 w 250"/>
                  <a:gd name="T9" fmla="*/ 0 h 423"/>
                  <a:gd name="T10" fmla="*/ 50 w 250"/>
                  <a:gd name="T11" fmla="*/ 0 h 423"/>
                  <a:gd name="T12" fmla="*/ 63 w 250"/>
                  <a:gd name="T13" fmla="*/ 0 h 423"/>
                  <a:gd name="T14" fmla="*/ 63 w 250"/>
                  <a:gd name="T15" fmla="*/ 0 h 423"/>
                  <a:gd name="T16" fmla="*/ 88 w 250"/>
                  <a:gd name="T17" fmla="*/ 0 h 423"/>
                  <a:gd name="T18" fmla="*/ 108 w 250"/>
                  <a:gd name="T19" fmla="*/ 0 h 423"/>
                  <a:gd name="T20" fmla="*/ 138 w 250"/>
                  <a:gd name="T21" fmla="*/ 0 h 423"/>
                  <a:gd name="T22" fmla="*/ 195 w 250"/>
                  <a:gd name="T23" fmla="*/ 0 h 423"/>
                  <a:gd name="T24" fmla="*/ 232 w 250"/>
                  <a:gd name="T25" fmla="*/ 0 h 423"/>
                  <a:gd name="T26" fmla="*/ 238 w 250"/>
                  <a:gd name="T27" fmla="*/ 0 h 423"/>
                  <a:gd name="T28" fmla="*/ 219 w 250"/>
                  <a:gd name="T29" fmla="*/ 0 h 423"/>
                  <a:gd name="T30" fmla="*/ 232 w 250"/>
                  <a:gd name="T31" fmla="*/ 0 h 423"/>
                  <a:gd name="T32" fmla="*/ 238 w 250"/>
                  <a:gd name="T33" fmla="*/ 0 h 423"/>
                  <a:gd name="T34" fmla="*/ 250 w 250"/>
                  <a:gd name="T35" fmla="*/ 0 h 423"/>
                  <a:gd name="T36" fmla="*/ 244 w 250"/>
                  <a:gd name="T37" fmla="*/ 0 h 423"/>
                  <a:gd name="T38" fmla="*/ 207 w 250"/>
                  <a:gd name="T39" fmla="*/ 0 h 423"/>
                  <a:gd name="T40" fmla="*/ 163 w 250"/>
                  <a:gd name="T41" fmla="*/ 0 h 423"/>
                  <a:gd name="T42" fmla="*/ 126 w 250"/>
                  <a:gd name="T43" fmla="*/ 0 h 423"/>
                  <a:gd name="T44" fmla="*/ 32 w 250"/>
                  <a:gd name="T45" fmla="*/ 0 h 423"/>
                  <a:gd name="T46" fmla="*/ 19 w 250"/>
                  <a:gd name="T47" fmla="*/ 0 h 423"/>
                  <a:gd name="T48" fmla="*/ 25 w 250"/>
                  <a:gd name="T49" fmla="*/ 0 h 423"/>
                  <a:gd name="T50" fmla="*/ 0 w 250"/>
                  <a:gd name="T51" fmla="*/ 0 h 42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250" h="423">
                    <a:moveTo>
                      <a:pt x="0" y="223"/>
                    </a:moveTo>
                    <a:lnTo>
                      <a:pt x="7" y="214"/>
                    </a:lnTo>
                    <a:lnTo>
                      <a:pt x="19" y="235"/>
                    </a:lnTo>
                    <a:lnTo>
                      <a:pt x="39" y="235"/>
                    </a:lnTo>
                    <a:lnTo>
                      <a:pt x="50" y="214"/>
                    </a:lnTo>
                    <a:lnTo>
                      <a:pt x="50" y="91"/>
                    </a:lnTo>
                    <a:lnTo>
                      <a:pt x="63" y="121"/>
                    </a:lnTo>
                    <a:lnTo>
                      <a:pt x="63" y="156"/>
                    </a:lnTo>
                    <a:lnTo>
                      <a:pt x="88" y="156"/>
                    </a:lnTo>
                    <a:lnTo>
                      <a:pt x="108" y="112"/>
                    </a:lnTo>
                    <a:lnTo>
                      <a:pt x="138" y="112"/>
                    </a:lnTo>
                    <a:lnTo>
                      <a:pt x="195" y="0"/>
                    </a:lnTo>
                    <a:lnTo>
                      <a:pt x="232" y="21"/>
                    </a:lnTo>
                    <a:lnTo>
                      <a:pt x="238" y="121"/>
                    </a:lnTo>
                    <a:lnTo>
                      <a:pt x="219" y="156"/>
                    </a:lnTo>
                    <a:lnTo>
                      <a:pt x="232" y="179"/>
                    </a:lnTo>
                    <a:lnTo>
                      <a:pt x="238" y="156"/>
                    </a:lnTo>
                    <a:lnTo>
                      <a:pt x="250" y="156"/>
                    </a:lnTo>
                    <a:lnTo>
                      <a:pt x="244" y="214"/>
                    </a:lnTo>
                    <a:lnTo>
                      <a:pt x="207" y="313"/>
                    </a:lnTo>
                    <a:lnTo>
                      <a:pt x="163" y="402"/>
                    </a:lnTo>
                    <a:lnTo>
                      <a:pt x="126" y="423"/>
                    </a:lnTo>
                    <a:lnTo>
                      <a:pt x="32" y="423"/>
                    </a:lnTo>
                    <a:lnTo>
                      <a:pt x="19" y="379"/>
                    </a:lnTo>
                    <a:lnTo>
                      <a:pt x="25" y="346"/>
                    </a:lnTo>
                    <a:lnTo>
                      <a:pt x="0" y="223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3104" name="Freeform 1081"/>
            <p:cNvSpPr>
              <a:spLocks/>
            </p:cNvSpPr>
            <p:nvPr>
              <p:custDataLst>
                <p:tags r:id="rId912"/>
              </p:custDataLst>
            </p:nvPr>
          </p:nvSpPr>
          <p:spPr bwMode="auto">
            <a:xfrm>
              <a:off x="6492211" y="5363733"/>
              <a:ext cx="463130" cy="334962"/>
            </a:xfrm>
            <a:custGeom>
              <a:avLst/>
              <a:gdLst>
                <a:gd name="T0" fmla="*/ 0 w 250"/>
                <a:gd name="T1" fmla="*/ 2147483647 h 423"/>
                <a:gd name="T2" fmla="*/ 2147483647 w 250"/>
                <a:gd name="T3" fmla="*/ 2147483647 h 423"/>
                <a:gd name="T4" fmla="*/ 2147483647 w 250"/>
                <a:gd name="T5" fmla="*/ 2147483647 h 423"/>
                <a:gd name="T6" fmla="*/ 2147483647 w 250"/>
                <a:gd name="T7" fmla="*/ 2147483647 h 423"/>
                <a:gd name="T8" fmla="*/ 2147483647 w 250"/>
                <a:gd name="T9" fmla="*/ 2147483647 h 423"/>
                <a:gd name="T10" fmla="*/ 2147483647 w 250"/>
                <a:gd name="T11" fmla="*/ 2147483647 h 423"/>
                <a:gd name="T12" fmla="*/ 2147483647 w 250"/>
                <a:gd name="T13" fmla="*/ 2147483647 h 423"/>
                <a:gd name="T14" fmla="*/ 2147483647 w 250"/>
                <a:gd name="T15" fmla="*/ 2147483647 h 423"/>
                <a:gd name="T16" fmla="*/ 2147483647 w 250"/>
                <a:gd name="T17" fmla="*/ 2147483647 h 423"/>
                <a:gd name="T18" fmla="*/ 2147483647 w 250"/>
                <a:gd name="T19" fmla="*/ 2147483647 h 423"/>
                <a:gd name="T20" fmla="*/ 2147483647 w 250"/>
                <a:gd name="T21" fmla="*/ 2147483647 h 423"/>
                <a:gd name="T22" fmla="*/ 2147483647 w 250"/>
                <a:gd name="T23" fmla="*/ 0 h 423"/>
                <a:gd name="T24" fmla="*/ 2147483647 w 250"/>
                <a:gd name="T25" fmla="*/ 2147483647 h 423"/>
                <a:gd name="T26" fmla="*/ 2147483647 w 250"/>
                <a:gd name="T27" fmla="*/ 2147483647 h 423"/>
                <a:gd name="T28" fmla="*/ 2147483647 w 250"/>
                <a:gd name="T29" fmla="*/ 2147483647 h 423"/>
                <a:gd name="T30" fmla="*/ 2147483647 w 250"/>
                <a:gd name="T31" fmla="*/ 2147483647 h 423"/>
                <a:gd name="T32" fmla="*/ 2147483647 w 250"/>
                <a:gd name="T33" fmla="*/ 2147483647 h 423"/>
                <a:gd name="T34" fmla="*/ 2147483647 w 250"/>
                <a:gd name="T35" fmla="*/ 2147483647 h 423"/>
                <a:gd name="T36" fmla="*/ 2147483647 w 250"/>
                <a:gd name="T37" fmla="*/ 2147483647 h 423"/>
                <a:gd name="T38" fmla="*/ 2147483647 w 250"/>
                <a:gd name="T39" fmla="*/ 2147483647 h 423"/>
                <a:gd name="T40" fmla="*/ 2147483647 w 250"/>
                <a:gd name="T41" fmla="*/ 2147483647 h 423"/>
                <a:gd name="T42" fmla="*/ 2147483647 w 250"/>
                <a:gd name="T43" fmla="*/ 2147483647 h 423"/>
                <a:gd name="T44" fmla="*/ 2147483647 w 250"/>
                <a:gd name="T45" fmla="*/ 2147483647 h 423"/>
                <a:gd name="T46" fmla="*/ 2147483647 w 250"/>
                <a:gd name="T47" fmla="*/ 2147483647 h 423"/>
                <a:gd name="T48" fmla="*/ 2147483647 w 250"/>
                <a:gd name="T49" fmla="*/ 2147483647 h 423"/>
                <a:gd name="T50" fmla="*/ 0 w 250"/>
                <a:gd name="T51" fmla="*/ 2147483647 h 423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50" h="423">
                  <a:moveTo>
                    <a:pt x="0" y="223"/>
                  </a:moveTo>
                  <a:lnTo>
                    <a:pt x="7" y="214"/>
                  </a:lnTo>
                  <a:lnTo>
                    <a:pt x="19" y="235"/>
                  </a:lnTo>
                  <a:lnTo>
                    <a:pt x="39" y="235"/>
                  </a:lnTo>
                  <a:lnTo>
                    <a:pt x="50" y="214"/>
                  </a:lnTo>
                  <a:lnTo>
                    <a:pt x="50" y="91"/>
                  </a:lnTo>
                  <a:lnTo>
                    <a:pt x="63" y="121"/>
                  </a:lnTo>
                  <a:lnTo>
                    <a:pt x="63" y="156"/>
                  </a:lnTo>
                  <a:lnTo>
                    <a:pt x="88" y="156"/>
                  </a:lnTo>
                  <a:lnTo>
                    <a:pt x="108" y="112"/>
                  </a:lnTo>
                  <a:lnTo>
                    <a:pt x="138" y="112"/>
                  </a:lnTo>
                  <a:lnTo>
                    <a:pt x="195" y="0"/>
                  </a:lnTo>
                  <a:lnTo>
                    <a:pt x="232" y="21"/>
                  </a:lnTo>
                  <a:lnTo>
                    <a:pt x="238" y="121"/>
                  </a:lnTo>
                  <a:lnTo>
                    <a:pt x="219" y="156"/>
                  </a:lnTo>
                  <a:lnTo>
                    <a:pt x="232" y="179"/>
                  </a:lnTo>
                  <a:lnTo>
                    <a:pt x="238" y="156"/>
                  </a:lnTo>
                  <a:lnTo>
                    <a:pt x="250" y="156"/>
                  </a:lnTo>
                  <a:lnTo>
                    <a:pt x="244" y="214"/>
                  </a:lnTo>
                  <a:lnTo>
                    <a:pt x="207" y="313"/>
                  </a:lnTo>
                  <a:lnTo>
                    <a:pt x="163" y="402"/>
                  </a:lnTo>
                  <a:lnTo>
                    <a:pt x="126" y="423"/>
                  </a:lnTo>
                  <a:lnTo>
                    <a:pt x="32" y="423"/>
                  </a:lnTo>
                  <a:lnTo>
                    <a:pt x="19" y="379"/>
                  </a:lnTo>
                  <a:lnTo>
                    <a:pt x="25" y="346"/>
                  </a:lnTo>
                  <a:lnTo>
                    <a:pt x="0" y="2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3105" name="Group 1082"/>
            <p:cNvGrpSpPr>
              <a:grpSpLocks/>
            </p:cNvGrpSpPr>
            <p:nvPr>
              <p:custDataLst>
                <p:tags r:id="rId913"/>
              </p:custDataLst>
            </p:nvPr>
          </p:nvGrpSpPr>
          <p:grpSpPr bwMode="auto">
            <a:xfrm>
              <a:off x="6492211" y="5363733"/>
              <a:ext cx="463130" cy="334962"/>
              <a:chOff x="3201" y="3009"/>
              <a:chExt cx="250" cy="211"/>
            </a:xfrm>
            <a:solidFill>
              <a:schemeClr val="accent6">
                <a:lumMod val="60000"/>
                <a:lumOff val="40000"/>
              </a:schemeClr>
            </a:solidFill>
          </p:grpSpPr>
          <p:sp>
            <p:nvSpPr>
              <p:cNvPr id="3187" name="Freeform 1083"/>
              <p:cNvSpPr>
                <a:spLocks/>
              </p:cNvSpPr>
              <p:nvPr/>
            </p:nvSpPr>
            <p:spPr bwMode="auto">
              <a:xfrm>
                <a:off x="3201" y="3009"/>
                <a:ext cx="250" cy="211"/>
              </a:xfrm>
              <a:custGeom>
                <a:avLst/>
                <a:gdLst>
                  <a:gd name="T0" fmla="*/ 0 w 250"/>
                  <a:gd name="T1" fmla="*/ 0 h 423"/>
                  <a:gd name="T2" fmla="*/ 7 w 250"/>
                  <a:gd name="T3" fmla="*/ 0 h 423"/>
                  <a:gd name="T4" fmla="*/ 19 w 250"/>
                  <a:gd name="T5" fmla="*/ 0 h 423"/>
                  <a:gd name="T6" fmla="*/ 39 w 250"/>
                  <a:gd name="T7" fmla="*/ 0 h 423"/>
                  <a:gd name="T8" fmla="*/ 50 w 250"/>
                  <a:gd name="T9" fmla="*/ 0 h 423"/>
                  <a:gd name="T10" fmla="*/ 50 w 250"/>
                  <a:gd name="T11" fmla="*/ 0 h 423"/>
                  <a:gd name="T12" fmla="*/ 63 w 250"/>
                  <a:gd name="T13" fmla="*/ 0 h 423"/>
                  <a:gd name="T14" fmla="*/ 63 w 250"/>
                  <a:gd name="T15" fmla="*/ 0 h 423"/>
                  <a:gd name="T16" fmla="*/ 88 w 250"/>
                  <a:gd name="T17" fmla="*/ 0 h 423"/>
                  <a:gd name="T18" fmla="*/ 108 w 250"/>
                  <a:gd name="T19" fmla="*/ 0 h 423"/>
                  <a:gd name="T20" fmla="*/ 138 w 250"/>
                  <a:gd name="T21" fmla="*/ 0 h 423"/>
                  <a:gd name="T22" fmla="*/ 195 w 250"/>
                  <a:gd name="T23" fmla="*/ 0 h 423"/>
                  <a:gd name="T24" fmla="*/ 232 w 250"/>
                  <a:gd name="T25" fmla="*/ 0 h 423"/>
                  <a:gd name="T26" fmla="*/ 238 w 250"/>
                  <a:gd name="T27" fmla="*/ 0 h 423"/>
                  <a:gd name="T28" fmla="*/ 219 w 250"/>
                  <a:gd name="T29" fmla="*/ 0 h 423"/>
                  <a:gd name="T30" fmla="*/ 232 w 250"/>
                  <a:gd name="T31" fmla="*/ 0 h 423"/>
                  <a:gd name="T32" fmla="*/ 238 w 250"/>
                  <a:gd name="T33" fmla="*/ 0 h 423"/>
                  <a:gd name="T34" fmla="*/ 250 w 250"/>
                  <a:gd name="T35" fmla="*/ 0 h 423"/>
                  <a:gd name="T36" fmla="*/ 244 w 250"/>
                  <a:gd name="T37" fmla="*/ 0 h 423"/>
                  <a:gd name="T38" fmla="*/ 207 w 250"/>
                  <a:gd name="T39" fmla="*/ 0 h 423"/>
                  <a:gd name="T40" fmla="*/ 163 w 250"/>
                  <a:gd name="T41" fmla="*/ 0 h 423"/>
                  <a:gd name="T42" fmla="*/ 126 w 250"/>
                  <a:gd name="T43" fmla="*/ 0 h 423"/>
                  <a:gd name="T44" fmla="*/ 32 w 250"/>
                  <a:gd name="T45" fmla="*/ 0 h 423"/>
                  <a:gd name="T46" fmla="*/ 19 w 250"/>
                  <a:gd name="T47" fmla="*/ 0 h 423"/>
                  <a:gd name="T48" fmla="*/ 25 w 250"/>
                  <a:gd name="T49" fmla="*/ 0 h 423"/>
                  <a:gd name="T50" fmla="*/ 0 w 250"/>
                  <a:gd name="T51" fmla="*/ 0 h 42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250" h="423">
                    <a:moveTo>
                      <a:pt x="0" y="223"/>
                    </a:moveTo>
                    <a:lnTo>
                      <a:pt x="7" y="214"/>
                    </a:lnTo>
                    <a:lnTo>
                      <a:pt x="19" y="235"/>
                    </a:lnTo>
                    <a:lnTo>
                      <a:pt x="39" y="235"/>
                    </a:lnTo>
                    <a:lnTo>
                      <a:pt x="50" y="214"/>
                    </a:lnTo>
                    <a:lnTo>
                      <a:pt x="50" y="91"/>
                    </a:lnTo>
                    <a:lnTo>
                      <a:pt x="63" y="121"/>
                    </a:lnTo>
                    <a:lnTo>
                      <a:pt x="63" y="156"/>
                    </a:lnTo>
                    <a:lnTo>
                      <a:pt x="88" y="156"/>
                    </a:lnTo>
                    <a:lnTo>
                      <a:pt x="108" y="112"/>
                    </a:lnTo>
                    <a:lnTo>
                      <a:pt x="138" y="112"/>
                    </a:lnTo>
                    <a:lnTo>
                      <a:pt x="195" y="0"/>
                    </a:lnTo>
                    <a:lnTo>
                      <a:pt x="232" y="21"/>
                    </a:lnTo>
                    <a:lnTo>
                      <a:pt x="238" y="121"/>
                    </a:lnTo>
                    <a:lnTo>
                      <a:pt x="219" y="156"/>
                    </a:lnTo>
                    <a:lnTo>
                      <a:pt x="232" y="179"/>
                    </a:lnTo>
                    <a:lnTo>
                      <a:pt x="238" y="156"/>
                    </a:lnTo>
                    <a:lnTo>
                      <a:pt x="250" y="156"/>
                    </a:lnTo>
                    <a:lnTo>
                      <a:pt x="244" y="214"/>
                    </a:lnTo>
                    <a:lnTo>
                      <a:pt x="207" y="313"/>
                    </a:lnTo>
                    <a:lnTo>
                      <a:pt x="163" y="402"/>
                    </a:lnTo>
                    <a:lnTo>
                      <a:pt x="126" y="423"/>
                    </a:lnTo>
                    <a:lnTo>
                      <a:pt x="32" y="423"/>
                    </a:lnTo>
                    <a:lnTo>
                      <a:pt x="19" y="379"/>
                    </a:lnTo>
                    <a:lnTo>
                      <a:pt x="25" y="346"/>
                    </a:lnTo>
                    <a:lnTo>
                      <a:pt x="0" y="223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188" name="Freeform 1084"/>
              <p:cNvSpPr>
                <a:spLocks/>
              </p:cNvSpPr>
              <p:nvPr/>
            </p:nvSpPr>
            <p:spPr bwMode="auto">
              <a:xfrm>
                <a:off x="3201" y="3009"/>
                <a:ext cx="250" cy="211"/>
              </a:xfrm>
              <a:custGeom>
                <a:avLst/>
                <a:gdLst>
                  <a:gd name="T0" fmla="*/ 0 w 250"/>
                  <a:gd name="T1" fmla="*/ 0 h 423"/>
                  <a:gd name="T2" fmla="*/ 7 w 250"/>
                  <a:gd name="T3" fmla="*/ 0 h 423"/>
                  <a:gd name="T4" fmla="*/ 19 w 250"/>
                  <a:gd name="T5" fmla="*/ 0 h 423"/>
                  <a:gd name="T6" fmla="*/ 39 w 250"/>
                  <a:gd name="T7" fmla="*/ 0 h 423"/>
                  <a:gd name="T8" fmla="*/ 50 w 250"/>
                  <a:gd name="T9" fmla="*/ 0 h 423"/>
                  <a:gd name="T10" fmla="*/ 50 w 250"/>
                  <a:gd name="T11" fmla="*/ 0 h 423"/>
                  <a:gd name="T12" fmla="*/ 63 w 250"/>
                  <a:gd name="T13" fmla="*/ 0 h 423"/>
                  <a:gd name="T14" fmla="*/ 63 w 250"/>
                  <a:gd name="T15" fmla="*/ 0 h 423"/>
                  <a:gd name="T16" fmla="*/ 88 w 250"/>
                  <a:gd name="T17" fmla="*/ 0 h 423"/>
                  <a:gd name="T18" fmla="*/ 108 w 250"/>
                  <a:gd name="T19" fmla="*/ 0 h 423"/>
                  <a:gd name="T20" fmla="*/ 138 w 250"/>
                  <a:gd name="T21" fmla="*/ 0 h 423"/>
                  <a:gd name="T22" fmla="*/ 195 w 250"/>
                  <a:gd name="T23" fmla="*/ 0 h 423"/>
                  <a:gd name="T24" fmla="*/ 232 w 250"/>
                  <a:gd name="T25" fmla="*/ 0 h 423"/>
                  <a:gd name="T26" fmla="*/ 238 w 250"/>
                  <a:gd name="T27" fmla="*/ 0 h 423"/>
                  <a:gd name="T28" fmla="*/ 219 w 250"/>
                  <a:gd name="T29" fmla="*/ 0 h 423"/>
                  <a:gd name="T30" fmla="*/ 232 w 250"/>
                  <a:gd name="T31" fmla="*/ 0 h 423"/>
                  <a:gd name="T32" fmla="*/ 238 w 250"/>
                  <a:gd name="T33" fmla="*/ 0 h 423"/>
                  <a:gd name="T34" fmla="*/ 250 w 250"/>
                  <a:gd name="T35" fmla="*/ 0 h 423"/>
                  <a:gd name="T36" fmla="*/ 244 w 250"/>
                  <a:gd name="T37" fmla="*/ 0 h 423"/>
                  <a:gd name="T38" fmla="*/ 207 w 250"/>
                  <a:gd name="T39" fmla="*/ 0 h 423"/>
                  <a:gd name="T40" fmla="*/ 163 w 250"/>
                  <a:gd name="T41" fmla="*/ 0 h 423"/>
                  <a:gd name="T42" fmla="*/ 126 w 250"/>
                  <a:gd name="T43" fmla="*/ 0 h 423"/>
                  <a:gd name="T44" fmla="*/ 32 w 250"/>
                  <a:gd name="T45" fmla="*/ 0 h 423"/>
                  <a:gd name="T46" fmla="*/ 19 w 250"/>
                  <a:gd name="T47" fmla="*/ 0 h 423"/>
                  <a:gd name="T48" fmla="*/ 25 w 250"/>
                  <a:gd name="T49" fmla="*/ 0 h 423"/>
                  <a:gd name="T50" fmla="*/ 0 w 250"/>
                  <a:gd name="T51" fmla="*/ 0 h 42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250" h="423">
                    <a:moveTo>
                      <a:pt x="0" y="223"/>
                    </a:moveTo>
                    <a:lnTo>
                      <a:pt x="7" y="214"/>
                    </a:lnTo>
                    <a:lnTo>
                      <a:pt x="19" y="235"/>
                    </a:lnTo>
                    <a:lnTo>
                      <a:pt x="39" y="235"/>
                    </a:lnTo>
                    <a:lnTo>
                      <a:pt x="50" y="214"/>
                    </a:lnTo>
                    <a:lnTo>
                      <a:pt x="50" y="91"/>
                    </a:lnTo>
                    <a:lnTo>
                      <a:pt x="63" y="121"/>
                    </a:lnTo>
                    <a:lnTo>
                      <a:pt x="63" y="156"/>
                    </a:lnTo>
                    <a:lnTo>
                      <a:pt x="88" y="156"/>
                    </a:lnTo>
                    <a:lnTo>
                      <a:pt x="108" y="112"/>
                    </a:lnTo>
                    <a:lnTo>
                      <a:pt x="138" y="112"/>
                    </a:lnTo>
                    <a:lnTo>
                      <a:pt x="195" y="0"/>
                    </a:lnTo>
                    <a:lnTo>
                      <a:pt x="232" y="21"/>
                    </a:lnTo>
                    <a:lnTo>
                      <a:pt x="238" y="121"/>
                    </a:lnTo>
                    <a:lnTo>
                      <a:pt x="219" y="156"/>
                    </a:lnTo>
                    <a:lnTo>
                      <a:pt x="232" y="179"/>
                    </a:lnTo>
                    <a:lnTo>
                      <a:pt x="238" y="156"/>
                    </a:lnTo>
                    <a:lnTo>
                      <a:pt x="250" y="156"/>
                    </a:lnTo>
                    <a:lnTo>
                      <a:pt x="244" y="214"/>
                    </a:lnTo>
                    <a:lnTo>
                      <a:pt x="207" y="313"/>
                    </a:lnTo>
                    <a:lnTo>
                      <a:pt x="163" y="402"/>
                    </a:lnTo>
                    <a:lnTo>
                      <a:pt x="126" y="423"/>
                    </a:lnTo>
                    <a:lnTo>
                      <a:pt x="32" y="423"/>
                    </a:lnTo>
                    <a:lnTo>
                      <a:pt x="19" y="379"/>
                    </a:lnTo>
                    <a:lnTo>
                      <a:pt x="25" y="346"/>
                    </a:lnTo>
                    <a:lnTo>
                      <a:pt x="0" y="223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3106" name="Freeform 1085"/>
            <p:cNvSpPr>
              <a:spLocks/>
            </p:cNvSpPr>
            <p:nvPr>
              <p:custDataLst>
                <p:tags r:id="rId914"/>
              </p:custDataLst>
            </p:nvPr>
          </p:nvSpPr>
          <p:spPr bwMode="auto">
            <a:xfrm>
              <a:off x="6792961" y="5543156"/>
              <a:ext cx="58141" cy="61913"/>
            </a:xfrm>
            <a:custGeom>
              <a:avLst/>
              <a:gdLst>
                <a:gd name="T0" fmla="*/ 0 w 31"/>
                <a:gd name="T1" fmla="*/ 2147483647 h 79"/>
                <a:gd name="T2" fmla="*/ 2147483647 w 31"/>
                <a:gd name="T3" fmla="*/ 2147483647 h 79"/>
                <a:gd name="T4" fmla="*/ 2147483647 w 31"/>
                <a:gd name="T5" fmla="*/ 2147483647 h 79"/>
                <a:gd name="T6" fmla="*/ 2147483647 w 31"/>
                <a:gd name="T7" fmla="*/ 0 h 79"/>
                <a:gd name="T8" fmla="*/ 0 w 31"/>
                <a:gd name="T9" fmla="*/ 2147483647 h 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79">
                  <a:moveTo>
                    <a:pt x="0" y="44"/>
                  </a:moveTo>
                  <a:lnTo>
                    <a:pt x="11" y="79"/>
                  </a:lnTo>
                  <a:lnTo>
                    <a:pt x="31" y="44"/>
                  </a:lnTo>
                  <a:lnTo>
                    <a:pt x="24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07" name="Freeform 1086"/>
            <p:cNvSpPr>
              <a:spLocks/>
            </p:cNvSpPr>
            <p:nvPr>
              <p:custDataLst>
                <p:tags r:id="rId915"/>
              </p:custDataLst>
            </p:nvPr>
          </p:nvSpPr>
          <p:spPr bwMode="auto">
            <a:xfrm>
              <a:off x="6792961" y="5543156"/>
              <a:ext cx="58141" cy="61913"/>
            </a:xfrm>
            <a:custGeom>
              <a:avLst/>
              <a:gdLst>
                <a:gd name="T0" fmla="*/ 0 w 31"/>
                <a:gd name="T1" fmla="*/ 2147483647 h 79"/>
                <a:gd name="T2" fmla="*/ 2147483647 w 31"/>
                <a:gd name="T3" fmla="*/ 2147483647 h 79"/>
                <a:gd name="T4" fmla="*/ 2147483647 w 31"/>
                <a:gd name="T5" fmla="*/ 2147483647 h 79"/>
                <a:gd name="T6" fmla="*/ 2147483647 w 31"/>
                <a:gd name="T7" fmla="*/ 0 h 79"/>
                <a:gd name="T8" fmla="*/ 0 w 31"/>
                <a:gd name="T9" fmla="*/ 2147483647 h 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79">
                  <a:moveTo>
                    <a:pt x="0" y="44"/>
                  </a:moveTo>
                  <a:lnTo>
                    <a:pt x="11" y="79"/>
                  </a:lnTo>
                  <a:lnTo>
                    <a:pt x="31" y="44"/>
                  </a:lnTo>
                  <a:lnTo>
                    <a:pt x="24" y="0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08" name="Freeform 1087"/>
            <p:cNvSpPr>
              <a:spLocks/>
            </p:cNvSpPr>
            <p:nvPr>
              <p:custDataLst>
                <p:tags r:id="rId916"/>
              </p:custDataLst>
            </p:nvPr>
          </p:nvSpPr>
          <p:spPr bwMode="auto">
            <a:xfrm>
              <a:off x="6792961" y="5543156"/>
              <a:ext cx="58141" cy="61913"/>
            </a:xfrm>
            <a:custGeom>
              <a:avLst/>
              <a:gdLst>
                <a:gd name="T0" fmla="*/ 0 w 31"/>
                <a:gd name="T1" fmla="*/ 2147483647 h 79"/>
                <a:gd name="T2" fmla="*/ 2147483647 w 31"/>
                <a:gd name="T3" fmla="*/ 2147483647 h 79"/>
                <a:gd name="T4" fmla="*/ 2147483647 w 31"/>
                <a:gd name="T5" fmla="*/ 2147483647 h 79"/>
                <a:gd name="T6" fmla="*/ 2147483647 w 31"/>
                <a:gd name="T7" fmla="*/ 0 h 79"/>
                <a:gd name="T8" fmla="*/ 0 w 31"/>
                <a:gd name="T9" fmla="*/ 2147483647 h 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79">
                  <a:moveTo>
                    <a:pt x="0" y="44"/>
                  </a:moveTo>
                  <a:lnTo>
                    <a:pt x="11" y="79"/>
                  </a:lnTo>
                  <a:lnTo>
                    <a:pt x="31" y="44"/>
                  </a:lnTo>
                  <a:lnTo>
                    <a:pt x="24" y="0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09" name="Freeform 1088"/>
            <p:cNvSpPr>
              <a:spLocks/>
            </p:cNvSpPr>
            <p:nvPr>
              <p:custDataLst>
                <p:tags r:id="rId917"/>
              </p:custDataLst>
            </p:nvPr>
          </p:nvSpPr>
          <p:spPr bwMode="auto">
            <a:xfrm>
              <a:off x="6792961" y="5543156"/>
              <a:ext cx="58141" cy="61913"/>
            </a:xfrm>
            <a:custGeom>
              <a:avLst/>
              <a:gdLst>
                <a:gd name="T0" fmla="*/ 0 w 31"/>
                <a:gd name="T1" fmla="*/ 2147483647 h 79"/>
                <a:gd name="T2" fmla="*/ 2147483647 w 31"/>
                <a:gd name="T3" fmla="*/ 2147483647 h 79"/>
                <a:gd name="T4" fmla="*/ 2147483647 w 31"/>
                <a:gd name="T5" fmla="*/ 2147483647 h 79"/>
                <a:gd name="T6" fmla="*/ 2147483647 w 31"/>
                <a:gd name="T7" fmla="*/ 0 h 79"/>
                <a:gd name="T8" fmla="*/ 0 w 31"/>
                <a:gd name="T9" fmla="*/ 2147483647 h 7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" h="79">
                  <a:moveTo>
                    <a:pt x="0" y="44"/>
                  </a:moveTo>
                  <a:lnTo>
                    <a:pt x="11" y="79"/>
                  </a:lnTo>
                  <a:lnTo>
                    <a:pt x="31" y="44"/>
                  </a:lnTo>
                  <a:lnTo>
                    <a:pt x="24" y="0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10" name="Freeform 1089"/>
            <p:cNvSpPr>
              <a:spLocks/>
            </p:cNvSpPr>
            <p:nvPr>
              <p:custDataLst>
                <p:tags r:id="rId918"/>
              </p:custDataLst>
            </p:nvPr>
          </p:nvSpPr>
          <p:spPr bwMode="auto">
            <a:xfrm>
              <a:off x="6676653" y="3225406"/>
              <a:ext cx="230562" cy="150813"/>
            </a:xfrm>
            <a:custGeom>
              <a:avLst/>
              <a:gdLst>
                <a:gd name="T0" fmla="*/ 2147483647 w 124"/>
                <a:gd name="T1" fmla="*/ 0 h 190"/>
                <a:gd name="T2" fmla="*/ 2147483647 w 124"/>
                <a:gd name="T3" fmla="*/ 0 h 190"/>
                <a:gd name="T4" fmla="*/ 2147483647 w 124"/>
                <a:gd name="T5" fmla="*/ 2147483647 h 190"/>
                <a:gd name="T6" fmla="*/ 2147483647 w 124"/>
                <a:gd name="T7" fmla="*/ 2147483647 h 190"/>
                <a:gd name="T8" fmla="*/ 2147483647 w 124"/>
                <a:gd name="T9" fmla="*/ 2147483647 h 190"/>
                <a:gd name="T10" fmla="*/ 2147483647 w 124"/>
                <a:gd name="T11" fmla="*/ 2147483647 h 190"/>
                <a:gd name="T12" fmla="*/ 2147483647 w 124"/>
                <a:gd name="T13" fmla="*/ 2147483647 h 190"/>
                <a:gd name="T14" fmla="*/ 2147483647 w 124"/>
                <a:gd name="T15" fmla="*/ 2147483647 h 190"/>
                <a:gd name="T16" fmla="*/ 2147483647 w 124"/>
                <a:gd name="T17" fmla="*/ 2147483647 h 190"/>
                <a:gd name="T18" fmla="*/ 2147483647 w 124"/>
                <a:gd name="T19" fmla="*/ 2147483647 h 190"/>
                <a:gd name="T20" fmla="*/ 2147483647 w 124"/>
                <a:gd name="T21" fmla="*/ 2147483647 h 190"/>
                <a:gd name="T22" fmla="*/ 2147483647 w 124"/>
                <a:gd name="T23" fmla="*/ 2147483647 h 190"/>
                <a:gd name="T24" fmla="*/ 2147483647 w 124"/>
                <a:gd name="T25" fmla="*/ 2147483647 h 190"/>
                <a:gd name="T26" fmla="*/ 2147483647 w 124"/>
                <a:gd name="T27" fmla="*/ 2147483647 h 190"/>
                <a:gd name="T28" fmla="*/ 2147483647 w 124"/>
                <a:gd name="T29" fmla="*/ 2147483647 h 190"/>
                <a:gd name="T30" fmla="*/ 2147483647 w 124"/>
                <a:gd name="T31" fmla="*/ 2147483647 h 190"/>
                <a:gd name="T32" fmla="*/ 2147483647 w 124"/>
                <a:gd name="T33" fmla="*/ 2147483647 h 190"/>
                <a:gd name="T34" fmla="*/ 2147483647 w 124"/>
                <a:gd name="T35" fmla="*/ 2147483647 h 190"/>
                <a:gd name="T36" fmla="*/ 2147483647 w 124"/>
                <a:gd name="T37" fmla="*/ 2147483647 h 190"/>
                <a:gd name="T38" fmla="*/ 2147483647 w 124"/>
                <a:gd name="T39" fmla="*/ 2147483647 h 190"/>
                <a:gd name="T40" fmla="*/ 2147483647 w 124"/>
                <a:gd name="T41" fmla="*/ 2147483647 h 190"/>
                <a:gd name="T42" fmla="*/ 2147483647 w 124"/>
                <a:gd name="T43" fmla="*/ 2147483647 h 190"/>
                <a:gd name="T44" fmla="*/ 2147483647 w 124"/>
                <a:gd name="T45" fmla="*/ 2147483647 h 190"/>
                <a:gd name="T46" fmla="*/ 2147483647 w 124"/>
                <a:gd name="T47" fmla="*/ 2147483647 h 190"/>
                <a:gd name="T48" fmla="*/ 2147483647 w 124"/>
                <a:gd name="T49" fmla="*/ 2147483647 h 190"/>
                <a:gd name="T50" fmla="*/ 2147483647 w 124"/>
                <a:gd name="T51" fmla="*/ 2147483647 h 190"/>
                <a:gd name="T52" fmla="*/ 2147483647 w 124"/>
                <a:gd name="T53" fmla="*/ 2147483647 h 190"/>
                <a:gd name="T54" fmla="*/ 2147483647 w 124"/>
                <a:gd name="T55" fmla="*/ 2147483647 h 190"/>
                <a:gd name="T56" fmla="*/ 2147483647 w 124"/>
                <a:gd name="T57" fmla="*/ 2147483647 h 190"/>
                <a:gd name="T58" fmla="*/ 2147483647 w 124"/>
                <a:gd name="T59" fmla="*/ 2147483647 h 190"/>
                <a:gd name="T60" fmla="*/ 0 w 124"/>
                <a:gd name="T61" fmla="*/ 2147483647 h 190"/>
                <a:gd name="T62" fmla="*/ 2147483647 w 124"/>
                <a:gd name="T63" fmla="*/ 2147483647 h 190"/>
                <a:gd name="T64" fmla="*/ 2147483647 w 124"/>
                <a:gd name="T65" fmla="*/ 2147483647 h 190"/>
                <a:gd name="T66" fmla="*/ 2147483647 w 124"/>
                <a:gd name="T67" fmla="*/ 2147483647 h 190"/>
                <a:gd name="T68" fmla="*/ 2147483647 w 124"/>
                <a:gd name="T69" fmla="*/ 2147483647 h 190"/>
                <a:gd name="T70" fmla="*/ 2147483647 w 124"/>
                <a:gd name="T71" fmla="*/ 2147483647 h 190"/>
                <a:gd name="T72" fmla="*/ 2147483647 w 124"/>
                <a:gd name="T73" fmla="*/ 2147483647 h 190"/>
                <a:gd name="T74" fmla="*/ 2147483647 w 124"/>
                <a:gd name="T75" fmla="*/ 2147483647 h 190"/>
                <a:gd name="T76" fmla="*/ 2147483647 w 124"/>
                <a:gd name="T77" fmla="*/ 0 h 190"/>
                <a:gd name="T78" fmla="*/ 2147483647 w 124"/>
                <a:gd name="T79" fmla="*/ 0 h 19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24" h="190">
                  <a:moveTo>
                    <a:pt x="44" y="0"/>
                  </a:moveTo>
                  <a:lnTo>
                    <a:pt x="56" y="0"/>
                  </a:lnTo>
                  <a:lnTo>
                    <a:pt x="63" y="21"/>
                  </a:lnTo>
                  <a:lnTo>
                    <a:pt x="82" y="21"/>
                  </a:lnTo>
                  <a:lnTo>
                    <a:pt x="100" y="21"/>
                  </a:lnTo>
                  <a:lnTo>
                    <a:pt x="106" y="46"/>
                  </a:lnTo>
                  <a:lnTo>
                    <a:pt x="113" y="79"/>
                  </a:lnTo>
                  <a:lnTo>
                    <a:pt x="119" y="90"/>
                  </a:lnTo>
                  <a:lnTo>
                    <a:pt x="124" y="102"/>
                  </a:lnTo>
                  <a:lnTo>
                    <a:pt x="124" y="111"/>
                  </a:lnTo>
                  <a:lnTo>
                    <a:pt x="124" y="125"/>
                  </a:lnTo>
                  <a:lnTo>
                    <a:pt x="119" y="125"/>
                  </a:lnTo>
                  <a:lnTo>
                    <a:pt x="113" y="125"/>
                  </a:lnTo>
                  <a:lnTo>
                    <a:pt x="113" y="134"/>
                  </a:lnTo>
                  <a:lnTo>
                    <a:pt x="119" y="146"/>
                  </a:lnTo>
                  <a:lnTo>
                    <a:pt x="119" y="157"/>
                  </a:lnTo>
                  <a:lnTo>
                    <a:pt x="113" y="169"/>
                  </a:lnTo>
                  <a:lnTo>
                    <a:pt x="106" y="169"/>
                  </a:lnTo>
                  <a:lnTo>
                    <a:pt x="100" y="169"/>
                  </a:lnTo>
                  <a:lnTo>
                    <a:pt x="100" y="180"/>
                  </a:lnTo>
                  <a:lnTo>
                    <a:pt x="100" y="190"/>
                  </a:lnTo>
                  <a:lnTo>
                    <a:pt x="94" y="190"/>
                  </a:lnTo>
                  <a:lnTo>
                    <a:pt x="87" y="190"/>
                  </a:lnTo>
                  <a:lnTo>
                    <a:pt x="74" y="180"/>
                  </a:lnTo>
                  <a:lnTo>
                    <a:pt x="69" y="180"/>
                  </a:lnTo>
                  <a:lnTo>
                    <a:pt x="63" y="180"/>
                  </a:lnTo>
                  <a:lnTo>
                    <a:pt x="32" y="157"/>
                  </a:lnTo>
                  <a:lnTo>
                    <a:pt x="25" y="157"/>
                  </a:lnTo>
                  <a:lnTo>
                    <a:pt x="13" y="157"/>
                  </a:lnTo>
                  <a:lnTo>
                    <a:pt x="7" y="180"/>
                  </a:lnTo>
                  <a:lnTo>
                    <a:pt x="0" y="146"/>
                  </a:lnTo>
                  <a:lnTo>
                    <a:pt x="13" y="125"/>
                  </a:lnTo>
                  <a:lnTo>
                    <a:pt x="7" y="79"/>
                  </a:lnTo>
                  <a:lnTo>
                    <a:pt x="13" y="90"/>
                  </a:lnTo>
                  <a:lnTo>
                    <a:pt x="13" y="79"/>
                  </a:lnTo>
                  <a:lnTo>
                    <a:pt x="18" y="55"/>
                  </a:lnTo>
                  <a:lnTo>
                    <a:pt x="25" y="34"/>
                  </a:lnTo>
                  <a:lnTo>
                    <a:pt x="32" y="11"/>
                  </a:lnTo>
                  <a:lnTo>
                    <a:pt x="37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11" name="Freeform 1090"/>
            <p:cNvSpPr>
              <a:spLocks/>
            </p:cNvSpPr>
            <p:nvPr>
              <p:custDataLst>
                <p:tags r:id="rId919"/>
              </p:custDataLst>
            </p:nvPr>
          </p:nvSpPr>
          <p:spPr bwMode="auto">
            <a:xfrm>
              <a:off x="6676653" y="3225406"/>
              <a:ext cx="230562" cy="150813"/>
            </a:xfrm>
            <a:custGeom>
              <a:avLst/>
              <a:gdLst>
                <a:gd name="T0" fmla="*/ 2147483647 w 124"/>
                <a:gd name="T1" fmla="*/ 0 h 190"/>
                <a:gd name="T2" fmla="*/ 2147483647 w 124"/>
                <a:gd name="T3" fmla="*/ 0 h 190"/>
                <a:gd name="T4" fmla="*/ 2147483647 w 124"/>
                <a:gd name="T5" fmla="*/ 2147483647 h 190"/>
                <a:gd name="T6" fmla="*/ 2147483647 w 124"/>
                <a:gd name="T7" fmla="*/ 2147483647 h 190"/>
                <a:gd name="T8" fmla="*/ 2147483647 w 124"/>
                <a:gd name="T9" fmla="*/ 2147483647 h 190"/>
                <a:gd name="T10" fmla="*/ 2147483647 w 124"/>
                <a:gd name="T11" fmla="*/ 2147483647 h 190"/>
                <a:gd name="T12" fmla="*/ 2147483647 w 124"/>
                <a:gd name="T13" fmla="*/ 2147483647 h 190"/>
                <a:gd name="T14" fmla="*/ 2147483647 w 124"/>
                <a:gd name="T15" fmla="*/ 2147483647 h 190"/>
                <a:gd name="T16" fmla="*/ 2147483647 w 124"/>
                <a:gd name="T17" fmla="*/ 2147483647 h 190"/>
                <a:gd name="T18" fmla="*/ 2147483647 w 124"/>
                <a:gd name="T19" fmla="*/ 2147483647 h 190"/>
                <a:gd name="T20" fmla="*/ 2147483647 w 124"/>
                <a:gd name="T21" fmla="*/ 2147483647 h 190"/>
                <a:gd name="T22" fmla="*/ 2147483647 w 124"/>
                <a:gd name="T23" fmla="*/ 2147483647 h 190"/>
                <a:gd name="T24" fmla="*/ 2147483647 w 124"/>
                <a:gd name="T25" fmla="*/ 2147483647 h 190"/>
                <a:gd name="T26" fmla="*/ 2147483647 w 124"/>
                <a:gd name="T27" fmla="*/ 2147483647 h 190"/>
                <a:gd name="T28" fmla="*/ 2147483647 w 124"/>
                <a:gd name="T29" fmla="*/ 2147483647 h 190"/>
                <a:gd name="T30" fmla="*/ 2147483647 w 124"/>
                <a:gd name="T31" fmla="*/ 2147483647 h 190"/>
                <a:gd name="T32" fmla="*/ 2147483647 w 124"/>
                <a:gd name="T33" fmla="*/ 2147483647 h 190"/>
                <a:gd name="T34" fmla="*/ 2147483647 w 124"/>
                <a:gd name="T35" fmla="*/ 2147483647 h 190"/>
                <a:gd name="T36" fmla="*/ 2147483647 w 124"/>
                <a:gd name="T37" fmla="*/ 2147483647 h 190"/>
                <a:gd name="T38" fmla="*/ 2147483647 w 124"/>
                <a:gd name="T39" fmla="*/ 2147483647 h 190"/>
                <a:gd name="T40" fmla="*/ 2147483647 w 124"/>
                <a:gd name="T41" fmla="*/ 2147483647 h 190"/>
                <a:gd name="T42" fmla="*/ 2147483647 w 124"/>
                <a:gd name="T43" fmla="*/ 2147483647 h 190"/>
                <a:gd name="T44" fmla="*/ 2147483647 w 124"/>
                <a:gd name="T45" fmla="*/ 2147483647 h 190"/>
                <a:gd name="T46" fmla="*/ 2147483647 w 124"/>
                <a:gd name="T47" fmla="*/ 2147483647 h 190"/>
                <a:gd name="T48" fmla="*/ 2147483647 w 124"/>
                <a:gd name="T49" fmla="*/ 2147483647 h 190"/>
                <a:gd name="T50" fmla="*/ 2147483647 w 124"/>
                <a:gd name="T51" fmla="*/ 2147483647 h 190"/>
                <a:gd name="T52" fmla="*/ 2147483647 w 124"/>
                <a:gd name="T53" fmla="*/ 2147483647 h 190"/>
                <a:gd name="T54" fmla="*/ 2147483647 w 124"/>
                <a:gd name="T55" fmla="*/ 2147483647 h 190"/>
                <a:gd name="T56" fmla="*/ 2147483647 w 124"/>
                <a:gd name="T57" fmla="*/ 2147483647 h 190"/>
                <a:gd name="T58" fmla="*/ 2147483647 w 124"/>
                <a:gd name="T59" fmla="*/ 2147483647 h 190"/>
                <a:gd name="T60" fmla="*/ 0 w 124"/>
                <a:gd name="T61" fmla="*/ 2147483647 h 190"/>
                <a:gd name="T62" fmla="*/ 2147483647 w 124"/>
                <a:gd name="T63" fmla="*/ 2147483647 h 190"/>
                <a:gd name="T64" fmla="*/ 2147483647 w 124"/>
                <a:gd name="T65" fmla="*/ 2147483647 h 190"/>
                <a:gd name="T66" fmla="*/ 2147483647 w 124"/>
                <a:gd name="T67" fmla="*/ 2147483647 h 190"/>
                <a:gd name="T68" fmla="*/ 2147483647 w 124"/>
                <a:gd name="T69" fmla="*/ 2147483647 h 190"/>
                <a:gd name="T70" fmla="*/ 2147483647 w 124"/>
                <a:gd name="T71" fmla="*/ 2147483647 h 190"/>
                <a:gd name="T72" fmla="*/ 2147483647 w 124"/>
                <a:gd name="T73" fmla="*/ 2147483647 h 190"/>
                <a:gd name="T74" fmla="*/ 2147483647 w 124"/>
                <a:gd name="T75" fmla="*/ 2147483647 h 190"/>
                <a:gd name="T76" fmla="*/ 2147483647 w 124"/>
                <a:gd name="T77" fmla="*/ 0 h 190"/>
                <a:gd name="T78" fmla="*/ 2147483647 w 124"/>
                <a:gd name="T79" fmla="*/ 0 h 19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24" h="190">
                  <a:moveTo>
                    <a:pt x="44" y="0"/>
                  </a:moveTo>
                  <a:lnTo>
                    <a:pt x="56" y="0"/>
                  </a:lnTo>
                  <a:lnTo>
                    <a:pt x="63" y="21"/>
                  </a:lnTo>
                  <a:lnTo>
                    <a:pt x="82" y="21"/>
                  </a:lnTo>
                  <a:lnTo>
                    <a:pt x="100" y="21"/>
                  </a:lnTo>
                  <a:lnTo>
                    <a:pt x="106" y="46"/>
                  </a:lnTo>
                  <a:lnTo>
                    <a:pt x="113" y="79"/>
                  </a:lnTo>
                  <a:lnTo>
                    <a:pt x="119" y="90"/>
                  </a:lnTo>
                  <a:lnTo>
                    <a:pt x="124" y="102"/>
                  </a:lnTo>
                  <a:lnTo>
                    <a:pt x="124" y="111"/>
                  </a:lnTo>
                  <a:lnTo>
                    <a:pt x="124" y="125"/>
                  </a:lnTo>
                  <a:lnTo>
                    <a:pt x="119" y="125"/>
                  </a:lnTo>
                  <a:lnTo>
                    <a:pt x="113" y="125"/>
                  </a:lnTo>
                  <a:lnTo>
                    <a:pt x="113" y="134"/>
                  </a:lnTo>
                  <a:lnTo>
                    <a:pt x="119" y="146"/>
                  </a:lnTo>
                  <a:lnTo>
                    <a:pt x="119" y="157"/>
                  </a:lnTo>
                  <a:lnTo>
                    <a:pt x="113" y="169"/>
                  </a:lnTo>
                  <a:lnTo>
                    <a:pt x="106" y="169"/>
                  </a:lnTo>
                  <a:lnTo>
                    <a:pt x="100" y="169"/>
                  </a:lnTo>
                  <a:lnTo>
                    <a:pt x="100" y="180"/>
                  </a:lnTo>
                  <a:lnTo>
                    <a:pt x="100" y="190"/>
                  </a:lnTo>
                  <a:lnTo>
                    <a:pt x="94" y="190"/>
                  </a:lnTo>
                  <a:lnTo>
                    <a:pt x="87" y="190"/>
                  </a:lnTo>
                  <a:lnTo>
                    <a:pt x="74" y="180"/>
                  </a:lnTo>
                  <a:lnTo>
                    <a:pt x="69" y="180"/>
                  </a:lnTo>
                  <a:lnTo>
                    <a:pt x="63" y="180"/>
                  </a:lnTo>
                  <a:lnTo>
                    <a:pt x="32" y="157"/>
                  </a:lnTo>
                  <a:lnTo>
                    <a:pt x="25" y="157"/>
                  </a:lnTo>
                  <a:lnTo>
                    <a:pt x="13" y="157"/>
                  </a:lnTo>
                  <a:lnTo>
                    <a:pt x="7" y="180"/>
                  </a:lnTo>
                  <a:lnTo>
                    <a:pt x="0" y="146"/>
                  </a:lnTo>
                  <a:lnTo>
                    <a:pt x="13" y="125"/>
                  </a:lnTo>
                  <a:lnTo>
                    <a:pt x="7" y="79"/>
                  </a:lnTo>
                  <a:lnTo>
                    <a:pt x="13" y="90"/>
                  </a:lnTo>
                  <a:lnTo>
                    <a:pt x="13" y="79"/>
                  </a:lnTo>
                  <a:lnTo>
                    <a:pt x="18" y="55"/>
                  </a:lnTo>
                  <a:lnTo>
                    <a:pt x="25" y="34"/>
                  </a:lnTo>
                  <a:lnTo>
                    <a:pt x="32" y="11"/>
                  </a:lnTo>
                  <a:lnTo>
                    <a:pt x="37" y="0"/>
                  </a:lnTo>
                  <a:lnTo>
                    <a:pt x="44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12" name="Freeform 1091"/>
            <p:cNvSpPr>
              <a:spLocks/>
            </p:cNvSpPr>
            <p:nvPr>
              <p:custDataLst>
                <p:tags r:id="rId920"/>
              </p:custDataLst>
            </p:nvPr>
          </p:nvSpPr>
          <p:spPr bwMode="auto">
            <a:xfrm>
              <a:off x="6676653" y="3225406"/>
              <a:ext cx="230562" cy="150813"/>
            </a:xfrm>
            <a:custGeom>
              <a:avLst/>
              <a:gdLst>
                <a:gd name="T0" fmla="*/ 2147483647 w 124"/>
                <a:gd name="T1" fmla="*/ 0 h 190"/>
                <a:gd name="T2" fmla="*/ 2147483647 w 124"/>
                <a:gd name="T3" fmla="*/ 0 h 190"/>
                <a:gd name="T4" fmla="*/ 2147483647 w 124"/>
                <a:gd name="T5" fmla="*/ 2147483647 h 190"/>
                <a:gd name="T6" fmla="*/ 2147483647 w 124"/>
                <a:gd name="T7" fmla="*/ 2147483647 h 190"/>
                <a:gd name="T8" fmla="*/ 2147483647 w 124"/>
                <a:gd name="T9" fmla="*/ 2147483647 h 190"/>
                <a:gd name="T10" fmla="*/ 2147483647 w 124"/>
                <a:gd name="T11" fmla="*/ 2147483647 h 190"/>
                <a:gd name="T12" fmla="*/ 2147483647 w 124"/>
                <a:gd name="T13" fmla="*/ 2147483647 h 190"/>
                <a:gd name="T14" fmla="*/ 2147483647 w 124"/>
                <a:gd name="T15" fmla="*/ 2147483647 h 190"/>
                <a:gd name="T16" fmla="*/ 2147483647 w 124"/>
                <a:gd name="T17" fmla="*/ 2147483647 h 190"/>
                <a:gd name="T18" fmla="*/ 2147483647 w 124"/>
                <a:gd name="T19" fmla="*/ 2147483647 h 190"/>
                <a:gd name="T20" fmla="*/ 2147483647 w 124"/>
                <a:gd name="T21" fmla="*/ 2147483647 h 190"/>
                <a:gd name="T22" fmla="*/ 2147483647 w 124"/>
                <a:gd name="T23" fmla="*/ 2147483647 h 190"/>
                <a:gd name="T24" fmla="*/ 2147483647 w 124"/>
                <a:gd name="T25" fmla="*/ 2147483647 h 190"/>
                <a:gd name="T26" fmla="*/ 2147483647 w 124"/>
                <a:gd name="T27" fmla="*/ 2147483647 h 190"/>
                <a:gd name="T28" fmla="*/ 2147483647 w 124"/>
                <a:gd name="T29" fmla="*/ 2147483647 h 190"/>
                <a:gd name="T30" fmla="*/ 2147483647 w 124"/>
                <a:gd name="T31" fmla="*/ 2147483647 h 190"/>
                <a:gd name="T32" fmla="*/ 2147483647 w 124"/>
                <a:gd name="T33" fmla="*/ 2147483647 h 190"/>
                <a:gd name="T34" fmla="*/ 2147483647 w 124"/>
                <a:gd name="T35" fmla="*/ 2147483647 h 190"/>
                <a:gd name="T36" fmla="*/ 2147483647 w 124"/>
                <a:gd name="T37" fmla="*/ 2147483647 h 190"/>
                <a:gd name="T38" fmla="*/ 2147483647 w 124"/>
                <a:gd name="T39" fmla="*/ 2147483647 h 190"/>
                <a:gd name="T40" fmla="*/ 2147483647 w 124"/>
                <a:gd name="T41" fmla="*/ 2147483647 h 190"/>
                <a:gd name="T42" fmla="*/ 2147483647 w 124"/>
                <a:gd name="T43" fmla="*/ 2147483647 h 190"/>
                <a:gd name="T44" fmla="*/ 2147483647 w 124"/>
                <a:gd name="T45" fmla="*/ 2147483647 h 190"/>
                <a:gd name="T46" fmla="*/ 2147483647 w 124"/>
                <a:gd name="T47" fmla="*/ 2147483647 h 190"/>
                <a:gd name="T48" fmla="*/ 2147483647 w 124"/>
                <a:gd name="T49" fmla="*/ 2147483647 h 190"/>
                <a:gd name="T50" fmla="*/ 2147483647 w 124"/>
                <a:gd name="T51" fmla="*/ 2147483647 h 190"/>
                <a:gd name="T52" fmla="*/ 2147483647 w 124"/>
                <a:gd name="T53" fmla="*/ 2147483647 h 190"/>
                <a:gd name="T54" fmla="*/ 2147483647 w 124"/>
                <a:gd name="T55" fmla="*/ 2147483647 h 190"/>
                <a:gd name="T56" fmla="*/ 2147483647 w 124"/>
                <a:gd name="T57" fmla="*/ 2147483647 h 190"/>
                <a:gd name="T58" fmla="*/ 2147483647 w 124"/>
                <a:gd name="T59" fmla="*/ 2147483647 h 190"/>
                <a:gd name="T60" fmla="*/ 0 w 124"/>
                <a:gd name="T61" fmla="*/ 2147483647 h 190"/>
                <a:gd name="T62" fmla="*/ 2147483647 w 124"/>
                <a:gd name="T63" fmla="*/ 2147483647 h 190"/>
                <a:gd name="T64" fmla="*/ 2147483647 w 124"/>
                <a:gd name="T65" fmla="*/ 2147483647 h 190"/>
                <a:gd name="T66" fmla="*/ 2147483647 w 124"/>
                <a:gd name="T67" fmla="*/ 2147483647 h 190"/>
                <a:gd name="T68" fmla="*/ 2147483647 w 124"/>
                <a:gd name="T69" fmla="*/ 2147483647 h 190"/>
                <a:gd name="T70" fmla="*/ 2147483647 w 124"/>
                <a:gd name="T71" fmla="*/ 2147483647 h 190"/>
                <a:gd name="T72" fmla="*/ 2147483647 w 124"/>
                <a:gd name="T73" fmla="*/ 2147483647 h 190"/>
                <a:gd name="T74" fmla="*/ 2147483647 w 124"/>
                <a:gd name="T75" fmla="*/ 2147483647 h 190"/>
                <a:gd name="T76" fmla="*/ 2147483647 w 124"/>
                <a:gd name="T77" fmla="*/ 0 h 190"/>
                <a:gd name="T78" fmla="*/ 2147483647 w 124"/>
                <a:gd name="T79" fmla="*/ 0 h 19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24" h="190">
                  <a:moveTo>
                    <a:pt x="44" y="0"/>
                  </a:moveTo>
                  <a:lnTo>
                    <a:pt x="56" y="0"/>
                  </a:lnTo>
                  <a:lnTo>
                    <a:pt x="63" y="21"/>
                  </a:lnTo>
                  <a:lnTo>
                    <a:pt x="82" y="21"/>
                  </a:lnTo>
                  <a:lnTo>
                    <a:pt x="100" y="21"/>
                  </a:lnTo>
                  <a:lnTo>
                    <a:pt x="106" y="46"/>
                  </a:lnTo>
                  <a:lnTo>
                    <a:pt x="113" y="79"/>
                  </a:lnTo>
                  <a:lnTo>
                    <a:pt x="119" y="90"/>
                  </a:lnTo>
                  <a:lnTo>
                    <a:pt x="124" y="102"/>
                  </a:lnTo>
                  <a:lnTo>
                    <a:pt x="124" y="111"/>
                  </a:lnTo>
                  <a:lnTo>
                    <a:pt x="124" y="125"/>
                  </a:lnTo>
                  <a:lnTo>
                    <a:pt x="119" y="125"/>
                  </a:lnTo>
                  <a:lnTo>
                    <a:pt x="113" y="125"/>
                  </a:lnTo>
                  <a:lnTo>
                    <a:pt x="113" y="134"/>
                  </a:lnTo>
                  <a:lnTo>
                    <a:pt x="119" y="146"/>
                  </a:lnTo>
                  <a:lnTo>
                    <a:pt x="119" y="157"/>
                  </a:lnTo>
                  <a:lnTo>
                    <a:pt x="113" y="169"/>
                  </a:lnTo>
                  <a:lnTo>
                    <a:pt x="106" y="169"/>
                  </a:lnTo>
                  <a:lnTo>
                    <a:pt x="100" y="169"/>
                  </a:lnTo>
                  <a:lnTo>
                    <a:pt x="100" y="180"/>
                  </a:lnTo>
                  <a:lnTo>
                    <a:pt x="100" y="190"/>
                  </a:lnTo>
                  <a:lnTo>
                    <a:pt x="94" y="190"/>
                  </a:lnTo>
                  <a:lnTo>
                    <a:pt x="87" y="190"/>
                  </a:lnTo>
                  <a:lnTo>
                    <a:pt x="74" y="180"/>
                  </a:lnTo>
                  <a:lnTo>
                    <a:pt x="69" y="180"/>
                  </a:lnTo>
                  <a:lnTo>
                    <a:pt x="63" y="180"/>
                  </a:lnTo>
                  <a:lnTo>
                    <a:pt x="32" y="157"/>
                  </a:lnTo>
                  <a:lnTo>
                    <a:pt x="25" y="157"/>
                  </a:lnTo>
                  <a:lnTo>
                    <a:pt x="13" y="157"/>
                  </a:lnTo>
                  <a:lnTo>
                    <a:pt x="7" y="180"/>
                  </a:lnTo>
                  <a:lnTo>
                    <a:pt x="0" y="146"/>
                  </a:lnTo>
                  <a:lnTo>
                    <a:pt x="13" y="125"/>
                  </a:lnTo>
                  <a:lnTo>
                    <a:pt x="7" y="79"/>
                  </a:lnTo>
                  <a:lnTo>
                    <a:pt x="13" y="90"/>
                  </a:lnTo>
                  <a:lnTo>
                    <a:pt x="13" y="79"/>
                  </a:lnTo>
                  <a:lnTo>
                    <a:pt x="18" y="55"/>
                  </a:lnTo>
                  <a:lnTo>
                    <a:pt x="25" y="34"/>
                  </a:lnTo>
                  <a:lnTo>
                    <a:pt x="32" y="11"/>
                  </a:lnTo>
                  <a:lnTo>
                    <a:pt x="37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13" name="Freeform 1092"/>
            <p:cNvSpPr>
              <a:spLocks/>
            </p:cNvSpPr>
            <p:nvPr>
              <p:custDataLst>
                <p:tags r:id="rId921"/>
              </p:custDataLst>
            </p:nvPr>
          </p:nvSpPr>
          <p:spPr bwMode="auto">
            <a:xfrm>
              <a:off x="6676653" y="3225406"/>
              <a:ext cx="230562" cy="150813"/>
            </a:xfrm>
            <a:custGeom>
              <a:avLst/>
              <a:gdLst>
                <a:gd name="T0" fmla="*/ 2147483647 w 124"/>
                <a:gd name="T1" fmla="*/ 0 h 190"/>
                <a:gd name="T2" fmla="*/ 2147483647 w 124"/>
                <a:gd name="T3" fmla="*/ 0 h 190"/>
                <a:gd name="T4" fmla="*/ 2147483647 w 124"/>
                <a:gd name="T5" fmla="*/ 2147483647 h 190"/>
                <a:gd name="T6" fmla="*/ 2147483647 w 124"/>
                <a:gd name="T7" fmla="*/ 2147483647 h 190"/>
                <a:gd name="T8" fmla="*/ 2147483647 w 124"/>
                <a:gd name="T9" fmla="*/ 2147483647 h 190"/>
                <a:gd name="T10" fmla="*/ 2147483647 w 124"/>
                <a:gd name="T11" fmla="*/ 2147483647 h 190"/>
                <a:gd name="T12" fmla="*/ 2147483647 w 124"/>
                <a:gd name="T13" fmla="*/ 2147483647 h 190"/>
                <a:gd name="T14" fmla="*/ 2147483647 w 124"/>
                <a:gd name="T15" fmla="*/ 2147483647 h 190"/>
                <a:gd name="T16" fmla="*/ 2147483647 w 124"/>
                <a:gd name="T17" fmla="*/ 2147483647 h 190"/>
                <a:gd name="T18" fmla="*/ 2147483647 w 124"/>
                <a:gd name="T19" fmla="*/ 2147483647 h 190"/>
                <a:gd name="T20" fmla="*/ 2147483647 w 124"/>
                <a:gd name="T21" fmla="*/ 2147483647 h 190"/>
                <a:gd name="T22" fmla="*/ 2147483647 w 124"/>
                <a:gd name="T23" fmla="*/ 2147483647 h 190"/>
                <a:gd name="T24" fmla="*/ 2147483647 w 124"/>
                <a:gd name="T25" fmla="*/ 2147483647 h 190"/>
                <a:gd name="T26" fmla="*/ 2147483647 w 124"/>
                <a:gd name="T27" fmla="*/ 2147483647 h 190"/>
                <a:gd name="T28" fmla="*/ 2147483647 w 124"/>
                <a:gd name="T29" fmla="*/ 2147483647 h 190"/>
                <a:gd name="T30" fmla="*/ 2147483647 w 124"/>
                <a:gd name="T31" fmla="*/ 2147483647 h 190"/>
                <a:gd name="T32" fmla="*/ 2147483647 w 124"/>
                <a:gd name="T33" fmla="*/ 2147483647 h 190"/>
                <a:gd name="T34" fmla="*/ 2147483647 w 124"/>
                <a:gd name="T35" fmla="*/ 2147483647 h 190"/>
                <a:gd name="T36" fmla="*/ 2147483647 w 124"/>
                <a:gd name="T37" fmla="*/ 2147483647 h 190"/>
                <a:gd name="T38" fmla="*/ 2147483647 w 124"/>
                <a:gd name="T39" fmla="*/ 2147483647 h 190"/>
                <a:gd name="T40" fmla="*/ 2147483647 w 124"/>
                <a:gd name="T41" fmla="*/ 2147483647 h 190"/>
                <a:gd name="T42" fmla="*/ 2147483647 w 124"/>
                <a:gd name="T43" fmla="*/ 2147483647 h 190"/>
                <a:gd name="T44" fmla="*/ 2147483647 w 124"/>
                <a:gd name="T45" fmla="*/ 2147483647 h 190"/>
                <a:gd name="T46" fmla="*/ 2147483647 w 124"/>
                <a:gd name="T47" fmla="*/ 2147483647 h 190"/>
                <a:gd name="T48" fmla="*/ 2147483647 w 124"/>
                <a:gd name="T49" fmla="*/ 2147483647 h 190"/>
                <a:gd name="T50" fmla="*/ 2147483647 w 124"/>
                <a:gd name="T51" fmla="*/ 2147483647 h 190"/>
                <a:gd name="T52" fmla="*/ 2147483647 w 124"/>
                <a:gd name="T53" fmla="*/ 2147483647 h 190"/>
                <a:gd name="T54" fmla="*/ 2147483647 w 124"/>
                <a:gd name="T55" fmla="*/ 2147483647 h 190"/>
                <a:gd name="T56" fmla="*/ 2147483647 w 124"/>
                <a:gd name="T57" fmla="*/ 2147483647 h 190"/>
                <a:gd name="T58" fmla="*/ 2147483647 w 124"/>
                <a:gd name="T59" fmla="*/ 2147483647 h 190"/>
                <a:gd name="T60" fmla="*/ 0 w 124"/>
                <a:gd name="T61" fmla="*/ 2147483647 h 190"/>
                <a:gd name="T62" fmla="*/ 2147483647 w 124"/>
                <a:gd name="T63" fmla="*/ 2147483647 h 190"/>
                <a:gd name="T64" fmla="*/ 2147483647 w 124"/>
                <a:gd name="T65" fmla="*/ 2147483647 h 190"/>
                <a:gd name="T66" fmla="*/ 2147483647 w 124"/>
                <a:gd name="T67" fmla="*/ 2147483647 h 190"/>
                <a:gd name="T68" fmla="*/ 2147483647 w 124"/>
                <a:gd name="T69" fmla="*/ 2147483647 h 190"/>
                <a:gd name="T70" fmla="*/ 2147483647 w 124"/>
                <a:gd name="T71" fmla="*/ 2147483647 h 190"/>
                <a:gd name="T72" fmla="*/ 2147483647 w 124"/>
                <a:gd name="T73" fmla="*/ 2147483647 h 190"/>
                <a:gd name="T74" fmla="*/ 2147483647 w 124"/>
                <a:gd name="T75" fmla="*/ 2147483647 h 190"/>
                <a:gd name="T76" fmla="*/ 2147483647 w 124"/>
                <a:gd name="T77" fmla="*/ 0 h 190"/>
                <a:gd name="T78" fmla="*/ 2147483647 w 124"/>
                <a:gd name="T79" fmla="*/ 0 h 19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24" h="190">
                  <a:moveTo>
                    <a:pt x="44" y="0"/>
                  </a:moveTo>
                  <a:lnTo>
                    <a:pt x="56" y="0"/>
                  </a:lnTo>
                  <a:lnTo>
                    <a:pt x="63" y="21"/>
                  </a:lnTo>
                  <a:lnTo>
                    <a:pt x="82" y="21"/>
                  </a:lnTo>
                  <a:lnTo>
                    <a:pt x="100" y="21"/>
                  </a:lnTo>
                  <a:lnTo>
                    <a:pt x="106" y="46"/>
                  </a:lnTo>
                  <a:lnTo>
                    <a:pt x="113" y="79"/>
                  </a:lnTo>
                  <a:lnTo>
                    <a:pt x="119" y="90"/>
                  </a:lnTo>
                  <a:lnTo>
                    <a:pt x="124" y="102"/>
                  </a:lnTo>
                  <a:lnTo>
                    <a:pt x="124" y="111"/>
                  </a:lnTo>
                  <a:lnTo>
                    <a:pt x="124" y="125"/>
                  </a:lnTo>
                  <a:lnTo>
                    <a:pt x="119" y="125"/>
                  </a:lnTo>
                  <a:lnTo>
                    <a:pt x="113" y="125"/>
                  </a:lnTo>
                  <a:lnTo>
                    <a:pt x="113" y="134"/>
                  </a:lnTo>
                  <a:lnTo>
                    <a:pt x="119" y="146"/>
                  </a:lnTo>
                  <a:lnTo>
                    <a:pt x="119" y="157"/>
                  </a:lnTo>
                  <a:lnTo>
                    <a:pt x="113" y="169"/>
                  </a:lnTo>
                  <a:lnTo>
                    <a:pt x="106" y="169"/>
                  </a:lnTo>
                  <a:lnTo>
                    <a:pt x="100" y="169"/>
                  </a:lnTo>
                  <a:lnTo>
                    <a:pt x="100" y="180"/>
                  </a:lnTo>
                  <a:lnTo>
                    <a:pt x="100" y="190"/>
                  </a:lnTo>
                  <a:lnTo>
                    <a:pt x="94" y="190"/>
                  </a:lnTo>
                  <a:lnTo>
                    <a:pt x="87" y="190"/>
                  </a:lnTo>
                  <a:lnTo>
                    <a:pt x="74" y="180"/>
                  </a:lnTo>
                  <a:lnTo>
                    <a:pt x="69" y="180"/>
                  </a:lnTo>
                  <a:lnTo>
                    <a:pt x="63" y="180"/>
                  </a:lnTo>
                  <a:lnTo>
                    <a:pt x="32" y="157"/>
                  </a:lnTo>
                  <a:lnTo>
                    <a:pt x="25" y="157"/>
                  </a:lnTo>
                  <a:lnTo>
                    <a:pt x="13" y="157"/>
                  </a:lnTo>
                  <a:lnTo>
                    <a:pt x="7" y="180"/>
                  </a:lnTo>
                  <a:lnTo>
                    <a:pt x="0" y="146"/>
                  </a:lnTo>
                  <a:lnTo>
                    <a:pt x="13" y="125"/>
                  </a:lnTo>
                  <a:lnTo>
                    <a:pt x="7" y="79"/>
                  </a:lnTo>
                  <a:lnTo>
                    <a:pt x="13" y="90"/>
                  </a:lnTo>
                  <a:lnTo>
                    <a:pt x="13" y="79"/>
                  </a:lnTo>
                  <a:lnTo>
                    <a:pt x="18" y="55"/>
                  </a:lnTo>
                  <a:lnTo>
                    <a:pt x="25" y="34"/>
                  </a:lnTo>
                  <a:lnTo>
                    <a:pt x="32" y="11"/>
                  </a:lnTo>
                  <a:lnTo>
                    <a:pt x="37" y="0"/>
                  </a:lnTo>
                  <a:lnTo>
                    <a:pt x="44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14" name="Freeform 1093"/>
            <p:cNvSpPr>
              <a:spLocks/>
            </p:cNvSpPr>
            <p:nvPr>
              <p:custDataLst>
                <p:tags r:id="rId922"/>
              </p:custDataLst>
            </p:nvPr>
          </p:nvSpPr>
          <p:spPr bwMode="auto">
            <a:xfrm>
              <a:off x="6652596" y="3331763"/>
              <a:ext cx="499218" cy="257175"/>
            </a:xfrm>
            <a:custGeom>
              <a:avLst/>
              <a:gdLst>
                <a:gd name="T0" fmla="*/ 2147483647 w 270"/>
                <a:gd name="T1" fmla="*/ 2147483647 h 325"/>
                <a:gd name="T2" fmla="*/ 2147483647 w 270"/>
                <a:gd name="T3" fmla="*/ 0 h 325"/>
                <a:gd name="T4" fmla="*/ 2147483647 w 270"/>
                <a:gd name="T5" fmla="*/ 2147483647 h 325"/>
                <a:gd name="T6" fmla="*/ 2147483647 w 270"/>
                <a:gd name="T7" fmla="*/ 2147483647 h 325"/>
                <a:gd name="T8" fmla="*/ 2147483647 w 270"/>
                <a:gd name="T9" fmla="*/ 2147483647 h 325"/>
                <a:gd name="T10" fmla="*/ 2147483647 w 270"/>
                <a:gd name="T11" fmla="*/ 2147483647 h 325"/>
                <a:gd name="T12" fmla="*/ 2147483647 w 270"/>
                <a:gd name="T13" fmla="*/ 2147483647 h 325"/>
                <a:gd name="T14" fmla="*/ 2147483647 w 270"/>
                <a:gd name="T15" fmla="*/ 2147483647 h 325"/>
                <a:gd name="T16" fmla="*/ 2147483647 w 270"/>
                <a:gd name="T17" fmla="*/ 2147483647 h 325"/>
                <a:gd name="T18" fmla="*/ 2147483647 w 270"/>
                <a:gd name="T19" fmla="*/ 2147483647 h 325"/>
                <a:gd name="T20" fmla="*/ 2147483647 w 270"/>
                <a:gd name="T21" fmla="*/ 2147483647 h 325"/>
                <a:gd name="T22" fmla="*/ 2147483647 w 270"/>
                <a:gd name="T23" fmla="*/ 2147483647 h 325"/>
                <a:gd name="T24" fmla="*/ 2147483647 w 270"/>
                <a:gd name="T25" fmla="*/ 2147483647 h 325"/>
                <a:gd name="T26" fmla="*/ 2147483647 w 270"/>
                <a:gd name="T27" fmla="*/ 2147483647 h 325"/>
                <a:gd name="T28" fmla="*/ 2147483647 w 270"/>
                <a:gd name="T29" fmla="*/ 2147483647 h 325"/>
                <a:gd name="T30" fmla="*/ 2147483647 w 270"/>
                <a:gd name="T31" fmla="*/ 2147483647 h 325"/>
                <a:gd name="T32" fmla="*/ 2147483647 w 270"/>
                <a:gd name="T33" fmla="*/ 2147483647 h 325"/>
                <a:gd name="T34" fmla="*/ 2147483647 w 270"/>
                <a:gd name="T35" fmla="*/ 2147483647 h 325"/>
                <a:gd name="T36" fmla="*/ 2147483647 w 270"/>
                <a:gd name="T37" fmla="*/ 2147483647 h 325"/>
                <a:gd name="T38" fmla="*/ 2147483647 w 270"/>
                <a:gd name="T39" fmla="*/ 2147483647 h 325"/>
                <a:gd name="T40" fmla="*/ 2147483647 w 270"/>
                <a:gd name="T41" fmla="*/ 2147483647 h 325"/>
                <a:gd name="T42" fmla="*/ 2147483647 w 270"/>
                <a:gd name="T43" fmla="*/ 2147483647 h 325"/>
                <a:gd name="T44" fmla="*/ 2147483647 w 270"/>
                <a:gd name="T45" fmla="*/ 2147483647 h 325"/>
                <a:gd name="T46" fmla="*/ 0 w 270"/>
                <a:gd name="T47" fmla="*/ 2147483647 h 325"/>
                <a:gd name="T48" fmla="*/ 2147483647 w 270"/>
                <a:gd name="T49" fmla="*/ 2147483647 h 325"/>
                <a:gd name="T50" fmla="*/ 2147483647 w 270"/>
                <a:gd name="T51" fmla="*/ 2147483647 h 325"/>
                <a:gd name="T52" fmla="*/ 2147483647 w 270"/>
                <a:gd name="T53" fmla="*/ 2147483647 h 325"/>
                <a:gd name="T54" fmla="*/ 2147483647 w 270"/>
                <a:gd name="T55" fmla="*/ 2147483647 h 325"/>
                <a:gd name="T56" fmla="*/ 2147483647 w 270"/>
                <a:gd name="T57" fmla="*/ 2147483647 h 325"/>
                <a:gd name="T58" fmla="*/ 2147483647 w 270"/>
                <a:gd name="T59" fmla="*/ 2147483647 h 325"/>
                <a:gd name="T60" fmla="*/ 2147483647 w 270"/>
                <a:gd name="T61" fmla="*/ 2147483647 h 325"/>
                <a:gd name="T62" fmla="*/ 2147483647 w 270"/>
                <a:gd name="T63" fmla="*/ 2147483647 h 325"/>
                <a:gd name="T64" fmla="*/ 2147483647 w 270"/>
                <a:gd name="T65" fmla="*/ 2147483647 h 32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0" h="325">
                  <a:moveTo>
                    <a:pt x="132" y="23"/>
                  </a:moveTo>
                  <a:lnTo>
                    <a:pt x="138" y="23"/>
                  </a:lnTo>
                  <a:lnTo>
                    <a:pt x="145" y="12"/>
                  </a:lnTo>
                  <a:lnTo>
                    <a:pt x="151" y="0"/>
                  </a:lnTo>
                  <a:lnTo>
                    <a:pt x="163" y="12"/>
                  </a:lnTo>
                  <a:lnTo>
                    <a:pt x="170" y="35"/>
                  </a:lnTo>
                  <a:lnTo>
                    <a:pt x="170" y="44"/>
                  </a:lnTo>
                  <a:lnTo>
                    <a:pt x="176" y="56"/>
                  </a:lnTo>
                  <a:lnTo>
                    <a:pt x="182" y="56"/>
                  </a:lnTo>
                  <a:lnTo>
                    <a:pt x="195" y="79"/>
                  </a:lnTo>
                  <a:lnTo>
                    <a:pt x="201" y="100"/>
                  </a:lnTo>
                  <a:lnTo>
                    <a:pt x="220" y="112"/>
                  </a:lnTo>
                  <a:lnTo>
                    <a:pt x="232" y="112"/>
                  </a:lnTo>
                  <a:lnTo>
                    <a:pt x="238" y="112"/>
                  </a:lnTo>
                  <a:lnTo>
                    <a:pt x="251" y="123"/>
                  </a:lnTo>
                  <a:lnTo>
                    <a:pt x="265" y="123"/>
                  </a:lnTo>
                  <a:lnTo>
                    <a:pt x="270" y="179"/>
                  </a:lnTo>
                  <a:lnTo>
                    <a:pt x="257" y="179"/>
                  </a:lnTo>
                  <a:lnTo>
                    <a:pt x="257" y="202"/>
                  </a:lnTo>
                  <a:lnTo>
                    <a:pt x="232" y="235"/>
                  </a:lnTo>
                  <a:lnTo>
                    <a:pt x="201" y="246"/>
                  </a:lnTo>
                  <a:lnTo>
                    <a:pt x="201" y="267"/>
                  </a:lnTo>
                  <a:lnTo>
                    <a:pt x="188" y="258"/>
                  </a:lnTo>
                  <a:lnTo>
                    <a:pt x="201" y="290"/>
                  </a:lnTo>
                  <a:lnTo>
                    <a:pt x="220" y="290"/>
                  </a:lnTo>
                  <a:lnTo>
                    <a:pt x="182" y="325"/>
                  </a:lnTo>
                  <a:lnTo>
                    <a:pt x="163" y="290"/>
                  </a:lnTo>
                  <a:lnTo>
                    <a:pt x="182" y="267"/>
                  </a:lnTo>
                  <a:lnTo>
                    <a:pt x="163" y="258"/>
                  </a:lnTo>
                  <a:lnTo>
                    <a:pt x="151" y="258"/>
                  </a:lnTo>
                  <a:lnTo>
                    <a:pt x="151" y="235"/>
                  </a:lnTo>
                  <a:lnTo>
                    <a:pt x="126" y="258"/>
                  </a:lnTo>
                  <a:lnTo>
                    <a:pt x="113" y="290"/>
                  </a:lnTo>
                  <a:lnTo>
                    <a:pt x="101" y="290"/>
                  </a:lnTo>
                  <a:lnTo>
                    <a:pt x="101" y="258"/>
                  </a:lnTo>
                  <a:lnTo>
                    <a:pt x="101" y="246"/>
                  </a:lnTo>
                  <a:lnTo>
                    <a:pt x="113" y="246"/>
                  </a:lnTo>
                  <a:lnTo>
                    <a:pt x="120" y="235"/>
                  </a:lnTo>
                  <a:lnTo>
                    <a:pt x="120" y="223"/>
                  </a:lnTo>
                  <a:lnTo>
                    <a:pt x="113" y="223"/>
                  </a:lnTo>
                  <a:lnTo>
                    <a:pt x="107" y="188"/>
                  </a:lnTo>
                  <a:lnTo>
                    <a:pt x="95" y="167"/>
                  </a:lnTo>
                  <a:lnTo>
                    <a:pt x="82" y="167"/>
                  </a:lnTo>
                  <a:lnTo>
                    <a:pt x="63" y="179"/>
                  </a:lnTo>
                  <a:lnTo>
                    <a:pt x="38" y="179"/>
                  </a:lnTo>
                  <a:lnTo>
                    <a:pt x="26" y="188"/>
                  </a:lnTo>
                  <a:lnTo>
                    <a:pt x="7" y="188"/>
                  </a:lnTo>
                  <a:lnTo>
                    <a:pt x="0" y="167"/>
                  </a:lnTo>
                  <a:lnTo>
                    <a:pt x="7" y="144"/>
                  </a:lnTo>
                  <a:lnTo>
                    <a:pt x="12" y="112"/>
                  </a:lnTo>
                  <a:lnTo>
                    <a:pt x="26" y="79"/>
                  </a:lnTo>
                  <a:lnTo>
                    <a:pt x="20" y="44"/>
                  </a:lnTo>
                  <a:lnTo>
                    <a:pt x="26" y="35"/>
                  </a:lnTo>
                  <a:lnTo>
                    <a:pt x="38" y="35"/>
                  </a:lnTo>
                  <a:lnTo>
                    <a:pt x="45" y="35"/>
                  </a:lnTo>
                  <a:lnTo>
                    <a:pt x="57" y="35"/>
                  </a:lnTo>
                  <a:lnTo>
                    <a:pt x="69" y="44"/>
                  </a:lnTo>
                  <a:lnTo>
                    <a:pt x="82" y="44"/>
                  </a:lnTo>
                  <a:lnTo>
                    <a:pt x="87" y="56"/>
                  </a:lnTo>
                  <a:lnTo>
                    <a:pt x="101" y="56"/>
                  </a:lnTo>
                  <a:lnTo>
                    <a:pt x="107" y="67"/>
                  </a:lnTo>
                  <a:lnTo>
                    <a:pt x="113" y="56"/>
                  </a:lnTo>
                  <a:lnTo>
                    <a:pt x="113" y="44"/>
                  </a:lnTo>
                  <a:lnTo>
                    <a:pt x="120" y="35"/>
                  </a:lnTo>
                  <a:lnTo>
                    <a:pt x="126" y="35"/>
                  </a:lnTo>
                  <a:lnTo>
                    <a:pt x="132" y="35"/>
                  </a:lnTo>
                  <a:lnTo>
                    <a:pt x="132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15" name="Freeform 1094"/>
            <p:cNvSpPr>
              <a:spLocks/>
            </p:cNvSpPr>
            <p:nvPr>
              <p:custDataLst>
                <p:tags r:id="rId923"/>
              </p:custDataLst>
            </p:nvPr>
          </p:nvSpPr>
          <p:spPr bwMode="auto">
            <a:xfrm>
              <a:off x="6652596" y="3331763"/>
              <a:ext cx="499218" cy="257175"/>
            </a:xfrm>
            <a:custGeom>
              <a:avLst/>
              <a:gdLst>
                <a:gd name="T0" fmla="*/ 2147483647 w 270"/>
                <a:gd name="T1" fmla="*/ 2147483647 h 325"/>
                <a:gd name="T2" fmla="*/ 2147483647 w 270"/>
                <a:gd name="T3" fmla="*/ 0 h 325"/>
                <a:gd name="T4" fmla="*/ 2147483647 w 270"/>
                <a:gd name="T5" fmla="*/ 2147483647 h 325"/>
                <a:gd name="T6" fmla="*/ 2147483647 w 270"/>
                <a:gd name="T7" fmla="*/ 2147483647 h 325"/>
                <a:gd name="T8" fmla="*/ 2147483647 w 270"/>
                <a:gd name="T9" fmla="*/ 2147483647 h 325"/>
                <a:gd name="T10" fmla="*/ 2147483647 w 270"/>
                <a:gd name="T11" fmla="*/ 2147483647 h 325"/>
                <a:gd name="T12" fmla="*/ 2147483647 w 270"/>
                <a:gd name="T13" fmla="*/ 2147483647 h 325"/>
                <a:gd name="T14" fmla="*/ 2147483647 w 270"/>
                <a:gd name="T15" fmla="*/ 2147483647 h 325"/>
                <a:gd name="T16" fmla="*/ 2147483647 w 270"/>
                <a:gd name="T17" fmla="*/ 2147483647 h 325"/>
                <a:gd name="T18" fmla="*/ 2147483647 w 270"/>
                <a:gd name="T19" fmla="*/ 2147483647 h 325"/>
                <a:gd name="T20" fmla="*/ 2147483647 w 270"/>
                <a:gd name="T21" fmla="*/ 2147483647 h 325"/>
                <a:gd name="T22" fmla="*/ 2147483647 w 270"/>
                <a:gd name="T23" fmla="*/ 2147483647 h 325"/>
                <a:gd name="T24" fmla="*/ 2147483647 w 270"/>
                <a:gd name="T25" fmla="*/ 2147483647 h 325"/>
                <a:gd name="T26" fmla="*/ 2147483647 w 270"/>
                <a:gd name="T27" fmla="*/ 2147483647 h 325"/>
                <a:gd name="T28" fmla="*/ 2147483647 w 270"/>
                <a:gd name="T29" fmla="*/ 2147483647 h 325"/>
                <a:gd name="T30" fmla="*/ 2147483647 w 270"/>
                <a:gd name="T31" fmla="*/ 2147483647 h 325"/>
                <a:gd name="T32" fmla="*/ 2147483647 w 270"/>
                <a:gd name="T33" fmla="*/ 2147483647 h 325"/>
                <a:gd name="T34" fmla="*/ 2147483647 w 270"/>
                <a:gd name="T35" fmla="*/ 2147483647 h 325"/>
                <a:gd name="T36" fmla="*/ 2147483647 w 270"/>
                <a:gd name="T37" fmla="*/ 2147483647 h 325"/>
                <a:gd name="T38" fmla="*/ 2147483647 w 270"/>
                <a:gd name="T39" fmla="*/ 2147483647 h 325"/>
                <a:gd name="T40" fmla="*/ 2147483647 w 270"/>
                <a:gd name="T41" fmla="*/ 2147483647 h 325"/>
                <a:gd name="T42" fmla="*/ 2147483647 w 270"/>
                <a:gd name="T43" fmla="*/ 2147483647 h 325"/>
                <a:gd name="T44" fmla="*/ 2147483647 w 270"/>
                <a:gd name="T45" fmla="*/ 2147483647 h 325"/>
                <a:gd name="T46" fmla="*/ 0 w 270"/>
                <a:gd name="T47" fmla="*/ 2147483647 h 325"/>
                <a:gd name="T48" fmla="*/ 2147483647 w 270"/>
                <a:gd name="T49" fmla="*/ 2147483647 h 325"/>
                <a:gd name="T50" fmla="*/ 2147483647 w 270"/>
                <a:gd name="T51" fmla="*/ 2147483647 h 325"/>
                <a:gd name="T52" fmla="*/ 2147483647 w 270"/>
                <a:gd name="T53" fmla="*/ 2147483647 h 325"/>
                <a:gd name="T54" fmla="*/ 2147483647 w 270"/>
                <a:gd name="T55" fmla="*/ 2147483647 h 325"/>
                <a:gd name="T56" fmla="*/ 2147483647 w 270"/>
                <a:gd name="T57" fmla="*/ 2147483647 h 325"/>
                <a:gd name="T58" fmla="*/ 2147483647 w 270"/>
                <a:gd name="T59" fmla="*/ 2147483647 h 325"/>
                <a:gd name="T60" fmla="*/ 2147483647 w 270"/>
                <a:gd name="T61" fmla="*/ 2147483647 h 325"/>
                <a:gd name="T62" fmla="*/ 2147483647 w 270"/>
                <a:gd name="T63" fmla="*/ 2147483647 h 325"/>
                <a:gd name="T64" fmla="*/ 2147483647 w 270"/>
                <a:gd name="T65" fmla="*/ 2147483647 h 32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0" h="325">
                  <a:moveTo>
                    <a:pt x="132" y="23"/>
                  </a:moveTo>
                  <a:lnTo>
                    <a:pt x="138" y="23"/>
                  </a:lnTo>
                  <a:lnTo>
                    <a:pt x="145" y="12"/>
                  </a:lnTo>
                  <a:lnTo>
                    <a:pt x="151" y="0"/>
                  </a:lnTo>
                  <a:lnTo>
                    <a:pt x="163" y="12"/>
                  </a:lnTo>
                  <a:lnTo>
                    <a:pt x="170" y="35"/>
                  </a:lnTo>
                  <a:lnTo>
                    <a:pt x="170" y="44"/>
                  </a:lnTo>
                  <a:lnTo>
                    <a:pt x="176" y="56"/>
                  </a:lnTo>
                  <a:lnTo>
                    <a:pt x="182" y="56"/>
                  </a:lnTo>
                  <a:lnTo>
                    <a:pt x="195" y="79"/>
                  </a:lnTo>
                  <a:lnTo>
                    <a:pt x="201" y="100"/>
                  </a:lnTo>
                  <a:lnTo>
                    <a:pt x="220" y="112"/>
                  </a:lnTo>
                  <a:lnTo>
                    <a:pt x="232" y="112"/>
                  </a:lnTo>
                  <a:lnTo>
                    <a:pt x="238" y="112"/>
                  </a:lnTo>
                  <a:lnTo>
                    <a:pt x="251" y="123"/>
                  </a:lnTo>
                  <a:lnTo>
                    <a:pt x="265" y="123"/>
                  </a:lnTo>
                  <a:lnTo>
                    <a:pt x="270" y="179"/>
                  </a:lnTo>
                  <a:lnTo>
                    <a:pt x="257" y="179"/>
                  </a:lnTo>
                  <a:lnTo>
                    <a:pt x="257" y="202"/>
                  </a:lnTo>
                  <a:lnTo>
                    <a:pt x="232" y="235"/>
                  </a:lnTo>
                  <a:lnTo>
                    <a:pt x="201" y="246"/>
                  </a:lnTo>
                  <a:lnTo>
                    <a:pt x="201" y="267"/>
                  </a:lnTo>
                  <a:lnTo>
                    <a:pt x="188" y="258"/>
                  </a:lnTo>
                  <a:lnTo>
                    <a:pt x="201" y="290"/>
                  </a:lnTo>
                  <a:lnTo>
                    <a:pt x="220" y="290"/>
                  </a:lnTo>
                  <a:lnTo>
                    <a:pt x="182" y="325"/>
                  </a:lnTo>
                  <a:lnTo>
                    <a:pt x="163" y="290"/>
                  </a:lnTo>
                  <a:lnTo>
                    <a:pt x="182" y="267"/>
                  </a:lnTo>
                  <a:lnTo>
                    <a:pt x="163" y="258"/>
                  </a:lnTo>
                  <a:lnTo>
                    <a:pt x="151" y="258"/>
                  </a:lnTo>
                  <a:lnTo>
                    <a:pt x="151" y="235"/>
                  </a:lnTo>
                  <a:lnTo>
                    <a:pt x="126" y="258"/>
                  </a:lnTo>
                  <a:lnTo>
                    <a:pt x="113" y="290"/>
                  </a:lnTo>
                  <a:lnTo>
                    <a:pt x="101" y="290"/>
                  </a:lnTo>
                  <a:lnTo>
                    <a:pt x="101" y="258"/>
                  </a:lnTo>
                  <a:lnTo>
                    <a:pt x="101" y="246"/>
                  </a:lnTo>
                  <a:lnTo>
                    <a:pt x="113" y="246"/>
                  </a:lnTo>
                  <a:lnTo>
                    <a:pt x="120" y="235"/>
                  </a:lnTo>
                  <a:lnTo>
                    <a:pt x="120" y="223"/>
                  </a:lnTo>
                  <a:lnTo>
                    <a:pt x="113" y="223"/>
                  </a:lnTo>
                  <a:lnTo>
                    <a:pt x="107" y="188"/>
                  </a:lnTo>
                  <a:lnTo>
                    <a:pt x="95" y="167"/>
                  </a:lnTo>
                  <a:lnTo>
                    <a:pt x="82" y="167"/>
                  </a:lnTo>
                  <a:lnTo>
                    <a:pt x="63" y="179"/>
                  </a:lnTo>
                  <a:lnTo>
                    <a:pt x="38" y="179"/>
                  </a:lnTo>
                  <a:lnTo>
                    <a:pt x="26" y="188"/>
                  </a:lnTo>
                  <a:lnTo>
                    <a:pt x="7" y="188"/>
                  </a:lnTo>
                  <a:lnTo>
                    <a:pt x="0" y="167"/>
                  </a:lnTo>
                  <a:lnTo>
                    <a:pt x="7" y="144"/>
                  </a:lnTo>
                  <a:lnTo>
                    <a:pt x="12" y="112"/>
                  </a:lnTo>
                  <a:lnTo>
                    <a:pt x="26" y="79"/>
                  </a:lnTo>
                  <a:lnTo>
                    <a:pt x="20" y="44"/>
                  </a:lnTo>
                  <a:lnTo>
                    <a:pt x="26" y="35"/>
                  </a:lnTo>
                  <a:lnTo>
                    <a:pt x="38" y="35"/>
                  </a:lnTo>
                  <a:lnTo>
                    <a:pt x="45" y="35"/>
                  </a:lnTo>
                  <a:lnTo>
                    <a:pt x="57" y="35"/>
                  </a:lnTo>
                  <a:lnTo>
                    <a:pt x="69" y="44"/>
                  </a:lnTo>
                  <a:lnTo>
                    <a:pt x="82" y="44"/>
                  </a:lnTo>
                  <a:lnTo>
                    <a:pt x="87" y="56"/>
                  </a:lnTo>
                  <a:lnTo>
                    <a:pt x="101" y="56"/>
                  </a:lnTo>
                  <a:lnTo>
                    <a:pt x="107" y="67"/>
                  </a:lnTo>
                  <a:lnTo>
                    <a:pt x="113" y="56"/>
                  </a:lnTo>
                  <a:lnTo>
                    <a:pt x="113" y="44"/>
                  </a:lnTo>
                  <a:lnTo>
                    <a:pt x="120" y="35"/>
                  </a:lnTo>
                  <a:lnTo>
                    <a:pt x="126" y="35"/>
                  </a:lnTo>
                  <a:lnTo>
                    <a:pt x="132" y="35"/>
                  </a:lnTo>
                  <a:lnTo>
                    <a:pt x="132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16" name="Freeform 1095"/>
            <p:cNvSpPr>
              <a:spLocks/>
            </p:cNvSpPr>
            <p:nvPr>
              <p:custDataLst>
                <p:tags r:id="rId924"/>
              </p:custDataLst>
            </p:nvPr>
          </p:nvSpPr>
          <p:spPr bwMode="auto">
            <a:xfrm>
              <a:off x="6652596" y="3331763"/>
              <a:ext cx="499218" cy="257175"/>
            </a:xfrm>
            <a:custGeom>
              <a:avLst/>
              <a:gdLst>
                <a:gd name="T0" fmla="*/ 2147483647 w 270"/>
                <a:gd name="T1" fmla="*/ 2147483647 h 325"/>
                <a:gd name="T2" fmla="*/ 2147483647 w 270"/>
                <a:gd name="T3" fmla="*/ 0 h 325"/>
                <a:gd name="T4" fmla="*/ 2147483647 w 270"/>
                <a:gd name="T5" fmla="*/ 2147483647 h 325"/>
                <a:gd name="T6" fmla="*/ 2147483647 w 270"/>
                <a:gd name="T7" fmla="*/ 2147483647 h 325"/>
                <a:gd name="T8" fmla="*/ 2147483647 w 270"/>
                <a:gd name="T9" fmla="*/ 2147483647 h 325"/>
                <a:gd name="T10" fmla="*/ 2147483647 w 270"/>
                <a:gd name="T11" fmla="*/ 2147483647 h 325"/>
                <a:gd name="T12" fmla="*/ 2147483647 w 270"/>
                <a:gd name="T13" fmla="*/ 2147483647 h 325"/>
                <a:gd name="T14" fmla="*/ 2147483647 w 270"/>
                <a:gd name="T15" fmla="*/ 2147483647 h 325"/>
                <a:gd name="T16" fmla="*/ 2147483647 w 270"/>
                <a:gd name="T17" fmla="*/ 2147483647 h 325"/>
                <a:gd name="T18" fmla="*/ 2147483647 w 270"/>
                <a:gd name="T19" fmla="*/ 2147483647 h 325"/>
                <a:gd name="T20" fmla="*/ 2147483647 w 270"/>
                <a:gd name="T21" fmla="*/ 2147483647 h 325"/>
                <a:gd name="T22" fmla="*/ 2147483647 w 270"/>
                <a:gd name="T23" fmla="*/ 2147483647 h 325"/>
                <a:gd name="T24" fmla="*/ 2147483647 w 270"/>
                <a:gd name="T25" fmla="*/ 2147483647 h 325"/>
                <a:gd name="T26" fmla="*/ 2147483647 w 270"/>
                <a:gd name="T27" fmla="*/ 2147483647 h 325"/>
                <a:gd name="T28" fmla="*/ 2147483647 w 270"/>
                <a:gd name="T29" fmla="*/ 2147483647 h 325"/>
                <a:gd name="T30" fmla="*/ 2147483647 w 270"/>
                <a:gd name="T31" fmla="*/ 2147483647 h 325"/>
                <a:gd name="T32" fmla="*/ 2147483647 w 270"/>
                <a:gd name="T33" fmla="*/ 2147483647 h 325"/>
                <a:gd name="T34" fmla="*/ 2147483647 w 270"/>
                <a:gd name="T35" fmla="*/ 2147483647 h 325"/>
                <a:gd name="T36" fmla="*/ 2147483647 w 270"/>
                <a:gd name="T37" fmla="*/ 2147483647 h 325"/>
                <a:gd name="T38" fmla="*/ 2147483647 w 270"/>
                <a:gd name="T39" fmla="*/ 2147483647 h 325"/>
                <a:gd name="T40" fmla="*/ 2147483647 w 270"/>
                <a:gd name="T41" fmla="*/ 2147483647 h 325"/>
                <a:gd name="T42" fmla="*/ 2147483647 w 270"/>
                <a:gd name="T43" fmla="*/ 2147483647 h 325"/>
                <a:gd name="T44" fmla="*/ 2147483647 w 270"/>
                <a:gd name="T45" fmla="*/ 2147483647 h 325"/>
                <a:gd name="T46" fmla="*/ 0 w 270"/>
                <a:gd name="T47" fmla="*/ 2147483647 h 325"/>
                <a:gd name="T48" fmla="*/ 2147483647 w 270"/>
                <a:gd name="T49" fmla="*/ 2147483647 h 325"/>
                <a:gd name="T50" fmla="*/ 2147483647 w 270"/>
                <a:gd name="T51" fmla="*/ 2147483647 h 325"/>
                <a:gd name="T52" fmla="*/ 2147483647 w 270"/>
                <a:gd name="T53" fmla="*/ 2147483647 h 325"/>
                <a:gd name="T54" fmla="*/ 2147483647 w 270"/>
                <a:gd name="T55" fmla="*/ 2147483647 h 325"/>
                <a:gd name="T56" fmla="*/ 2147483647 w 270"/>
                <a:gd name="T57" fmla="*/ 2147483647 h 325"/>
                <a:gd name="T58" fmla="*/ 2147483647 w 270"/>
                <a:gd name="T59" fmla="*/ 2147483647 h 325"/>
                <a:gd name="T60" fmla="*/ 2147483647 w 270"/>
                <a:gd name="T61" fmla="*/ 2147483647 h 325"/>
                <a:gd name="T62" fmla="*/ 2147483647 w 270"/>
                <a:gd name="T63" fmla="*/ 2147483647 h 325"/>
                <a:gd name="T64" fmla="*/ 2147483647 w 270"/>
                <a:gd name="T65" fmla="*/ 2147483647 h 32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0" h="325">
                  <a:moveTo>
                    <a:pt x="132" y="23"/>
                  </a:moveTo>
                  <a:lnTo>
                    <a:pt x="138" y="23"/>
                  </a:lnTo>
                  <a:lnTo>
                    <a:pt x="145" y="12"/>
                  </a:lnTo>
                  <a:lnTo>
                    <a:pt x="151" y="0"/>
                  </a:lnTo>
                  <a:lnTo>
                    <a:pt x="163" y="12"/>
                  </a:lnTo>
                  <a:lnTo>
                    <a:pt x="170" y="35"/>
                  </a:lnTo>
                  <a:lnTo>
                    <a:pt x="170" y="44"/>
                  </a:lnTo>
                  <a:lnTo>
                    <a:pt x="176" y="56"/>
                  </a:lnTo>
                  <a:lnTo>
                    <a:pt x="182" y="56"/>
                  </a:lnTo>
                  <a:lnTo>
                    <a:pt x="195" y="79"/>
                  </a:lnTo>
                  <a:lnTo>
                    <a:pt x="201" y="100"/>
                  </a:lnTo>
                  <a:lnTo>
                    <a:pt x="220" y="112"/>
                  </a:lnTo>
                  <a:lnTo>
                    <a:pt x="232" y="112"/>
                  </a:lnTo>
                  <a:lnTo>
                    <a:pt x="238" y="112"/>
                  </a:lnTo>
                  <a:lnTo>
                    <a:pt x="251" y="123"/>
                  </a:lnTo>
                  <a:lnTo>
                    <a:pt x="265" y="123"/>
                  </a:lnTo>
                  <a:lnTo>
                    <a:pt x="270" y="179"/>
                  </a:lnTo>
                  <a:lnTo>
                    <a:pt x="257" y="179"/>
                  </a:lnTo>
                  <a:lnTo>
                    <a:pt x="257" y="202"/>
                  </a:lnTo>
                  <a:lnTo>
                    <a:pt x="232" y="235"/>
                  </a:lnTo>
                  <a:lnTo>
                    <a:pt x="201" y="246"/>
                  </a:lnTo>
                  <a:lnTo>
                    <a:pt x="201" y="267"/>
                  </a:lnTo>
                  <a:lnTo>
                    <a:pt x="188" y="258"/>
                  </a:lnTo>
                  <a:lnTo>
                    <a:pt x="201" y="290"/>
                  </a:lnTo>
                  <a:lnTo>
                    <a:pt x="220" y="290"/>
                  </a:lnTo>
                  <a:lnTo>
                    <a:pt x="182" y="325"/>
                  </a:lnTo>
                  <a:lnTo>
                    <a:pt x="163" y="290"/>
                  </a:lnTo>
                  <a:lnTo>
                    <a:pt x="182" y="267"/>
                  </a:lnTo>
                  <a:lnTo>
                    <a:pt x="163" y="258"/>
                  </a:lnTo>
                  <a:lnTo>
                    <a:pt x="151" y="258"/>
                  </a:lnTo>
                  <a:lnTo>
                    <a:pt x="151" y="235"/>
                  </a:lnTo>
                  <a:lnTo>
                    <a:pt x="126" y="258"/>
                  </a:lnTo>
                  <a:lnTo>
                    <a:pt x="113" y="290"/>
                  </a:lnTo>
                  <a:lnTo>
                    <a:pt x="101" y="290"/>
                  </a:lnTo>
                  <a:lnTo>
                    <a:pt x="101" y="258"/>
                  </a:lnTo>
                  <a:lnTo>
                    <a:pt x="101" y="246"/>
                  </a:lnTo>
                  <a:lnTo>
                    <a:pt x="113" y="246"/>
                  </a:lnTo>
                  <a:lnTo>
                    <a:pt x="120" y="235"/>
                  </a:lnTo>
                  <a:lnTo>
                    <a:pt x="120" y="223"/>
                  </a:lnTo>
                  <a:lnTo>
                    <a:pt x="113" y="223"/>
                  </a:lnTo>
                  <a:lnTo>
                    <a:pt x="107" y="188"/>
                  </a:lnTo>
                  <a:lnTo>
                    <a:pt x="95" y="167"/>
                  </a:lnTo>
                  <a:lnTo>
                    <a:pt x="82" y="167"/>
                  </a:lnTo>
                  <a:lnTo>
                    <a:pt x="63" y="179"/>
                  </a:lnTo>
                  <a:lnTo>
                    <a:pt x="38" y="179"/>
                  </a:lnTo>
                  <a:lnTo>
                    <a:pt x="26" y="188"/>
                  </a:lnTo>
                  <a:lnTo>
                    <a:pt x="7" y="188"/>
                  </a:lnTo>
                  <a:lnTo>
                    <a:pt x="0" y="167"/>
                  </a:lnTo>
                  <a:lnTo>
                    <a:pt x="7" y="144"/>
                  </a:lnTo>
                  <a:lnTo>
                    <a:pt x="12" y="112"/>
                  </a:lnTo>
                  <a:lnTo>
                    <a:pt x="26" y="79"/>
                  </a:lnTo>
                  <a:lnTo>
                    <a:pt x="20" y="44"/>
                  </a:lnTo>
                  <a:lnTo>
                    <a:pt x="26" y="35"/>
                  </a:lnTo>
                  <a:lnTo>
                    <a:pt x="38" y="35"/>
                  </a:lnTo>
                  <a:lnTo>
                    <a:pt x="45" y="35"/>
                  </a:lnTo>
                  <a:lnTo>
                    <a:pt x="57" y="35"/>
                  </a:lnTo>
                  <a:lnTo>
                    <a:pt x="69" y="44"/>
                  </a:lnTo>
                  <a:lnTo>
                    <a:pt x="82" y="44"/>
                  </a:lnTo>
                  <a:lnTo>
                    <a:pt x="87" y="56"/>
                  </a:lnTo>
                  <a:lnTo>
                    <a:pt x="101" y="56"/>
                  </a:lnTo>
                  <a:lnTo>
                    <a:pt x="107" y="67"/>
                  </a:lnTo>
                  <a:lnTo>
                    <a:pt x="113" y="56"/>
                  </a:lnTo>
                  <a:lnTo>
                    <a:pt x="113" y="44"/>
                  </a:lnTo>
                  <a:lnTo>
                    <a:pt x="120" y="35"/>
                  </a:lnTo>
                  <a:lnTo>
                    <a:pt x="126" y="35"/>
                  </a:lnTo>
                  <a:lnTo>
                    <a:pt x="132" y="35"/>
                  </a:lnTo>
                  <a:lnTo>
                    <a:pt x="132" y="2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17" name="Freeform 1096"/>
            <p:cNvSpPr>
              <a:spLocks/>
            </p:cNvSpPr>
            <p:nvPr>
              <p:custDataLst>
                <p:tags r:id="rId925"/>
              </p:custDataLst>
            </p:nvPr>
          </p:nvSpPr>
          <p:spPr bwMode="auto">
            <a:xfrm>
              <a:off x="6652596" y="3331763"/>
              <a:ext cx="499218" cy="257175"/>
            </a:xfrm>
            <a:custGeom>
              <a:avLst/>
              <a:gdLst>
                <a:gd name="T0" fmla="*/ 2147483647 w 270"/>
                <a:gd name="T1" fmla="*/ 2147483647 h 325"/>
                <a:gd name="T2" fmla="*/ 2147483647 w 270"/>
                <a:gd name="T3" fmla="*/ 0 h 325"/>
                <a:gd name="T4" fmla="*/ 2147483647 w 270"/>
                <a:gd name="T5" fmla="*/ 2147483647 h 325"/>
                <a:gd name="T6" fmla="*/ 2147483647 w 270"/>
                <a:gd name="T7" fmla="*/ 2147483647 h 325"/>
                <a:gd name="T8" fmla="*/ 2147483647 w 270"/>
                <a:gd name="T9" fmla="*/ 2147483647 h 325"/>
                <a:gd name="T10" fmla="*/ 2147483647 w 270"/>
                <a:gd name="T11" fmla="*/ 2147483647 h 325"/>
                <a:gd name="T12" fmla="*/ 2147483647 w 270"/>
                <a:gd name="T13" fmla="*/ 2147483647 h 325"/>
                <a:gd name="T14" fmla="*/ 2147483647 w 270"/>
                <a:gd name="T15" fmla="*/ 2147483647 h 325"/>
                <a:gd name="T16" fmla="*/ 2147483647 w 270"/>
                <a:gd name="T17" fmla="*/ 2147483647 h 325"/>
                <a:gd name="T18" fmla="*/ 2147483647 w 270"/>
                <a:gd name="T19" fmla="*/ 2147483647 h 325"/>
                <a:gd name="T20" fmla="*/ 2147483647 w 270"/>
                <a:gd name="T21" fmla="*/ 2147483647 h 325"/>
                <a:gd name="T22" fmla="*/ 2147483647 w 270"/>
                <a:gd name="T23" fmla="*/ 2147483647 h 325"/>
                <a:gd name="T24" fmla="*/ 2147483647 w 270"/>
                <a:gd name="T25" fmla="*/ 2147483647 h 325"/>
                <a:gd name="T26" fmla="*/ 2147483647 w 270"/>
                <a:gd name="T27" fmla="*/ 2147483647 h 325"/>
                <a:gd name="T28" fmla="*/ 2147483647 w 270"/>
                <a:gd name="T29" fmla="*/ 2147483647 h 325"/>
                <a:gd name="T30" fmla="*/ 2147483647 w 270"/>
                <a:gd name="T31" fmla="*/ 2147483647 h 325"/>
                <a:gd name="T32" fmla="*/ 2147483647 w 270"/>
                <a:gd name="T33" fmla="*/ 2147483647 h 325"/>
                <a:gd name="T34" fmla="*/ 2147483647 w 270"/>
                <a:gd name="T35" fmla="*/ 2147483647 h 325"/>
                <a:gd name="T36" fmla="*/ 2147483647 w 270"/>
                <a:gd name="T37" fmla="*/ 2147483647 h 325"/>
                <a:gd name="T38" fmla="*/ 2147483647 w 270"/>
                <a:gd name="T39" fmla="*/ 2147483647 h 325"/>
                <a:gd name="T40" fmla="*/ 2147483647 w 270"/>
                <a:gd name="T41" fmla="*/ 2147483647 h 325"/>
                <a:gd name="T42" fmla="*/ 2147483647 w 270"/>
                <a:gd name="T43" fmla="*/ 2147483647 h 325"/>
                <a:gd name="T44" fmla="*/ 2147483647 w 270"/>
                <a:gd name="T45" fmla="*/ 2147483647 h 325"/>
                <a:gd name="T46" fmla="*/ 0 w 270"/>
                <a:gd name="T47" fmla="*/ 2147483647 h 325"/>
                <a:gd name="T48" fmla="*/ 2147483647 w 270"/>
                <a:gd name="T49" fmla="*/ 2147483647 h 325"/>
                <a:gd name="T50" fmla="*/ 2147483647 w 270"/>
                <a:gd name="T51" fmla="*/ 2147483647 h 325"/>
                <a:gd name="T52" fmla="*/ 2147483647 w 270"/>
                <a:gd name="T53" fmla="*/ 2147483647 h 325"/>
                <a:gd name="T54" fmla="*/ 2147483647 w 270"/>
                <a:gd name="T55" fmla="*/ 2147483647 h 325"/>
                <a:gd name="T56" fmla="*/ 2147483647 w 270"/>
                <a:gd name="T57" fmla="*/ 2147483647 h 325"/>
                <a:gd name="T58" fmla="*/ 2147483647 w 270"/>
                <a:gd name="T59" fmla="*/ 2147483647 h 325"/>
                <a:gd name="T60" fmla="*/ 2147483647 w 270"/>
                <a:gd name="T61" fmla="*/ 2147483647 h 325"/>
                <a:gd name="T62" fmla="*/ 2147483647 w 270"/>
                <a:gd name="T63" fmla="*/ 2147483647 h 325"/>
                <a:gd name="T64" fmla="*/ 2147483647 w 270"/>
                <a:gd name="T65" fmla="*/ 2147483647 h 32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0" h="325">
                  <a:moveTo>
                    <a:pt x="132" y="23"/>
                  </a:moveTo>
                  <a:lnTo>
                    <a:pt x="138" y="23"/>
                  </a:lnTo>
                  <a:lnTo>
                    <a:pt x="145" y="12"/>
                  </a:lnTo>
                  <a:lnTo>
                    <a:pt x="151" y="0"/>
                  </a:lnTo>
                  <a:lnTo>
                    <a:pt x="163" y="12"/>
                  </a:lnTo>
                  <a:lnTo>
                    <a:pt x="170" y="35"/>
                  </a:lnTo>
                  <a:lnTo>
                    <a:pt x="170" y="44"/>
                  </a:lnTo>
                  <a:lnTo>
                    <a:pt x="176" y="56"/>
                  </a:lnTo>
                  <a:lnTo>
                    <a:pt x="182" y="56"/>
                  </a:lnTo>
                  <a:lnTo>
                    <a:pt x="195" y="79"/>
                  </a:lnTo>
                  <a:lnTo>
                    <a:pt x="201" y="100"/>
                  </a:lnTo>
                  <a:lnTo>
                    <a:pt x="220" y="112"/>
                  </a:lnTo>
                  <a:lnTo>
                    <a:pt x="232" y="112"/>
                  </a:lnTo>
                  <a:lnTo>
                    <a:pt x="238" y="112"/>
                  </a:lnTo>
                  <a:lnTo>
                    <a:pt x="251" y="123"/>
                  </a:lnTo>
                  <a:lnTo>
                    <a:pt x="265" y="123"/>
                  </a:lnTo>
                  <a:lnTo>
                    <a:pt x="270" y="179"/>
                  </a:lnTo>
                  <a:lnTo>
                    <a:pt x="257" y="179"/>
                  </a:lnTo>
                  <a:lnTo>
                    <a:pt x="257" y="202"/>
                  </a:lnTo>
                  <a:lnTo>
                    <a:pt x="232" y="235"/>
                  </a:lnTo>
                  <a:lnTo>
                    <a:pt x="201" y="246"/>
                  </a:lnTo>
                  <a:lnTo>
                    <a:pt x="201" y="267"/>
                  </a:lnTo>
                  <a:lnTo>
                    <a:pt x="188" y="258"/>
                  </a:lnTo>
                  <a:lnTo>
                    <a:pt x="201" y="290"/>
                  </a:lnTo>
                  <a:lnTo>
                    <a:pt x="220" y="290"/>
                  </a:lnTo>
                  <a:lnTo>
                    <a:pt x="182" y="325"/>
                  </a:lnTo>
                  <a:lnTo>
                    <a:pt x="163" y="290"/>
                  </a:lnTo>
                  <a:lnTo>
                    <a:pt x="182" y="267"/>
                  </a:lnTo>
                  <a:lnTo>
                    <a:pt x="163" y="258"/>
                  </a:lnTo>
                  <a:lnTo>
                    <a:pt x="151" y="258"/>
                  </a:lnTo>
                  <a:lnTo>
                    <a:pt x="151" y="235"/>
                  </a:lnTo>
                  <a:lnTo>
                    <a:pt x="126" y="258"/>
                  </a:lnTo>
                  <a:lnTo>
                    <a:pt x="113" y="290"/>
                  </a:lnTo>
                  <a:lnTo>
                    <a:pt x="101" y="290"/>
                  </a:lnTo>
                  <a:lnTo>
                    <a:pt x="101" y="258"/>
                  </a:lnTo>
                  <a:lnTo>
                    <a:pt x="101" y="246"/>
                  </a:lnTo>
                  <a:lnTo>
                    <a:pt x="113" y="246"/>
                  </a:lnTo>
                  <a:lnTo>
                    <a:pt x="120" y="235"/>
                  </a:lnTo>
                  <a:lnTo>
                    <a:pt x="120" y="223"/>
                  </a:lnTo>
                  <a:lnTo>
                    <a:pt x="113" y="223"/>
                  </a:lnTo>
                  <a:lnTo>
                    <a:pt x="107" y="188"/>
                  </a:lnTo>
                  <a:lnTo>
                    <a:pt x="95" y="167"/>
                  </a:lnTo>
                  <a:lnTo>
                    <a:pt x="82" y="167"/>
                  </a:lnTo>
                  <a:lnTo>
                    <a:pt x="63" y="179"/>
                  </a:lnTo>
                  <a:lnTo>
                    <a:pt x="38" y="179"/>
                  </a:lnTo>
                  <a:lnTo>
                    <a:pt x="26" y="188"/>
                  </a:lnTo>
                  <a:lnTo>
                    <a:pt x="7" y="188"/>
                  </a:lnTo>
                  <a:lnTo>
                    <a:pt x="0" y="167"/>
                  </a:lnTo>
                  <a:lnTo>
                    <a:pt x="7" y="144"/>
                  </a:lnTo>
                  <a:lnTo>
                    <a:pt x="12" y="112"/>
                  </a:lnTo>
                  <a:lnTo>
                    <a:pt x="26" y="79"/>
                  </a:lnTo>
                  <a:lnTo>
                    <a:pt x="20" y="44"/>
                  </a:lnTo>
                  <a:lnTo>
                    <a:pt x="26" y="35"/>
                  </a:lnTo>
                  <a:lnTo>
                    <a:pt x="38" y="35"/>
                  </a:lnTo>
                  <a:lnTo>
                    <a:pt x="45" y="35"/>
                  </a:lnTo>
                  <a:lnTo>
                    <a:pt x="57" y="35"/>
                  </a:lnTo>
                  <a:lnTo>
                    <a:pt x="69" y="44"/>
                  </a:lnTo>
                  <a:lnTo>
                    <a:pt x="82" y="44"/>
                  </a:lnTo>
                  <a:lnTo>
                    <a:pt x="87" y="56"/>
                  </a:lnTo>
                  <a:lnTo>
                    <a:pt x="101" y="56"/>
                  </a:lnTo>
                  <a:lnTo>
                    <a:pt x="107" y="67"/>
                  </a:lnTo>
                  <a:lnTo>
                    <a:pt x="113" y="56"/>
                  </a:lnTo>
                  <a:lnTo>
                    <a:pt x="113" y="44"/>
                  </a:lnTo>
                  <a:lnTo>
                    <a:pt x="120" y="35"/>
                  </a:lnTo>
                  <a:lnTo>
                    <a:pt x="126" y="35"/>
                  </a:lnTo>
                  <a:lnTo>
                    <a:pt x="132" y="35"/>
                  </a:lnTo>
                  <a:lnTo>
                    <a:pt x="132" y="23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18" name="Freeform 1097"/>
            <p:cNvSpPr>
              <a:spLocks/>
            </p:cNvSpPr>
            <p:nvPr>
              <p:custDataLst>
                <p:tags r:id="rId926"/>
              </p:custDataLst>
            </p:nvPr>
          </p:nvSpPr>
          <p:spPr bwMode="auto">
            <a:xfrm>
              <a:off x="6782924" y="3466670"/>
              <a:ext cx="92225" cy="95250"/>
            </a:xfrm>
            <a:custGeom>
              <a:avLst/>
              <a:gdLst>
                <a:gd name="T0" fmla="*/ 2147483647 w 50"/>
                <a:gd name="T1" fmla="*/ 2147483647 h 121"/>
                <a:gd name="T2" fmla="*/ 2147483647 w 50"/>
                <a:gd name="T3" fmla="*/ 2147483647 h 121"/>
                <a:gd name="T4" fmla="*/ 2147483647 w 50"/>
                <a:gd name="T5" fmla="*/ 2147483647 h 121"/>
                <a:gd name="T6" fmla="*/ 2147483647 w 50"/>
                <a:gd name="T7" fmla="*/ 2147483647 h 121"/>
                <a:gd name="T8" fmla="*/ 2147483647 w 50"/>
                <a:gd name="T9" fmla="*/ 2147483647 h 121"/>
                <a:gd name="T10" fmla="*/ 2147483647 w 50"/>
                <a:gd name="T11" fmla="*/ 2147483647 h 121"/>
                <a:gd name="T12" fmla="*/ 2147483647 w 50"/>
                <a:gd name="T13" fmla="*/ 2147483647 h 121"/>
                <a:gd name="T14" fmla="*/ 2147483647 w 50"/>
                <a:gd name="T15" fmla="*/ 2147483647 h 121"/>
                <a:gd name="T16" fmla="*/ 2147483647 w 50"/>
                <a:gd name="T17" fmla="*/ 2147483647 h 121"/>
                <a:gd name="T18" fmla="*/ 2147483647 w 50"/>
                <a:gd name="T19" fmla="*/ 2147483647 h 121"/>
                <a:gd name="T20" fmla="*/ 2147483647 w 50"/>
                <a:gd name="T21" fmla="*/ 2147483647 h 121"/>
                <a:gd name="T22" fmla="*/ 2147483647 w 50"/>
                <a:gd name="T23" fmla="*/ 0 h 121"/>
                <a:gd name="T24" fmla="*/ 0 w 50"/>
                <a:gd name="T25" fmla="*/ 2147483647 h 121"/>
                <a:gd name="T26" fmla="*/ 2147483647 w 50"/>
                <a:gd name="T27" fmla="*/ 2147483647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121">
                  <a:moveTo>
                    <a:pt x="12" y="44"/>
                  </a:moveTo>
                  <a:lnTo>
                    <a:pt x="18" y="54"/>
                  </a:lnTo>
                  <a:lnTo>
                    <a:pt x="18" y="66"/>
                  </a:lnTo>
                  <a:lnTo>
                    <a:pt x="25" y="121"/>
                  </a:lnTo>
                  <a:lnTo>
                    <a:pt x="31" y="121"/>
                  </a:lnTo>
                  <a:lnTo>
                    <a:pt x="31" y="98"/>
                  </a:lnTo>
                  <a:lnTo>
                    <a:pt x="31" y="77"/>
                  </a:lnTo>
                  <a:lnTo>
                    <a:pt x="50" y="66"/>
                  </a:lnTo>
                  <a:lnTo>
                    <a:pt x="43" y="54"/>
                  </a:lnTo>
                  <a:lnTo>
                    <a:pt x="37" y="21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12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19" name="Freeform 1098"/>
            <p:cNvSpPr>
              <a:spLocks/>
            </p:cNvSpPr>
            <p:nvPr>
              <p:custDataLst>
                <p:tags r:id="rId927"/>
              </p:custDataLst>
            </p:nvPr>
          </p:nvSpPr>
          <p:spPr bwMode="auto">
            <a:xfrm>
              <a:off x="6782924" y="3466670"/>
              <a:ext cx="92225" cy="95250"/>
            </a:xfrm>
            <a:custGeom>
              <a:avLst/>
              <a:gdLst>
                <a:gd name="T0" fmla="*/ 2147483647 w 50"/>
                <a:gd name="T1" fmla="*/ 2147483647 h 121"/>
                <a:gd name="T2" fmla="*/ 2147483647 w 50"/>
                <a:gd name="T3" fmla="*/ 2147483647 h 121"/>
                <a:gd name="T4" fmla="*/ 2147483647 w 50"/>
                <a:gd name="T5" fmla="*/ 2147483647 h 121"/>
                <a:gd name="T6" fmla="*/ 2147483647 w 50"/>
                <a:gd name="T7" fmla="*/ 2147483647 h 121"/>
                <a:gd name="T8" fmla="*/ 2147483647 w 50"/>
                <a:gd name="T9" fmla="*/ 2147483647 h 121"/>
                <a:gd name="T10" fmla="*/ 2147483647 w 50"/>
                <a:gd name="T11" fmla="*/ 2147483647 h 121"/>
                <a:gd name="T12" fmla="*/ 2147483647 w 50"/>
                <a:gd name="T13" fmla="*/ 2147483647 h 121"/>
                <a:gd name="T14" fmla="*/ 2147483647 w 50"/>
                <a:gd name="T15" fmla="*/ 2147483647 h 121"/>
                <a:gd name="T16" fmla="*/ 2147483647 w 50"/>
                <a:gd name="T17" fmla="*/ 2147483647 h 121"/>
                <a:gd name="T18" fmla="*/ 2147483647 w 50"/>
                <a:gd name="T19" fmla="*/ 2147483647 h 121"/>
                <a:gd name="T20" fmla="*/ 2147483647 w 50"/>
                <a:gd name="T21" fmla="*/ 2147483647 h 121"/>
                <a:gd name="T22" fmla="*/ 2147483647 w 50"/>
                <a:gd name="T23" fmla="*/ 0 h 121"/>
                <a:gd name="T24" fmla="*/ 0 w 50"/>
                <a:gd name="T25" fmla="*/ 2147483647 h 121"/>
                <a:gd name="T26" fmla="*/ 2147483647 w 50"/>
                <a:gd name="T27" fmla="*/ 2147483647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121">
                  <a:moveTo>
                    <a:pt x="12" y="44"/>
                  </a:moveTo>
                  <a:lnTo>
                    <a:pt x="18" y="54"/>
                  </a:lnTo>
                  <a:lnTo>
                    <a:pt x="18" y="66"/>
                  </a:lnTo>
                  <a:lnTo>
                    <a:pt x="25" y="121"/>
                  </a:lnTo>
                  <a:lnTo>
                    <a:pt x="31" y="121"/>
                  </a:lnTo>
                  <a:lnTo>
                    <a:pt x="31" y="98"/>
                  </a:lnTo>
                  <a:lnTo>
                    <a:pt x="31" y="77"/>
                  </a:lnTo>
                  <a:lnTo>
                    <a:pt x="50" y="66"/>
                  </a:lnTo>
                  <a:lnTo>
                    <a:pt x="43" y="54"/>
                  </a:lnTo>
                  <a:lnTo>
                    <a:pt x="37" y="21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12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20" name="Freeform 1099"/>
            <p:cNvSpPr>
              <a:spLocks/>
            </p:cNvSpPr>
            <p:nvPr>
              <p:custDataLst>
                <p:tags r:id="rId928"/>
              </p:custDataLst>
            </p:nvPr>
          </p:nvSpPr>
          <p:spPr bwMode="auto">
            <a:xfrm>
              <a:off x="6782924" y="3466670"/>
              <a:ext cx="92225" cy="95250"/>
            </a:xfrm>
            <a:custGeom>
              <a:avLst/>
              <a:gdLst>
                <a:gd name="T0" fmla="*/ 2147483647 w 50"/>
                <a:gd name="T1" fmla="*/ 2147483647 h 121"/>
                <a:gd name="T2" fmla="*/ 2147483647 w 50"/>
                <a:gd name="T3" fmla="*/ 2147483647 h 121"/>
                <a:gd name="T4" fmla="*/ 2147483647 w 50"/>
                <a:gd name="T5" fmla="*/ 2147483647 h 121"/>
                <a:gd name="T6" fmla="*/ 2147483647 w 50"/>
                <a:gd name="T7" fmla="*/ 2147483647 h 121"/>
                <a:gd name="T8" fmla="*/ 2147483647 w 50"/>
                <a:gd name="T9" fmla="*/ 2147483647 h 121"/>
                <a:gd name="T10" fmla="*/ 2147483647 w 50"/>
                <a:gd name="T11" fmla="*/ 2147483647 h 121"/>
                <a:gd name="T12" fmla="*/ 2147483647 w 50"/>
                <a:gd name="T13" fmla="*/ 2147483647 h 121"/>
                <a:gd name="T14" fmla="*/ 2147483647 w 50"/>
                <a:gd name="T15" fmla="*/ 2147483647 h 121"/>
                <a:gd name="T16" fmla="*/ 2147483647 w 50"/>
                <a:gd name="T17" fmla="*/ 2147483647 h 121"/>
                <a:gd name="T18" fmla="*/ 2147483647 w 50"/>
                <a:gd name="T19" fmla="*/ 2147483647 h 121"/>
                <a:gd name="T20" fmla="*/ 2147483647 w 50"/>
                <a:gd name="T21" fmla="*/ 2147483647 h 121"/>
                <a:gd name="T22" fmla="*/ 2147483647 w 50"/>
                <a:gd name="T23" fmla="*/ 0 h 121"/>
                <a:gd name="T24" fmla="*/ 0 w 50"/>
                <a:gd name="T25" fmla="*/ 2147483647 h 121"/>
                <a:gd name="T26" fmla="*/ 2147483647 w 50"/>
                <a:gd name="T27" fmla="*/ 2147483647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121">
                  <a:moveTo>
                    <a:pt x="12" y="44"/>
                  </a:moveTo>
                  <a:lnTo>
                    <a:pt x="18" y="54"/>
                  </a:lnTo>
                  <a:lnTo>
                    <a:pt x="18" y="66"/>
                  </a:lnTo>
                  <a:lnTo>
                    <a:pt x="25" y="121"/>
                  </a:lnTo>
                  <a:lnTo>
                    <a:pt x="31" y="121"/>
                  </a:lnTo>
                  <a:lnTo>
                    <a:pt x="31" y="98"/>
                  </a:lnTo>
                  <a:lnTo>
                    <a:pt x="31" y="77"/>
                  </a:lnTo>
                  <a:lnTo>
                    <a:pt x="50" y="66"/>
                  </a:lnTo>
                  <a:lnTo>
                    <a:pt x="43" y="54"/>
                  </a:lnTo>
                  <a:lnTo>
                    <a:pt x="37" y="21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12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21" name="Freeform 1100"/>
            <p:cNvSpPr>
              <a:spLocks/>
            </p:cNvSpPr>
            <p:nvPr>
              <p:custDataLst>
                <p:tags r:id="rId929"/>
              </p:custDataLst>
            </p:nvPr>
          </p:nvSpPr>
          <p:spPr bwMode="auto">
            <a:xfrm>
              <a:off x="6782924" y="3466670"/>
              <a:ext cx="92225" cy="95250"/>
            </a:xfrm>
            <a:custGeom>
              <a:avLst/>
              <a:gdLst>
                <a:gd name="T0" fmla="*/ 2147483647 w 50"/>
                <a:gd name="T1" fmla="*/ 2147483647 h 121"/>
                <a:gd name="T2" fmla="*/ 2147483647 w 50"/>
                <a:gd name="T3" fmla="*/ 2147483647 h 121"/>
                <a:gd name="T4" fmla="*/ 2147483647 w 50"/>
                <a:gd name="T5" fmla="*/ 2147483647 h 121"/>
                <a:gd name="T6" fmla="*/ 2147483647 w 50"/>
                <a:gd name="T7" fmla="*/ 2147483647 h 121"/>
                <a:gd name="T8" fmla="*/ 2147483647 w 50"/>
                <a:gd name="T9" fmla="*/ 2147483647 h 121"/>
                <a:gd name="T10" fmla="*/ 2147483647 w 50"/>
                <a:gd name="T11" fmla="*/ 2147483647 h 121"/>
                <a:gd name="T12" fmla="*/ 2147483647 w 50"/>
                <a:gd name="T13" fmla="*/ 2147483647 h 121"/>
                <a:gd name="T14" fmla="*/ 2147483647 w 50"/>
                <a:gd name="T15" fmla="*/ 2147483647 h 121"/>
                <a:gd name="T16" fmla="*/ 2147483647 w 50"/>
                <a:gd name="T17" fmla="*/ 2147483647 h 121"/>
                <a:gd name="T18" fmla="*/ 2147483647 w 50"/>
                <a:gd name="T19" fmla="*/ 2147483647 h 121"/>
                <a:gd name="T20" fmla="*/ 2147483647 w 50"/>
                <a:gd name="T21" fmla="*/ 2147483647 h 121"/>
                <a:gd name="T22" fmla="*/ 2147483647 w 50"/>
                <a:gd name="T23" fmla="*/ 0 h 121"/>
                <a:gd name="T24" fmla="*/ 0 w 50"/>
                <a:gd name="T25" fmla="*/ 2147483647 h 121"/>
                <a:gd name="T26" fmla="*/ 2147483647 w 50"/>
                <a:gd name="T27" fmla="*/ 2147483647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50" h="121">
                  <a:moveTo>
                    <a:pt x="12" y="44"/>
                  </a:moveTo>
                  <a:lnTo>
                    <a:pt x="18" y="54"/>
                  </a:lnTo>
                  <a:lnTo>
                    <a:pt x="18" y="66"/>
                  </a:lnTo>
                  <a:lnTo>
                    <a:pt x="25" y="121"/>
                  </a:lnTo>
                  <a:lnTo>
                    <a:pt x="31" y="121"/>
                  </a:lnTo>
                  <a:lnTo>
                    <a:pt x="31" y="98"/>
                  </a:lnTo>
                  <a:lnTo>
                    <a:pt x="31" y="77"/>
                  </a:lnTo>
                  <a:lnTo>
                    <a:pt x="50" y="66"/>
                  </a:lnTo>
                  <a:lnTo>
                    <a:pt x="43" y="54"/>
                  </a:lnTo>
                  <a:lnTo>
                    <a:pt x="37" y="21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0" y="10"/>
                  </a:lnTo>
                  <a:lnTo>
                    <a:pt x="12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22" name="Freeform 1101"/>
            <p:cNvSpPr>
              <a:spLocks/>
            </p:cNvSpPr>
            <p:nvPr>
              <p:custDataLst>
                <p:tags r:id="rId930"/>
              </p:custDataLst>
            </p:nvPr>
          </p:nvSpPr>
          <p:spPr bwMode="auto">
            <a:xfrm>
              <a:off x="7127761" y="3596857"/>
              <a:ext cx="210515" cy="79375"/>
            </a:xfrm>
            <a:custGeom>
              <a:avLst/>
              <a:gdLst>
                <a:gd name="T0" fmla="*/ 0 w 113"/>
                <a:gd name="T1" fmla="*/ 0 h 100"/>
                <a:gd name="T2" fmla="*/ 2147483647 w 113"/>
                <a:gd name="T3" fmla="*/ 0 h 100"/>
                <a:gd name="T4" fmla="*/ 2147483647 w 113"/>
                <a:gd name="T5" fmla="*/ 2147483647 h 100"/>
                <a:gd name="T6" fmla="*/ 2147483647 w 113"/>
                <a:gd name="T7" fmla="*/ 2147483647 h 100"/>
                <a:gd name="T8" fmla="*/ 2147483647 w 113"/>
                <a:gd name="T9" fmla="*/ 2147483647 h 100"/>
                <a:gd name="T10" fmla="*/ 2147483647 w 113"/>
                <a:gd name="T11" fmla="*/ 2147483647 h 100"/>
                <a:gd name="T12" fmla="*/ 2147483647 w 113"/>
                <a:gd name="T13" fmla="*/ 2147483647 h 100"/>
                <a:gd name="T14" fmla="*/ 2147483647 w 113"/>
                <a:gd name="T15" fmla="*/ 2147483647 h 100"/>
                <a:gd name="T16" fmla="*/ 2147483647 w 113"/>
                <a:gd name="T17" fmla="*/ 2147483647 h 100"/>
                <a:gd name="T18" fmla="*/ 2147483647 w 113"/>
                <a:gd name="T19" fmla="*/ 2147483647 h 100"/>
                <a:gd name="T20" fmla="*/ 2147483647 w 113"/>
                <a:gd name="T21" fmla="*/ 2147483647 h 100"/>
                <a:gd name="T22" fmla="*/ 2147483647 w 113"/>
                <a:gd name="T23" fmla="*/ 2147483647 h 100"/>
                <a:gd name="T24" fmla="*/ 2147483647 w 113"/>
                <a:gd name="T25" fmla="*/ 2147483647 h 100"/>
                <a:gd name="T26" fmla="*/ 2147483647 w 113"/>
                <a:gd name="T27" fmla="*/ 2147483647 h 100"/>
                <a:gd name="T28" fmla="*/ 2147483647 w 113"/>
                <a:gd name="T29" fmla="*/ 2147483647 h 100"/>
                <a:gd name="T30" fmla="*/ 2147483647 w 113"/>
                <a:gd name="T31" fmla="*/ 2147483647 h 100"/>
                <a:gd name="T32" fmla="*/ 2147483647 w 113"/>
                <a:gd name="T33" fmla="*/ 2147483647 h 100"/>
                <a:gd name="T34" fmla="*/ 2147483647 w 113"/>
                <a:gd name="T35" fmla="*/ 2147483647 h 100"/>
                <a:gd name="T36" fmla="*/ 2147483647 w 113"/>
                <a:gd name="T37" fmla="*/ 2147483647 h 100"/>
                <a:gd name="T38" fmla="*/ 2147483647 w 113"/>
                <a:gd name="T39" fmla="*/ 2147483647 h 100"/>
                <a:gd name="T40" fmla="*/ 2147483647 w 113"/>
                <a:gd name="T41" fmla="*/ 2147483647 h 100"/>
                <a:gd name="T42" fmla="*/ 0 w 113"/>
                <a:gd name="T43" fmla="*/ 0 h 1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13" h="100">
                  <a:moveTo>
                    <a:pt x="0" y="0"/>
                  </a:moveTo>
                  <a:lnTo>
                    <a:pt x="25" y="0"/>
                  </a:lnTo>
                  <a:lnTo>
                    <a:pt x="56" y="22"/>
                  </a:lnTo>
                  <a:lnTo>
                    <a:pt x="69" y="45"/>
                  </a:lnTo>
                  <a:lnTo>
                    <a:pt x="82" y="45"/>
                  </a:lnTo>
                  <a:lnTo>
                    <a:pt x="88" y="35"/>
                  </a:lnTo>
                  <a:lnTo>
                    <a:pt x="94" y="35"/>
                  </a:lnTo>
                  <a:lnTo>
                    <a:pt x="100" y="56"/>
                  </a:lnTo>
                  <a:lnTo>
                    <a:pt x="113" y="56"/>
                  </a:lnTo>
                  <a:lnTo>
                    <a:pt x="113" y="66"/>
                  </a:lnTo>
                  <a:lnTo>
                    <a:pt x="113" y="91"/>
                  </a:lnTo>
                  <a:lnTo>
                    <a:pt x="113" y="100"/>
                  </a:lnTo>
                  <a:lnTo>
                    <a:pt x="100" y="79"/>
                  </a:lnTo>
                  <a:lnTo>
                    <a:pt x="94" y="79"/>
                  </a:lnTo>
                  <a:lnTo>
                    <a:pt x="88" y="79"/>
                  </a:lnTo>
                  <a:lnTo>
                    <a:pt x="88" y="100"/>
                  </a:lnTo>
                  <a:lnTo>
                    <a:pt x="75" y="91"/>
                  </a:lnTo>
                  <a:lnTo>
                    <a:pt x="63" y="100"/>
                  </a:lnTo>
                  <a:lnTo>
                    <a:pt x="44" y="100"/>
                  </a:lnTo>
                  <a:lnTo>
                    <a:pt x="44" y="56"/>
                  </a:lnTo>
                  <a:lnTo>
                    <a:pt x="19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23" name="Freeform 1102"/>
            <p:cNvSpPr>
              <a:spLocks/>
            </p:cNvSpPr>
            <p:nvPr>
              <p:custDataLst>
                <p:tags r:id="rId931"/>
              </p:custDataLst>
            </p:nvPr>
          </p:nvSpPr>
          <p:spPr bwMode="auto">
            <a:xfrm>
              <a:off x="7127761" y="3596857"/>
              <a:ext cx="210515" cy="79375"/>
            </a:xfrm>
            <a:custGeom>
              <a:avLst/>
              <a:gdLst>
                <a:gd name="T0" fmla="*/ 0 w 113"/>
                <a:gd name="T1" fmla="*/ 0 h 100"/>
                <a:gd name="T2" fmla="*/ 2147483647 w 113"/>
                <a:gd name="T3" fmla="*/ 0 h 100"/>
                <a:gd name="T4" fmla="*/ 2147483647 w 113"/>
                <a:gd name="T5" fmla="*/ 2147483647 h 100"/>
                <a:gd name="T6" fmla="*/ 2147483647 w 113"/>
                <a:gd name="T7" fmla="*/ 2147483647 h 100"/>
                <a:gd name="T8" fmla="*/ 2147483647 w 113"/>
                <a:gd name="T9" fmla="*/ 2147483647 h 100"/>
                <a:gd name="T10" fmla="*/ 2147483647 w 113"/>
                <a:gd name="T11" fmla="*/ 2147483647 h 100"/>
                <a:gd name="T12" fmla="*/ 2147483647 w 113"/>
                <a:gd name="T13" fmla="*/ 2147483647 h 100"/>
                <a:gd name="T14" fmla="*/ 2147483647 w 113"/>
                <a:gd name="T15" fmla="*/ 2147483647 h 100"/>
                <a:gd name="T16" fmla="*/ 2147483647 w 113"/>
                <a:gd name="T17" fmla="*/ 2147483647 h 100"/>
                <a:gd name="T18" fmla="*/ 2147483647 w 113"/>
                <a:gd name="T19" fmla="*/ 2147483647 h 100"/>
                <a:gd name="T20" fmla="*/ 2147483647 w 113"/>
                <a:gd name="T21" fmla="*/ 2147483647 h 100"/>
                <a:gd name="T22" fmla="*/ 2147483647 w 113"/>
                <a:gd name="T23" fmla="*/ 2147483647 h 100"/>
                <a:gd name="T24" fmla="*/ 2147483647 w 113"/>
                <a:gd name="T25" fmla="*/ 2147483647 h 100"/>
                <a:gd name="T26" fmla="*/ 2147483647 w 113"/>
                <a:gd name="T27" fmla="*/ 2147483647 h 100"/>
                <a:gd name="T28" fmla="*/ 2147483647 w 113"/>
                <a:gd name="T29" fmla="*/ 2147483647 h 100"/>
                <a:gd name="T30" fmla="*/ 2147483647 w 113"/>
                <a:gd name="T31" fmla="*/ 2147483647 h 100"/>
                <a:gd name="T32" fmla="*/ 2147483647 w 113"/>
                <a:gd name="T33" fmla="*/ 2147483647 h 100"/>
                <a:gd name="T34" fmla="*/ 2147483647 w 113"/>
                <a:gd name="T35" fmla="*/ 2147483647 h 100"/>
                <a:gd name="T36" fmla="*/ 2147483647 w 113"/>
                <a:gd name="T37" fmla="*/ 2147483647 h 100"/>
                <a:gd name="T38" fmla="*/ 2147483647 w 113"/>
                <a:gd name="T39" fmla="*/ 2147483647 h 100"/>
                <a:gd name="T40" fmla="*/ 2147483647 w 113"/>
                <a:gd name="T41" fmla="*/ 2147483647 h 100"/>
                <a:gd name="T42" fmla="*/ 0 w 113"/>
                <a:gd name="T43" fmla="*/ 0 h 1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13" h="100">
                  <a:moveTo>
                    <a:pt x="0" y="0"/>
                  </a:moveTo>
                  <a:lnTo>
                    <a:pt x="25" y="0"/>
                  </a:lnTo>
                  <a:lnTo>
                    <a:pt x="56" y="22"/>
                  </a:lnTo>
                  <a:lnTo>
                    <a:pt x="69" y="45"/>
                  </a:lnTo>
                  <a:lnTo>
                    <a:pt x="82" y="45"/>
                  </a:lnTo>
                  <a:lnTo>
                    <a:pt x="88" y="35"/>
                  </a:lnTo>
                  <a:lnTo>
                    <a:pt x="94" y="35"/>
                  </a:lnTo>
                  <a:lnTo>
                    <a:pt x="100" y="56"/>
                  </a:lnTo>
                  <a:lnTo>
                    <a:pt x="113" y="56"/>
                  </a:lnTo>
                  <a:lnTo>
                    <a:pt x="113" y="66"/>
                  </a:lnTo>
                  <a:lnTo>
                    <a:pt x="113" y="91"/>
                  </a:lnTo>
                  <a:lnTo>
                    <a:pt x="113" y="100"/>
                  </a:lnTo>
                  <a:lnTo>
                    <a:pt x="100" y="79"/>
                  </a:lnTo>
                  <a:lnTo>
                    <a:pt x="94" y="79"/>
                  </a:lnTo>
                  <a:lnTo>
                    <a:pt x="88" y="79"/>
                  </a:lnTo>
                  <a:lnTo>
                    <a:pt x="88" y="100"/>
                  </a:lnTo>
                  <a:lnTo>
                    <a:pt x="75" y="91"/>
                  </a:lnTo>
                  <a:lnTo>
                    <a:pt x="63" y="100"/>
                  </a:lnTo>
                  <a:lnTo>
                    <a:pt x="44" y="100"/>
                  </a:lnTo>
                  <a:lnTo>
                    <a:pt x="44" y="56"/>
                  </a:lnTo>
                  <a:lnTo>
                    <a:pt x="19" y="22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24" name="Freeform 1103"/>
            <p:cNvSpPr>
              <a:spLocks/>
            </p:cNvSpPr>
            <p:nvPr>
              <p:custDataLst>
                <p:tags r:id="rId932"/>
              </p:custDataLst>
            </p:nvPr>
          </p:nvSpPr>
          <p:spPr bwMode="auto">
            <a:xfrm>
              <a:off x="7127761" y="3596857"/>
              <a:ext cx="210515" cy="79375"/>
            </a:xfrm>
            <a:custGeom>
              <a:avLst/>
              <a:gdLst>
                <a:gd name="T0" fmla="*/ 0 w 113"/>
                <a:gd name="T1" fmla="*/ 0 h 100"/>
                <a:gd name="T2" fmla="*/ 2147483647 w 113"/>
                <a:gd name="T3" fmla="*/ 0 h 100"/>
                <a:gd name="T4" fmla="*/ 2147483647 w 113"/>
                <a:gd name="T5" fmla="*/ 2147483647 h 100"/>
                <a:gd name="T6" fmla="*/ 2147483647 w 113"/>
                <a:gd name="T7" fmla="*/ 2147483647 h 100"/>
                <a:gd name="T8" fmla="*/ 2147483647 w 113"/>
                <a:gd name="T9" fmla="*/ 2147483647 h 100"/>
                <a:gd name="T10" fmla="*/ 2147483647 w 113"/>
                <a:gd name="T11" fmla="*/ 2147483647 h 100"/>
                <a:gd name="T12" fmla="*/ 2147483647 w 113"/>
                <a:gd name="T13" fmla="*/ 2147483647 h 100"/>
                <a:gd name="T14" fmla="*/ 2147483647 w 113"/>
                <a:gd name="T15" fmla="*/ 2147483647 h 100"/>
                <a:gd name="T16" fmla="*/ 2147483647 w 113"/>
                <a:gd name="T17" fmla="*/ 2147483647 h 100"/>
                <a:gd name="T18" fmla="*/ 2147483647 w 113"/>
                <a:gd name="T19" fmla="*/ 2147483647 h 100"/>
                <a:gd name="T20" fmla="*/ 2147483647 w 113"/>
                <a:gd name="T21" fmla="*/ 2147483647 h 100"/>
                <a:gd name="T22" fmla="*/ 2147483647 w 113"/>
                <a:gd name="T23" fmla="*/ 2147483647 h 100"/>
                <a:gd name="T24" fmla="*/ 2147483647 w 113"/>
                <a:gd name="T25" fmla="*/ 2147483647 h 100"/>
                <a:gd name="T26" fmla="*/ 2147483647 w 113"/>
                <a:gd name="T27" fmla="*/ 2147483647 h 100"/>
                <a:gd name="T28" fmla="*/ 2147483647 w 113"/>
                <a:gd name="T29" fmla="*/ 2147483647 h 100"/>
                <a:gd name="T30" fmla="*/ 2147483647 w 113"/>
                <a:gd name="T31" fmla="*/ 2147483647 h 100"/>
                <a:gd name="T32" fmla="*/ 2147483647 w 113"/>
                <a:gd name="T33" fmla="*/ 2147483647 h 100"/>
                <a:gd name="T34" fmla="*/ 2147483647 w 113"/>
                <a:gd name="T35" fmla="*/ 2147483647 h 100"/>
                <a:gd name="T36" fmla="*/ 2147483647 w 113"/>
                <a:gd name="T37" fmla="*/ 2147483647 h 100"/>
                <a:gd name="T38" fmla="*/ 2147483647 w 113"/>
                <a:gd name="T39" fmla="*/ 2147483647 h 100"/>
                <a:gd name="T40" fmla="*/ 2147483647 w 113"/>
                <a:gd name="T41" fmla="*/ 2147483647 h 100"/>
                <a:gd name="T42" fmla="*/ 0 w 113"/>
                <a:gd name="T43" fmla="*/ 0 h 1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13" h="100">
                  <a:moveTo>
                    <a:pt x="0" y="0"/>
                  </a:moveTo>
                  <a:lnTo>
                    <a:pt x="25" y="0"/>
                  </a:lnTo>
                  <a:lnTo>
                    <a:pt x="56" y="22"/>
                  </a:lnTo>
                  <a:lnTo>
                    <a:pt x="69" y="45"/>
                  </a:lnTo>
                  <a:lnTo>
                    <a:pt x="82" y="45"/>
                  </a:lnTo>
                  <a:lnTo>
                    <a:pt x="88" y="35"/>
                  </a:lnTo>
                  <a:lnTo>
                    <a:pt x="94" y="35"/>
                  </a:lnTo>
                  <a:lnTo>
                    <a:pt x="100" y="56"/>
                  </a:lnTo>
                  <a:lnTo>
                    <a:pt x="113" y="56"/>
                  </a:lnTo>
                  <a:lnTo>
                    <a:pt x="113" y="66"/>
                  </a:lnTo>
                  <a:lnTo>
                    <a:pt x="113" y="91"/>
                  </a:lnTo>
                  <a:lnTo>
                    <a:pt x="113" y="100"/>
                  </a:lnTo>
                  <a:lnTo>
                    <a:pt x="100" y="79"/>
                  </a:lnTo>
                  <a:lnTo>
                    <a:pt x="94" y="79"/>
                  </a:lnTo>
                  <a:lnTo>
                    <a:pt x="88" y="79"/>
                  </a:lnTo>
                  <a:lnTo>
                    <a:pt x="88" y="100"/>
                  </a:lnTo>
                  <a:lnTo>
                    <a:pt x="75" y="91"/>
                  </a:lnTo>
                  <a:lnTo>
                    <a:pt x="63" y="100"/>
                  </a:lnTo>
                  <a:lnTo>
                    <a:pt x="44" y="100"/>
                  </a:lnTo>
                  <a:lnTo>
                    <a:pt x="44" y="56"/>
                  </a:lnTo>
                  <a:lnTo>
                    <a:pt x="19" y="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25" name="Freeform 1104"/>
            <p:cNvSpPr>
              <a:spLocks/>
            </p:cNvSpPr>
            <p:nvPr>
              <p:custDataLst>
                <p:tags r:id="rId933"/>
              </p:custDataLst>
            </p:nvPr>
          </p:nvSpPr>
          <p:spPr bwMode="auto">
            <a:xfrm>
              <a:off x="7127761" y="3596857"/>
              <a:ext cx="210515" cy="79375"/>
            </a:xfrm>
            <a:custGeom>
              <a:avLst/>
              <a:gdLst>
                <a:gd name="T0" fmla="*/ 0 w 113"/>
                <a:gd name="T1" fmla="*/ 0 h 100"/>
                <a:gd name="T2" fmla="*/ 2147483647 w 113"/>
                <a:gd name="T3" fmla="*/ 0 h 100"/>
                <a:gd name="T4" fmla="*/ 2147483647 w 113"/>
                <a:gd name="T5" fmla="*/ 2147483647 h 100"/>
                <a:gd name="T6" fmla="*/ 2147483647 w 113"/>
                <a:gd name="T7" fmla="*/ 2147483647 h 100"/>
                <a:gd name="T8" fmla="*/ 2147483647 w 113"/>
                <a:gd name="T9" fmla="*/ 2147483647 h 100"/>
                <a:gd name="T10" fmla="*/ 2147483647 w 113"/>
                <a:gd name="T11" fmla="*/ 2147483647 h 100"/>
                <a:gd name="T12" fmla="*/ 2147483647 w 113"/>
                <a:gd name="T13" fmla="*/ 2147483647 h 100"/>
                <a:gd name="T14" fmla="*/ 2147483647 w 113"/>
                <a:gd name="T15" fmla="*/ 2147483647 h 100"/>
                <a:gd name="T16" fmla="*/ 2147483647 w 113"/>
                <a:gd name="T17" fmla="*/ 2147483647 h 100"/>
                <a:gd name="T18" fmla="*/ 2147483647 w 113"/>
                <a:gd name="T19" fmla="*/ 2147483647 h 100"/>
                <a:gd name="T20" fmla="*/ 2147483647 w 113"/>
                <a:gd name="T21" fmla="*/ 2147483647 h 100"/>
                <a:gd name="T22" fmla="*/ 2147483647 w 113"/>
                <a:gd name="T23" fmla="*/ 2147483647 h 100"/>
                <a:gd name="T24" fmla="*/ 2147483647 w 113"/>
                <a:gd name="T25" fmla="*/ 2147483647 h 100"/>
                <a:gd name="T26" fmla="*/ 2147483647 w 113"/>
                <a:gd name="T27" fmla="*/ 2147483647 h 100"/>
                <a:gd name="T28" fmla="*/ 2147483647 w 113"/>
                <a:gd name="T29" fmla="*/ 2147483647 h 100"/>
                <a:gd name="T30" fmla="*/ 2147483647 w 113"/>
                <a:gd name="T31" fmla="*/ 2147483647 h 100"/>
                <a:gd name="T32" fmla="*/ 2147483647 w 113"/>
                <a:gd name="T33" fmla="*/ 2147483647 h 100"/>
                <a:gd name="T34" fmla="*/ 2147483647 w 113"/>
                <a:gd name="T35" fmla="*/ 2147483647 h 100"/>
                <a:gd name="T36" fmla="*/ 2147483647 w 113"/>
                <a:gd name="T37" fmla="*/ 2147483647 h 100"/>
                <a:gd name="T38" fmla="*/ 2147483647 w 113"/>
                <a:gd name="T39" fmla="*/ 2147483647 h 100"/>
                <a:gd name="T40" fmla="*/ 2147483647 w 113"/>
                <a:gd name="T41" fmla="*/ 2147483647 h 100"/>
                <a:gd name="T42" fmla="*/ 0 w 113"/>
                <a:gd name="T43" fmla="*/ 0 h 10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13" h="100">
                  <a:moveTo>
                    <a:pt x="0" y="0"/>
                  </a:moveTo>
                  <a:lnTo>
                    <a:pt x="25" y="0"/>
                  </a:lnTo>
                  <a:lnTo>
                    <a:pt x="56" y="22"/>
                  </a:lnTo>
                  <a:lnTo>
                    <a:pt x="69" y="45"/>
                  </a:lnTo>
                  <a:lnTo>
                    <a:pt x="82" y="45"/>
                  </a:lnTo>
                  <a:lnTo>
                    <a:pt x="88" y="35"/>
                  </a:lnTo>
                  <a:lnTo>
                    <a:pt x="94" y="35"/>
                  </a:lnTo>
                  <a:lnTo>
                    <a:pt x="100" y="56"/>
                  </a:lnTo>
                  <a:lnTo>
                    <a:pt x="113" y="56"/>
                  </a:lnTo>
                  <a:lnTo>
                    <a:pt x="113" y="66"/>
                  </a:lnTo>
                  <a:lnTo>
                    <a:pt x="113" y="91"/>
                  </a:lnTo>
                  <a:lnTo>
                    <a:pt x="113" y="100"/>
                  </a:lnTo>
                  <a:lnTo>
                    <a:pt x="100" y="79"/>
                  </a:lnTo>
                  <a:lnTo>
                    <a:pt x="94" y="79"/>
                  </a:lnTo>
                  <a:lnTo>
                    <a:pt x="88" y="79"/>
                  </a:lnTo>
                  <a:lnTo>
                    <a:pt x="88" y="100"/>
                  </a:lnTo>
                  <a:lnTo>
                    <a:pt x="75" y="91"/>
                  </a:lnTo>
                  <a:lnTo>
                    <a:pt x="63" y="100"/>
                  </a:lnTo>
                  <a:lnTo>
                    <a:pt x="44" y="100"/>
                  </a:lnTo>
                  <a:lnTo>
                    <a:pt x="44" y="56"/>
                  </a:lnTo>
                  <a:lnTo>
                    <a:pt x="19" y="22"/>
                  </a:lnTo>
                  <a:lnTo>
                    <a:pt x="0" y="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26" name="Freeform 1105"/>
            <p:cNvSpPr>
              <a:spLocks/>
            </p:cNvSpPr>
            <p:nvPr>
              <p:custDataLst>
                <p:tags r:id="rId934"/>
              </p:custDataLst>
            </p:nvPr>
          </p:nvSpPr>
          <p:spPr bwMode="auto">
            <a:xfrm>
              <a:off x="7292166" y="3641295"/>
              <a:ext cx="174427" cy="133350"/>
            </a:xfrm>
            <a:custGeom>
              <a:avLst/>
              <a:gdLst>
                <a:gd name="T0" fmla="*/ 2147483647 w 95"/>
                <a:gd name="T1" fmla="*/ 2147483647 h 167"/>
                <a:gd name="T2" fmla="*/ 2147483647 w 95"/>
                <a:gd name="T3" fmla="*/ 2147483647 h 167"/>
                <a:gd name="T4" fmla="*/ 2147483647 w 95"/>
                <a:gd name="T5" fmla="*/ 2147483647 h 167"/>
                <a:gd name="T6" fmla="*/ 2147483647 w 95"/>
                <a:gd name="T7" fmla="*/ 2147483647 h 167"/>
                <a:gd name="T8" fmla="*/ 2147483647 w 95"/>
                <a:gd name="T9" fmla="*/ 2147483647 h 167"/>
                <a:gd name="T10" fmla="*/ 2147483647 w 95"/>
                <a:gd name="T11" fmla="*/ 2147483647 h 167"/>
                <a:gd name="T12" fmla="*/ 2147483647 w 95"/>
                <a:gd name="T13" fmla="*/ 2147483647 h 167"/>
                <a:gd name="T14" fmla="*/ 2147483647 w 95"/>
                <a:gd name="T15" fmla="*/ 2147483647 h 167"/>
                <a:gd name="T16" fmla="*/ 2147483647 w 95"/>
                <a:gd name="T17" fmla="*/ 2147483647 h 167"/>
                <a:gd name="T18" fmla="*/ 2147483647 w 95"/>
                <a:gd name="T19" fmla="*/ 2147483647 h 167"/>
                <a:gd name="T20" fmla="*/ 2147483647 w 95"/>
                <a:gd name="T21" fmla="*/ 2147483647 h 167"/>
                <a:gd name="T22" fmla="*/ 2147483647 w 95"/>
                <a:gd name="T23" fmla="*/ 2147483647 h 167"/>
                <a:gd name="T24" fmla="*/ 2147483647 w 95"/>
                <a:gd name="T25" fmla="*/ 2147483647 h 167"/>
                <a:gd name="T26" fmla="*/ 2147483647 w 95"/>
                <a:gd name="T27" fmla="*/ 2147483647 h 167"/>
                <a:gd name="T28" fmla="*/ 2147483647 w 95"/>
                <a:gd name="T29" fmla="*/ 2147483647 h 167"/>
                <a:gd name="T30" fmla="*/ 2147483647 w 95"/>
                <a:gd name="T31" fmla="*/ 2147483647 h 167"/>
                <a:gd name="T32" fmla="*/ 2147483647 w 95"/>
                <a:gd name="T33" fmla="*/ 2147483647 h 167"/>
                <a:gd name="T34" fmla="*/ 2147483647 w 95"/>
                <a:gd name="T35" fmla="*/ 2147483647 h 167"/>
                <a:gd name="T36" fmla="*/ 2147483647 w 95"/>
                <a:gd name="T37" fmla="*/ 2147483647 h 167"/>
                <a:gd name="T38" fmla="*/ 2147483647 w 95"/>
                <a:gd name="T39" fmla="*/ 2147483647 h 167"/>
                <a:gd name="T40" fmla="*/ 2147483647 w 95"/>
                <a:gd name="T41" fmla="*/ 2147483647 h 167"/>
                <a:gd name="T42" fmla="*/ 2147483647 w 95"/>
                <a:gd name="T43" fmla="*/ 2147483647 h 167"/>
                <a:gd name="T44" fmla="*/ 2147483647 w 95"/>
                <a:gd name="T45" fmla="*/ 2147483647 h 167"/>
                <a:gd name="T46" fmla="*/ 2147483647 w 95"/>
                <a:gd name="T47" fmla="*/ 2147483647 h 167"/>
                <a:gd name="T48" fmla="*/ 2147483647 w 95"/>
                <a:gd name="T49" fmla="*/ 2147483647 h 167"/>
                <a:gd name="T50" fmla="*/ 2147483647 w 95"/>
                <a:gd name="T51" fmla="*/ 2147483647 h 167"/>
                <a:gd name="T52" fmla="*/ 0 w 95"/>
                <a:gd name="T53" fmla="*/ 2147483647 h 167"/>
                <a:gd name="T54" fmla="*/ 0 w 95"/>
                <a:gd name="T55" fmla="*/ 2147483647 h 167"/>
                <a:gd name="T56" fmla="*/ 0 w 95"/>
                <a:gd name="T57" fmla="*/ 2147483647 h 167"/>
                <a:gd name="T58" fmla="*/ 2147483647 w 95"/>
                <a:gd name="T59" fmla="*/ 2147483647 h 167"/>
                <a:gd name="T60" fmla="*/ 2147483647 w 95"/>
                <a:gd name="T61" fmla="*/ 2147483647 h 167"/>
                <a:gd name="T62" fmla="*/ 2147483647 w 95"/>
                <a:gd name="T63" fmla="*/ 2147483647 h 167"/>
                <a:gd name="T64" fmla="*/ 2147483647 w 95"/>
                <a:gd name="T65" fmla="*/ 2147483647 h 167"/>
                <a:gd name="T66" fmla="*/ 2147483647 w 95"/>
                <a:gd name="T67" fmla="*/ 2147483647 h 167"/>
                <a:gd name="T68" fmla="*/ 2147483647 w 95"/>
                <a:gd name="T69" fmla="*/ 0 h 167"/>
                <a:gd name="T70" fmla="*/ 2147483647 w 95"/>
                <a:gd name="T71" fmla="*/ 2147483647 h 16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" h="167">
                  <a:moveTo>
                    <a:pt x="31" y="12"/>
                  </a:moveTo>
                  <a:lnTo>
                    <a:pt x="37" y="12"/>
                  </a:lnTo>
                  <a:lnTo>
                    <a:pt x="57" y="12"/>
                  </a:lnTo>
                  <a:lnTo>
                    <a:pt x="69" y="35"/>
                  </a:lnTo>
                  <a:lnTo>
                    <a:pt x="76" y="67"/>
                  </a:lnTo>
                  <a:lnTo>
                    <a:pt x="95" y="88"/>
                  </a:lnTo>
                  <a:lnTo>
                    <a:pt x="87" y="100"/>
                  </a:lnTo>
                  <a:lnTo>
                    <a:pt x="76" y="123"/>
                  </a:lnTo>
                  <a:lnTo>
                    <a:pt x="76" y="133"/>
                  </a:lnTo>
                  <a:lnTo>
                    <a:pt x="76" y="167"/>
                  </a:lnTo>
                  <a:lnTo>
                    <a:pt x="57" y="156"/>
                  </a:lnTo>
                  <a:lnTo>
                    <a:pt x="57" y="123"/>
                  </a:lnTo>
                  <a:lnTo>
                    <a:pt x="45" y="133"/>
                  </a:lnTo>
                  <a:lnTo>
                    <a:pt x="31" y="156"/>
                  </a:lnTo>
                  <a:lnTo>
                    <a:pt x="26" y="144"/>
                  </a:lnTo>
                  <a:lnTo>
                    <a:pt x="12" y="133"/>
                  </a:lnTo>
                  <a:lnTo>
                    <a:pt x="12" y="123"/>
                  </a:lnTo>
                  <a:lnTo>
                    <a:pt x="19" y="100"/>
                  </a:lnTo>
                  <a:lnTo>
                    <a:pt x="19" y="112"/>
                  </a:lnTo>
                  <a:lnTo>
                    <a:pt x="37" y="133"/>
                  </a:lnTo>
                  <a:lnTo>
                    <a:pt x="37" y="123"/>
                  </a:lnTo>
                  <a:lnTo>
                    <a:pt x="26" y="88"/>
                  </a:lnTo>
                  <a:lnTo>
                    <a:pt x="19" y="79"/>
                  </a:lnTo>
                  <a:lnTo>
                    <a:pt x="12" y="67"/>
                  </a:lnTo>
                  <a:lnTo>
                    <a:pt x="12" y="56"/>
                  </a:lnTo>
                  <a:lnTo>
                    <a:pt x="7" y="44"/>
                  </a:lnTo>
                  <a:lnTo>
                    <a:pt x="0" y="44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2" y="23"/>
                  </a:lnTo>
                  <a:lnTo>
                    <a:pt x="26" y="44"/>
                  </a:lnTo>
                  <a:lnTo>
                    <a:pt x="31" y="35"/>
                  </a:lnTo>
                  <a:lnTo>
                    <a:pt x="26" y="12"/>
                  </a:lnTo>
                  <a:lnTo>
                    <a:pt x="26" y="0"/>
                  </a:lnTo>
                  <a:lnTo>
                    <a:pt x="31" y="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27" name="Freeform 1106"/>
            <p:cNvSpPr>
              <a:spLocks/>
            </p:cNvSpPr>
            <p:nvPr>
              <p:custDataLst>
                <p:tags r:id="rId935"/>
              </p:custDataLst>
            </p:nvPr>
          </p:nvSpPr>
          <p:spPr bwMode="auto">
            <a:xfrm>
              <a:off x="7292166" y="3641295"/>
              <a:ext cx="174427" cy="133350"/>
            </a:xfrm>
            <a:custGeom>
              <a:avLst/>
              <a:gdLst>
                <a:gd name="T0" fmla="*/ 2147483647 w 95"/>
                <a:gd name="T1" fmla="*/ 2147483647 h 167"/>
                <a:gd name="T2" fmla="*/ 2147483647 w 95"/>
                <a:gd name="T3" fmla="*/ 2147483647 h 167"/>
                <a:gd name="T4" fmla="*/ 2147483647 w 95"/>
                <a:gd name="T5" fmla="*/ 2147483647 h 167"/>
                <a:gd name="T6" fmla="*/ 2147483647 w 95"/>
                <a:gd name="T7" fmla="*/ 2147483647 h 167"/>
                <a:gd name="T8" fmla="*/ 2147483647 w 95"/>
                <a:gd name="T9" fmla="*/ 2147483647 h 167"/>
                <a:gd name="T10" fmla="*/ 2147483647 w 95"/>
                <a:gd name="T11" fmla="*/ 2147483647 h 167"/>
                <a:gd name="T12" fmla="*/ 2147483647 w 95"/>
                <a:gd name="T13" fmla="*/ 2147483647 h 167"/>
                <a:gd name="T14" fmla="*/ 2147483647 w 95"/>
                <a:gd name="T15" fmla="*/ 2147483647 h 167"/>
                <a:gd name="T16" fmla="*/ 2147483647 w 95"/>
                <a:gd name="T17" fmla="*/ 2147483647 h 167"/>
                <a:gd name="T18" fmla="*/ 2147483647 w 95"/>
                <a:gd name="T19" fmla="*/ 2147483647 h 167"/>
                <a:gd name="T20" fmla="*/ 2147483647 w 95"/>
                <a:gd name="T21" fmla="*/ 2147483647 h 167"/>
                <a:gd name="T22" fmla="*/ 2147483647 w 95"/>
                <a:gd name="T23" fmla="*/ 2147483647 h 167"/>
                <a:gd name="T24" fmla="*/ 2147483647 w 95"/>
                <a:gd name="T25" fmla="*/ 2147483647 h 167"/>
                <a:gd name="T26" fmla="*/ 2147483647 w 95"/>
                <a:gd name="T27" fmla="*/ 2147483647 h 167"/>
                <a:gd name="T28" fmla="*/ 2147483647 w 95"/>
                <a:gd name="T29" fmla="*/ 2147483647 h 167"/>
                <a:gd name="T30" fmla="*/ 2147483647 w 95"/>
                <a:gd name="T31" fmla="*/ 2147483647 h 167"/>
                <a:gd name="T32" fmla="*/ 2147483647 w 95"/>
                <a:gd name="T33" fmla="*/ 2147483647 h 167"/>
                <a:gd name="T34" fmla="*/ 2147483647 w 95"/>
                <a:gd name="T35" fmla="*/ 2147483647 h 167"/>
                <a:gd name="T36" fmla="*/ 2147483647 w 95"/>
                <a:gd name="T37" fmla="*/ 2147483647 h 167"/>
                <a:gd name="T38" fmla="*/ 2147483647 w 95"/>
                <a:gd name="T39" fmla="*/ 2147483647 h 167"/>
                <a:gd name="T40" fmla="*/ 2147483647 w 95"/>
                <a:gd name="T41" fmla="*/ 2147483647 h 167"/>
                <a:gd name="T42" fmla="*/ 2147483647 w 95"/>
                <a:gd name="T43" fmla="*/ 2147483647 h 167"/>
                <a:gd name="T44" fmla="*/ 2147483647 w 95"/>
                <a:gd name="T45" fmla="*/ 2147483647 h 167"/>
                <a:gd name="T46" fmla="*/ 2147483647 w 95"/>
                <a:gd name="T47" fmla="*/ 2147483647 h 167"/>
                <a:gd name="T48" fmla="*/ 2147483647 w 95"/>
                <a:gd name="T49" fmla="*/ 2147483647 h 167"/>
                <a:gd name="T50" fmla="*/ 2147483647 w 95"/>
                <a:gd name="T51" fmla="*/ 2147483647 h 167"/>
                <a:gd name="T52" fmla="*/ 0 w 95"/>
                <a:gd name="T53" fmla="*/ 2147483647 h 167"/>
                <a:gd name="T54" fmla="*/ 0 w 95"/>
                <a:gd name="T55" fmla="*/ 2147483647 h 167"/>
                <a:gd name="T56" fmla="*/ 0 w 95"/>
                <a:gd name="T57" fmla="*/ 2147483647 h 167"/>
                <a:gd name="T58" fmla="*/ 2147483647 w 95"/>
                <a:gd name="T59" fmla="*/ 2147483647 h 167"/>
                <a:gd name="T60" fmla="*/ 2147483647 w 95"/>
                <a:gd name="T61" fmla="*/ 2147483647 h 167"/>
                <a:gd name="T62" fmla="*/ 2147483647 w 95"/>
                <a:gd name="T63" fmla="*/ 2147483647 h 167"/>
                <a:gd name="T64" fmla="*/ 2147483647 w 95"/>
                <a:gd name="T65" fmla="*/ 2147483647 h 167"/>
                <a:gd name="T66" fmla="*/ 2147483647 w 95"/>
                <a:gd name="T67" fmla="*/ 2147483647 h 167"/>
                <a:gd name="T68" fmla="*/ 2147483647 w 95"/>
                <a:gd name="T69" fmla="*/ 0 h 167"/>
                <a:gd name="T70" fmla="*/ 2147483647 w 95"/>
                <a:gd name="T71" fmla="*/ 2147483647 h 16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" h="167">
                  <a:moveTo>
                    <a:pt x="31" y="12"/>
                  </a:moveTo>
                  <a:lnTo>
                    <a:pt x="37" y="12"/>
                  </a:lnTo>
                  <a:lnTo>
                    <a:pt x="57" y="12"/>
                  </a:lnTo>
                  <a:lnTo>
                    <a:pt x="69" y="35"/>
                  </a:lnTo>
                  <a:lnTo>
                    <a:pt x="76" y="67"/>
                  </a:lnTo>
                  <a:lnTo>
                    <a:pt x="95" y="88"/>
                  </a:lnTo>
                  <a:lnTo>
                    <a:pt x="87" y="100"/>
                  </a:lnTo>
                  <a:lnTo>
                    <a:pt x="76" y="123"/>
                  </a:lnTo>
                  <a:lnTo>
                    <a:pt x="76" y="133"/>
                  </a:lnTo>
                  <a:lnTo>
                    <a:pt x="76" y="167"/>
                  </a:lnTo>
                  <a:lnTo>
                    <a:pt x="57" y="156"/>
                  </a:lnTo>
                  <a:lnTo>
                    <a:pt x="57" y="123"/>
                  </a:lnTo>
                  <a:lnTo>
                    <a:pt x="45" y="133"/>
                  </a:lnTo>
                  <a:lnTo>
                    <a:pt x="31" y="156"/>
                  </a:lnTo>
                  <a:lnTo>
                    <a:pt x="26" y="144"/>
                  </a:lnTo>
                  <a:lnTo>
                    <a:pt x="12" y="133"/>
                  </a:lnTo>
                  <a:lnTo>
                    <a:pt x="12" y="123"/>
                  </a:lnTo>
                  <a:lnTo>
                    <a:pt x="19" y="100"/>
                  </a:lnTo>
                  <a:lnTo>
                    <a:pt x="19" y="112"/>
                  </a:lnTo>
                  <a:lnTo>
                    <a:pt x="37" y="133"/>
                  </a:lnTo>
                  <a:lnTo>
                    <a:pt x="37" y="123"/>
                  </a:lnTo>
                  <a:lnTo>
                    <a:pt x="26" y="88"/>
                  </a:lnTo>
                  <a:lnTo>
                    <a:pt x="19" y="79"/>
                  </a:lnTo>
                  <a:lnTo>
                    <a:pt x="12" y="67"/>
                  </a:lnTo>
                  <a:lnTo>
                    <a:pt x="12" y="56"/>
                  </a:lnTo>
                  <a:lnTo>
                    <a:pt x="7" y="44"/>
                  </a:lnTo>
                  <a:lnTo>
                    <a:pt x="0" y="44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2" y="23"/>
                  </a:lnTo>
                  <a:lnTo>
                    <a:pt x="26" y="44"/>
                  </a:lnTo>
                  <a:lnTo>
                    <a:pt x="31" y="35"/>
                  </a:lnTo>
                  <a:lnTo>
                    <a:pt x="26" y="12"/>
                  </a:lnTo>
                  <a:lnTo>
                    <a:pt x="26" y="0"/>
                  </a:lnTo>
                  <a:lnTo>
                    <a:pt x="31" y="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28" name="Freeform 1107"/>
            <p:cNvSpPr>
              <a:spLocks/>
            </p:cNvSpPr>
            <p:nvPr>
              <p:custDataLst>
                <p:tags r:id="rId936"/>
              </p:custDataLst>
            </p:nvPr>
          </p:nvSpPr>
          <p:spPr bwMode="auto">
            <a:xfrm>
              <a:off x="7292166" y="3641295"/>
              <a:ext cx="174427" cy="133350"/>
            </a:xfrm>
            <a:custGeom>
              <a:avLst/>
              <a:gdLst>
                <a:gd name="T0" fmla="*/ 2147483647 w 95"/>
                <a:gd name="T1" fmla="*/ 2147483647 h 167"/>
                <a:gd name="T2" fmla="*/ 2147483647 w 95"/>
                <a:gd name="T3" fmla="*/ 2147483647 h 167"/>
                <a:gd name="T4" fmla="*/ 2147483647 w 95"/>
                <a:gd name="T5" fmla="*/ 2147483647 h 167"/>
                <a:gd name="T6" fmla="*/ 2147483647 w 95"/>
                <a:gd name="T7" fmla="*/ 2147483647 h 167"/>
                <a:gd name="T8" fmla="*/ 2147483647 w 95"/>
                <a:gd name="T9" fmla="*/ 2147483647 h 167"/>
                <a:gd name="T10" fmla="*/ 2147483647 w 95"/>
                <a:gd name="T11" fmla="*/ 2147483647 h 167"/>
                <a:gd name="T12" fmla="*/ 2147483647 w 95"/>
                <a:gd name="T13" fmla="*/ 2147483647 h 167"/>
                <a:gd name="T14" fmla="*/ 2147483647 w 95"/>
                <a:gd name="T15" fmla="*/ 2147483647 h 167"/>
                <a:gd name="T16" fmla="*/ 2147483647 w 95"/>
                <a:gd name="T17" fmla="*/ 2147483647 h 167"/>
                <a:gd name="T18" fmla="*/ 2147483647 w 95"/>
                <a:gd name="T19" fmla="*/ 2147483647 h 167"/>
                <a:gd name="T20" fmla="*/ 2147483647 w 95"/>
                <a:gd name="T21" fmla="*/ 2147483647 h 167"/>
                <a:gd name="T22" fmla="*/ 2147483647 w 95"/>
                <a:gd name="T23" fmla="*/ 2147483647 h 167"/>
                <a:gd name="T24" fmla="*/ 2147483647 w 95"/>
                <a:gd name="T25" fmla="*/ 2147483647 h 167"/>
                <a:gd name="T26" fmla="*/ 2147483647 w 95"/>
                <a:gd name="T27" fmla="*/ 2147483647 h 167"/>
                <a:gd name="T28" fmla="*/ 2147483647 w 95"/>
                <a:gd name="T29" fmla="*/ 2147483647 h 167"/>
                <a:gd name="T30" fmla="*/ 2147483647 w 95"/>
                <a:gd name="T31" fmla="*/ 2147483647 h 167"/>
                <a:gd name="T32" fmla="*/ 2147483647 w 95"/>
                <a:gd name="T33" fmla="*/ 2147483647 h 167"/>
                <a:gd name="T34" fmla="*/ 2147483647 w 95"/>
                <a:gd name="T35" fmla="*/ 2147483647 h 167"/>
                <a:gd name="T36" fmla="*/ 2147483647 w 95"/>
                <a:gd name="T37" fmla="*/ 2147483647 h 167"/>
                <a:gd name="T38" fmla="*/ 2147483647 w 95"/>
                <a:gd name="T39" fmla="*/ 2147483647 h 167"/>
                <a:gd name="T40" fmla="*/ 2147483647 w 95"/>
                <a:gd name="T41" fmla="*/ 2147483647 h 167"/>
                <a:gd name="T42" fmla="*/ 2147483647 w 95"/>
                <a:gd name="T43" fmla="*/ 2147483647 h 167"/>
                <a:gd name="T44" fmla="*/ 2147483647 w 95"/>
                <a:gd name="T45" fmla="*/ 2147483647 h 167"/>
                <a:gd name="T46" fmla="*/ 2147483647 w 95"/>
                <a:gd name="T47" fmla="*/ 2147483647 h 167"/>
                <a:gd name="T48" fmla="*/ 2147483647 w 95"/>
                <a:gd name="T49" fmla="*/ 2147483647 h 167"/>
                <a:gd name="T50" fmla="*/ 2147483647 w 95"/>
                <a:gd name="T51" fmla="*/ 2147483647 h 167"/>
                <a:gd name="T52" fmla="*/ 0 w 95"/>
                <a:gd name="T53" fmla="*/ 2147483647 h 167"/>
                <a:gd name="T54" fmla="*/ 0 w 95"/>
                <a:gd name="T55" fmla="*/ 2147483647 h 167"/>
                <a:gd name="T56" fmla="*/ 0 w 95"/>
                <a:gd name="T57" fmla="*/ 2147483647 h 167"/>
                <a:gd name="T58" fmla="*/ 2147483647 w 95"/>
                <a:gd name="T59" fmla="*/ 2147483647 h 167"/>
                <a:gd name="T60" fmla="*/ 2147483647 w 95"/>
                <a:gd name="T61" fmla="*/ 2147483647 h 167"/>
                <a:gd name="T62" fmla="*/ 2147483647 w 95"/>
                <a:gd name="T63" fmla="*/ 2147483647 h 167"/>
                <a:gd name="T64" fmla="*/ 2147483647 w 95"/>
                <a:gd name="T65" fmla="*/ 2147483647 h 167"/>
                <a:gd name="T66" fmla="*/ 2147483647 w 95"/>
                <a:gd name="T67" fmla="*/ 2147483647 h 167"/>
                <a:gd name="T68" fmla="*/ 2147483647 w 95"/>
                <a:gd name="T69" fmla="*/ 0 h 167"/>
                <a:gd name="T70" fmla="*/ 2147483647 w 95"/>
                <a:gd name="T71" fmla="*/ 2147483647 h 16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" h="167">
                  <a:moveTo>
                    <a:pt x="31" y="12"/>
                  </a:moveTo>
                  <a:lnTo>
                    <a:pt x="37" y="12"/>
                  </a:lnTo>
                  <a:lnTo>
                    <a:pt x="57" y="12"/>
                  </a:lnTo>
                  <a:lnTo>
                    <a:pt x="69" y="35"/>
                  </a:lnTo>
                  <a:lnTo>
                    <a:pt x="76" y="67"/>
                  </a:lnTo>
                  <a:lnTo>
                    <a:pt x="95" y="88"/>
                  </a:lnTo>
                  <a:lnTo>
                    <a:pt x="87" y="100"/>
                  </a:lnTo>
                  <a:lnTo>
                    <a:pt x="76" y="123"/>
                  </a:lnTo>
                  <a:lnTo>
                    <a:pt x="76" y="133"/>
                  </a:lnTo>
                  <a:lnTo>
                    <a:pt x="76" y="167"/>
                  </a:lnTo>
                  <a:lnTo>
                    <a:pt x="57" y="156"/>
                  </a:lnTo>
                  <a:lnTo>
                    <a:pt x="57" y="123"/>
                  </a:lnTo>
                  <a:lnTo>
                    <a:pt x="45" y="133"/>
                  </a:lnTo>
                  <a:lnTo>
                    <a:pt x="31" y="156"/>
                  </a:lnTo>
                  <a:lnTo>
                    <a:pt x="26" y="144"/>
                  </a:lnTo>
                  <a:lnTo>
                    <a:pt x="12" y="133"/>
                  </a:lnTo>
                  <a:lnTo>
                    <a:pt x="12" y="123"/>
                  </a:lnTo>
                  <a:lnTo>
                    <a:pt x="19" y="100"/>
                  </a:lnTo>
                  <a:lnTo>
                    <a:pt x="19" y="112"/>
                  </a:lnTo>
                  <a:lnTo>
                    <a:pt x="37" y="133"/>
                  </a:lnTo>
                  <a:lnTo>
                    <a:pt x="37" y="123"/>
                  </a:lnTo>
                  <a:lnTo>
                    <a:pt x="26" y="88"/>
                  </a:lnTo>
                  <a:lnTo>
                    <a:pt x="19" y="79"/>
                  </a:lnTo>
                  <a:lnTo>
                    <a:pt x="12" y="67"/>
                  </a:lnTo>
                  <a:lnTo>
                    <a:pt x="12" y="56"/>
                  </a:lnTo>
                  <a:lnTo>
                    <a:pt x="7" y="44"/>
                  </a:lnTo>
                  <a:lnTo>
                    <a:pt x="0" y="44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2" y="23"/>
                  </a:lnTo>
                  <a:lnTo>
                    <a:pt x="26" y="44"/>
                  </a:lnTo>
                  <a:lnTo>
                    <a:pt x="31" y="35"/>
                  </a:lnTo>
                  <a:lnTo>
                    <a:pt x="26" y="12"/>
                  </a:lnTo>
                  <a:lnTo>
                    <a:pt x="26" y="0"/>
                  </a:lnTo>
                  <a:lnTo>
                    <a:pt x="31" y="1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29" name="Freeform 1108"/>
            <p:cNvSpPr>
              <a:spLocks/>
            </p:cNvSpPr>
            <p:nvPr>
              <p:custDataLst>
                <p:tags r:id="rId937"/>
              </p:custDataLst>
            </p:nvPr>
          </p:nvSpPr>
          <p:spPr bwMode="auto">
            <a:xfrm>
              <a:off x="7292166" y="3641295"/>
              <a:ext cx="174427" cy="133350"/>
            </a:xfrm>
            <a:custGeom>
              <a:avLst/>
              <a:gdLst>
                <a:gd name="T0" fmla="*/ 2147483647 w 95"/>
                <a:gd name="T1" fmla="*/ 2147483647 h 167"/>
                <a:gd name="T2" fmla="*/ 2147483647 w 95"/>
                <a:gd name="T3" fmla="*/ 2147483647 h 167"/>
                <a:gd name="T4" fmla="*/ 2147483647 w 95"/>
                <a:gd name="T5" fmla="*/ 2147483647 h 167"/>
                <a:gd name="T6" fmla="*/ 2147483647 w 95"/>
                <a:gd name="T7" fmla="*/ 2147483647 h 167"/>
                <a:gd name="T8" fmla="*/ 2147483647 w 95"/>
                <a:gd name="T9" fmla="*/ 2147483647 h 167"/>
                <a:gd name="T10" fmla="*/ 2147483647 w 95"/>
                <a:gd name="T11" fmla="*/ 2147483647 h 167"/>
                <a:gd name="T12" fmla="*/ 2147483647 w 95"/>
                <a:gd name="T13" fmla="*/ 2147483647 h 167"/>
                <a:gd name="T14" fmla="*/ 2147483647 w 95"/>
                <a:gd name="T15" fmla="*/ 2147483647 h 167"/>
                <a:gd name="T16" fmla="*/ 2147483647 w 95"/>
                <a:gd name="T17" fmla="*/ 2147483647 h 167"/>
                <a:gd name="T18" fmla="*/ 2147483647 w 95"/>
                <a:gd name="T19" fmla="*/ 2147483647 h 167"/>
                <a:gd name="T20" fmla="*/ 2147483647 w 95"/>
                <a:gd name="T21" fmla="*/ 2147483647 h 167"/>
                <a:gd name="T22" fmla="*/ 2147483647 w 95"/>
                <a:gd name="T23" fmla="*/ 2147483647 h 167"/>
                <a:gd name="T24" fmla="*/ 2147483647 w 95"/>
                <a:gd name="T25" fmla="*/ 2147483647 h 167"/>
                <a:gd name="T26" fmla="*/ 2147483647 w 95"/>
                <a:gd name="T27" fmla="*/ 2147483647 h 167"/>
                <a:gd name="T28" fmla="*/ 2147483647 w 95"/>
                <a:gd name="T29" fmla="*/ 2147483647 h 167"/>
                <a:gd name="T30" fmla="*/ 2147483647 w 95"/>
                <a:gd name="T31" fmla="*/ 2147483647 h 167"/>
                <a:gd name="T32" fmla="*/ 2147483647 w 95"/>
                <a:gd name="T33" fmla="*/ 2147483647 h 167"/>
                <a:gd name="T34" fmla="*/ 2147483647 w 95"/>
                <a:gd name="T35" fmla="*/ 2147483647 h 167"/>
                <a:gd name="T36" fmla="*/ 2147483647 w 95"/>
                <a:gd name="T37" fmla="*/ 2147483647 h 167"/>
                <a:gd name="T38" fmla="*/ 2147483647 w 95"/>
                <a:gd name="T39" fmla="*/ 2147483647 h 167"/>
                <a:gd name="T40" fmla="*/ 2147483647 w 95"/>
                <a:gd name="T41" fmla="*/ 2147483647 h 167"/>
                <a:gd name="T42" fmla="*/ 2147483647 w 95"/>
                <a:gd name="T43" fmla="*/ 2147483647 h 167"/>
                <a:gd name="T44" fmla="*/ 2147483647 w 95"/>
                <a:gd name="T45" fmla="*/ 2147483647 h 167"/>
                <a:gd name="T46" fmla="*/ 2147483647 w 95"/>
                <a:gd name="T47" fmla="*/ 2147483647 h 167"/>
                <a:gd name="T48" fmla="*/ 2147483647 w 95"/>
                <a:gd name="T49" fmla="*/ 2147483647 h 167"/>
                <a:gd name="T50" fmla="*/ 2147483647 w 95"/>
                <a:gd name="T51" fmla="*/ 2147483647 h 167"/>
                <a:gd name="T52" fmla="*/ 0 w 95"/>
                <a:gd name="T53" fmla="*/ 2147483647 h 167"/>
                <a:gd name="T54" fmla="*/ 0 w 95"/>
                <a:gd name="T55" fmla="*/ 2147483647 h 167"/>
                <a:gd name="T56" fmla="*/ 0 w 95"/>
                <a:gd name="T57" fmla="*/ 2147483647 h 167"/>
                <a:gd name="T58" fmla="*/ 2147483647 w 95"/>
                <a:gd name="T59" fmla="*/ 2147483647 h 167"/>
                <a:gd name="T60" fmla="*/ 2147483647 w 95"/>
                <a:gd name="T61" fmla="*/ 2147483647 h 167"/>
                <a:gd name="T62" fmla="*/ 2147483647 w 95"/>
                <a:gd name="T63" fmla="*/ 2147483647 h 167"/>
                <a:gd name="T64" fmla="*/ 2147483647 w 95"/>
                <a:gd name="T65" fmla="*/ 2147483647 h 167"/>
                <a:gd name="T66" fmla="*/ 2147483647 w 95"/>
                <a:gd name="T67" fmla="*/ 2147483647 h 167"/>
                <a:gd name="T68" fmla="*/ 2147483647 w 95"/>
                <a:gd name="T69" fmla="*/ 0 h 167"/>
                <a:gd name="T70" fmla="*/ 2147483647 w 95"/>
                <a:gd name="T71" fmla="*/ 2147483647 h 16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" h="167">
                  <a:moveTo>
                    <a:pt x="31" y="12"/>
                  </a:moveTo>
                  <a:lnTo>
                    <a:pt x="37" y="12"/>
                  </a:lnTo>
                  <a:lnTo>
                    <a:pt x="57" y="12"/>
                  </a:lnTo>
                  <a:lnTo>
                    <a:pt x="69" y="35"/>
                  </a:lnTo>
                  <a:lnTo>
                    <a:pt x="76" y="67"/>
                  </a:lnTo>
                  <a:lnTo>
                    <a:pt x="95" y="88"/>
                  </a:lnTo>
                  <a:lnTo>
                    <a:pt x="87" y="100"/>
                  </a:lnTo>
                  <a:lnTo>
                    <a:pt x="76" y="123"/>
                  </a:lnTo>
                  <a:lnTo>
                    <a:pt x="76" y="133"/>
                  </a:lnTo>
                  <a:lnTo>
                    <a:pt x="76" y="167"/>
                  </a:lnTo>
                  <a:lnTo>
                    <a:pt x="57" y="156"/>
                  </a:lnTo>
                  <a:lnTo>
                    <a:pt x="57" y="123"/>
                  </a:lnTo>
                  <a:lnTo>
                    <a:pt x="45" y="133"/>
                  </a:lnTo>
                  <a:lnTo>
                    <a:pt x="31" y="156"/>
                  </a:lnTo>
                  <a:lnTo>
                    <a:pt x="26" y="144"/>
                  </a:lnTo>
                  <a:lnTo>
                    <a:pt x="12" y="133"/>
                  </a:lnTo>
                  <a:lnTo>
                    <a:pt x="12" y="123"/>
                  </a:lnTo>
                  <a:lnTo>
                    <a:pt x="19" y="100"/>
                  </a:lnTo>
                  <a:lnTo>
                    <a:pt x="19" y="112"/>
                  </a:lnTo>
                  <a:lnTo>
                    <a:pt x="37" y="133"/>
                  </a:lnTo>
                  <a:lnTo>
                    <a:pt x="37" y="123"/>
                  </a:lnTo>
                  <a:lnTo>
                    <a:pt x="26" y="88"/>
                  </a:lnTo>
                  <a:lnTo>
                    <a:pt x="19" y="79"/>
                  </a:lnTo>
                  <a:lnTo>
                    <a:pt x="12" y="67"/>
                  </a:lnTo>
                  <a:lnTo>
                    <a:pt x="12" y="56"/>
                  </a:lnTo>
                  <a:lnTo>
                    <a:pt x="7" y="44"/>
                  </a:lnTo>
                  <a:lnTo>
                    <a:pt x="0" y="44"/>
                  </a:lnTo>
                  <a:lnTo>
                    <a:pt x="0" y="23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2" y="23"/>
                  </a:lnTo>
                  <a:lnTo>
                    <a:pt x="26" y="44"/>
                  </a:lnTo>
                  <a:lnTo>
                    <a:pt x="31" y="35"/>
                  </a:lnTo>
                  <a:lnTo>
                    <a:pt x="26" y="12"/>
                  </a:lnTo>
                  <a:lnTo>
                    <a:pt x="26" y="0"/>
                  </a:lnTo>
                  <a:lnTo>
                    <a:pt x="31" y="1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30" name="Freeform 1109"/>
            <p:cNvSpPr>
              <a:spLocks/>
            </p:cNvSpPr>
            <p:nvPr>
              <p:custDataLst>
                <p:tags r:id="rId938"/>
              </p:custDataLst>
            </p:nvPr>
          </p:nvSpPr>
          <p:spPr bwMode="auto">
            <a:xfrm>
              <a:off x="7244052" y="3668298"/>
              <a:ext cx="116284" cy="77787"/>
            </a:xfrm>
            <a:custGeom>
              <a:avLst/>
              <a:gdLst>
                <a:gd name="T0" fmla="*/ 0 w 62"/>
                <a:gd name="T1" fmla="*/ 2147483647 h 98"/>
                <a:gd name="T2" fmla="*/ 2147483647 w 62"/>
                <a:gd name="T3" fmla="*/ 2147483647 h 98"/>
                <a:gd name="T4" fmla="*/ 2147483647 w 62"/>
                <a:gd name="T5" fmla="*/ 2147483647 h 98"/>
                <a:gd name="T6" fmla="*/ 2147483647 w 62"/>
                <a:gd name="T7" fmla="*/ 2147483647 h 98"/>
                <a:gd name="T8" fmla="*/ 2147483647 w 62"/>
                <a:gd name="T9" fmla="*/ 2147483647 h 98"/>
                <a:gd name="T10" fmla="*/ 2147483647 w 62"/>
                <a:gd name="T11" fmla="*/ 2147483647 h 98"/>
                <a:gd name="T12" fmla="*/ 2147483647 w 62"/>
                <a:gd name="T13" fmla="*/ 2147483647 h 98"/>
                <a:gd name="T14" fmla="*/ 2147483647 w 62"/>
                <a:gd name="T15" fmla="*/ 2147483647 h 98"/>
                <a:gd name="T16" fmla="*/ 2147483647 w 62"/>
                <a:gd name="T17" fmla="*/ 2147483647 h 98"/>
                <a:gd name="T18" fmla="*/ 2147483647 w 62"/>
                <a:gd name="T19" fmla="*/ 2147483647 h 98"/>
                <a:gd name="T20" fmla="*/ 2147483647 w 62"/>
                <a:gd name="T21" fmla="*/ 2147483647 h 98"/>
                <a:gd name="T22" fmla="*/ 2147483647 w 62"/>
                <a:gd name="T23" fmla="*/ 2147483647 h 98"/>
                <a:gd name="T24" fmla="*/ 2147483647 w 62"/>
                <a:gd name="T25" fmla="*/ 2147483647 h 98"/>
                <a:gd name="T26" fmla="*/ 2147483647 w 62"/>
                <a:gd name="T27" fmla="*/ 2147483647 h 98"/>
                <a:gd name="T28" fmla="*/ 2147483647 w 62"/>
                <a:gd name="T29" fmla="*/ 2147483647 h 98"/>
                <a:gd name="T30" fmla="*/ 2147483647 w 62"/>
                <a:gd name="T31" fmla="*/ 0 h 98"/>
                <a:gd name="T32" fmla="*/ 2147483647 w 62"/>
                <a:gd name="T33" fmla="*/ 0 h 98"/>
                <a:gd name="T34" fmla="*/ 0 w 62"/>
                <a:gd name="T35" fmla="*/ 2147483647 h 9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" h="98">
                  <a:moveTo>
                    <a:pt x="0" y="9"/>
                  </a:moveTo>
                  <a:lnTo>
                    <a:pt x="12" y="32"/>
                  </a:lnTo>
                  <a:lnTo>
                    <a:pt x="19" y="53"/>
                  </a:lnTo>
                  <a:lnTo>
                    <a:pt x="31" y="88"/>
                  </a:lnTo>
                  <a:lnTo>
                    <a:pt x="44" y="65"/>
                  </a:lnTo>
                  <a:lnTo>
                    <a:pt x="44" y="88"/>
                  </a:lnTo>
                  <a:lnTo>
                    <a:pt x="50" y="88"/>
                  </a:lnTo>
                  <a:lnTo>
                    <a:pt x="62" y="98"/>
                  </a:lnTo>
                  <a:lnTo>
                    <a:pt x="62" y="88"/>
                  </a:lnTo>
                  <a:lnTo>
                    <a:pt x="50" y="53"/>
                  </a:lnTo>
                  <a:lnTo>
                    <a:pt x="44" y="32"/>
                  </a:lnTo>
                  <a:lnTo>
                    <a:pt x="37" y="32"/>
                  </a:lnTo>
                  <a:lnTo>
                    <a:pt x="37" y="9"/>
                  </a:lnTo>
                  <a:lnTo>
                    <a:pt x="31" y="9"/>
                  </a:lnTo>
                  <a:lnTo>
                    <a:pt x="25" y="9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31" name="Freeform 1110"/>
            <p:cNvSpPr>
              <a:spLocks/>
            </p:cNvSpPr>
            <p:nvPr>
              <p:custDataLst>
                <p:tags r:id="rId939"/>
              </p:custDataLst>
            </p:nvPr>
          </p:nvSpPr>
          <p:spPr bwMode="auto">
            <a:xfrm>
              <a:off x="7244052" y="3668298"/>
              <a:ext cx="116284" cy="77787"/>
            </a:xfrm>
            <a:custGeom>
              <a:avLst/>
              <a:gdLst>
                <a:gd name="T0" fmla="*/ 0 w 62"/>
                <a:gd name="T1" fmla="*/ 2147483647 h 98"/>
                <a:gd name="T2" fmla="*/ 2147483647 w 62"/>
                <a:gd name="T3" fmla="*/ 2147483647 h 98"/>
                <a:gd name="T4" fmla="*/ 2147483647 w 62"/>
                <a:gd name="T5" fmla="*/ 2147483647 h 98"/>
                <a:gd name="T6" fmla="*/ 2147483647 w 62"/>
                <a:gd name="T7" fmla="*/ 2147483647 h 98"/>
                <a:gd name="T8" fmla="*/ 2147483647 w 62"/>
                <a:gd name="T9" fmla="*/ 2147483647 h 98"/>
                <a:gd name="T10" fmla="*/ 2147483647 w 62"/>
                <a:gd name="T11" fmla="*/ 2147483647 h 98"/>
                <a:gd name="T12" fmla="*/ 2147483647 w 62"/>
                <a:gd name="T13" fmla="*/ 2147483647 h 98"/>
                <a:gd name="T14" fmla="*/ 2147483647 w 62"/>
                <a:gd name="T15" fmla="*/ 2147483647 h 98"/>
                <a:gd name="T16" fmla="*/ 2147483647 w 62"/>
                <a:gd name="T17" fmla="*/ 2147483647 h 98"/>
                <a:gd name="T18" fmla="*/ 2147483647 w 62"/>
                <a:gd name="T19" fmla="*/ 2147483647 h 98"/>
                <a:gd name="T20" fmla="*/ 2147483647 w 62"/>
                <a:gd name="T21" fmla="*/ 2147483647 h 98"/>
                <a:gd name="T22" fmla="*/ 2147483647 w 62"/>
                <a:gd name="T23" fmla="*/ 2147483647 h 98"/>
                <a:gd name="T24" fmla="*/ 2147483647 w 62"/>
                <a:gd name="T25" fmla="*/ 2147483647 h 98"/>
                <a:gd name="T26" fmla="*/ 2147483647 w 62"/>
                <a:gd name="T27" fmla="*/ 2147483647 h 98"/>
                <a:gd name="T28" fmla="*/ 2147483647 w 62"/>
                <a:gd name="T29" fmla="*/ 2147483647 h 98"/>
                <a:gd name="T30" fmla="*/ 2147483647 w 62"/>
                <a:gd name="T31" fmla="*/ 0 h 98"/>
                <a:gd name="T32" fmla="*/ 2147483647 w 62"/>
                <a:gd name="T33" fmla="*/ 0 h 98"/>
                <a:gd name="T34" fmla="*/ 0 w 62"/>
                <a:gd name="T35" fmla="*/ 2147483647 h 9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" h="98">
                  <a:moveTo>
                    <a:pt x="0" y="9"/>
                  </a:moveTo>
                  <a:lnTo>
                    <a:pt x="12" y="32"/>
                  </a:lnTo>
                  <a:lnTo>
                    <a:pt x="19" y="53"/>
                  </a:lnTo>
                  <a:lnTo>
                    <a:pt x="31" y="88"/>
                  </a:lnTo>
                  <a:lnTo>
                    <a:pt x="44" y="65"/>
                  </a:lnTo>
                  <a:lnTo>
                    <a:pt x="44" y="88"/>
                  </a:lnTo>
                  <a:lnTo>
                    <a:pt x="50" y="88"/>
                  </a:lnTo>
                  <a:lnTo>
                    <a:pt x="62" y="98"/>
                  </a:lnTo>
                  <a:lnTo>
                    <a:pt x="62" y="88"/>
                  </a:lnTo>
                  <a:lnTo>
                    <a:pt x="50" y="53"/>
                  </a:lnTo>
                  <a:lnTo>
                    <a:pt x="44" y="32"/>
                  </a:lnTo>
                  <a:lnTo>
                    <a:pt x="37" y="32"/>
                  </a:lnTo>
                  <a:lnTo>
                    <a:pt x="37" y="9"/>
                  </a:lnTo>
                  <a:lnTo>
                    <a:pt x="31" y="9"/>
                  </a:lnTo>
                  <a:lnTo>
                    <a:pt x="25" y="9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32" name="Freeform 1111"/>
            <p:cNvSpPr>
              <a:spLocks/>
            </p:cNvSpPr>
            <p:nvPr>
              <p:custDataLst>
                <p:tags r:id="rId940"/>
              </p:custDataLst>
            </p:nvPr>
          </p:nvSpPr>
          <p:spPr bwMode="auto">
            <a:xfrm>
              <a:off x="7244052" y="3668298"/>
              <a:ext cx="116284" cy="77787"/>
            </a:xfrm>
            <a:custGeom>
              <a:avLst/>
              <a:gdLst>
                <a:gd name="T0" fmla="*/ 0 w 62"/>
                <a:gd name="T1" fmla="*/ 2147483647 h 98"/>
                <a:gd name="T2" fmla="*/ 2147483647 w 62"/>
                <a:gd name="T3" fmla="*/ 2147483647 h 98"/>
                <a:gd name="T4" fmla="*/ 2147483647 w 62"/>
                <a:gd name="T5" fmla="*/ 2147483647 h 98"/>
                <a:gd name="T6" fmla="*/ 2147483647 w 62"/>
                <a:gd name="T7" fmla="*/ 2147483647 h 98"/>
                <a:gd name="T8" fmla="*/ 2147483647 w 62"/>
                <a:gd name="T9" fmla="*/ 2147483647 h 98"/>
                <a:gd name="T10" fmla="*/ 2147483647 w 62"/>
                <a:gd name="T11" fmla="*/ 2147483647 h 98"/>
                <a:gd name="T12" fmla="*/ 2147483647 w 62"/>
                <a:gd name="T13" fmla="*/ 2147483647 h 98"/>
                <a:gd name="T14" fmla="*/ 2147483647 w 62"/>
                <a:gd name="T15" fmla="*/ 2147483647 h 98"/>
                <a:gd name="T16" fmla="*/ 2147483647 w 62"/>
                <a:gd name="T17" fmla="*/ 2147483647 h 98"/>
                <a:gd name="T18" fmla="*/ 2147483647 w 62"/>
                <a:gd name="T19" fmla="*/ 2147483647 h 98"/>
                <a:gd name="T20" fmla="*/ 2147483647 w 62"/>
                <a:gd name="T21" fmla="*/ 2147483647 h 98"/>
                <a:gd name="T22" fmla="*/ 2147483647 w 62"/>
                <a:gd name="T23" fmla="*/ 2147483647 h 98"/>
                <a:gd name="T24" fmla="*/ 2147483647 w 62"/>
                <a:gd name="T25" fmla="*/ 2147483647 h 98"/>
                <a:gd name="T26" fmla="*/ 2147483647 w 62"/>
                <a:gd name="T27" fmla="*/ 2147483647 h 98"/>
                <a:gd name="T28" fmla="*/ 2147483647 w 62"/>
                <a:gd name="T29" fmla="*/ 2147483647 h 98"/>
                <a:gd name="T30" fmla="*/ 2147483647 w 62"/>
                <a:gd name="T31" fmla="*/ 0 h 98"/>
                <a:gd name="T32" fmla="*/ 2147483647 w 62"/>
                <a:gd name="T33" fmla="*/ 0 h 98"/>
                <a:gd name="T34" fmla="*/ 0 w 62"/>
                <a:gd name="T35" fmla="*/ 2147483647 h 9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" h="98">
                  <a:moveTo>
                    <a:pt x="0" y="9"/>
                  </a:moveTo>
                  <a:lnTo>
                    <a:pt x="12" y="32"/>
                  </a:lnTo>
                  <a:lnTo>
                    <a:pt x="19" y="53"/>
                  </a:lnTo>
                  <a:lnTo>
                    <a:pt x="31" y="88"/>
                  </a:lnTo>
                  <a:lnTo>
                    <a:pt x="44" y="65"/>
                  </a:lnTo>
                  <a:lnTo>
                    <a:pt x="44" y="88"/>
                  </a:lnTo>
                  <a:lnTo>
                    <a:pt x="50" y="88"/>
                  </a:lnTo>
                  <a:lnTo>
                    <a:pt x="62" y="98"/>
                  </a:lnTo>
                  <a:lnTo>
                    <a:pt x="62" y="88"/>
                  </a:lnTo>
                  <a:lnTo>
                    <a:pt x="50" y="53"/>
                  </a:lnTo>
                  <a:lnTo>
                    <a:pt x="44" y="32"/>
                  </a:lnTo>
                  <a:lnTo>
                    <a:pt x="37" y="32"/>
                  </a:lnTo>
                  <a:lnTo>
                    <a:pt x="37" y="9"/>
                  </a:lnTo>
                  <a:lnTo>
                    <a:pt x="31" y="9"/>
                  </a:lnTo>
                  <a:lnTo>
                    <a:pt x="25" y="9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33" name="Freeform 1112"/>
            <p:cNvSpPr>
              <a:spLocks/>
            </p:cNvSpPr>
            <p:nvPr>
              <p:custDataLst>
                <p:tags r:id="rId941"/>
              </p:custDataLst>
            </p:nvPr>
          </p:nvSpPr>
          <p:spPr bwMode="auto">
            <a:xfrm>
              <a:off x="7244052" y="3668298"/>
              <a:ext cx="116284" cy="77787"/>
            </a:xfrm>
            <a:custGeom>
              <a:avLst/>
              <a:gdLst>
                <a:gd name="T0" fmla="*/ 0 w 62"/>
                <a:gd name="T1" fmla="*/ 2147483647 h 98"/>
                <a:gd name="T2" fmla="*/ 2147483647 w 62"/>
                <a:gd name="T3" fmla="*/ 2147483647 h 98"/>
                <a:gd name="T4" fmla="*/ 2147483647 w 62"/>
                <a:gd name="T5" fmla="*/ 2147483647 h 98"/>
                <a:gd name="T6" fmla="*/ 2147483647 w 62"/>
                <a:gd name="T7" fmla="*/ 2147483647 h 98"/>
                <a:gd name="T8" fmla="*/ 2147483647 w 62"/>
                <a:gd name="T9" fmla="*/ 2147483647 h 98"/>
                <a:gd name="T10" fmla="*/ 2147483647 w 62"/>
                <a:gd name="T11" fmla="*/ 2147483647 h 98"/>
                <a:gd name="T12" fmla="*/ 2147483647 w 62"/>
                <a:gd name="T13" fmla="*/ 2147483647 h 98"/>
                <a:gd name="T14" fmla="*/ 2147483647 w 62"/>
                <a:gd name="T15" fmla="*/ 2147483647 h 98"/>
                <a:gd name="T16" fmla="*/ 2147483647 w 62"/>
                <a:gd name="T17" fmla="*/ 2147483647 h 98"/>
                <a:gd name="T18" fmla="*/ 2147483647 w 62"/>
                <a:gd name="T19" fmla="*/ 2147483647 h 98"/>
                <a:gd name="T20" fmla="*/ 2147483647 w 62"/>
                <a:gd name="T21" fmla="*/ 2147483647 h 98"/>
                <a:gd name="T22" fmla="*/ 2147483647 w 62"/>
                <a:gd name="T23" fmla="*/ 2147483647 h 98"/>
                <a:gd name="T24" fmla="*/ 2147483647 w 62"/>
                <a:gd name="T25" fmla="*/ 2147483647 h 98"/>
                <a:gd name="T26" fmla="*/ 2147483647 w 62"/>
                <a:gd name="T27" fmla="*/ 2147483647 h 98"/>
                <a:gd name="T28" fmla="*/ 2147483647 w 62"/>
                <a:gd name="T29" fmla="*/ 2147483647 h 98"/>
                <a:gd name="T30" fmla="*/ 2147483647 w 62"/>
                <a:gd name="T31" fmla="*/ 0 h 98"/>
                <a:gd name="T32" fmla="*/ 2147483647 w 62"/>
                <a:gd name="T33" fmla="*/ 0 h 98"/>
                <a:gd name="T34" fmla="*/ 0 w 62"/>
                <a:gd name="T35" fmla="*/ 2147483647 h 9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62" h="98">
                  <a:moveTo>
                    <a:pt x="0" y="9"/>
                  </a:moveTo>
                  <a:lnTo>
                    <a:pt x="12" y="32"/>
                  </a:lnTo>
                  <a:lnTo>
                    <a:pt x="19" y="53"/>
                  </a:lnTo>
                  <a:lnTo>
                    <a:pt x="31" y="88"/>
                  </a:lnTo>
                  <a:lnTo>
                    <a:pt x="44" y="65"/>
                  </a:lnTo>
                  <a:lnTo>
                    <a:pt x="44" y="88"/>
                  </a:lnTo>
                  <a:lnTo>
                    <a:pt x="50" y="88"/>
                  </a:lnTo>
                  <a:lnTo>
                    <a:pt x="62" y="98"/>
                  </a:lnTo>
                  <a:lnTo>
                    <a:pt x="62" y="88"/>
                  </a:lnTo>
                  <a:lnTo>
                    <a:pt x="50" y="53"/>
                  </a:lnTo>
                  <a:lnTo>
                    <a:pt x="44" y="32"/>
                  </a:lnTo>
                  <a:lnTo>
                    <a:pt x="37" y="32"/>
                  </a:lnTo>
                  <a:lnTo>
                    <a:pt x="37" y="9"/>
                  </a:lnTo>
                  <a:lnTo>
                    <a:pt x="31" y="9"/>
                  </a:lnTo>
                  <a:lnTo>
                    <a:pt x="25" y="9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9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34" name="Freeform 1113"/>
            <p:cNvSpPr>
              <a:spLocks/>
            </p:cNvSpPr>
            <p:nvPr>
              <p:custDataLst>
                <p:tags r:id="rId942"/>
              </p:custDataLst>
            </p:nvPr>
          </p:nvSpPr>
          <p:spPr bwMode="auto">
            <a:xfrm>
              <a:off x="7316227" y="3234925"/>
              <a:ext cx="1202938" cy="460375"/>
            </a:xfrm>
            <a:custGeom>
              <a:avLst/>
              <a:gdLst>
                <a:gd name="T0" fmla="*/ 2147483647 w 651"/>
                <a:gd name="T1" fmla="*/ 2147483647 h 580"/>
                <a:gd name="T2" fmla="*/ 2147483647 w 651"/>
                <a:gd name="T3" fmla="*/ 2147483647 h 580"/>
                <a:gd name="T4" fmla="*/ 2147483647 w 651"/>
                <a:gd name="T5" fmla="*/ 2147483647 h 580"/>
                <a:gd name="T6" fmla="*/ 2147483647 w 651"/>
                <a:gd name="T7" fmla="*/ 2147483647 h 580"/>
                <a:gd name="T8" fmla="*/ 2147483647 w 651"/>
                <a:gd name="T9" fmla="*/ 2147483647 h 580"/>
                <a:gd name="T10" fmla="*/ 2147483647 w 651"/>
                <a:gd name="T11" fmla="*/ 2147483647 h 580"/>
                <a:gd name="T12" fmla="*/ 2147483647 w 651"/>
                <a:gd name="T13" fmla="*/ 2147483647 h 580"/>
                <a:gd name="T14" fmla="*/ 2147483647 w 651"/>
                <a:gd name="T15" fmla="*/ 2147483647 h 580"/>
                <a:gd name="T16" fmla="*/ 2147483647 w 651"/>
                <a:gd name="T17" fmla="*/ 2147483647 h 580"/>
                <a:gd name="T18" fmla="*/ 2147483647 w 651"/>
                <a:gd name="T19" fmla="*/ 2147483647 h 580"/>
                <a:gd name="T20" fmla="*/ 2147483647 w 651"/>
                <a:gd name="T21" fmla="*/ 2147483647 h 580"/>
                <a:gd name="T22" fmla="*/ 2147483647 w 651"/>
                <a:gd name="T23" fmla="*/ 2147483647 h 580"/>
                <a:gd name="T24" fmla="*/ 2147483647 w 651"/>
                <a:gd name="T25" fmla="*/ 2147483647 h 580"/>
                <a:gd name="T26" fmla="*/ 2147483647 w 651"/>
                <a:gd name="T27" fmla="*/ 2147483647 h 580"/>
                <a:gd name="T28" fmla="*/ 2147483647 w 651"/>
                <a:gd name="T29" fmla="*/ 2147483647 h 580"/>
                <a:gd name="T30" fmla="*/ 2147483647 w 651"/>
                <a:gd name="T31" fmla="*/ 2147483647 h 580"/>
                <a:gd name="T32" fmla="*/ 2147483647 w 651"/>
                <a:gd name="T33" fmla="*/ 2147483647 h 580"/>
                <a:gd name="T34" fmla="*/ 2147483647 w 651"/>
                <a:gd name="T35" fmla="*/ 2147483647 h 580"/>
                <a:gd name="T36" fmla="*/ 2147483647 w 651"/>
                <a:gd name="T37" fmla="*/ 2147483647 h 580"/>
                <a:gd name="T38" fmla="*/ 2147483647 w 651"/>
                <a:gd name="T39" fmla="*/ 2147483647 h 580"/>
                <a:gd name="T40" fmla="*/ 2147483647 w 651"/>
                <a:gd name="T41" fmla="*/ 2147483647 h 580"/>
                <a:gd name="T42" fmla="*/ 0 w 651"/>
                <a:gd name="T43" fmla="*/ 2147483647 h 580"/>
                <a:gd name="T44" fmla="*/ 2147483647 w 651"/>
                <a:gd name="T45" fmla="*/ 2147483647 h 580"/>
                <a:gd name="T46" fmla="*/ 2147483647 w 651"/>
                <a:gd name="T47" fmla="*/ 2147483647 h 580"/>
                <a:gd name="T48" fmla="*/ 2147483647 w 651"/>
                <a:gd name="T49" fmla="*/ 2147483647 h 580"/>
                <a:gd name="T50" fmla="*/ 2147483647 w 651"/>
                <a:gd name="T51" fmla="*/ 2147483647 h 580"/>
                <a:gd name="T52" fmla="*/ 2147483647 w 651"/>
                <a:gd name="T53" fmla="*/ 2147483647 h 580"/>
                <a:gd name="T54" fmla="*/ 2147483647 w 651"/>
                <a:gd name="T55" fmla="*/ 2147483647 h 580"/>
                <a:gd name="T56" fmla="*/ 2147483647 w 651"/>
                <a:gd name="T57" fmla="*/ 2147483647 h 580"/>
                <a:gd name="T58" fmla="*/ 2147483647 w 651"/>
                <a:gd name="T59" fmla="*/ 2147483647 h 580"/>
                <a:gd name="T60" fmla="*/ 2147483647 w 651"/>
                <a:gd name="T61" fmla="*/ 2147483647 h 580"/>
                <a:gd name="T62" fmla="*/ 2147483647 w 651"/>
                <a:gd name="T63" fmla="*/ 2147483647 h 580"/>
                <a:gd name="T64" fmla="*/ 2147483647 w 651"/>
                <a:gd name="T65" fmla="*/ 2147483647 h 580"/>
                <a:gd name="T66" fmla="*/ 2147483647 w 651"/>
                <a:gd name="T67" fmla="*/ 2147483647 h 580"/>
                <a:gd name="T68" fmla="*/ 2147483647 w 651"/>
                <a:gd name="T69" fmla="*/ 2147483647 h 580"/>
                <a:gd name="T70" fmla="*/ 2147483647 w 651"/>
                <a:gd name="T71" fmla="*/ 2147483647 h 580"/>
                <a:gd name="T72" fmla="*/ 2147483647 w 651"/>
                <a:gd name="T73" fmla="*/ 2147483647 h 580"/>
                <a:gd name="T74" fmla="*/ 2147483647 w 651"/>
                <a:gd name="T75" fmla="*/ 2147483647 h 580"/>
                <a:gd name="T76" fmla="*/ 2147483647 w 651"/>
                <a:gd name="T77" fmla="*/ 2147483647 h 580"/>
                <a:gd name="T78" fmla="*/ 2147483647 w 651"/>
                <a:gd name="T79" fmla="*/ 2147483647 h 580"/>
                <a:gd name="T80" fmla="*/ 2147483647 w 651"/>
                <a:gd name="T81" fmla="*/ 2147483647 h 580"/>
                <a:gd name="T82" fmla="*/ 2147483647 w 651"/>
                <a:gd name="T83" fmla="*/ 2147483647 h 580"/>
                <a:gd name="T84" fmla="*/ 2147483647 w 651"/>
                <a:gd name="T85" fmla="*/ 2147483647 h 580"/>
                <a:gd name="T86" fmla="*/ 2147483647 w 651"/>
                <a:gd name="T87" fmla="*/ 2147483647 h 580"/>
                <a:gd name="T88" fmla="*/ 2147483647 w 651"/>
                <a:gd name="T89" fmla="*/ 2147483647 h 580"/>
                <a:gd name="T90" fmla="*/ 2147483647 w 651"/>
                <a:gd name="T91" fmla="*/ 2147483647 h 580"/>
                <a:gd name="T92" fmla="*/ 2147483647 w 651"/>
                <a:gd name="T93" fmla="*/ 2147483647 h 580"/>
                <a:gd name="T94" fmla="*/ 2147483647 w 651"/>
                <a:gd name="T95" fmla="*/ 2147483647 h 580"/>
                <a:gd name="T96" fmla="*/ 2147483647 w 651"/>
                <a:gd name="T97" fmla="*/ 2147483647 h 580"/>
                <a:gd name="T98" fmla="*/ 2147483647 w 651"/>
                <a:gd name="T99" fmla="*/ 2147483647 h 580"/>
                <a:gd name="T100" fmla="*/ 2147483647 w 651"/>
                <a:gd name="T101" fmla="*/ 2147483647 h 5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51" h="580">
                  <a:moveTo>
                    <a:pt x="638" y="290"/>
                  </a:moveTo>
                  <a:lnTo>
                    <a:pt x="651" y="281"/>
                  </a:lnTo>
                  <a:lnTo>
                    <a:pt x="619" y="235"/>
                  </a:lnTo>
                  <a:lnTo>
                    <a:pt x="593" y="256"/>
                  </a:lnTo>
                  <a:lnTo>
                    <a:pt x="569" y="235"/>
                  </a:lnTo>
                  <a:lnTo>
                    <a:pt x="557" y="223"/>
                  </a:lnTo>
                  <a:lnTo>
                    <a:pt x="543" y="223"/>
                  </a:lnTo>
                  <a:lnTo>
                    <a:pt x="532" y="202"/>
                  </a:lnTo>
                  <a:lnTo>
                    <a:pt x="532" y="179"/>
                  </a:lnTo>
                  <a:lnTo>
                    <a:pt x="519" y="179"/>
                  </a:lnTo>
                  <a:lnTo>
                    <a:pt x="506" y="179"/>
                  </a:lnTo>
                  <a:lnTo>
                    <a:pt x="501" y="190"/>
                  </a:lnTo>
                  <a:lnTo>
                    <a:pt x="482" y="158"/>
                  </a:lnTo>
                  <a:lnTo>
                    <a:pt x="475" y="158"/>
                  </a:lnTo>
                  <a:lnTo>
                    <a:pt x="469" y="167"/>
                  </a:lnTo>
                  <a:lnTo>
                    <a:pt x="456" y="167"/>
                  </a:lnTo>
                  <a:lnTo>
                    <a:pt x="444" y="146"/>
                  </a:lnTo>
                  <a:lnTo>
                    <a:pt x="413" y="100"/>
                  </a:lnTo>
                  <a:lnTo>
                    <a:pt x="387" y="69"/>
                  </a:lnTo>
                  <a:lnTo>
                    <a:pt x="376" y="35"/>
                  </a:lnTo>
                  <a:lnTo>
                    <a:pt x="350" y="69"/>
                  </a:lnTo>
                  <a:lnTo>
                    <a:pt x="344" y="46"/>
                  </a:lnTo>
                  <a:lnTo>
                    <a:pt x="307" y="46"/>
                  </a:lnTo>
                  <a:lnTo>
                    <a:pt x="300" y="46"/>
                  </a:lnTo>
                  <a:lnTo>
                    <a:pt x="281" y="0"/>
                  </a:lnTo>
                  <a:lnTo>
                    <a:pt x="262" y="0"/>
                  </a:lnTo>
                  <a:lnTo>
                    <a:pt x="257" y="23"/>
                  </a:lnTo>
                  <a:lnTo>
                    <a:pt x="231" y="35"/>
                  </a:lnTo>
                  <a:lnTo>
                    <a:pt x="225" y="23"/>
                  </a:lnTo>
                  <a:lnTo>
                    <a:pt x="207" y="46"/>
                  </a:lnTo>
                  <a:lnTo>
                    <a:pt x="200" y="46"/>
                  </a:lnTo>
                  <a:lnTo>
                    <a:pt x="169" y="56"/>
                  </a:lnTo>
                  <a:lnTo>
                    <a:pt x="157" y="46"/>
                  </a:lnTo>
                  <a:lnTo>
                    <a:pt x="157" y="56"/>
                  </a:lnTo>
                  <a:lnTo>
                    <a:pt x="169" y="91"/>
                  </a:lnTo>
                  <a:lnTo>
                    <a:pt x="157" y="114"/>
                  </a:lnTo>
                  <a:lnTo>
                    <a:pt x="162" y="135"/>
                  </a:lnTo>
                  <a:lnTo>
                    <a:pt x="162" y="146"/>
                  </a:lnTo>
                  <a:lnTo>
                    <a:pt x="174" y="146"/>
                  </a:lnTo>
                  <a:lnTo>
                    <a:pt x="182" y="167"/>
                  </a:lnTo>
                  <a:lnTo>
                    <a:pt x="182" y="190"/>
                  </a:lnTo>
                  <a:lnTo>
                    <a:pt x="174" y="190"/>
                  </a:lnTo>
                  <a:lnTo>
                    <a:pt x="169" y="179"/>
                  </a:lnTo>
                  <a:lnTo>
                    <a:pt x="162" y="190"/>
                  </a:lnTo>
                  <a:lnTo>
                    <a:pt x="157" y="190"/>
                  </a:lnTo>
                  <a:lnTo>
                    <a:pt x="143" y="179"/>
                  </a:lnTo>
                  <a:lnTo>
                    <a:pt x="143" y="167"/>
                  </a:lnTo>
                  <a:lnTo>
                    <a:pt x="132" y="167"/>
                  </a:lnTo>
                  <a:lnTo>
                    <a:pt x="132" y="179"/>
                  </a:lnTo>
                  <a:lnTo>
                    <a:pt x="124" y="167"/>
                  </a:lnTo>
                  <a:lnTo>
                    <a:pt x="113" y="179"/>
                  </a:lnTo>
                  <a:lnTo>
                    <a:pt x="93" y="190"/>
                  </a:lnTo>
                  <a:lnTo>
                    <a:pt x="93" y="179"/>
                  </a:lnTo>
                  <a:lnTo>
                    <a:pt x="87" y="167"/>
                  </a:lnTo>
                  <a:lnTo>
                    <a:pt x="69" y="158"/>
                  </a:lnTo>
                  <a:lnTo>
                    <a:pt x="44" y="158"/>
                  </a:lnTo>
                  <a:lnTo>
                    <a:pt x="32" y="158"/>
                  </a:lnTo>
                  <a:lnTo>
                    <a:pt x="32" y="167"/>
                  </a:lnTo>
                  <a:lnTo>
                    <a:pt x="24" y="167"/>
                  </a:lnTo>
                  <a:lnTo>
                    <a:pt x="24" y="179"/>
                  </a:lnTo>
                  <a:lnTo>
                    <a:pt x="18" y="202"/>
                  </a:lnTo>
                  <a:lnTo>
                    <a:pt x="18" y="212"/>
                  </a:lnTo>
                  <a:lnTo>
                    <a:pt x="13" y="223"/>
                  </a:lnTo>
                  <a:lnTo>
                    <a:pt x="13" y="202"/>
                  </a:lnTo>
                  <a:lnTo>
                    <a:pt x="6" y="202"/>
                  </a:lnTo>
                  <a:lnTo>
                    <a:pt x="0" y="235"/>
                  </a:lnTo>
                  <a:lnTo>
                    <a:pt x="0" y="246"/>
                  </a:lnTo>
                  <a:lnTo>
                    <a:pt x="0" y="267"/>
                  </a:lnTo>
                  <a:lnTo>
                    <a:pt x="6" y="281"/>
                  </a:lnTo>
                  <a:lnTo>
                    <a:pt x="6" y="290"/>
                  </a:lnTo>
                  <a:lnTo>
                    <a:pt x="6" y="311"/>
                  </a:lnTo>
                  <a:lnTo>
                    <a:pt x="13" y="302"/>
                  </a:lnTo>
                  <a:lnTo>
                    <a:pt x="24" y="290"/>
                  </a:lnTo>
                  <a:lnTo>
                    <a:pt x="32" y="302"/>
                  </a:lnTo>
                  <a:lnTo>
                    <a:pt x="37" y="325"/>
                  </a:lnTo>
                  <a:lnTo>
                    <a:pt x="44" y="335"/>
                  </a:lnTo>
                  <a:lnTo>
                    <a:pt x="50" y="369"/>
                  </a:lnTo>
                  <a:lnTo>
                    <a:pt x="63" y="356"/>
                  </a:lnTo>
                  <a:lnTo>
                    <a:pt x="82" y="356"/>
                  </a:lnTo>
                  <a:lnTo>
                    <a:pt x="119" y="346"/>
                  </a:lnTo>
                  <a:lnTo>
                    <a:pt x="124" y="369"/>
                  </a:lnTo>
                  <a:lnTo>
                    <a:pt x="124" y="400"/>
                  </a:lnTo>
                  <a:lnTo>
                    <a:pt x="113" y="413"/>
                  </a:lnTo>
                  <a:lnTo>
                    <a:pt x="93" y="423"/>
                  </a:lnTo>
                  <a:lnTo>
                    <a:pt x="100" y="446"/>
                  </a:lnTo>
                  <a:lnTo>
                    <a:pt x="74" y="446"/>
                  </a:lnTo>
                  <a:lnTo>
                    <a:pt x="93" y="502"/>
                  </a:lnTo>
                  <a:lnTo>
                    <a:pt x="106" y="513"/>
                  </a:lnTo>
                  <a:lnTo>
                    <a:pt x="119" y="513"/>
                  </a:lnTo>
                  <a:lnTo>
                    <a:pt x="119" y="536"/>
                  </a:lnTo>
                  <a:lnTo>
                    <a:pt x="124" y="523"/>
                  </a:lnTo>
                  <a:lnTo>
                    <a:pt x="143" y="523"/>
                  </a:lnTo>
                  <a:lnTo>
                    <a:pt x="150" y="536"/>
                  </a:lnTo>
                  <a:lnTo>
                    <a:pt x="157" y="546"/>
                  </a:lnTo>
                  <a:lnTo>
                    <a:pt x="162" y="536"/>
                  </a:lnTo>
                  <a:lnTo>
                    <a:pt x="174" y="536"/>
                  </a:lnTo>
                  <a:lnTo>
                    <a:pt x="157" y="413"/>
                  </a:lnTo>
                  <a:lnTo>
                    <a:pt x="162" y="400"/>
                  </a:lnTo>
                  <a:lnTo>
                    <a:pt x="188" y="379"/>
                  </a:lnTo>
                  <a:lnTo>
                    <a:pt x="193" y="379"/>
                  </a:lnTo>
                  <a:lnTo>
                    <a:pt x="188" y="356"/>
                  </a:lnTo>
                  <a:lnTo>
                    <a:pt x="193" y="369"/>
                  </a:lnTo>
                  <a:lnTo>
                    <a:pt x="193" y="356"/>
                  </a:lnTo>
                  <a:lnTo>
                    <a:pt x="200" y="346"/>
                  </a:lnTo>
                  <a:lnTo>
                    <a:pt x="207" y="346"/>
                  </a:lnTo>
                  <a:lnTo>
                    <a:pt x="212" y="356"/>
                  </a:lnTo>
                  <a:lnTo>
                    <a:pt x="219" y="346"/>
                  </a:lnTo>
                  <a:lnTo>
                    <a:pt x="225" y="346"/>
                  </a:lnTo>
                  <a:lnTo>
                    <a:pt x="219" y="369"/>
                  </a:lnTo>
                  <a:lnTo>
                    <a:pt x="225" y="400"/>
                  </a:lnTo>
                  <a:lnTo>
                    <a:pt x="238" y="413"/>
                  </a:lnTo>
                  <a:lnTo>
                    <a:pt x="238" y="423"/>
                  </a:lnTo>
                  <a:lnTo>
                    <a:pt x="231" y="434"/>
                  </a:lnTo>
                  <a:lnTo>
                    <a:pt x="238" y="446"/>
                  </a:lnTo>
                  <a:lnTo>
                    <a:pt x="249" y="457"/>
                  </a:lnTo>
                  <a:lnTo>
                    <a:pt x="257" y="467"/>
                  </a:lnTo>
                  <a:lnTo>
                    <a:pt x="275" y="467"/>
                  </a:lnTo>
                  <a:lnTo>
                    <a:pt x="288" y="457"/>
                  </a:lnTo>
                  <a:lnTo>
                    <a:pt x="307" y="513"/>
                  </a:lnTo>
                  <a:lnTo>
                    <a:pt x="313" y="536"/>
                  </a:lnTo>
                  <a:lnTo>
                    <a:pt x="307" y="546"/>
                  </a:lnTo>
                  <a:lnTo>
                    <a:pt x="300" y="557"/>
                  </a:lnTo>
                  <a:lnTo>
                    <a:pt x="318" y="567"/>
                  </a:lnTo>
                  <a:lnTo>
                    <a:pt x="318" y="580"/>
                  </a:lnTo>
                  <a:lnTo>
                    <a:pt x="338" y="567"/>
                  </a:lnTo>
                  <a:lnTo>
                    <a:pt x="344" y="580"/>
                  </a:lnTo>
                  <a:lnTo>
                    <a:pt x="363" y="557"/>
                  </a:lnTo>
                  <a:lnTo>
                    <a:pt x="368" y="557"/>
                  </a:lnTo>
                  <a:lnTo>
                    <a:pt x="382" y="567"/>
                  </a:lnTo>
                  <a:lnTo>
                    <a:pt x="400" y="567"/>
                  </a:lnTo>
                  <a:lnTo>
                    <a:pt x="400" y="546"/>
                  </a:lnTo>
                  <a:lnTo>
                    <a:pt x="400" y="536"/>
                  </a:lnTo>
                  <a:lnTo>
                    <a:pt x="400" y="523"/>
                  </a:lnTo>
                  <a:lnTo>
                    <a:pt x="400" y="513"/>
                  </a:lnTo>
                  <a:lnTo>
                    <a:pt x="394" y="513"/>
                  </a:lnTo>
                  <a:lnTo>
                    <a:pt x="413" y="502"/>
                  </a:lnTo>
                  <a:lnTo>
                    <a:pt x="418" y="513"/>
                  </a:lnTo>
                  <a:lnTo>
                    <a:pt x="426" y="513"/>
                  </a:lnTo>
                  <a:lnTo>
                    <a:pt x="437" y="513"/>
                  </a:lnTo>
                  <a:lnTo>
                    <a:pt x="426" y="490"/>
                  </a:lnTo>
                  <a:lnTo>
                    <a:pt x="437" y="479"/>
                  </a:lnTo>
                  <a:lnTo>
                    <a:pt x="475" y="490"/>
                  </a:lnTo>
                  <a:lnTo>
                    <a:pt x="506" y="502"/>
                  </a:lnTo>
                  <a:lnTo>
                    <a:pt x="532" y="523"/>
                  </a:lnTo>
                  <a:lnTo>
                    <a:pt x="543" y="523"/>
                  </a:lnTo>
                  <a:lnTo>
                    <a:pt x="543" y="546"/>
                  </a:lnTo>
                  <a:lnTo>
                    <a:pt x="557" y="490"/>
                  </a:lnTo>
                  <a:lnTo>
                    <a:pt x="543" y="434"/>
                  </a:lnTo>
                  <a:lnTo>
                    <a:pt x="582" y="423"/>
                  </a:lnTo>
                  <a:lnTo>
                    <a:pt x="582" y="390"/>
                  </a:lnTo>
                  <a:lnTo>
                    <a:pt x="588" y="346"/>
                  </a:lnTo>
                  <a:lnTo>
                    <a:pt x="631" y="346"/>
                  </a:lnTo>
                  <a:lnTo>
                    <a:pt x="638" y="29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35" name="Freeform 1114"/>
            <p:cNvSpPr>
              <a:spLocks/>
            </p:cNvSpPr>
            <p:nvPr>
              <p:custDataLst>
                <p:tags r:id="rId943"/>
              </p:custDataLst>
            </p:nvPr>
          </p:nvSpPr>
          <p:spPr bwMode="auto">
            <a:xfrm>
              <a:off x="7316227" y="3234925"/>
              <a:ext cx="1202938" cy="460375"/>
            </a:xfrm>
            <a:custGeom>
              <a:avLst/>
              <a:gdLst>
                <a:gd name="T0" fmla="*/ 2147483647 w 651"/>
                <a:gd name="T1" fmla="*/ 2147483647 h 580"/>
                <a:gd name="T2" fmla="*/ 2147483647 w 651"/>
                <a:gd name="T3" fmla="*/ 2147483647 h 580"/>
                <a:gd name="T4" fmla="*/ 2147483647 w 651"/>
                <a:gd name="T5" fmla="*/ 2147483647 h 580"/>
                <a:gd name="T6" fmla="*/ 2147483647 w 651"/>
                <a:gd name="T7" fmla="*/ 2147483647 h 580"/>
                <a:gd name="T8" fmla="*/ 2147483647 w 651"/>
                <a:gd name="T9" fmla="*/ 2147483647 h 580"/>
                <a:gd name="T10" fmla="*/ 2147483647 w 651"/>
                <a:gd name="T11" fmla="*/ 2147483647 h 580"/>
                <a:gd name="T12" fmla="*/ 2147483647 w 651"/>
                <a:gd name="T13" fmla="*/ 2147483647 h 580"/>
                <a:gd name="T14" fmla="*/ 2147483647 w 651"/>
                <a:gd name="T15" fmla="*/ 2147483647 h 580"/>
                <a:gd name="T16" fmla="*/ 2147483647 w 651"/>
                <a:gd name="T17" fmla="*/ 2147483647 h 580"/>
                <a:gd name="T18" fmla="*/ 2147483647 w 651"/>
                <a:gd name="T19" fmla="*/ 2147483647 h 580"/>
                <a:gd name="T20" fmla="*/ 2147483647 w 651"/>
                <a:gd name="T21" fmla="*/ 2147483647 h 580"/>
                <a:gd name="T22" fmla="*/ 2147483647 w 651"/>
                <a:gd name="T23" fmla="*/ 2147483647 h 580"/>
                <a:gd name="T24" fmla="*/ 2147483647 w 651"/>
                <a:gd name="T25" fmla="*/ 2147483647 h 580"/>
                <a:gd name="T26" fmla="*/ 2147483647 w 651"/>
                <a:gd name="T27" fmla="*/ 2147483647 h 580"/>
                <a:gd name="T28" fmla="*/ 2147483647 w 651"/>
                <a:gd name="T29" fmla="*/ 2147483647 h 580"/>
                <a:gd name="T30" fmla="*/ 2147483647 w 651"/>
                <a:gd name="T31" fmla="*/ 2147483647 h 580"/>
                <a:gd name="T32" fmla="*/ 2147483647 w 651"/>
                <a:gd name="T33" fmla="*/ 2147483647 h 580"/>
                <a:gd name="T34" fmla="*/ 2147483647 w 651"/>
                <a:gd name="T35" fmla="*/ 2147483647 h 580"/>
                <a:gd name="T36" fmla="*/ 2147483647 w 651"/>
                <a:gd name="T37" fmla="*/ 2147483647 h 580"/>
                <a:gd name="T38" fmla="*/ 2147483647 w 651"/>
                <a:gd name="T39" fmla="*/ 2147483647 h 580"/>
                <a:gd name="T40" fmla="*/ 2147483647 w 651"/>
                <a:gd name="T41" fmla="*/ 2147483647 h 580"/>
                <a:gd name="T42" fmla="*/ 0 w 651"/>
                <a:gd name="T43" fmla="*/ 2147483647 h 580"/>
                <a:gd name="T44" fmla="*/ 2147483647 w 651"/>
                <a:gd name="T45" fmla="*/ 2147483647 h 580"/>
                <a:gd name="T46" fmla="*/ 2147483647 w 651"/>
                <a:gd name="T47" fmla="*/ 2147483647 h 580"/>
                <a:gd name="T48" fmla="*/ 2147483647 w 651"/>
                <a:gd name="T49" fmla="*/ 2147483647 h 580"/>
                <a:gd name="T50" fmla="*/ 2147483647 w 651"/>
                <a:gd name="T51" fmla="*/ 2147483647 h 580"/>
                <a:gd name="T52" fmla="*/ 2147483647 w 651"/>
                <a:gd name="T53" fmla="*/ 2147483647 h 580"/>
                <a:gd name="T54" fmla="*/ 2147483647 w 651"/>
                <a:gd name="T55" fmla="*/ 2147483647 h 580"/>
                <a:gd name="T56" fmla="*/ 2147483647 w 651"/>
                <a:gd name="T57" fmla="*/ 2147483647 h 580"/>
                <a:gd name="T58" fmla="*/ 2147483647 w 651"/>
                <a:gd name="T59" fmla="*/ 2147483647 h 580"/>
                <a:gd name="T60" fmla="*/ 2147483647 w 651"/>
                <a:gd name="T61" fmla="*/ 2147483647 h 580"/>
                <a:gd name="T62" fmla="*/ 2147483647 w 651"/>
                <a:gd name="T63" fmla="*/ 2147483647 h 580"/>
                <a:gd name="T64" fmla="*/ 2147483647 w 651"/>
                <a:gd name="T65" fmla="*/ 2147483647 h 580"/>
                <a:gd name="T66" fmla="*/ 2147483647 w 651"/>
                <a:gd name="T67" fmla="*/ 2147483647 h 580"/>
                <a:gd name="T68" fmla="*/ 2147483647 w 651"/>
                <a:gd name="T69" fmla="*/ 2147483647 h 580"/>
                <a:gd name="T70" fmla="*/ 2147483647 w 651"/>
                <a:gd name="T71" fmla="*/ 2147483647 h 580"/>
                <a:gd name="T72" fmla="*/ 2147483647 w 651"/>
                <a:gd name="T73" fmla="*/ 2147483647 h 580"/>
                <a:gd name="T74" fmla="*/ 2147483647 w 651"/>
                <a:gd name="T75" fmla="*/ 2147483647 h 580"/>
                <a:gd name="T76" fmla="*/ 2147483647 w 651"/>
                <a:gd name="T77" fmla="*/ 2147483647 h 580"/>
                <a:gd name="T78" fmla="*/ 2147483647 w 651"/>
                <a:gd name="T79" fmla="*/ 2147483647 h 580"/>
                <a:gd name="T80" fmla="*/ 2147483647 w 651"/>
                <a:gd name="T81" fmla="*/ 2147483647 h 580"/>
                <a:gd name="T82" fmla="*/ 2147483647 w 651"/>
                <a:gd name="T83" fmla="*/ 2147483647 h 580"/>
                <a:gd name="T84" fmla="*/ 2147483647 w 651"/>
                <a:gd name="T85" fmla="*/ 2147483647 h 580"/>
                <a:gd name="T86" fmla="*/ 2147483647 w 651"/>
                <a:gd name="T87" fmla="*/ 2147483647 h 580"/>
                <a:gd name="T88" fmla="*/ 2147483647 w 651"/>
                <a:gd name="T89" fmla="*/ 2147483647 h 580"/>
                <a:gd name="T90" fmla="*/ 2147483647 w 651"/>
                <a:gd name="T91" fmla="*/ 2147483647 h 580"/>
                <a:gd name="T92" fmla="*/ 2147483647 w 651"/>
                <a:gd name="T93" fmla="*/ 2147483647 h 580"/>
                <a:gd name="T94" fmla="*/ 2147483647 w 651"/>
                <a:gd name="T95" fmla="*/ 2147483647 h 580"/>
                <a:gd name="T96" fmla="*/ 2147483647 w 651"/>
                <a:gd name="T97" fmla="*/ 2147483647 h 580"/>
                <a:gd name="T98" fmla="*/ 2147483647 w 651"/>
                <a:gd name="T99" fmla="*/ 2147483647 h 580"/>
                <a:gd name="T100" fmla="*/ 2147483647 w 651"/>
                <a:gd name="T101" fmla="*/ 2147483647 h 5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51" h="580">
                  <a:moveTo>
                    <a:pt x="638" y="290"/>
                  </a:moveTo>
                  <a:lnTo>
                    <a:pt x="651" y="281"/>
                  </a:lnTo>
                  <a:lnTo>
                    <a:pt x="619" y="235"/>
                  </a:lnTo>
                  <a:lnTo>
                    <a:pt x="593" y="256"/>
                  </a:lnTo>
                  <a:lnTo>
                    <a:pt x="569" y="235"/>
                  </a:lnTo>
                  <a:lnTo>
                    <a:pt x="557" y="223"/>
                  </a:lnTo>
                  <a:lnTo>
                    <a:pt x="543" y="223"/>
                  </a:lnTo>
                  <a:lnTo>
                    <a:pt x="532" y="202"/>
                  </a:lnTo>
                  <a:lnTo>
                    <a:pt x="532" y="179"/>
                  </a:lnTo>
                  <a:lnTo>
                    <a:pt x="519" y="179"/>
                  </a:lnTo>
                  <a:lnTo>
                    <a:pt x="506" y="179"/>
                  </a:lnTo>
                  <a:lnTo>
                    <a:pt x="501" y="190"/>
                  </a:lnTo>
                  <a:lnTo>
                    <a:pt x="482" y="158"/>
                  </a:lnTo>
                  <a:lnTo>
                    <a:pt x="475" y="158"/>
                  </a:lnTo>
                  <a:lnTo>
                    <a:pt x="469" y="167"/>
                  </a:lnTo>
                  <a:lnTo>
                    <a:pt x="456" y="167"/>
                  </a:lnTo>
                  <a:lnTo>
                    <a:pt x="444" y="146"/>
                  </a:lnTo>
                  <a:lnTo>
                    <a:pt x="413" y="100"/>
                  </a:lnTo>
                  <a:lnTo>
                    <a:pt x="387" y="69"/>
                  </a:lnTo>
                  <a:lnTo>
                    <a:pt x="376" y="35"/>
                  </a:lnTo>
                  <a:lnTo>
                    <a:pt x="350" y="69"/>
                  </a:lnTo>
                  <a:lnTo>
                    <a:pt x="344" y="46"/>
                  </a:lnTo>
                  <a:lnTo>
                    <a:pt x="307" y="46"/>
                  </a:lnTo>
                  <a:lnTo>
                    <a:pt x="300" y="46"/>
                  </a:lnTo>
                  <a:lnTo>
                    <a:pt x="281" y="0"/>
                  </a:lnTo>
                  <a:lnTo>
                    <a:pt x="262" y="0"/>
                  </a:lnTo>
                  <a:lnTo>
                    <a:pt x="257" y="23"/>
                  </a:lnTo>
                  <a:lnTo>
                    <a:pt x="231" y="35"/>
                  </a:lnTo>
                  <a:lnTo>
                    <a:pt x="225" y="23"/>
                  </a:lnTo>
                  <a:lnTo>
                    <a:pt x="207" y="46"/>
                  </a:lnTo>
                  <a:lnTo>
                    <a:pt x="200" y="46"/>
                  </a:lnTo>
                  <a:lnTo>
                    <a:pt x="169" y="56"/>
                  </a:lnTo>
                  <a:lnTo>
                    <a:pt x="157" y="46"/>
                  </a:lnTo>
                  <a:lnTo>
                    <a:pt x="157" y="56"/>
                  </a:lnTo>
                  <a:lnTo>
                    <a:pt x="169" y="91"/>
                  </a:lnTo>
                  <a:lnTo>
                    <a:pt x="157" y="114"/>
                  </a:lnTo>
                  <a:lnTo>
                    <a:pt x="162" y="135"/>
                  </a:lnTo>
                  <a:lnTo>
                    <a:pt x="162" y="146"/>
                  </a:lnTo>
                  <a:lnTo>
                    <a:pt x="174" y="146"/>
                  </a:lnTo>
                  <a:lnTo>
                    <a:pt x="182" y="167"/>
                  </a:lnTo>
                  <a:lnTo>
                    <a:pt x="182" y="190"/>
                  </a:lnTo>
                  <a:lnTo>
                    <a:pt x="174" y="190"/>
                  </a:lnTo>
                  <a:lnTo>
                    <a:pt x="169" y="179"/>
                  </a:lnTo>
                  <a:lnTo>
                    <a:pt x="162" y="190"/>
                  </a:lnTo>
                  <a:lnTo>
                    <a:pt x="157" y="190"/>
                  </a:lnTo>
                  <a:lnTo>
                    <a:pt x="143" y="179"/>
                  </a:lnTo>
                  <a:lnTo>
                    <a:pt x="143" y="167"/>
                  </a:lnTo>
                  <a:lnTo>
                    <a:pt x="132" y="167"/>
                  </a:lnTo>
                  <a:lnTo>
                    <a:pt x="132" y="179"/>
                  </a:lnTo>
                  <a:lnTo>
                    <a:pt x="124" y="167"/>
                  </a:lnTo>
                  <a:lnTo>
                    <a:pt x="113" y="179"/>
                  </a:lnTo>
                  <a:lnTo>
                    <a:pt x="93" y="190"/>
                  </a:lnTo>
                  <a:lnTo>
                    <a:pt x="93" y="179"/>
                  </a:lnTo>
                  <a:lnTo>
                    <a:pt x="87" y="167"/>
                  </a:lnTo>
                  <a:lnTo>
                    <a:pt x="69" y="158"/>
                  </a:lnTo>
                  <a:lnTo>
                    <a:pt x="44" y="158"/>
                  </a:lnTo>
                  <a:lnTo>
                    <a:pt x="32" y="158"/>
                  </a:lnTo>
                  <a:lnTo>
                    <a:pt x="32" y="167"/>
                  </a:lnTo>
                  <a:lnTo>
                    <a:pt x="24" y="167"/>
                  </a:lnTo>
                  <a:lnTo>
                    <a:pt x="24" y="179"/>
                  </a:lnTo>
                  <a:lnTo>
                    <a:pt x="18" y="202"/>
                  </a:lnTo>
                  <a:lnTo>
                    <a:pt x="18" y="212"/>
                  </a:lnTo>
                  <a:lnTo>
                    <a:pt x="13" y="223"/>
                  </a:lnTo>
                  <a:lnTo>
                    <a:pt x="13" y="202"/>
                  </a:lnTo>
                  <a:lnTo>
                    <a:pt x="6" y="202"/>
                  </a:lnTo>
                  <a:lnTo>
                    <a:pt x="0" y="235"/>
                  </a:lnTo>
                  <a:lnTo>
                    <a:pt x="0" y="246"/>
                  </a:lnTo>
                  <a:lnTo>
                    <a:pt x="0" y="267"/>
                  </a:lnTo>
                  <a:lnTo>
                    <a:pt x="6" y="281"/>
                  </a:lnTo>
                  <a:lnTo>
                    <a:pt x="6" y="290"/>
                  </a:lnTo>
                  <a:lnTo>
                    <a:pt x="6" y="311"/>
                  </a:lnTo>
                  <a:lnTo>
                    <a:pt x="13" y="302"/>
                  </a:lnTo>
                  <a:lnTo>
                    <a:pt x="24" y="290"/>
                  </a:lnTo>
                  <a:lnTo>
                    <a:pt x="32" y="302"/>
                  </a:lnTo>
                  <a:lnTo>
                    <a:pt x="37" y="325"/>
                  </a:lnTo>
                  <a:lnTo>
                    <a:pt x="44" y="335"/>
                  </a:lnTo>
                  <a:lnTo>
                    <a:pt x="50" y="369"/>
                  </a:lnTo>
                  <a:lnTo>
                    <a:pt x="63" y="356"/>
                  </a:lnTo>
                  <a:lnTo>
                    <a:pt x="82" y="356"/>
                  </a:lnTo>
                  <a:lnTo>
                    <a:pt x="119" y="346"/>
                  </a:lnTo>
                  <a:lnTo>
                    <a:pt x="124" y="369"/>
                  </a:lnTo>
                  <a:lnTo>
                    <a:pt x="124" y="400"/>
                  </a:lnTo>
                  <a:lnTo>
                    <a:pt x="113" y="413"/>
                  </a:lnTo>
                  <a:lnTo>
                    <a:pt x="93" y="423"/>
                  </a:lnTo>
                  <a:lnTo>
                    <a:pt x="100" y="446"/>
                  </a:lnTo>
                  <a:lnTo>
                    <a:pt x="74" y="446"/>
                  </a:lnTo>
                  <a:lnTo>
                    <a:pt x="93" y="502"/>
                  </a:lnTo>
                  <a:lnTo>
                    <a:pt x="106" y="513"/>
                  </a:lnTo>
                  <a:lnTo>
                    <a:pt x="119" y="513"/>
                  </a:lnTo>
                  <a:lnTo>
                    <a:pt x="119" y="536"/>
                  </a:lnTo>
                  <a:lnTo>
                    <a:pt x="124" y="523"/>
                  </a:lnTo>
                  <a:lnTo>
                    <a:pt x="143" y="523"/>
                  </a:lnTo>
                  <a:lnTo>
                    <a:pt x="150" y="536"/>
                  </a:lnTo>
                  <a:lnTo>
                    <a:pt x="157" y="546"/>
                  </a:lnTo>
                  <a:lnTo>
                    <a:pt x="162" y="536"/>
                  </a:lnTo>
                  <a:lnTo>
                    <a:pt x="174" y="536"/>
                  </a:lnTo>
                  <a:lnTo>
                    <a:pt x="157" y="413"/>
                  </a:lnTo>
                  <a:lnTo>
                    <a:pt x="162" y="400"/>
                  </a:lnTo>
                  <a:lnTo>
                    <a:pt x="188" y="379"/>
                  </a:lnTo>
                  <a:lnTo>
                    <a:pt x="193" y="379"/>
                  </a:lnTo>
                  <a:lnTo>
                    <a:pt x="188" y="356"/>
                  </a:lnTo>
                  <a:lnTo>
                    <a:pt x="193" y="369"/>
                  </a:lnTo>
                  <a:lnTo>
                    <a:pt x="193" y="356"/>
                  </a:lnTo>
                  <a:lnTo>
                    <a:pt x="200" y="346"/>
                  </a:lnTo>
                  <a:lnTo>
                    <a:pt x="207" y="346"/>
                  </a:lnTo>
                  <a:lnTo>
                    <a:pt x="212" y="356"/>
                  </a:lnTo>
                  <a:lnTo>
                    <a:pt x="219" y="346"/>
                  </a:lnTo>
                  <a:lnTo>
                    <a:pt x="225" y="346"/>
                  </a:lnTo>
                  <a:lnTo>
                    <a:pt x="219" y="369"/>
                  </a:lnTo>
                  <a:lnTo>
                    <a:pt x="225" y="400"/>
                  </a:lnTo>
                  <a:lnTo>
                    <a:pt x="238" y="413"/>
                  </a:lnTo>
                  <a:lnTo>
                    <a:pt x="238" y="423"/>
                  </a:lnTo>
                  <a:lnTo>
                    <a:pt x="231" y="434"/>
                  </a:lnTo>
                  <a:lnTo>
                    <a:pt x="238" y="446"/>
                  </a:lnTo>
                  <a:lnTo>
                    <a:pt x="249" y="457"/>
                  </a:lnTo>
                  <a:lnTo>
                    <a:pt x="257" y="467"/>
                  </a:lnTo>
                  <a:lnTo>
                    <a:pt x="275" y="467"/>
                  </a:lnTo>
                  <a:lnTo>
                    <a:pt x="288" y="457"/>
                  </a:lnTo>
                  <a:lnTo>
                    <a:pt x="307" y="513"/>
                  </a:lnTo>
                  <a:lnTo>
                    <a:pt x="313" y="536"/>
                  </a:lnTo>
                  <a:lnTo>
                    <a:pt x="307" y="546"/>
                  </a:lnTo>
                  <a:lnTo>
                    <a:pt x="300" y="557"/>
                  </a:lnTo>
                  <a:lnTo>
                    <a:pt x="318" y="567"/>
                  </a:lnTo>
                  <a:lnTo>
                    <a:pt x="318" y="580"/>
                  </a:lnTo>
                  <a:lnTo>
                    <a:pt x="338" y="567"/>
                  </a:lnTo>
                  <a:lnTo>
                    <a:pt x="344" y="580"/>
                  </a:lnTo>
                  <a:lnTo>
                    <a:pt x="363" y="557"/>
                  </a:lnTo>
                  <a:lnTo>
                    <a:pt x="368" y="557"/>
                  </a:lnTo>
                  <a:lnTo>
                    <a:pt x="382" y="567"/>
                  </a:lnTo>
                  <a:lnTo>
                    <a:pt x="400" y="567"/>
                  </a:lnTo>
                  <a:lnTo>
                    <a:pt x="400" y="546"/>
                  </a:lnTo>
                  <a:lnTo>
                    <a:pt x="400" y="536"/>
                  </a:lnTo>
                  <a:lnTo>
                    <a:pt x="400" y="523"/>
                  </a:lnTo>
                  <a:lnTo>
                    <a:pt x="400" y="513"/>
                  </a:lnTo>
                  <a:lnTo>
                    <a:pt x="394" y="513"/>
                  </a:lnTo>
                  <a:lnTo>
                    <a:pt x="413" y="502"/>
                  </a:lnTo>
                  <a:lnTo>
                    <a:pt x="418" y="513"/>
                  </a:lnTo>
                  <a:lnTo>
                    <a:pt x="426" y="513"/>
                  </a:lnTo>
                  <a:lnTo>
                    <a:pt x="437" y="513"/>
                  </a:lnTo>
                  <a:lnTo>
                    <a:pt x="426" y="490"/>
                  </a:lnTo>
                  <a:lnTo>
                    <a:pt x="437" y="479"/>
                  </a:lnTo>
                  <a:lnTo>
                    <a:pt x="475" y="490"/>
                  </a:lnTo>
                  <a:lnTo>
                    <a:pt x="506" y="502"/>
                  </a:lnTo>
                  <a:lnTo>
                    <a:pt x="532" y="523"/>
                  </a:lnTo>
                  <a:lnTo>
                    <a:pt x="543" y="523"/>
                  </a:lnTo>
                  <a:lnTo>
                    <a:pt x="543" y="546"/>
                  </a:lnTo>
                  <a:lnTo>
                    <a:pt x="557" y="490"/>
                  </a:lnTo>
                  <a:lnTo>
                    <a:pt x="543" y="434"/>
                  </a:lnTo>
                  <a:lnTo>
                    <a:pt x="582" y="423"/>
                  </a:lnTo>
                  <a:lnTo>
                    <a:pt x="582" y="390"/>
                  </a:lnTo>
                  <a:lnTo>
                    <a:pt x="588" y="346"/>
                  </a:lnTo>
                  <a:lnTo>
                    <a:pt x="631" y="346"/>
                  </a:lnTo>
                  <a:lnTo>
                    <a:pt x="638" y="29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36" name="Freeform 1115"/>
            <p:cNvSpPr>
              <a:spLocks/>
            </p:cNvSpPr>
            <p:nvPr>
              <p:custDataLst>
                <p:tags r:id="rId944"/>
              </p:custDataLst>
            </p:nvPr>
          </p:nvSpPr>
          <p:spPr bwMode="auto">
            <a:xfrm>
              <a:off x="7316227" y="3234925"/>
              <a:ext cx="1202938" cy="460375"/>
            </a:xfrm>
            <a:custGeom>
              <a:avLst/>
              <a:gdLst>
                <a:gd name="T0" fmla="*/ 2147483647 w 651"/>
                <a:gd name="T1" fmla="*/ 2147483647 h 580"/>
                <a:gd name="T2" fmla="*/ 2147483647 w 651"/>
                <a:gd name="T3" fmla="*/ 2147483647 h 580"/>
                <a:gd name="T4" fmla="*/ 2147483647 w 651"/>
                <a:gd name="T5" fmla="*/ 2147483647 h 580"/>
                <a:gd name="T6" fmla="*/ 2147483647 w 651"/>
                <a:gd name="T7" fmla="*/ 2147483647 h 580"/>
                <a:gd name="T8" fmla="*/ 2147483647 w 651"/>
                <a:gd name="T9" fmla="*/ 2147483647 h 580"/>
                <a:gd name="T10" fmla="*/ 2147483647 w 651"/>
                <a:gd name="T11" fmla="*/ 2147483647 h 580"/>
                <a:gd name="T12" fmla="*/ 2147483647 w 651"/>
                <a:gd name="T13" fmla="*/ 2147483647 h 580"/>
                <a:gd name="T14" fmla="*/ 2147483647 w 651"/>
                <a:gd name="T15" fmla="*/ 2147483647 h 580"/>
                <a:gd name="T16" fmla="*/ 2147483647 w 651"/>
                <a:gd name="T17" fmla="*/ 2147483647 h 580"/>
                <a:gd name="T18" fmla="*/ 2147483647 w 651"/>
                <a:gd name="T19" fmla="*/ 2147483647 h 580"/>
                <a:gd name="T20" fmla="*/ 2147483647 w 651"/>
                <a:gd name="T21" fmla="*/ 2147483647 h 580"/>
                <a:gd name="T22" fmla="*/ 2147483647 w 651"/>
                <a:gd name="T23" fmla="*/ 2147483647 h 580"/>
                <a:gd name="T24" fmla="*/ 2147483647 w 651"/>
                <a:gd name="T25" fmla="*/ 2147483647 h 580"/>
                <a:gd name="T26" fmla="*/ 2147483647 w 651"/>
                <a:gd name="T27" fmla="*/ 2147483647 h 580"/>
                <a:gd name="T28" fmla="*/ 2147483647 w 651"/>
                <a:gd name="T29" fmla="*/ 2147483647 h 580"/>
                <a:gd name="T30" fmla="*/ 2147483647 w 651"/>
                <a:gd name="T31" fmla="*/ 2147483647 h 580"/>
                <a:gd name="T32" fmla="*/ 2147483647 w 651"/>
                <a:gd name="T33" fmla="*/ 2147483647 h 580"/>
                <a:gd name="T34" fmla="*/ 2147483647 w 651"/>
                <a:gd name="T35" fmla="*/ 2147483647 h 580"/>
                <a:gd name="T36" fmla="*/ 2147483647 w 651"/>
                <a:gd name="T37" fmla="*/ 2147483647 h 580"/>
                <a:gd name="T38" fmla="*/ 2147483647 w 651"/>
                <a:gd name="T39" fmla="*/ 2147483647 h 580"/>
                <a:gd name="T40" fmla="*/ 2147483647 w 651"/>
                <a:gd name="T41" fmla="*/ 2147483647 h 580"/>
                <a:gd name="T42" fmla="*/ 0 w 651"/>
                <a:gd name="T43" fmla="*/ 2147483647 h 580"/>
                <a:gd name="T44" fmla="*/ 2147483647 w 651"/>
                <a:gd name="T45" fmla="*/ 2147483647 h 580"/>
                <a:gd name="T46" fmla="*/ 2147483647 w 651"/>
                <a:gd name="T47" fmla="*/ 2147483647 h 580"/>
                <a:gd name="T48" fmla="*/ 2147483647 w 651"/>
                <a:gd name="T49" fmla="*/ 2147483647 h 580"/>
                <a:gd name="T50" fmla="*/ 2147483647 w 651"/>
                <a:gd name="T51" fmla="*/ 2147483647 h 580"/>
                <a:gd name="T52" fmla="*/ 2147483647 w 651"/>
                <a:gd name="T53" fmla="*/ 2147483647 h 580"/>
                <a:gd name="T54" fmla="*/ 2147483647 w 651"/>
                <a:gd name="T55" fmla="*/ 2147483647 h 580"/>
                <a:gd name="T56" fmla="*/ 2147483647 w 651"/>
                <a:gd name="T57" fmla="*/ 2147483647 h 580"/>
                <a:gd name="T58" fmla="*/ 2147483647 w 651"/>
                <a:gd name="T59" fmla="*/ 2147483647 h 580"/>
                <a:gd name="T60" fmla="*/ 2147483647 w 651"/>
                <a:gd name="T61" fmla="*/ 2147483647 h 580"/>
                <a:gd name="T62" fmla="*/ 2147483647 w 651"/>
                <a:gd name="T63" fmla="*/ 2147483647 h 580"/>
                <a:gd name="T64" fmla="*/ 2147483647 w 651"/>
                <a:gd name="T65" fmla="*/ 2147483647 h 580"/>
                <a:gd name="T66" fmla="*/ 2147483647 w 651"/>
                <a:gd name="T67" fmla="*/ 2147483647 h 580"/>
                <a:gd name="T68" fmla="*/ 2147483647 w 651"/>
                <a:gd name="T69" fmla="*/ 2147483647 h 580"/>
                <a:gd name="T70" fmla="*/ 2147483647 w 651"/>
                <a:gd name="T71" fmla="*/ 2147483647 h 580"/>
                <a:gd name="T72" fmla="*/ 2147483647 w 651"/>
                <a:gd name="T73" fmla="*/ 2147483647 h 580"/>
                <a:gd name="T74" fmla="*/ 2147483647 w 651"/>
                <a:gd name="T75" fmla="*/ 2147483647 h 580"/>
                <a:gd name="T76" fmla="*/ 2147483647 w 651"/>
                <a:gd name="T77" fmla="*/ 2147483647 h 580"/>
                <a:gd name="T78" fmla="*/ 2147483647 w 651"/>
                <a:gd name="T79" fmla="*/ 2147483647 h 580"/>
                <a:gd name="T80" fmla="*/ 2147483647 w 651"/>
                <a:gd name="T81" fmla="*/ 2147483647 h 580"/>
                <a:gd name="T82" fmla="*/ 2147483647 w 651"/>
                <a:gd name="T83" fmla="*/ 2147483647 h 580"/>
                <a:gd name="T84" fmla="*/ 2147483647 w 651"/>
                <a:gd name="T85" fmla="*/ 2147483647 h 580"/>
                <a:gd name="T86" fmla="*/ 2147483647 w 651"/>
                <a:gd name="T87" fmla="*/ 2147483647 h 580"/>
                <a:gd name="T88" fmla="*/ 2147483647 w 651"/>
                <a:gd name="T89" fmla="*/ 2147483647 h 580"/>
                <a:gd name="T90" fmla="*/ 2147483647 w 651"/>
                <a:gd name="T91" fmla="*/ 2147483647 h 580"/>
                <a:gd name="T92" fmla="*/ 2147483647 w 651"/>
                <a:gd name="T93" fmla="*/ 2147483647 h 580"/>
                <a:gd name="T94" fmla="*/ 2147483647 w 651"/>
                <a:gd name="T95" fmla="*/ 2147483647 h 580"/>
                <a:gd name="T96" fmla="*/ 2147483647 w 651"/>
                <a:gd name="T97" fmla="*/ 2147483647 h 580"/>
                <a:gd name="T98" fmla="*/ 2147483647 w 651"/>
                <a:gd name="T99" fmla="*/ 2147483647 h 580"/>
                <a:gd name="T100" fmla="*/ 2147483647 w 651"/>
                <a:gd name="T101" fmla="*/ 2147483647 h 5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51" h="580">
                  <a:moveTo>
                    <a:pt x="638" y="290"/>
                  </a:moveTo>
                  <a:lnTo>
                    <a:pt x="651" y="281"/>
                  </a:lnTo>
                  <a:lnTo>
                    <a:pt x="619" y="235"/>
                  </a:lnTo>
                  <a:lnTo>
                    <a:pt x="593" y="256"/>
                  </a:lnTo>
                  <a:lnTo>
                    <a:pt x="569" y="235"/>
                  </a:lnTo>
                  <a:lnTo>
                    <a:pt x="557" y="223"/>
                  </a:lnTo>
                  <a:lnTo>
                    <a:pt x="543" y="223"/>
                  </a:lnTo>
                  <a:lnTo>
                    <a:pt x="532" y="202"/>
                  </a:lnTo>
                  <a:lnTo>
                    <a:pt x="532" y="179"/>
                  </a:lnTo>
                  <a:lnTo>
                    <a:pt x="519" y="179"/>
                  </a:lnTo>
                  <a:lnTo>
                    <a:pt x="506" y="179"/>
                  </a:lnTo>
                  <a:lnTo>
                    <a:pt x="501" y="190"/>
                  </a:lnTo>
                  <a:lnTo>
                    <a:pt x="482" y="158"/>
                  </a:lnTo>
                  <a:lnTo>
                    <a:pt x="475" y="158"/>
                  </a:lnTo>
                  <a:lnTo>
                    <a:pt x="469" y="167"/>
                  </a:lnTo>
                  <a:lnTo>
                    <a:pt x="456" y="167"/>
                  </a:lnTo>
                  <a:lnTo>
                    <a:pt x="444" y="146"/>
                  </a:lnTo>
                  <a:lnTo>
                    <a:pt x="413" y="100"/>
                  </a:lnTo>
                  <a:lnTo>
                    <a:pt x="387" y="69"/>
                  </a:lnTo>
                  <a:lnTo>
                    <a:pt x="376" y="35"/>
                  </a:lnTo>
                  <a:lnTo>
                    <a:pt x="350" y="69"/>
                  </a:lnTo>
                  <a:lnTo>
                    <a:pt x="344" y="46"/>
                  </a:lnTo>
                  <a:lnTo>
                    <a:pt x="307" y="46"/>
                  </a:lnTo>
                  <a:lnTo>
                    <a:pt x="300" y="46"/>
                  </a:lnTo>
                  <a:lnTo>
                    <a:pt x="281" y="0"/>
                  </a:lnTo>
                  <a:lnTo>
                    <a:pt x="262" y="0"/>
                  </a:lnTo>
                  <a:lnTo>
                    <a:pt x="257" y="23"/>
                  </a:lnTo>
                  <a:lnTo>
                    <a:pt x="231" y="35"/>
                  </a:lnTo>
                  <a:lnTo>
                    <a:pt x="225" y="23"/>
                  </a:lnTo>
                  <a:lnTo>
                    <a:pt x="207" y="46"/>
                  </a:lnTo>
                  <a:lnTo>
                    <a:pt x="200" y="46"/>
                  </a:lnTo>
                  <a:lnTo>
                    <a:pt x="169" y="56"/>
                  </a:lnTo>
                  <a:lnTo>
                    <a:pt x="157" y="46"/>
                  </a:lnTo>
                  <a:lnTo>
                    <a:pt x="157" y="56"/>
                  </a:lnTo>
                  <a:lnTo>
                    <a:pt x="169" y="91"/>
                  </a:lnTo>
                  <a:lnTo>
                    <a:pt x="157" y="114"/>
                  </a:lnTo>
                  <a:lnTo>
                    <a:pt x="162" y="135"/>
                  </a:lnTo>
                  <a:lnTo>
                    <a:pt x="162" y="146"/>
                  </a:lnTo>
                  <a:lnTo>
                    <a:pt x="174" y="146"/>
                  </a:lnTo>
                  <a:lnTo>
                    <a:pt x="182" y="167"/>
                  </a:lnTo>
                  <a:lnTo>
                    <a:pt x="182" y="190"/>
                  </a:lnTo>
                  <a:lnTo>
                    <a:pt x="174" y="190"/>
                  </a:lnTo>
                  <a:lnTo>
                    <a:pt x="169" y="179"/>
                  </a:lnTo>
                  <a:lnTo>
                    <a:pt x="162" y="190"/>
                  </a:lnTo>
                  <a:lnTo>
                    <a:pt x="157" y="190"/>
                  </a:lnTo>
                  <a:lnTo>
                    <a:pt x="143" y="179"/>
                  </a:lnTo>
                  <a:lnTo>
                    <a:pt x="143" y="167"/>
                  </a:lnTo>
                  <a:lnTo>
                    <a:pt x="132" y="167"/>
                  </a:lnTo>
                  <a:lnTo>
                    <a:pt x="132" y="179"/>
                  </a:lnTo>
                  <a:lnTo>
                    <a:pt x="124" y="167"/>
                  </a:lnTo>
                  <a:lnTo>
                    <a:pt x="113" y="179"/>
                  </a:lnTo>
                  <a:lnTo>
                    <a:pt x="93" y="190"/>
                  </a:lnTo>
                  <a:lnTo>
                    <a:pt x="93" y="179"/>
                  </a:lnTo>
                  <a:lnTo>
                    <a:pt x="87" y="167"/>
                  </a:lnTo>
                  <a:lnTo>
                    <a:pt x="69" y="158"/>
                  </a:lnTo>
                  <a:lnTo>
                    <a:pt x="44" y="158"/>
                  </a:lnTo>
                  <a:lnTo>
                    <a:pt x="32" y="158"/>
                  </a:lnTo>
                  <a:lnTo>
                    <a:pt x="32" y="167"/>
                  </a:lnTo>
                  <a:lnTo>
                    <a:pt x="24" y="167"/>
                  </a:lnTo>
                  <a:lnTo>
                    <a:pt x="24" y="179"/>
                  </a:lnTo>
                  <a:lnTo>
                    <a:pt x="18" y="202"/>
                  </a:lnTo>
                  <a:lnTo>
                    <a:pt x="18" y="212"/>
                  </a:lnTo>
                  <a:lnTo>
                    <a:pt x="13" y="223"/>
                  </a:lnTo>
                  <a:lnTo>
                    <a:pt x="13" y="202"/>
                  </a:lnTo>
                  <a:lnTo>
                    <a:pt x="6" y="202"/>
                  </a:lnTo>
                  <a:lnTo>
                    <a:pt x="0" y="235"/>
                  </a:lnTo>
                  <a:lnTo>
                    <a:pt x="0" y="246"/>
                  </a:lnTo>
                  <a:lnTo>
                    <a:pt x="0" y="267"/>
                  </a:lnTo>
                  <a:lnTo>
                    <a:pt x="6" y="281"/>
                  </a:lnTo>
                  <a:lnTo>
                    <a:pt x="6" y="290"/>
                  </a:lnTo>
                  <a:lnTo>
                    <a:pt x="6" y="311"/>
                  </a:lnTo>
                  <a:lnTo>
                    <a:pt x="13" y="302"/>
                  </a:lnTo>
                  <a:lnTo>
                    <a:pt x="24" y="290"/>
                  </a:lnTo>
                  <a:lnTo>
                    <a:pt x="32" y="302"/>
                  </a:lnTo>
                  <a:lnTo>
                    <a:pt x="37" y="325"/>
                  </a:lnTo>
                  <a:lnTo>
                    <a:pt x="44" y="335"/>
                  </a:lnTo>
                  <a:lnTo>
                    <a:pt x="50" y="369"/>
                  </a:lnTo>
                  <a:lnTo>
                    <a:pt x="63" y="356"/>
                  </a:lnTo>
                  <a:lnTo>
                    <a:pt x="82" y="356"/>
                  </a:lnTo>
                  <a:lnTo>
                    <a:pt x="119" y="346"/>
                  </a:lnTo>
                  <a:lnTo>
                    <a:pt x="124" y="369"/>
                  </a:lnTo>
                  <a:lnTo>
                    <a:pt x="124" y="400"/>
                  </a:lnTo>
                  <a:lnTo>
                    <a:pt x="113" y="413"/>
                  </a:lnTo>
                  <a:lnTo>
                    <a:pt x="93" y="423"/>
                  </a:lnTo>
                  <a:lnTo>
                    <a:pt x="100" y="446"/>
                  </a:lnTo>
                  <a:lnTo>
                    <a:pt x="74" y="446"/>
                  </a:lnTo>
                  <a:lnTo>
                    <a:pt x="93" y="502"/>
                  </a:lnTo>
                  <a:lnTo>
                    <a:pt x="106" y="513"/>
                  </a:lnTo>
                  <a:lnTo>
                    <a:pt x="119" y="513"/>
                  </a:lnTo>
                  <a:lnTo>
                    <a:pt x="119" y="536"/>
                  </a:lnTo>
                  <a:lnTo>
                    <a:pt x="124" y="523"/>
                  </a:lnTo>
                  <a:lnTo>
                    <a:pt x="143" y="523"/>
                  </a:lnTo>
                  <a:lnTo>
                    <a:pt x="150" y="536"/>
                  </a:lnTo>
                  <a:lnTo>
                    <a:pt x="157" y="546"/>
                  </a:lnTo>
                  <a:lnTo>
                    <a:pt x="162" y="536"/>
                  </a:lnTo>
                  <a:lnTo>
                    <a:pt x="174" y="536"/>
                  </a:lnTo>
                  <a:lnTo>
                    <a:pt x="157" y="413"/>
                  </a:lnTo>
                  <a:lnTo>
                    <a:pt x="162" y="400"/>
                  </a:lnTo>
                  <a:lnTo>
                    <a:pt x="188" y="379"/>
                  </a:lnTo>
                  <a:lnTo>
                    <a:pt x="193" y="379"/>
                  </a:lnTo>
                  <a:lnTo>
                    <a:pt x="188" y="356"/>
                  </a:lnTo>
                  <a:lnTo>
                    <a:pt x="193" y="369"/>
                  </a:lnTo>
                  <a:lnTo>
                    <a:pt x="193" y="356"/>
                  </a:lnTo>
                  <a:lnTo>
                    <a:pt x="200" y="346"/>
                  </a:lnTo>
                  <a:lnTo>
                    <a:pt x="207" y="346"/>
                  </a:lnTo>
                  <a:lnTo>
                    <a:pt x="212" y="356"/>
                  </a:lnTo>
                  <a:lnTo>
                    <a:pt x="219" y="346"/>
                  </a:lnTo>
                  <a:lnTo>
                    <a:pt x="225" y="346"/>
                  </a:lnTo>
                  <a:lnTo>
                    <a:pt x="219" y="369"/>
                  </a:lnTo>
                  <a:lnTo>
                    <a:pt x="225" y="400"/>
                  </a:lnTo>
                  <a:lnTo>
                    <a:pt x="238" y="413"/>
                  </a:lnTo>
                  <a:lnTo>
                    <a:pt x="238" y="423"/>
                  </a:lnTo>
                  <a:lnTo>
                    <a:pt x="231" y="434"/>
                  </a:lnTo>
                  <a:lnTo>
                    <a:pt x="238" y="446"/>
                  </a:lnTo>
                  <a:lnTo>
                    <a:pt x="249" y="457"/>
                  </a:lnTo>
                  <a:lnTo>
                    <a:pt x="257" y="467"/>
                  </a:lnTo>
                  <a:lnTo>
                    <a:pt x="275" y="467"/>
                  </a:lnTo>
                  <a:lnTo>
                    <a:pt x="288" y="457"/>
                  </a:lnTo>
                  <a:lnTo>
                    <a:pt x="307" y="513"/>
                  </a:lnTo>
                  <a:lnTo>
                    <a:pt x="313" y="536"/>
                  </a:lnTo>
                  <a:lnTo>
                    <a:pt x="307" y="546"/>
                  </a:lnTo>
                  <a:lnTo>
                    <a:pt x="300" y="557"/>
                  </a:lnTo>
                  <a:lnTo>
                    <a:pt x="318" y="567"/>
                  </a:lnTo>
                  <a:lnTo>
                    <a:pt x="318" y="580"/>
                  </a:lnTo>
                  <a:lnTo>
                    <a:pt x="338" y="567"/>
                  </a:lnTo>
                  <a:lnTo>
                    <a:pt x="344" y="580"/>
                  </a:lnTo>
                  <a:lnTo>
                    <a:pt x="363" y="557"/>
                  </a:lnTo>
                  <a:lnTo>
                    <a:pt x="368" y="557"/>
                  </a:lnTo>
                  <a:lnTo>
                    <a:pt x="382" y="567"/>
                  </a:lnTo>
                  <a:lnTo>
                    <a:pt x="400" y="567"/>
                  </a:lnTo>
                  <a:lnTo>
                    <a:pt x="400" y="546"/>
                  </a:lnTo>
                  <a:lnTo>
                    <a:pt x="400" y="536"/>
                  </a:lnTo>
                  <a:lnTo>
                    <a:pt x="400" y="523"/>
                  </a:lnTo>
                  <a:lnTo>
                    <a:pt x="400" y="513"/>
                  </a:lnTo>
                  <a:lnTo>
                    <a:pt x="394" y="513"/>
                  </a:lnTo>
                  <a:lnTo>
                    <a:pt x="413" y="502"/>
                  </a:lnTo>
                  <a:lnTo>
                    <a:pt x="418" y="513"/>
                  </a:lnTo>
                  <a:lnTo>
                    <a:pt x="426" y="513"/>
                  </a:lnTo>
                  <a:lnTo>
                    <a:pt x="437" y="513"/>
                  </a:lnTo>
                  <a:lnTo>
                    <a:pt x="426" y="490"/>
                  </a:lnTo>
                  <a:lnTo>
                    <a:pt x="437" y="479"/>
                  </a:lnTo>
                  <a:lnTo>
                    <a:pt x="475" y="490"/>
                  </a:lnTo>
                  <a:lnTo>
                    <a:pt x="506" y="502"/>
                  </a:lnTo>
                  <a:lnTo>
                    <a:pt x="532" y="523"/>
                  </a:lnTo>
                  <a:lnTo>
                    <a:pt x="543" y="523"/>
                  </a:lnTo>
                  <a:lnTo>
                    <a:pt x="543" y="546"/>
                  </a:lnTo>
                  <a:lnTo>
                    <a:pt x="557" y="490"/>
                  </a:lnTo>
                  <a:lnTo>
                    <a:pt x="543" y="434"/>
                  </a:lnTo>
                  <a:lnTo>
                    <a:pt x="582" y="423"/>
                  </a:lnTo>
                  <a:lnTo>
                    <a:pt x="582" y="390"/>
                  </a:lnTo>
                  <a:lnTo>
                    <a:pt x="588" y="346"/>
                  </a:lnTo>
                  <a:lnTo>
                    <a:pt x="631" y="346"/>
                  </a:lnTo>
                  <a:lnTo>
                    <a:pt x="638" y="29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37" name="Freeform 1116"/>
            <p:cNvSpPr>
              <a:spLocks/>
            </p:cNvSpPr>
            <p:nvPr>
              <p:custDataLst>
                <p:tags r:id="rId945"/>
              </p:custDataLst>
            </p:nvPr>
          </p:nvSpPr>
          <p:spPr bwMode="auto">
            <a:xfrm>
              <a:off x="7316227" y="3234925"/>
              <a:ext cx="1202938" cy="460375"/>
            </a:xfrm>
            <a:custGeom>
              <a:avLst/>
              <a:gdLst>
                <a:gd name="T0" fmla="*/ 2147483647 w 651"/>
                <a:gd name="T1" fmla="*/ 2147483647 h 580"/>
                <a:gd name="T2" fmla="*/ 2147483647 w 651"/>
                <a:gd name="T3" fmla="*/ 2147483647 h 580"/>
                <a:gd name="T4" fmla="*/ 2147483647 w 651"/>
                <a:gd name="T5" fmla="*/ 2147483647 h 580"/>
                <a:gd name="T6" fmla="*/ 2147483647 w 651"/>
                <a:gd name="T7" fmla="*/ 2147483647 h 580"/>
                <a:gd name="T8" fmla="*/ 2147483647 w 651"/>
                <a:gd name="T9" fmla="*/ 2147483647 h 580"/>
                <a:gd name="T10" fmla="*/ 2147483647 w 651"/>
                <a:gd name="T11" fmla="*/ 2147483647 h 580"/>
                <a:gd name="T12" fmla="*/ 2147483647 w 651"/>
                <a:gd name="T13" fmla="*/ 2147483647 h 580"/>
                <a:gd name="T14" fmla="*/ 2147483647 w 651"/>
                <a:gd name="T15" fmla="*/ 2147483647 h 580"/>
                <a:gd name="T16" fmla="*/ 2147483647 w 651"/>
                <a:gd name="T17" fmla="*/ 2147483647 h 580"/>
                <a:gd name="T18" fmla="*/ 2147483647 w 651"/>
                <a:gd name="T19" fmla="*/ 2147483647 h 580"/>
                <a:gd name="T20" fmla="*/ 2147483647 w 651"/>
                <a:gd name="T21" fmla="*/ 2147483647 h 580"/>
                <a:gd name="T22" fmla="*/ 2147483647 w 651"/>
                <a:gd name="T23" fmla="*/ 2147483647 h 580"/>
                <a:gd name="T24" fmla="*/ 2147483647 w 651"/>
                <a:gd name="T25" fmla="*/ 2147483647 h 580"/>
                <a:gd name="T26" fmla="*/ 2147483647 w 651"/>
                <a:gd name="T27" fmla="*/ 2147483647 h 580"/>
                <a:gd name="T28" fmla="*/ 2147483647 w 651"/>
                <a:gd name="T29" fmla="*/ 2147483647 h 580"/>
                <a:gd name="T30" fmla="*/ 2147483647 w 651"/>
                <a:gd name="T31" fmla="*/ 2147483647 h 580"/>
                <a:gd name="T32" fmla="*/ 2147483647 w 651"/>
                <a:gd name="T33" fmla="*/ 2147483647 h 580"/>
                <a:gd name="T34" fmla="*/ 2147483647 w 651"/>
                <a:gd name="T35" fmla="*/ 2147483647 h 580"/>
                <a:gd name="T36" fmla="*/ 2147483647 w 651"/>
                <a:gd name="T37" fmla="*/ 2147483647 h 580"/>
                <a:gd name="T38" fmla="*/ 2147483647 w 651"/>
                <a:gd name="T39" fmla="*/ 2147483647 h 580"/>
                <a:gd name="T40" fmla="*/ 2147483647 w 651"/>
                <a:gd name="T41" fmla="*/ 2147483647 h 580"/>
                <a:gd name="T42" fmla="*/ 0 w 651"/>
                <a:gd name="T43" fmla="*/ 2147483647 h 580"/>
                <a:gd name="T44" fmla="*/ 2147483647 w 651"/>
                <a:gd name="T45" fmla="*/ 2147483647 h 580"/>
                <a:gd name="T46" fmla="*/ 2147483647 w 651"/>
                <a:gd name="T47" fmla="*/ 2147483647 h 580"/>
                <a:gd name="T48" fmla="*/ 2147483647 w 651"/>
                <a:gd name="T49" fmla="*/ 2147483647 h 580"/>
                <a:gd name="T50" fmla="*/ 2147483647 w 651"/>
                <a:gd name="T51" fmla="*/ 2147483647 h 580"/>
                <a:gd name="T52" fmla="*/ 2147483647 w 651"/>
                <a:gd name="T53" fmla="*/ 2147483647 h 580"/>
                <a:gd name="T54" fmla="*/ 2147483647 w 651"/>
                <a:gd name="T55" fmla="*/ 2147483647 h 580"/>
                <a:gd name="T56" fmla="*/ 2147483647 w 651"/>
                <a:gd name="T57" fmla="*/ 2147483647 h 580"/>
                <a:gd name="T58" fmla="*/ 2147483647 w 651"/>
                <a:gd name="T59" fmla="*/ 2147483647 h 580"/>
                <a:gd name="T60" fmla="*/ 2147483647 w 651"/>
                <a:gd name="T61" fmla="*/ 2147483647 h 580"/>
                <a:gd name="T62" fmla="*/ 2147483647 w 651"/>
                <a:gd name="T63" fmla="*/ 2147483647 h 580"/>
                <a:gd name="T64" fmla="*/ 2147483647 w 651"/>
                <a:gd name="T65" fmla="*/ 2147483647 h 580"/>
                <a:gd name="T66" fmla="*/ 2147483647 w 651"/>
                <a:gd name="T67" fmla="*/ 2147483647 h 580"/>
                <a:gd name="T68" fmla="*/ 2147483647 w 651"/>
                <a:gd name="T69" fmla="*/ 2147483647 h 580"/>
                <a:gd name="T70" fmla="*/ 2147483647 w 651"/>
                <a:gd name="T71" fmla="*/ 2147483647 h 580"/>
                <a:gd name="T72" fmla="*/ 2147483647 w 651"/>
                <a:gd name="T73" fmla="*/ 2147483647 h 580"/>
                <a:gd name="T74" fmla="*/ 2147483647 w 651"/>
                <a:gd name="T75" fmla="*/ 2147483647 h 580"/>
                <a:gd name="T76" fmla="*/ 2147483647 w 651"/>
                <a:gd name="T77" fmla="*/ 2147483647 h 580"/>
                <a:gd name="T78" fmla="*/ 2147483647 w 651"/>
                <a:gd name="T79" fmla="*/ 2147483647 h 580"/>
                <a:gd name="T80" fmla="*/ 2147483647 w 651"/>
                <a:gd name="T81" fmla="*/ 2147483647 h 580"/>
                <a:gd name="T82" fmla="*/ 2147483647 w 651"/>
                <a:gd name="T83" fmla="*/ 2147483647 h 580"/>
                <a:gd name="T84" fmla="*/ 2147483647 w 651"/>
                <a:gd name="T85" fmla="*/ 2147483647 h 580"/>
                <a:gd name="T86" fmla="*/ 2147483647 w 651"/>
                <a:gd name="T87" fmla="*/ 2147483647 h 580"/>
                <a:gd name="T88" fmla="*/ 2147483647 w 651"/>
                <a:gd name="T89" fmla="*/ 2147483647 h 580"/>
                <a:gd name="T90" fmla="*/ 2147483647 w 651"/>
                <a:gd name="T91" fmla="*/ 2147483647 h 580"/>
                <a:gd name="T92" fmla="*/ 2147483647 w 651"/>
                <a:gd name="T93" fmla="*/ 2147483647 h 580"/>
                <a:gd name="T94" fmla="*/ 2147483647 w 651"/>
                <a:gd name="T95" fmla="*/ 2147483647 h 580"/>
                <a:gd name="T96" fmla="*/ 2147483647 w 651"/>
                <a:gd name="T97" fmla="*/ 2147483647 h 580"/>
                <a:gd name="T98" fmla="*/ 2147483647 w 651"/>
                <a:gd name="T99" fmla="*/ 2147483647 h 580"/>
                <a:gd name="T100" fmla="*/ 2147483647 w 651"/>
                <a:gd name="T101" fmla="*/ 2147483647 h 580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651" h="580">
                  <a:moveTo>
                    <a:pt x="638" y="290"/>
                  </a:moveTo>
                  <a:lnTo>
                    <a:pt x="651" y="281"/>
                  </a:lnTo>
                  <a:lnTo>
                    <a:pt x="619" y="235"/>
                  </a:lnTo>
                  <a:lnTo>
                    <a:pt x="593" y="256"/>
                  </a:lnTo>
                  <a:lnTo>
                    <a:pt x="569" y="235"/>
                  </a:lnTo>
                  <a:lnTo>
                    <a:pt x="557" y="223"/>
                  </a:lnTo>
                  <a:lnTo>
                    <a:pt x="543" y="223"/>
                  </a:lnTo>
                  <a:lnTo>
                    <a:pt x="532" y="202"/>
                  </a:lnTo>
                  <a:lnTo>
                    <a:pt x="532" y="179"/>
                  </a:lnTo>
                  <a:lnTo>
                    <a:pt x="519" y="179"/>
                  </a:lnTo>
                  <a:lnTo>
                    <a:pt x="506" y="179"/>
                  </a:lnTo>
                  <a:lnTo>
                    <a:pt x="501" y="190"/>
                  </a:lnTo>
                  <a:lnTo>
                    <a:pt x="482" y="158"/>
                  </a:lnTo>
                  <a:lnTo>
                    <a:pt x="475" y="158"/>
                  </a:lnTo>
                  <a:lnTo>
                    <a:pt x="469" y="167"/>
                  </a:lnTo>
                  <a:lnTo>
                    <a:pt x="456" y="167"/>
                  </a:lnTo>
                  <a:lnTo>
                    <a:pt x="444" y="146"/>
                  </a:lnTo>
                  <a:lnTo>
                    <a:pt x="413" y="100"/>
                  </a:lnTo>
                  <a:lnTo>
                    <a:pt x="387" y="69"/>
                  </a:lnTo>
                  <a:lnTo>
                    <a:pt x="376" y="35"/>
                  </a:lnTo>
                  <a:lnTo>
                    <a:pt x="350" y="69"/>
                  </a:lnTo>
                  <a:lnTo>
                    <a:pt x="344" y="46"/>
                  </a:lnTo>
                  <a:lnTo>
                    <a:pt x="307" y="46"/>
                  </a:lnTo>
                  <a:lnTo>
                    <a:pt x="300" y="46"/>
                  </a:lnTo>
                  <a:lnTo>
                    <a:pt x="281" y="0"/>
                  </a:lnTo>
                  <a:lnTo>
                    <a:pt x="262" y="0"/>
                  </a:lnTo>
                  <a:lnTo>
                    <a:pt x="257" y="23"/>
                  </a:lnTo>
                  <a:lnTo>
                    <a:pt x="231" y="35"/>
                  </a:lnTo>
                  <a:lnTo>
                    <a:pt x="225" y="23"/>
                  </a:lnTo>
                  <a:lnTo>
                    <a:pt x="207" y="46"/>
                  </a:lnTo>
                  <a:lnTo>
                    <a:pt x="200" y="46"/>
                  </a:lnTo>
                  <a:lnTo>
                    <a:pt x="169" y="56"/>
                  </a:lnTo>
                  <a:lnTo>
                    <a:pt x="157" y="46"/>
                  </a:lnTo>
                  <a:lnTo>
                    <a:pt x="157" y="56"/>
                  </a:lnTo>
                  <a:lnTo>
                    <a:pt x="169" y="91"/>
                  </a:lnTo>
                  <a:lnTo>
                    <a:pt x="157" y="114"/>
                  </a:lnTo>
                  <a:lnTo>
                    <a:pt x="162" y="135"/>
                  </a:lnTo>
                  <a:lnTo>
                    <a:pt x="162" y="146"/>
                  </a:lnTo>
                  <a:lnTo>
                    <a:pt x="174" y="146"/>
                  </a:lnTo>
                  <a:lnTo>
                    <a:pt x="182" y="167"/>
                  </a:lnTo>
                  <a:lnTo>
                    <a:pt x="182" y="190"/>
                  </a:lnTo>
                  <a:lnTo>
                    <a:pt x="174" y="190"/>
                  </a:lnTo>
                  <a:lnTo>
                    <a:pt x="169" y="179"/>
                  </a:lnTo>
                  <a:lnTo>
                    <a:pt x="162" y="190"/>
                  </a:lnTo>
                  <a:lnTo>
                    <a:pt x="157" y="190"/>
                  </a:lnTo>
                  <a:lnTo>
                    <a:pt x="143" y="179"/>
                  </a:lnTo>
                  <a:lnTo>
                    <a:pt x="143" y="167"/>
                  </a:lnTo>
                  <a:lnTo>
                    <a:pt x="132" y="167"/>
                  </a:lnTo>
                  <a:lnTo>
                    <a:pt x="132" y="179"/>
                  </a:lnTo>
                  <a:lnTo>
                    <a:pt x="124" y="167"/>
                  </a:lnTo>
                  <a:lnTo>
                    <a:pt x="113" y="179"/>
                  </a:lnTo>
                  <a:lnTo>
                    <a:pt x="93" y="190"/>
                  </a:lnTo>
                  <a:lnTo>
                    <a:pt x="93" y="179"/>
                  </a:lnTo>
                  <a:lnTo>
                    <a:pt x="87" y="167"/>
                  </a:lnTo>
                  <a:lnTo>
                    <a:pt x="69" y="158"/>
                  </a:lnTo>
                  <a:lnTo>
                    <a:pt x="44" y="158"/>
                  </a:lnTo>
                  <a:lnTo>
                    <a:pt x="32" y="158"/>
                  </a:lnTo>
                  <a:lnTo>
                    <a:pt x="32" y="167"/>
                  </a:lnTo>
                  <a:lnTo>
                    <a:pt x="24" y="167"/>
                  </a:lnTo>
                  <a:lnTo>
                    <a:pt x="24" y="179"/>
                  </a:lnTo>
                  <a:lnTo>
                    <a:pt x="18" y="202"/>
                  </a:lnTo>
                  <a:lnTo>
                    <a:pt x="18" y="212"/>
                  </a:lnTo>
                  <a:lnTo>
                    <a:pt x="13" y="223"/>
                  </a:lnTo>
                  <a:lnTo>
                    <a:pt x="13" y="202"/>
                  </a:lnTo>
                  <a:lnTo>
                    <a:pt x="6" y="202"/>
                  </a:lnTo>
                  <a:lnTo>
                    <a:pt x="0" y="235"/>
                  </a:lnTo>
                  <a:lnTo>
                    <a:pt x="0" y="246"/>
                  </a:lnTo>
                  <a:lnTo>
                    <a:pt x="0" y="267"/>
                  </a:lnTo>
                  <a:lnTo>
                    <a:pt x="6" y="281"/>
                  </a:lnTo>
                  <a:lnTo>
                    <a:pt x="6" y="290"/>
                  </a:lnTo>
                  <a:lnTo>
                    <a:pt x="6" y="311"/>
                  </a:lnTo>
                  <a:lnTo>
                    <a:pt x="13" y="302"/>
                  </a:lnTo>
                  <a:lnTo>
                    <a:pt x="24" y="290"/>
                  </a:lnTo>
                  <a:lnTo>
                    <a:pt x="32" y="302"/>
                  </a:lnTo>
                  <a:lnTo>
                    <a:pt x="37" y="325"/>
                  </a:lnTo>
                  <a:lnTo>
                    <a:pt x="44" y="335"/>
                  </a:lnTo>
                  <a:lnTo>
                    <a:pt x="50" y="369"/>
                  </a:lnTo>
                  <a:lnTo>
                    <a:pt x="63" y="356"/>
                  </a:lnTo>
                  <a:lnTo>
                    <a:pt x="82" y="356"/>
                  </a:lnTo>
                  <a:lnTo>
                    <a:pt x="119" y="346"/>
                  </a:lnTo>
                  <a:lnTo>
                    <a:pt x="124" y="369"/>
                  </a:lnTo>
                  <a:lnTo>
                    <a:pt x="124" y="400"/>
                  </a:lnTo>
                  <a:lnTo>
                    <a:pt x="113" y="413"/>
                  </a:lnTo>
                  <a:lnTo>
                    <a:pt x="93" y="423"/>
                  </a:lnTo>
                  <a:lnTo>
                    <a:pt x="100" y="446"/>
                  </a:lnTo>
                  <a:lnTo>
                    <a:pt x="74" y="446"/>
                  </a:lnTo>
                  <a:lnTo>
                    <a:pt x="93" y="502"/>
                  </a:lnTo>
                  <a:lnTo>
                    <a:pt x="106" y="513"/>
                  </a:lnTo>
                  <a:lnTo>
                    <a:pt x="119" y="513"/>
                  </a:lnTo>
                  <a:lnTo>
                    <a:pt x="119" y="536"/>
                  </a:lnTo>
                  <a:lnTo>
                    <a:pt x="124" y="523"/>
                  </a:lnTo>
                  <a:lnTo>
                    <a:pt x="143" y="523"/>
                  </a:lnTo>
                  <a:lnTo>
                    <a:pt x="150" y="536"/>
                  </a:lnTo>
                  <a:lnTo>
                    <a:pt x="157" y="546"/>
                  </a:lnTo>
                  <a:lnTo>
                    <a:pt x="162" y="536"/>
                  </a:lnTo>
                  <a:lnTo>
                    <a:pt x="174" y="536"/>
                  </a:lnTo>
                  <a:lnTo>
                    <a:pt x="157" y="413"/>
                  </a:lnTo>
                  <a:lnTo>
                    <a:pt x="162" y="400"/>
                  </a:lnTo>
                  <a:lnTo>
                    <a:pt x="188" y="379"/>
                  </a:lnTo>
                  <a:lnTo>
                    <a:pt x="193" y="379"/>
                  </a:lnTo>
                  <a:lnTo>
                    <a:pt x="188" y="356"/>
                  </a:lnTo>
                  <a:lnTo>
                    <a:pt x="193" y="369"/>
                  </a:lnTo>
                  <a:lnTo>
                    <a:pt x="193" y="356"/>
                  </a:lnTo>
                  <a:lnTo>
                    <a:pt x="200" y="346"/>
                  </a:lnTo>
                  <a:lnTo>
                    <a:pt x="207" y="346"/>
                  </a:lnTo>
                  <a:lnTo>
                    <a:pt x="212" y="356"/>
                  </a:lnTo>
                  <a:lnTo>
                    <a:pt x="219" y="346"/>
                  </a:lnTo>
                  <a:lnTo>
                    <a:pt x="225" y="346"/>
                  </a:lnTo>
                  <a:lnTo>
                    <a:pt x="219" y="369"/>
                  </a:lnTo>
                  <a:lnTo>
                    <a:pt x="225" y="400"/>
                  </a:lnTo>
                  <a:lnTo>
                    <a:pt x="238" y="413"/>
                  </a:lnTo>
                  <a:lnTo>
                    <a:pt x="238" y="423"/>
                  </a:lnTo>
                  <a:lnTo>
                    <a:pt x="231" y="434"/>
                  </a:lnTo>
                  <a:lnTo>
                    <a:pt x="238" y="446"/>
                  </a:lnTo>
                  <a:lnTo>
                    <a:pt x="249" y="457"/>
                  </a:lnTo>
                  <a:lnTo>
                    <a:pt x="257" y="467"/>
                  </a:lnTo>
                  <a:lnTo>
                    <a:pt x="275" y="467"/>
                  </a:lnTo>
                  <a:lnTo>
                    <a:pt x="288" y="457"/>
                  </a:lnTo>
                  <a:lnTo>
                    <a:pt x="307" y="513"/>
                  </a:lnTo>
                  <a:lnTo>
                    <a:pt x="313" y="536"/>
                  </a:lnTo>
                  <a:lnTo>
                    <a:pt x="307" y="546"/>
                  </a:lnTo>
                  <a:lnTo>
                    <a:pt x="300" y="557"/>
                  </a:lnTo>
                  <a:lnTo>
                    <a:pt x="318" y="567"/>
                  </a:lnTo>
                  <a:lnTo>
                    <a:pt x="318" y="580"/>
                  </a:lnTo>
                  <a:lnTo>
                    <a:pt x="338" y="567"/>
                  </a:lnTo>
                  <a:lnTo>
                    <a:pt x="344" y="580"/>
                  </a:lnTo>
                  <a:lnTo>
                    <a:pt x="363" y="557"/>
                  </a:lnTo>
                  <a:lnTo>
                    <a:pt x="368" y="557"/>
                  </a:lnTo>
                  <a:lnTo>
                    <a:pt x="382" y="567"/>
                  </a:lnTo>
                  <a:lnTo>
                    <a:pt x="400" y="567"/>
                  </a:lnTo>
                  <a:lnTo>
                    <a:pt x="400" y="546"/>
                  </a:lnTo>
                  <a:lnTo>
                    <a:pt x="400" y="536"/>
                  </a:lnTo>
                  <a:lnTo>
                    <a:pt x="400" y="523"/>
                  </a:lnTo>
                  <a:lnTo>
                    <a:pt x="400" y="513"/>
                  </a:lnTo>
                  <a:lnTo>
                    <a:pt x="394" y="513"/>
                  </a:lnTo>
                  <a:lnTo>
                    <a:pt x="413" y="502"/>
                  </a:lnTo>
                  <a:lnTo>
                    <a:pt x="418" y="513"/>
                  </a:lnTo>
                  <a:lnTo>
                    <a:pt x="426" y="513"/>
                  </a:lnTo>
                  <a:lnTo>
                    <a:pt x="437" y="513"/>
                  </a:lnTo>
                  <a:lnTo>
                    <a:pt x="426" y="490"/>
                  </a:lnTo>
                  <a:lnTo>
                    <a:pt x="437" y="479"/>
                  </a:lnTo>
                  <a:lnTo>
                    <a:pt x="475" y="490"/>
                  </a:lnTo>
                  <a:lnTo>
                    <a:pt x="506" y="502"/>
                  </a:lnTo>
                  <a:lnTo>
                    <a:pt x="532" y="523"/>
                  </a:lnTo>
                  <a:lnTo>
                    <a:pt x="543" y="523"/>
                  </a:lnTo>
                  <a:lnTo>
                    <a:pt x="543" y="546"/>
                  </a:lnTo>
                  <a:lnTo>
                    <a:pt x="557" y="490"/>
                  </a:lnTo>
                  <a:lnTo>
                    <a:pt x="543" y="434"/>
                  </a:lnTo>
                  <a:lnTo>
                    <a:pt x="582" y="423"/>
                  </a:lnTo>
                  <a:lnTo>
                    <a:pt x="582" y="390"/>
                  </a:lnTo>
                  <a:lnTo>
                    <a:pt x="588" y="346"/>
                  </a:lnTo>
                  <a:lnTo>
                    <a:pt x="631" y="346"/>
                  </a:lnTo>
                  <a:lnTo>
                    <a:pt x="638" y="290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38" name="Freeform 1117"/>
            <p:cNvSpPr>
              <a:spLocks/>
            </p:cNvSpPr>
            <p:nvPr>
              <p:custDataLst>
                <p:tags r:id="rId946"/>
              </p:custDataLst>
            </p:nvPr>
          </p:nvSpPr>
          <p:spPr bwMode="auto">
            <a:xfrm>
              <a:off x="7604942" y="3527012"/>
              <a:ext cx="519269" cy="284163"/>
            </a:xfrm>
            <a:custGeom>
              <a:avLst/>
              <a:gdLst>
                <a:gd name="T0" fmla="*/ 2147483647 w 281"/>
                <a:gd name="T1" fmla="*/ 2147483647 h 357"/>
                <a:gd name="T2" fmla="*/ 2147483647 w 281"/>
                <a:gd name="T3" fmla="*/ 2147483647 h 357"/>
                <a:gd name="T4" fmla="*/ 2147483647 w 281"/>
                <a:gd name="T5" fmla="*/ 2147483647 h 357"/>
                <a:gd name="T6" fmla="*/ 2147483647 w 281"/>
                <a:gd name="T7" fmla="*/ 2147483647 h 357"/>
                <a:gd name="T8" fmla="*/ 2147483647 w 281"/>
                <a:gd name="T9" fmla="*/ 2147483647 h 357"/>
                <a:gd name="T10" fmla="*/ 2147483647 w 281"/>
                <a:gd name="T11" fmla="*/ 2147483647 h 357"/>
                <a:gd name="T12" fmla="*/ 2147483647 w 281"/>
                <a:gd name="T13" fmla="*/ 2147483647 h 357"/>
                <a:gd name="T14" fmla="*/ 2147483647 w 281"/>
                <a:gd name="T15" fmla="*/ 2147483647 h 357"/>
                <a:gd name="T16" fmla="*/ 2147483647 w 281"/>
                <a:gd name="T17" fmla="*/ 2147483647 h 357"/>
                <a:gd name="T18" fmla="*/ 2147483647 w 281"/>
                <a:gd name="T19" fmla="*/ 2147483647 h 357"/>
                <a:gd name="T20" fmla="*/ 2147483647 w 281"/>
                <a:gd name="T21" fmla="*/ 2147483647 h 357"/>
                <a:gd name="T22" fmla="*/ 2147483647 w 281"/>
                <a:gd name="T23" fmla="*/ 2147483647 h 357"/>
                <a:gd name="T24" fmla="*/ 2147483647 w 281"/>
                <a:gd name="T25" fmla="*/ 2147483647 h 357"/>
                <a:gd name="T26" fmla="*/ 2147483647 w 281"/>
                <a:gd name="T27" fmla="*/ 2147483647 h 357"/>
                <a:gd name="T28" fmla="*/ 2147483647 w 281"/>
                <a:gd name="T29" fmla="*/ 2147483647 h 357"/>
                <a:gd name="T30" fmla="*/ 2147483647 w 281"/>
                <a:gd name="T31" fmla="*/ 2147483647 h 357"/>
                <a:gd name="T32" fmla="*/ 2147483647 w 281"/>
                <a:gd name="T33" fmla="*/ 2147483647 h 357"/>
                <a:gd name="T34" fmla="*/ 2147483647 w 281"/>
                <a:gd name="T35" fmla="*/ 2147483647 h 357"/>
                <a:gd name="T36" fmla="*/ 2147483647 w 281"/>
                <a:gd name="T37" fmla="*/ 2147483647 h 357"/>
                <a:gd name="T38" fmla="*/ 2147483647 w 281"/>
                <a:gd name="T39" fmla="*/ 2147483647 h 357"/>
                <a:gd name="T40" fmla="*/ 2147483647 w 281"/>
                <a:gd name="T41" fmla="*/ 2147483647 h 357"/>
                <a:gd name="T42" fmla="*/ 2147483647 w 281"/>
                <a:gd name="T43" fmla="*/ 2147483647 h 357"/>
                <a:gd name="T44" fmla="*/ 2147483647 w 281"/>
                <a:gd name="T45" fmla="*/ 2147483647 h 357"/>
                <a:gd name="T46" fmla="*/ 2147483647 w 281"/>
                <a:gd name="T47" fmla="*/ 2147483647 h 357"/>
                <a:gd name="T48" fmla="*/ 2147483647 w 281"/>
                <a:gd name="T49" fmla="*/ 2147483647 h 357"/>
                <a:gd name="T50" fmla="*/ 2147483647 w 281"/>
                <a:gd name="T51" fmla="*/ 2147483647 h 357"/>
                <a:gd name="T52" fmla="*/ 2147483647 w 281"/>
                <a:gd name="T53" fmla="*/ 2147483647 h 357"/>
                <a:gd name="T54" fmla="*/ 2147483647 w 281"/>
                <a:gd name="T55" fmla="*/ 2147483647 h 357"/>
                <a:gd name="T56" fmla="*/ 2147483647 w 281"/>
                <a:gd name="T57" fmla="*/ 2147483647 h 357"/>
                <a:gd name="T58" fmla="*/ 2147483647 w 281"/>
                <a:gd name="T59" fmla="*/ 2147483647 h 357"/>
                <a:gd name="T60" fmla="*/ 2147483647 w 281"/>
                <a:gd name="T61" fmla="*/ 2147483647 h 357"/>
                <a:gd name="T62" fmla="*/ 2147483647 w 281"/>
                <a:gd name="T63" fmla="*/ 0 h 357"/>
                <a:gd name="T64" fmla="*/ 2147483647 w 281"/>
                <a:gd name="T65" fmla="*/ 2147483647 h 3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1" h="357">
                  <a:moveTo>
                    <a:pt x="18" y="167"/>
                  </a:moveTo>
                  <a:lnTo>
                    <a:pt x="26" y="167"/>
                  </a:lnTo>
                  <a:lnTo>
                    <a:pt x="32" y="156"/>
                  </a:lnTo>
                  <a:lnTo>
                    <a:pt x="32" y="135"/>
                  </a:lnTo>
                  <a:lnTo>
                    <a:pt x="44" y="144"/>
                  </a:lnTo>
                  <a:lnTo>
                    <a:pt x="37" y="123"/>
                  </a:lnTo>
                  <a:lnTo>
                    <a:pt x="44" y="123"/>
                  </a:lnTo>
                  <a:lnTo>
                    <a:pt x="51" y="135"/>
                  </a:lnTo>
                  <a:lnTo>
                    <a:pt x="56" y="135"/>
                  </a:lnTo>
                  <a:lnTo>
                    <a:pt x="63" y="144"/>
                  </a:lnTo>
                  <a:lnTo>
                    <a:pt x="68" y="144"/>
                  </a:lnTo>
                  <a:lnTo>
                    <a:pt x="68" y="167"/>
                  </a:lnTo>
                  <a:lnTo>
                    <a:pt x="75" y="167"/>
                  </a:lnTo>
                  <a:lnTo>
                    <a:pt x="75" y="179"/>
                  </a:lnTo>
                  <a:lnTo>
                    <a:pt x="87" y="200"/>
                  </a:lnTo>
                  <a:lnTo>
                    <a:pt x="93" y="213"/>
                  </a:lnTo>
                  <a:lnTo>
                    <a:pt x="93" y="200"/>
                  </a:lnTo>
                  <a:lnTo>
                    <a:pt x="106" y="188"/>
                  </a:lnTo>
                  <a:lnTo>
                    <a:pt x="113" y="200"/>
                  </a:lnTo>
                  <a:lnTo>
                    <a:pt x="119" y="223"/>
                  </a:lnTo>
                  <a:lnTo>
                    <a:pt x="132" y="257"/>
                  </a:lnTo>
                  <a:lnTo>
                    <a:pt x="156" y="267"/>
                  </a:lnTo>
                  <a:lnTo>
                    <a:pt x="156" y="279"/>
                  </a:lnTo>
                  <a:lnTo>
                    <a:pt x="175" y="302"/>
                  </a:lnTo>
                  <a:lnTo>
                    <a:pt x="182" y="311"/>
                  </a:lnTo>
                  <a:lnTo>
                    <a:pt x="175" y="357"/>
                  </a:lnTo>
                  <a:lnTo>
                    <a:pt x="188" y="357"/>
                  </a:lnTo>
                  <a:lnTo>
                    <a:pt x="201" y="334"/>
                  </a:lnTo>
                  <a:lnTo>
                    <a:pt x="206" y="323"/>
                  </a:lnTo>
                  <a:lnTo>
                    <a:pt x="206" y="311"/>
                  </a:lnTo>
                  <a:lnTo>
                    <a:pt x="206" y="288"/>
                  </a:lnTo>
                  <a:lnTo>
                    <a:pt x="194" y="279"/>
                  </a:lnTo>
                  <a:lnTo>
                    <a:pt x="201" y="234"/>
                  </a:lnTo>
                  <a:lnTo>
                    <a:pt x="206" y="213"/>
                  </a:lnTo>
                  <a:lnTo>
                    <a:pt x="212" y="223"/>
                  </a:lnTo>
                  <a:lnTo>
                    <a:pt x="238" y="213"/>
                  </a:lnTo>
                  <a:lnTo>
                    <a:pt x="238" y="234"/>
                  </a:lnTo>
                  <a:lnTo>
                    <a:pt x="250" y="234"/>
                  </a:lnTo>
                  <a:lnTo>
                    <a:pt x="281" y="223"/>
                  </a:lnTo>
                  <a:lnTo>
                    <a:pt x="281" y="200"/>
                  </a:lnTo>
                  <a:lnTo>
                    <a:pt x="281" y="188"/>
                  </a:lnTo>
                  <a:lnTo>
                    <a:pt x="262" y="188"/>
                  </a:lnTo>
                  <a:lnTo>
                    <a:pt x="231" y="188"/>
                  </a:lnTo>
                  <a:lnTo>
                    <a:pt x="220" y="188"/>
                  </a:lnTo>
                  <a:lnTo>
                    <a:pt x="206" y="188"/>
                  </a:lnTo>
                  <a:lnTo>
                    <a:pt x="194" y="213"/>
                  </a:lnTo>
                  <a:lnTo>
                    <a:pt x="188" y="200"/>
                  </a:lnTo>
                  <a:lnTo>
                    <a:pt x="175" y="200"/>
                  </a:lnTo>
                  <a:lnTo>
                    <a:pt x="170" y="213"/>
                  </a:lnTo>
                  <a:lnTo>
                    <a:pt x="162" y="200"/>
                  </a:lnTo>
                  <a:lnTo>
                    <a:pt x="151" y="188"/>
                  </a:lnTo>
                  <a:lnTo>
                    <a:pt x="151" y="179"/>
                  </a:lnTo>
                  <a:lnTo>
                    <a:pt x="156" y="167"/>
                  </a:lnTo>
                  <a:lnTo>
                    <a:pt x="151" y="135"/>
                  </a:lnTo>
                  <a:lnTo>
                    <a:pt x="137" y="90"/>
                  </a:lnTo>
                  <a:lnTo>
                    <a:pt x="101" y="100"/>
                  </a:lnTo>
                  <a:lnTo>
                    <a:pt x="93" y="90"/>
                  </a:lnTo>
                  <a:lnTo>
                    <a:pt x="82" y="79"/>
                  </a:lnTo>
                  <a:lnTo>
                    <a:pt x="68" y="90"/>
                  </a:lnTo>
                  <a:lnTo>
                    <a:pt x="51" y="90"/>
                  </a:lnTo>
                  <a:lnTo>
                    <a:pt x="37" y="65"/>
                  </a:lnTo>
                  <a:lnTo>
                    <a:pt x="37" y="44"/>
                  </a:lnTo>
                  <a:lnTo>
                    <a:pt x="37" y="21"/>
                  </a:lnTo>
                  <a:lnTo>
                    <a:pt x="37" y="0"/>
                  </a:lnTo>
                  <a:lnTo>
                    <a:pt x="0" y="44"/>
                  </a:lnTo>
                  <a:lnTo>
                    <a:pt x="18" y="16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39" name="Freeform 1118"/>
            <p:cNvSpPr>
              <a:spLocks/>
            </p:cNvSpPr>
            <p:nvPr>
              <p:custDataLst>
                <p:tags r:id="rId947"/>
              </p:custDataLst>
            </p:nvPr>
          </p:nvSpPr>
          <p:spPr bwMode="auto">
            <a:xfrm>
              <a:off x="7604942" y="3527012"/>
              <a:ext cx="519269" cy="284163"/>
            </a:xfrm>
            <a:custGeom>
              <a:avLst/>
              <a:gdLst>
                <a:gd name="T0" fmla="*/ 2147483647 w 281"/>
                <a:gd name="T1" fmla="*/ 2147483647 h 357"/>
                <a:gd name="T2" fmla="*/ 2147483647 w 281"/>
                <a:gd name="T3" fmla="*/ 2147483647 h 357"/>
                <a:gd name="T4" fmla="*/ 2147483647 w 281"/>
                <a:gd name="T5" fmla="*/ 2147483647 h 357"/>
                <a:gd name="T6" fmla="*/ 2147483647 w 281"/>
                <a:gd name="T7" fmla="*/ 2147483647 h 357"/>
                <a:gd name="T8" fmla="*/ 2147483647 w 281"/>
                <a:gd name="T9" fmla="*/ 2147483647 h 357"/>
                <a:gd name="T10" fmla="*/ 2147483647 w 281"/>
                <a:gd name="T11" fmla="*/ 2147483647 h 357"/>
                <a:gd name="T12" fmla="*/ 2147483647 w 281"/>
                <a:gd name="T13" fmla="*/ 2147483647 h 357"/>
                <a:gd name="T14" fmla="*/ 2147483647 w 281"/>
                <a:gd name="T15" fmla="*/ 2147483647 h 357"/>
                <a:gd name="T16" fmla="*/ 2147483647 w 281"/>
                <a:gd name="T17" fmla="*/ 2147483647 h 357"/>
                <a:gd name="T18" fmla="*/ 2147483647 w 281"/>
                <a:gd name="T19" fmla="*/ 2147483647 h 357"/>
                <a:gd name="T20" fmla="*/ 2147483647 w 281"/>
                <a:gd name="T21" fmla="*/ 2147483647 h 357"/>
                <a:gd name="T22" fmla="*/ 2147483647 w 281"/>
                <a:gd name="T23" fmla="*/ 2147483647 h 357"/>
                <a:gd name="T24" fmla="*/ 2147483647 w 281"/>
                <a:gd name="T25" fmla="*/ 2147483647 h 357"/>
                <a:gd name="T26" fmla="*/ 2147483647 w 281"/>
                <a:gd name="T27" fmla="*/ 2147483647 h 357"/>
                <a:gd name="T28" fmla="*/ 2147483647 w 281"/>
                <a:gd name="T29" fmla="*/ 2147483647 h 357"/>
                <a:gd name="T30" fmla="*/ 2147483647 w 281"/>
                <a:gd name="T31" fmla="*/ 2147483647 h 357"/>
                <a:gd name="T32" fmla="*/ 2147483647 w 281"/>
                <a:gd name="T33" fmla="*/ 2147483647 h 357"/>
                <a:gd name="T34" fmla="*/ 2147483647 w 281"/>
                <a:gd name="T35" fmla="*/ 2147483647 h 357"/>
                <a:gd name="T36" fmla="*/ 2147483647 w 281"/>
                <a:gd name="T37" fmla="*/ 2147483647 h 357"/>
                <a:gd name="T38" fmla="*/ 2147483647 w 281"/>
                <a:gd name="T39" fmla="*/ 2147483647 h 357"/>
                <a:gd name="T40" fmla="*/ 2147483647 w 281"/>
                <a:gd name="T41" fmla="*/ 2147483647 h 357"/>
                <a:gd name="T42" fmla="*/ 2147483647 w 281"/>
                <a:gd name="T43" fmla="*/ 2147483647 h 357"/>
                <a:gd name="T44" fmla="*/ 2147483647 w 281"/>
                <a:gd name="T45" fmla="*/ 2147483647 h 357"/>
                <a:gd name="T46" fmla="*/ 2147483647 w 281"/>
                <a:gd name="T47" fmla="*/ 2147483647 h 357"/>
                <a:gd name="T48" fmla="*/ 2147483647 w 281"/>
                <a:gd name="T49" fmla="*/ 2147483647 h 357"/>
                <a:gd name="T50" fmla="*/ 2147483647 w 281"/>
                <a:gd name="T51" fmla="*/ 2147483647 h 357"/>
                <a:gd name="T52" fmla="*/ 2147483647 w 281"/>
                <a:gd name="T53" fmla="*/ 2147483647 h 357"/>
                <a:gd name="T54" fmla="*/ 2147483647 w 281"/>
                <a:gd name="T55" fmla="*/ 2147483647 h 357"/>
                <a:gd name="T56" fmla="*/ 2147483647 w 281"/>
                <a:gd name="T57" fmla="*/ 2147483647 h 357"/>
                <a:gd name="T58" fmla="*/ 2147483647 w 281"/>
                <a:gd name="T59" fmla="*/ 2147483647 h 357"/>
                <a:gd name="T60" fmla="*/ 2147483647 w 281"/>
                <a:gd name="T61" fmla="*/ 2147483647 h 357"/>
                <a:gd name="T62" fmla="*/ 2147483647 w 281"/>
                <a:gd name="T63" fmla="*/ 0 h 357"/>
                <a:gd name="T64" fmla="*/ 2147483647 w 281"/>
                <a:gd name="T65" fmla="*/ 2147483647 h 3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1" h="357">
                  <a:moveTo>
                    <a:pt x="18" y="167"/>
                  </a:moveTo>
                  <a:lnTo>
                    <a:pt x="26" y="167"/>
                  </a:lnTo>
                  <a:lnTo>
                    <a:pt x="32" y="156"/>
                  </a:lnTo>
                  <a:lnTo>
                    <a:pt x="32" y="135"/>
                  </a:lnTo>
                  <a:lnTo>
                    <a:pt x="44" y="144"/>
                  </a:lnTo>
                  <a:lnTo>
                    <a:pt x="37" y="123"/>
                  </a:lnTo>
                  <a:lnTo>
                    <a:pt x="44" y="123"/>
                  </a:lnTo>
                  <a:lnTo>
                    <a:pt x="51" y="135"/>
                  </a:lnTo>
                  <a:lnTo>
                    <a:pt x="56" y="135"/>
                  </a:lnTo>
                  <a:lnTo>
                    <a:pt x="63" y="144"/>
                  </a:lnTo>
                  <a:lnTo>
                    <a:pt x="68" y="144"/>
                  </a:lnTo>
                  <a:lnTo>
                    <a:pt x="68" y="167"/>
                  </a:lnTo>
                  <a:lnTo>
                    <a:pt x="75" y="167"/>
                  </a:lnTo>
                  <a:lnTo>
                    <a:pt x="75" y="179"/>
                  </a:lnTo>
                  <a:lnTo>
                    <a:pt x="87" y="200"/>
                  </a:lnTo>
                  <a:lnTo>
                    <a:pt x="93" y="213"/>
                  </a:lnTo>
                  <a:lnTo>
                    <a:pt x="93" y="200"/>
                  </a:lnTo>
                  <a:lnTo>
                    <a:pt x="106" y="188"/>
                  </a:lnTo>
                  <a:lnTo>
                    <a:pt x="113" y="200"/>
                  </a:lnTo>
                  <a:lnTo>
                    <a:pt x="119" y="223"/>
                  </a:lnTo>
                  <a:lnTo>
                    <a:pt x="132" y="257"/>
                  </a:lnTo>
                  <a:lnTo>
                    <a:pt x="156" y="267"/>
                  </a:lnTo>
                  <a:lnTo>
                    <a:pt x="156" y="279"/>
                  </a:lnTo>
                  <a:lnTo>
                    <a:pt x="175" y="302"/>
                  </a:lnTo>
                  <a:lnTo>
                    <a:pt x="182" y="311"/>
                  </a:lnTo>
                  <a:lnTo>
                    <a:pt x="175" y="357"/>
                  </a:lnTo>
                  <a:lnTo>
                    <a:pt x="188" y="357"/>
                  </a:lnTo>
                  <a:lnTo>
                    <a:pt x="201" y="334"/>
                  </a:lnTo>
                  <a:lnTo>
                    <a:pt x="206" y="323"/>
                  </a:lnTo>
                  <a:lnTo>
                    <a:pt x="206" y="311"/>
                  </a:lnTo>
                  <a:lnTo>
                    <a:pt x="206" y="288"/>
                  </a:lnTo>
                  <a:lnTo>
                    <a:pt x="194" y="279"/>
                  </a:lnTo>
                  <a:lnTo>
                    <a:pt x="201" y="234"/>
                  </a:lnTo>
                  <a:lnTo>
                    <a:pt x="206" y="213"/>
                  </a:lnTo>
                  <a:lnTo>
                    <a:pt x="212" y="223"/>
                  </a:lnTo>
                  <a:lnTo>
                    <a:pt x="238" y="213"/>
                  </a:lnTo>
                  <a:lnTo>
                    <a:pt x="238" y="234"/>
                  </a:lnTo>
                  <a:lnTo>
                    <a:pt x="250" y="234"/>
                  </a:lnTo>
                  <a:lnTo>
                    <a:pt x="281" y="223"/>
                  </a:lnTo>
                  <a:lnTo>
                    <a:pt x="281" y="200"/>
                  </a:lnTo>
                  <a:lnTo>
                    <a:pt x="281" y="188"/>
                  </a:lnTo>
                  <a:lnTo>
                    <a:pt x="262" y="188"/>
                  </a:lnTo>
                  <a:lnTo>
                    <a:pt x="231" y="188"/>
                  </a:lnTo>
                  <a:lnTo>
                    <a:pt x="220" y="188"/>
                  </a:lnTo>
                  <a:lnTo>
                    <a:pt x="206" y="188"/>
                  </a:lnTo>
                  <a:lnTo>
                    <a:pt x="194" y="213"/>
                  </a:lnTo>
                  <a:lnTo>
                    <a:pt x="188" y="200"/>
                  </a:lnTo>
                  <a:lnTo>
                    <a:pt x="175" y="200"/>
                  </a:lnTo>
                  <a:lnTo>
                    <a:pt x="170" y="213"/>
                  </a:lnTo>
                  <a:lnTo>
                    <a:pt x="162" y="200"/>
                  </a:lnTo>
                  <a:lnTo>
                    <a:pt x="151" y="188"/>
                  </a:lnTo>
                  <a:lnTo>
                    <a:pt x="151" y="179"/>
                  </a:lnTo>
                  <a:lnTo>
                    <a:pt x="156" y="167"/>
                  </a:lnTo>
                  <a:lnTo>
                    <a:pt x="151" y="135"/>
                  </a:lnTo>
                  <a:lnTo>
                    <a:pt x="137" y="90"/>
                  </a:lnTo>
                  <a:lnTo>
                    <a:pt x="101" y="100"/>
                  </a:lnTo>
                  <a:lnTo>
                    <a:pt x="93" y="90"/>
                  </a:lnTo>
                  <a:lnTo>
                    <a:pt x="82" y="79"/>
                  </a:lnTo>
                  <a:lnTo>
                    <a:pt x="68" y="90"/>
                  </a:lnTo>
                  <a:lnTo>
                    <a:pt x="51" y="90"/>
                  </a:lnTo>
                  <a:lnTo>
                    <a:pt x="37" y="65"/>
                  </a:lnTo>
                  <a:lnTo>
                    <a:pt x="37" y="44"/>
                  </a:lnTo>
                  <a:lnTo>
                    <a:pt x="37" y="21"/>
                  </a:lnTo>
                  <a:lnTo>
                    <a:pt x="37" y="0"/>
                  </a:lnTo>
                  <a:lnTo>
                    <a:pt x="0" y="44"/>
                  </a:lnTo>
                  <a:lnTo>
                    <a:pt x="18" y="16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40" name="Freeform 1119"/>
            <p:cNvSpPr>
              <a:spLocks/>
            </p:cNvSpPr>
            <p:nvPr>
              <p:custDataLst>
                <p:tags r:id="rId948"/>
              </p:custDataLst>
            </p:nvPr>
          </p:nvSpPr>
          <p:spPr bwMode="auto">
            <a:xfrm>
              <a:off x="7604942" y="3527012"/>
              <a:ext cx="519269" cy="284163"/>
            </a:xfrm>
            <a:custGeom>
              <a:avLst/>
              <a:gdLst>
                <a:gd name="T0" fmla="*/ 2147483647 w 281"/>
                <a:gd name="T1" fmla="*/ 2147483647 h 357"/>
                <a:gd name="T2" fmla="*/ 2147483647 w 281"/>
                <a:gd name="T3" fmla="*/ 2147483647 h 357"/>
                <a:gd name="T4" fmla="*/ 2147483647 w 281"/>
                <a:gd name="T5" fmla="*/ 2147483647 h 357"/>
                <a:gd name="T6" fmla="*/ 2147483647 w 281"/>
                <a:gd name="T7" fmla="*/ 2147483647 h 357"/>
                <a:gd name="T8" fmla="*/ 2147483647 w 281"/>
                <a:gd name="T9" fmla="*/ 2147483647 h 357"/>
                <a:gd name="T10" fmla="*/ 2147483647 w 281"/>
                <a:gd name="T11" fmla="*/ 2147483647 h 357"/>
                <a:gd name="T12" fmla="*/ 2147483647 w 281"/>
                <a:gd name="T13" fmla="*/ 2147483647 h 357"/>
                <a:gd name="T14" fmla="*/ 2147483647 w 281"/>
                <a:gd name="T15" fmla="*/ 2147483647 h 357"/>
                <a:gd name="T16" fmla="*/ 2147483647 w 281"/>
                <a:gd name="T17" fmla="*/ 2147483647 h 357"/>
                <a:gd name="T18" fmla="*/ 2147483647 w 281"/>
                <a:gd name="T19" fmla="*/ 2147483647 h 357"/>
                <a:gd name="T20" fmla="*/ 2147483647 w 281"/>
                <a:gd name="T21" fmla="*/ 2147483647 h 357"/>
                <a:gd name="T22" fmla="*/ 2147483647 w 281"/>
                <a:gd name="T23" fmla="*/ 2147483647 h 357"/>
                <a:gd name="T24" fmla="*/ 2147483647 w 281"/>
                <a:gd name="T25" fmla="*/ 2147483647 h 357"/>
                <a:gd name="T26" fmla="*/ 2147483647 w 281"/>
                <a:gd name="T27" fmla="*/ 2147483647 h 357"/>
                <a:gd name="T28" fmla="*/ 2147483647 w 281"/>
                <a:gd name="T29" fmla="*/ 2147483647 h 357"/>
                <a:gd name="T30" fmla="*/ 2147483647 w 281"/>
                <a:gd name="T31" fmla="*/ 2147483647 h 357"/>
                <a:gd name="T32" fmla="*/ 2147483647 w 281"/>
                <a:gd name="T33" fmla="*/ 2147483647 h 357"/>
                <a:gd name="T34" fmla="*/ 2147483647 w 281"/>
                <a:gd name="T35" fmla="*/ 2147483647 h 357"/>
                <a:gd name="T36" fmla="*/ 2147483647 w 281"/>
                <a:gd name="T37" fmla="*/ 2147483647 h 357"/>
                <a:gd name="T38" fmla="*/ 2147483647 w 281"/>
                <a:gd name="T39" fmla="*/ 2147483647 h 357"/>
                <a:gd name="T40" fmla="*/ 2147483647 w 281"/>
                <a:gd name="T41" fmla="*/ 2147483647 h 357"/>
                <a:gd name="T42" fmla="*/ 2147483647 w 281"/>
                <a:gd name="T43" fmla="*/ 2147483647 h 357"/>
                <a:gd name="T44" fmla="*/ 2147483647 w 281"/>
                <a:gd name="T45" fmla="*/ 2147483647 h 357"/>
                <a:gd name="T46" fmla="*/ 2147483647 w 281"/>
                <a:gd name="T47" fmla="*/ 2147483647 h 357"/>
                <a:gd name="T48" fmla="*/ 2147483647 w 281"/>
                <a:gd name="T49" fmla="*/ 2147483647 h 357"/>
                <a:gd name="T50" fmla="*/ 2147483647 w 281"/>
                <a:gd name="T51" fmla="*/ 2147483647 h 357"/>
                <a:gd name="T52" fmla="*/ 2147483647 w 281"/>
                <a:gd name="T53" fmla="*/ 2147483647 h 357"/>
                <a:gd name="T54" fmla="*/ 2147483647 w 281"/>
                <a:gd name="T55" fmla="*/ 2147483647 h 357"/>
                <a:gd name="T56" fmla="*/ 2147483647 w 281"/>
                <a:gd name="T57" fmla="*/ 2147483647 h 357"/>
                <a:gd name="T58" fmla="*/ 2147483647 w 281"/>
                <a:gd name="T59" fmla="*/ 2147483647 h 357"/>
                <a:gd name="T60" fmla="*/ 2147483647 w 281"/>
                <a:gd name="T61" fmla="*/ 2147483647 h 357"/>
                <a:gd name="T62" fmla="*/ 2147483647 w 281"/>
                <a:gd name="T63" fmla="*/ 0 h 357"/>
                <a:gd name="T64" fmla="*/ 2147483647 w 281"/>
                <a:gd name="T65" fmla="*/ 2147483647 h 3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1" h="357">
                  <a:moveTo>
                    <a:pt x="18" y="167"/>
                  </a:moveTo>
                  <a:lnTo>
                    <a:pt x="26" y="167"/>
                  </a:lnTo>
                  <a:lnTo>
                    <a:pt x="32" y="156"/>
                  </a:lnTo>
                  <a:lnTo>
                    <a:pt x="32" y="135"/>
                  </a:lnTo>
                  <a:lnTo>
                    <a:pt x="44" y="144"/>
                  </a:lnTo>
                  <a:lnTo>
                    <a:pt x="37" y="123"/>
                  </a:lnTo>
                  <a:lnTo>
                    <a:pt x="44" y="123"/>
                  </a:lnTo>
                  <a:lnTo>
                    <a:pt x="51" y="135"/>
                  </a:lnTo>
                  <a:lnTo>
                    <a:pt x="56" y="135"/>
                  </a:lnTo>
                  <a:lnTo>
                    <a:pt x="63" y="144"/>
                  </a:lnTo>
                  <a:lnTo>
                    <a:pt x="68" y="144"/>
                  </a:lnTo>
                  <a:lnTo>
                    <a:pt x="68" y="167"/>
                  </a:lnTo>
                  <a:lnTo>
                    <a:pt x="75" y="167"/>
                  </a:lnTo>
                  <a:lnTo>
                    <a:pt x="75" y="179"/>
                  </a:lnTo>
                  <a:lnTo>
                    <a:pt x="87" y="200"/>
                  </a:lnTo>
                  <a:lnTo>
                    <a:pt x="93" y="213"/>
                  </a:lnTo>
                  <a:lnTo>
                    <a:pt x="93" y="200"/>
                  </a:lnTo>
                  <a:lnTo>
                    <a:pt x="106" y="188"/>
                  </a:lnTo>
                  <a:lnTo>
                    <a:pt x="113" y="200"/>
                  </a:lnTo>
                  <a:lnTo>
                    <a:pt x="119" y="223"/>
                  </a:lnTo>
                  <a:lnTo>
                    <a:pt x="132" y="257"/>
                  </a:lnTo>
                  <a:lnTo>
                    <a:pt x="156" y="267"/>
                  </a:lnTo>
                  <a:lnTo>
                    <a:pt x="156" y="279"/>
                  </a:lnTo>
                  <a:lnTo>
                    <a:pt x="175" y="302"/>
                  </a:lnTo>
                  <a:lnTo>
                    <a:pt x="182" y="311"/>
                  </a:lnTo>
                  <a:lnTo>
                    <a:pt x="175" y="357"/>
                  </a:lnTo>
                  <a:lnTo>
                    <a:pt x="188" y="357"/>
                  </a:lnTo>
                  <a:lnTo>
                    <a:pt x="201" y="334"/>
                  </a:lnTo>
                  <a:lnTo>
                    <a:pt x="206" y="323"/>
                  </a:lnTo>
                  <a:lnTo>
                    <a:pt x="206" y="311"/>
                  </a:lnTo>
                  <a:lnTo>
                    <a:pt x="206" y="288"/>
                  </a:lnTo>
                  <a:lnTo>
                    <a:pt x="194" y="279"/>
                  </a:lnTo>
                  <a:lnTo>
                    <a:pt x="201" y="234"/>
                  </a:lnTo>
                  <a:lnTo>
                    <a:pt x="206" y="213"/>
                  </a:lnTo>
                  <a:lnTo>
                    <a:pt x="212" y="223"/>
                  </a:lnTo>
                  <a:lnTo>
                    <a:pt x="238" y="213"/>
                  </a:lnTo>
                  <a:lnTo>
                    <a:pt x="238" y="234"/>
                  </a:lnTo>
                  <a:lnTo>
                    <a:pt x="250" y="234"/>
                  </a:lnTo>
                  <a:lnTo>
                    <a:pt x="281" y="223"/>
                  </a:lnTo>
                  <a:lnTo>
                    <a:pt x="281" y="200"/>
                  </a:lnTo>
                  <a:lnTo>
                    <a:pt x="281" y="188"/>
                  </a:lnTo>
                  <a:lnTo>
                    <a:pt x="262" y="188"/>
                  </a:lnTo>
                  <a:lnTo>
                    <a:pt x="231" y="188"/>
                  </a:lnTo>
                  <a:lnTo>
                    <a:pt x="220" y="188"/>
                  </a:lnTo>
                  <a:lnTo>
                    <a:pt x="206" y="188"/>
                  </a:lnTo>
                  <a:lnTo>
                    <a:pt x="194" y="213"/>
                  </a:lnTo>
                  <a:lnTo>
                    <a:pt x="188" y="200"/>
                  </a:lnTo>
                  <a:lnTo>
                    <a:pt x="175" y="200"/>
                  </a:lnTo>
                  <a:lnTo>
                    <a:pt x="170" y="213"/>
                  </a:lnTo>
                  <a:lnTo>
                    <a:pt x="162" y="200"/>
                  </a:lnTo>
                  <a:lnTo>
                    <a:pt x="151" y="188"/>
                  </a:lnTo>
                  <a:lnTo>
                    <a:pt x="151" y="179"/>
                  </a:lnTo>
                  <a:lnTo>
                    <a:pt x="156" y="167"/>
                  </a:lnTo>
                  <a:lnTo>
                    <a:pt x="151" y="135"/>
                  </a:lnTo>
                  <a:lnTo>
                    <a:pt x="137" y="90"/>
                  </a:lnTo>
                  <a:lnTo>
                    <a:pt x="101" y="100"/>
                  </a:lnTo>
                  <a:lnTo>
                    <a:pt x="93" y="90"/>
                  </a:lnTo>
                  <a:lnTo>
                    <a:pt x="82" y="79"/>
                  </a:lnTo>
                  <a:lnTo>
                    <a:pt x="68" y="90"/>
                  </a:lnTo>
                  <a:lnTo>
                    <a:pt x="51" y="90"/>
                  </a:lnTo>
                  <a:lnTo>
                    <a:pt x="37" y="65"/>
                  </a:lnTo>
                  <a:lnTo>
                    <a:pt x="37" y="44"/>
                  </a:lnTo>
                  <a:lnTo>
                    <a:pt x="37" y="21"/>
                  </a:lnTo>
                  <a:lnTo>
                    <a:pt x="37" y="0"/>
                  </a:lnTo>
                  <a:lnTo>
                    <a:pt x="0" y="44"/>
                  </a:lnTo>
                  <a:lnTo>
                    <a:pt x="18" y="167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41" name="Freeform 1120"/>
            <p:cNvSpPr>
              <a:spLocks/>
            </p:cNvSpPr>
            <p:nvPr>
              <p:custDataLst>
                <p:tags r:id="rId949"/>
              </p:custDataLst>
            </p:nvPr>
          </p:nvSpPr>
          <p:spPr bwMode="auto">
            <a:xfrm>
              <a:off x="7604942" y="3527012"/>
              <a:ext cx="519269" cy="284163"/>
            </a:xfrm>
            <a:custGeom>
              <a:avLst/>
              <a:gdLst>
                <a:gd name="T0" fmla="*/ 2147483647 w 281"/>
                <a:gd name="T1" fmla="*/ 2147483647 h 357"/>
                <a:gd name="T2" fmla="*/ 2147483647 w 281"/>
                <a:gd name="T3" fmla="*/ 2147483647 h 357"/>
                <a:gd name="T4" fmla="*/ 2147483647 w 281"/>
                <a:gd name="T5" fmla="*/ 2147483647 h 357"/>
                <a:gd name="T6" fmla="*/ 2147483647 w 281"/>
                <a:gd name="T7" fmla="*/ 2147483647 h 357"/>
                <a:gd name="T8" fmla="*/ 2147483647 w 281"/>
                <a:gd name="T9" fmla="*/ 2147483647 h 357"/>
                <a:gd name="T10" fmla="*/ 2147483647 w 281"/>
                <a:gd name="T11" fmla="*/ 2147483647 h 357"/>
                <a:gd name="T12" fmla="*/ 2147483647 w 281"/>
                <a:gd name="T13" fmla="*/ 2147483647 h 357"/>
                <a:gd name="T14" fmla="*/ 2147483647 w 281"/>
                <a:gd name="T15" fmla="*/ 2147483647 h 357"/>
                <a:gd name="T16" fmla="*/ 2147483647 w 281"/>
                <a:gd name="T17" fmla="*/ 2147483647 h 357"/>
                <a:gd name="T18" fmla="*/ 2147483647 w 281"/>
                <a:gd name="T19" fmla="*/ 2147483647 h 357"/>
                <a:gd name="T20" fmla="*/ 2147483647 w 281"/>
                <a:gd name="T21" fmla="*/ 2147483647 h 357"/>
                <a:gd name="T22" fmla="*/ 2147483647 w 281"/>
                <a:gd name="T23" fmla="*/ 2147483647 h 357"/>
                <a:gd name="T24" fmla="*/ 2147483647 w 281"/>
                <a:gd name="T25" fmla="*/ 2147483647 h 357"/>
                <a:gd name="T26" fmla="*/ 2147483647 w 281"/>
                <a:gd name="T27" fmla="*/ 2147483647 h 357"/>
                <a:gd name="T28" fmla="*/ 2147483647 w 281"/>
                <a:gd name="T29" fmla="*/ 2147483647 h 357"/>
                <a:gd name="T30" fmla="*/ 2147483647 w 281"/>
                <a:gd name="T31" fmla="*/ 2147483647 h 357"/>
                <a:gd name="T32" fmla="*/ 2147483647 w 281"/>
                <a:gd name="T33" fmla="*/ 2147483647 h 357"/>
                <a:gd name="T34" fmla="*/ 2147483647 w 281"/>
                <a:gd name="T35" fmla="*/ 2147483647 h 357"/>
                <a:gd name="T36" fmla="*/ 2147483647 w 281"/>
                <a:gd name="T37" fmla="*/ 2147483647 h 357"/>
                <a:gd name="T38" fmla="*/ 2147483647 w 281"/>
                <a:gd name="T39" fmla="*/ 2147483647 h 357"/>
                <a:gd name="T40" fmla="*/ 2147483647 w 281"/>
                <a:gd name="T41" fmla="*/ 2147483647 h 357"/>
                <a:gd name="T42" fmla="*/ 2147483647 w 281"/>
                <a:gd name="T43" fmla="*/ 2147483647 h 357"/>
                <a:gd name="T44" fmla="*/ 2147483647 w 281"/>
                <a:gd name="T45" fmla="*/ 2147483647 h 357"/>
                <a:gd name="T46" fmla="*/ 2147483647 w 281"/>
                <a:gd name="T47" fmla="*/ 2147483647 h 357"/>
                <a:gd name="T48" fmla="*/ 2147483647 w 281"/>
                <a:gd name="T49" fmla="*/ 2147483647 h 357"/>
                <a:gd name="T50" fmla="*/ 2147483647 w 281"/>
                <a:gd name="T51" fmla="*/ 2147483647 h 357"/>
                <a:gd name="T52" fmla="*/ 2147483647 w 281"/>
                <a:gd name="T53" fmla="*/ 2147483647 h 357"/>
                <a:gd name="T54" fmla="*/ 2147483647 w 281"/>
                <a:gd name="T55" fmla="*/ 2147483647 h 357"/>
                <a:gd name="T56" fmla="*/ 2147483647 w 281"/>
                <a:gd name="T57" fmla="*/ 2147483647 h 357"/>
                <a:gd name="T58" fmla="*/ 2147483647 w 281"/>
                <a:gd name="T59" fmla="*/ 2147483647 h 357"/>
                <a:gd name="T60" fmla="*/ 2147483647 w 281"/>
                <a:gd name="T61" fmla="*/ 2147483647 h 357"/>
                <a:gd name="T62" fmla="*/ 2147483647 w 281"/>
                <a:gd name="T63" fmla="*/ 0 h 357"/>
                <a:gd name="T64" fmla="*/ 2147483647 w 281"/>
                <a:gd name="T65" fmla="*/ 2147483647 h 3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81" h="357">
                  <a:moveTo>
                    <a:pt x="18" y="167"/>
                  </a:moveTo>
                  <a:lnTo>
                    <a:pt x="26" y="167"/>
                  </a:lnTo>
                  <a:lnTo>
                    <a:pt x="32" y="156"/>
                  </a:lnTo>
                  <a:lnTo>
                    <a:pt x="32" y="135"/>
                  </a:lnTo>
                  <a:lnTo>
                    <a:pt x="44" y="144"/>
                  </a:lnTo>
                  <a:lnTo>
                    <a:pt x="37" y="123"/>
                  </a:lnTo>
                  <a:lnTo>
                    <a:pt x="44" y="123"/>
                  </a:lnTo>
                  <a:lnTo>
                    <a:pt x="51" y="135"/>
                  </a:lnTo>
                  <a:lnTo>
                    <a:pt x="56" y="135"/>
                  </a:lnTo>
                  <a:lnTo>
                    <a:pt x="63" y="144"/>
                  </a:lnTo>
                  <a:lnTo>
                    <a:pt x="68" y="144"/>
                  </a:lnTo>
                  <a:lnTo>
                    <a:pt x="68" y="167"/>
                  </a:lnTo>
                  <a:lnTo>
                    <a:pt x="75" y="167"/>
                  </a:lnTo>
                  <a:lnTo>
                    <a:pt x="75" y="179"/>
                  </a:lnTo>
                  <a:lnTo>
                    <a:pt x="87" y="200"/>
                  </a:lnTo>
                  <a:lnTo>
                    <a:pt x="93" y="213"/>
                  </a:lnTo>
                  <a:lnTo>
                    <a:pt x="93" y="200"/>
                  </a:lnTo>
                  <a:lnTo>
                    <a:pt x="106" y="188"/>
                  </a:lnTo>
                  <a:lnTo>
                    <a:pt x="113" y="200"/>
                  </a:lnTo>
                  <a:lnTo>
                    <a:pt x="119" y="223"/>
                  </a:lnTo>
                  <a:lnTo>
                    <a:pt x="132" y="257"/>
                  </a:lnTo>
                  <a:lnTo>
                    <a:pt x="156" y="267"/>
                  </a:lnTo>
                  <a:lnTo>
                    <a:pt x="156" y="279"/>
                  </a:lnTo>
                  <a:lnTo>
                    <a:pt x="175" y="302"/>
                  </a:lnTo>
                  <a:lnTo>
                    <a:pt x="182" y="311"/>
                  </a:lnTo>
                  <a:lnTo>
                    <a:pt x="175" y="357"/>
                  </a:lnTo>
                  <a:lnTo>
                    <a:pt x="188" y="357"/>
                  </a:lnTo>
                  <a:lnTo>
                    <a:pt x="201" y="334"/>
                  </a:lnTo>
                  <a:lnTo>
                    <a:pt x="206" y="323"/>
                  </a:lnTo>
                  <a:lnTo>
                    <a:pt x="206" y="311"/>
                  </a:lnTo>
                  <a:lnTo>
                    <a:pt x="206" y="288"/>
                  </a:lnTo>
                  <a:lnTo>
                    <a:pt x="194" y="279"/>
                  </a:lnTo>
                  <a:lnTo>
                    <a:pt x="201" y="234"/>
                  </a:lnTo>
                  <a:lnTo>
                    <a:pt x="206" y="213"/>
                  </a:lnTo>
                  <a:lnTo>
                    <a:pt x="212" y="223"/>
                  </a:lnTo>
                  <a:lnTo>
                    <a:pt x="238" y="213"/>
                  </a:lnTo>
                  <a:lnTo>
                    <a:pt x="238" y="234"/>
                  </a:lnTo>
                  <a:lnTo>
                    <a:pt x="250" y="234"/>
                  </a:lnTo>
                  <a:lnTo>
                    <a:pt x="281" y="223"/>
                  </a:lnTo>
                  <a:lnTo>
                    <a:pt x="281" y="200"/>
                  </a:lnTo>
                  <a:lnTo>
                    <a:pt x="281" y="188"/>
                  </a:lnTo>
                  <a:lnTo>
                    <a:pt x="262" y="188"/>
                  </a:lnTo>
                  <a:lnTo>
                    <a:pt x="231" y="188"/>
                  </a:lnTo>
                  <a:lnTo>
                    <a:pt x="220" y="188"/>
                  </a:lnTo>
                  <a:lnTo>
                    <a:pt x="206" y="188"/>
                  </a:lnTo>
                  <a:lnTo>
                    <a:pt x="194" y="213"/>
                  </a:lnTo>
                  <a:lnTo>
                    <a:pt x="188" y="200"/>
                  </a:lnTo>
                  <a:lnTo>
                    <a:pt x="175" y="200"/>
                  </a:lnTo>
                  <a:lnTo>
                    <a:pt x="170" y="213"/>
                  </a:lnTo>
                  <a:lnTo>
                    <a:pt x="162" y="200"/>
                  </a:lnTo>
                  <a:lnTo>
                    <a:pt x="151" y="188"/>
                  </a:lnTo>
                  <a:lnTo>
                    <a:pt x="151" y="179"/>
                  </a:lnTo>
                  <a:lnTo>
                    <a:pt x="156" y="167"/>
                  </a:lnTo>
                  <a:lnTo>
                    <a:pt x="151" y="135"/>
                  </a:lnTo>
                  <a:lnTo>
                    <a:pt x="137" y="90"/>
                  </a:lnTo>
                  <a:lnTo>
                    <a:pt x="101" y="100"/>
                  </a:lnTo>
                  <a:lnTo>
                    <a:pt x="93" y="90"/>
                  </a:lnTo>
                  <a:lnTo>
                    <a:pt x="82" y="79"/>
                  </a:lnTo>
                  <a:lnTo>
                    <a:pt x="68" y="90"/>
                  </a:lnTo>
                  <a:lnTo>
                    <a:pt x="51" y="90"/>
                  </a:lnTo>
                  <a:lnTo>
                    <a:pt x="37" y="65"/>
                  </a:lnTo>
                  <a:lnTo>
                    <a:pt x="37" y="44"/>
                  </a:lnTo>
                  <a:lnTo>
                    <a:pt x="37" y="21"/>
                  </a:lnTo>
                  <a:lnTo>
                    <a:pt x="37" y="0"/>
                  </a:lnTo>
                  <a:lnTo>
                    <a:pt x="0" y="44"/>
                  </a:lnTo>
                  <a:lnTo>
                    <a:pt x="18" y="167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42" name="Freeform 1121"/>
            <p:cNvSpPr>
              <a:spLocks/>
            </p:cNvSpPr>
            <p:nvPr>
              <p:custDataLst>
                <p:tags r:id="rId950"/>
              </p:custDataLst>
            </p:nvPr>
          </p:nvSpPr>
          <p:spPr bwMode="auto">
            <a:xfrm>
              <a:off x="7532757" y="3623833"/>
              <a:ext cx="404989" cy="247650"/>
            </a:xfrm>
            <a:custGeom>
              <a:avLst/>
              <a:gdLst>
                <a:gd name="T0" fmla="*/ 0 w 218"/>
                <a:gd name="T1" fmla="*/ 2147483647 h 311"/>
                <a:gd name="T2" fmla="*/ 2147483647 w 218"/>
                <a:gd name="T3" fmla="*/ 2147483647 h 311"/>
                <a:gd name="T4" fmla="*/ 2147483647 w 218"/>
                <a:gd name="T5" fmla="*/ 2147483647 h 311"/>
                <a:gd name="T6" fmla="*/ 2147483647 w 218"/>
                <a:gd name="T7" fmla="*/ 2147483647 h 311"/>
                <a:gd name="T8" fmla="*/ 2147483647 w 218"/>
                <a:gd name="T9" fmla="*/ 2147483647 h 311"/>
                <a:gd name="T10" fmla="*/ 2147483647 w 218"/>
                <a:gd name="T11" fmla="*/ 2147483647 h 311"/>
                <a:gd name="T12" fmla="*/ 0 w 218"/>
                <a:gd name="T13" fmla="*/ 2147483647 h 311"/>
                <a:gd name="T14" fmla="*/ 2147483647 w 218"/>
                <a:gd name="T15" fmla="*/ 2147483647 h 311"/>
                <a:gd name="T16" fmla="*/ 2147483647 w 218"/>
                <a:gd name="T17" fmla="*/ 2147483647 h 311"/>
                <a:gd name="T18" fmla="*/ 2147483647 w 218"/>
                <a:gd name="T19" fmla="*/ 2147483647 h 311"/>
                <a:gd name="T20" fmla="*/ 2147483647 w 218"/>
                <a:gd name="T21" fmla="*/ 2147483647 h 311"/>
                <a:gd name="T22" fmla="*/ 2147483647 w 218"/>
                <a:gd name="T23" fmla="*/ 2147483647 h 311"/>
                <a:gd name="T24" fmla="*/ 2147483647 w 218"/>
                <a:gd name="T25" fmla="*/ 2147483647 h 311"/>
                <a:gd name="T26" fmla="*/ 2147483647 w 218"/>
                <a:gd name="T27" fmla="*/ 2147483647 h 311"/>
                <a:gd name="T28" fmla="*/ 2147483647 w 218"/>
                <a:gd name="T29" fmla="*/ 2147483647 h 311"/>
                <a:gd name="T30" fmla="*/ 2147483647 w 218"/>
                <a:gd name="T31" fmla="*/ 2147483647 h 311"/>
                <a:gd name="T32" fmla="*/ 2147483647 w 218"/>
                <a:gd name="T33" fmla="*/ 2147483647 h 311"/>
                <a:gd name="T34" fmla="*/ 2147483647 w 218"/>
                <a:gd name="T35" fmla="*/ 2147483647 h 311"/>
                <a:gd name="T36" fmla="*/ 2147483647 w 218"/>
                <a:gd name="T37" fmla="*/ 2147483647 h 311"/>
                <a:gd name="T38" fmla="*/ 2147483647 w 218"/>
                <a:gd name="T39" fmla="*/ 2147483647 h 311"/>
                <a:gd name="T40" fmla="*/ 2147483647 w 218"/>
                <a:gd name="T41" fmla="*/ 2147483647 h 311"/>
                <a:gd name="T42" fmla="*/ 2147483647 w 218"/>
                <a:gd name="T43" fmla="*/ 2147483647 h 311"/>
                <a:gd name="T44" fmla="*/ 2147483647 w 218"/>
                <a:gd name="T45" fmla="*/ 2147483647 h 311"/>
                <a:gd name="T46" fmla="*/ 2147483647 w 218"/>
                <a:gd name="T47" fmla="*/ 2147483647 h 311"/>
                <a:gd name="T48" fmla="*/ 2147483647 w 218"/>
                <a:gd name="T49" fmla="*/ 2147483647 h 311"/>
                <a:gd name="T50" fmla="*/ 2147483647 w 218"/>
                <a:gd name="T51" fmla="*/ 2147483647 h 311"/>
                <a:gd name="T52" fmla="*/ 2147483647 w 218"/>
                <a:gd name="T53" fmla="*/ 2147483647 h 311"/>
                <a:gd name="T54" fmla="*/ 2147483647 w 218"/>
                <a:gd name="T55" fmla="*/ 2147483647 h 311"/>
                <a:gd name="T56" fmla="*/ 2147483647 w 218"/>
                <a:gd name="T57" fmla="*/ 2147483647 h 311"/>
                <a:gd name="T58" fmla="*/ 2147483647 w 218"/>
                <a:gd name="T59" fmla="*/ 2147483647 h 311"/>
                <a:gd name="T60" fmla="*/ 2147483647 w 218"/>
                <a:gd name="T61" fmla="*/ 2147483647 h 311"/>
                <a:gd name="T62" fmla="*/ 2147483647 w 218"/>
                <a:gd name="T63" fmla="*/ 2147483647 h 311"/>
                <a:gd name="T64" fmla="*/ 2147483647 w 218"/>
                <a:gd name="T65" fmla="*/ 2147483647 h 311"/>
                <a:gd name="T66" fmla="*/ 2147483647 w 218"/>
                <a:gd name="T67" fmla="*/ 2147483647 h 311"/>
                <a:gd name="T68" fmla="*/ 2147483647 w 218"/>
                <a:gd name="T69" fmla="*/ 2147483647 h 311"/>
                <a:gd name="T70" fmla="*/ 2147483647 w 218"/>
                <a:gd name="T71" fmla="*/ 2147483647 h 311"/>
                <a:gd name="T72" fmla="*/ 2147483647 w 218"/>
                <a:gd name="T73" fmla="*/ 2147483647 h 311"/>
                <a:gd name="T74" fmla="*/ 2147483647 w 218"/>
                <a:gd name="T75" fmla="*/ 2147483647 h 311"/>
                <a:gd name="T76" fmla="*/ 2147483647 w 218"/>
                <a:gd name="T77" fmla="*/ 2147483647 h 311"/>
                <a:gd name="T78" fmla="*/ 2147483647 w 218"/>
                <a:gd name="T79" fmla="*/ 0 h 311"/>
                <a:gd name="T80" fmla="*/ 2147483647 w 218"/>
                <a:gd name="T81" fmla="*/ 0 h 311"/>
                <a:gd name="T82" fmla="*/ 2147483647 w 218"/>
                <a:gd name="T83" fmla="*/ 2147483647 h 311"/>
                <a:gd name="T84" fmla="*/ 2147483647 w 218"/>
                <a:gd name="T85" fmla="*/ 2147483647 h 311"/>
                <a:gd name="T86" fmla="*/ 2147483647 w 218"/>
                <a:gd name="T87" fmla="*/ 2147483647 h 311"/>
                <a:gd name="T88" fmla="*/ 2147483647 w 218"/>
                <a:gd name="T89" fmla="*/ 2147483647 h 311"/>
                <a:gd name="T90" fmla="*/ 2147483647 w 218"/>
                <a:gd name="T91" fmla="*/ 2147483647 h 311"/>
                <a:gd name="T92" fmla="*/ 2147483647 w 218"/>
                <a:gd name="T93" fmla="*/ 2147483647 h 311"/>
                <a:gd name="T94" fmla="*/ 2147483647 w 218"/>
                <a:gd name="T95" fmla="*/ 2147483647 h 311"/>
                <a:gd name="T96" fmla="*/ 2147483647 w 218"/>
                <a:gd name="T97" fmla="*/ 2147483647 h 311"/>
                <a:gd name="T98" fmla="*/ 2147483647 w 218"/>
                <a:gd name="T99" fmla="*/ 2147483647 h 311"/>
                <a:gd name="T100" fmla="*/ 0 w 218"/>
                <a:gd name="T101" fmla="*/ 2147483647 h 31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18" h="311">
                  <a:moveTo>
                    <a:pt x="0" y="44"/>
                  </a:moveTo>
                  <a:lnTo>
                    <a:pt x="6" y="77"/>
                  </a:lnTo>
                  <a:lnTo>
                    <a:pt x="19" y="54"/>
                  </a:lnTo>
                  <a:lnTo>
                    <a:pt x="31" y="88"/>
                  </a:lnTo>
                  <a:lnTo>
                    <a:pt x="25" y="109"/>
                  </a:lnTo>
                  <a:lnTo>
                    <a:pt x="6" y="88"/>
                  </a:lnTo>
                  <a:lnTo>
                    <a:pt x="0" y="121"/>
                  </a:lnTo>
                  <a:lnTo>
                    <a:pt x="6" y="133"/>
                  </a:lnTo>
                  <a:lnTo>
                    <a:pt x="19" y="133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19" y="223"/>
                  </a:lnTo>
                  <a:lnTo>
                    <a:pt x="50" y="209"/>
                  </a:lnTo>
                  <a:lnTo>
                    <a:pt x="62" y="188"/>
                  </a:lnTo>
                  <a:lnTo>
                    <a:pt x="106" y="232"/>
                  </a:lnTo>
                  <a:lnTo>
                    <a:pt x="125" y="255"/>
                  </a:lnTo>
                  <a:lnTo>
                    <a:pt x="130" y="255"/>
                  </a:lnTo>
                  <a:lnTo>
                    <a:pt x="138" y="288"/>
                  </a:lnTo>
                  <a:lnTo>
                    <a:pt x="156" y="311"/>
                  </a:lnTo>
                  <a:lnTo>
                    <a:pt x="194" y="232"/>
                  </a:lnTo>
                  <a:lnTo>
                    <a:pt x="213" y="232"/>
                  </a:lnTo>
                  <a:lnTo>
                    <a:pt x="213" y="200"/>
                  </a:lnTo>
                  <a:lnTo>
                    <a:pt x="218" y="188"/>
                  </a:lnTo>
                  <a:lnTo>
                    <a:pt x="213" y="165"/>
                  </a:lnTo>
                  <a:lnTo>
                    <a:pt x="194" y="156"/>
                  </a:lnTo>
                  <a:lnTo>
                    <a:pt x="194" y="144"/>
                  </a:lnTo>
                  <a:lnTo>
                    <a:pt x="169" y="133"/>
                  </a:lnTo>
                  <a:lnTo>
                    <a:pt x="156" y="100"/>
                  </a:lnTo>
                  <a:lnTo>
                    <a:pt x="149" y="88"/>
                  </a:lnTo>
                  <a:lnTo>
                    <a:pt x="144" y="65"/>
                  </a:lnTo>
                  <a:lnTo>
                    <a:pt x="138" y="77"/>
                  </a:lnTo>
                  <a:lnTo>
                    <a:pt x="130" y="88"/>
                  </a:lnTo>
                  <a:lnTo>
                    <a:pt x="125" y="77"/>
                  </a:lnTo>
                  <a:lnTo>
                    <a:pt x="112" y="54"/>
                  </a:lnTo>
                  <a:lnTo>
                    <a:pt x="112" y="44"/>
                  </a:lnTo>
                  <a:lnTo>
                    <a:pt x="106" y="31"/>
                  </a:lnTo>
                  <a:lnTo>
                    <a:pt x="106" y="21"/>
                  </a:lnTo>
                  <a:lnTo>
                    <a:pt x="94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75" y="0"/>
                  </a:lnTo>
                  <a:lnTo>
                    <a:pt x="80" y="21"/>
                  </a:lnTo>
                  <a:lnTo>
                    <a:pt x="75" y="21"/>
                  </a:lnTo>
                  <a:lnTo>
                    <a:pt x="69" y="10"/>
                  </a:lnTo>
                  <a:lnTo>
                    <a:pt x="62" y="44"/>
                  </a:lnTo>
                  <a:lnTo>
                    <a:pt x="56" y="44"/>
                  </a:lnTo>
                  <a:lnTo>
                    <a:pt x="50" y="44"/>
                  </a:lnTo>
                  <a:lnTo>
                    <a:pt x="43" y="54"/>
                  </a:lnTo>
                  <a:lnTo>
                    <a:pt x="38" y="44"/>
                  </a:lnTo>
                  <a:lnTo>
                    <a:pt x="25" y="3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43" name="Freeform 1122"/>
            <p:cNvSpPr>
              <a:spLocks/>
            </p:cNvSpPr>
            <p:nvPr>
              <p:custDataLst>
                <p:tags r:id="rId951"/>
              </p:custDataLst>
            </p:nvPr>
          </p:nvSpPr>
          <p:spPr bwMode="auto">
            <a:xfrm>
              <a:off x="7532757" y="3623833"/>
              <a:ext cx="404989" cy="247650"/>
            </a:xfrm>
            <a:custGeom>
              <a:avLst/>
              <a:gdLst>
                <a:gd name="T0" fmla="*/ 0 w 218"/>
                <a:gd name="T1" fmla="*/ 2147483647 h 311"/>
                <a:gd name="T2" fmla="*/ 2147483647 w 218"/>
                <a:gd name="T3" fmla="*/ 2147483647 h 311"/>
                <a:gd name="T4" fmla="*/ 2147483647 w 218"/>
                <a:gd name="T5" fmla="*/ 2147483647 h 311"/>
                <a:gd name="T6" fmla="*/ 2147483647 w 218"/>
                <a:gd name="T7" fmla="*/ 2147483647 h 311"/>
                <a:gd name="T8" fmla="*/ 2147483647 w 218"/>
                <a:gd name="T9" fmla="*/ 2147483647 h 311"/>
                <a:gd name="T10" fmla="*/ 2147483647 w 218"/>
                <a:gd name="T11" fmla="*/ 2147483647 h 311"/>
                <a:gd name="T12" fmla="*/ 0 w 218"/>
                <a:gd name="T13" fmla="*/ 2147483647 h 311"/>
                <a:gd name="T14" fmla="*/ 2147483647 w 218"/>
                <a:gd name="T15" fmla="*/ 2147483647 h 311"/>
                <a:gd name="T16" fmla="*/ 2147483647 w 218"/>
                <a:gd name="T17" fmla="*/ 2147483647 h 311"/>
                <a:gd name="T18" fmla="*/ 2147483647 w 218"/>
                <a:gd name="T19" fmla="*/ 2147483647 h 311"/>
                <a:gd name="T20" fmla="*/ 2147483647 w 218"/>
                <a:gd name="T21" fmla="*/ 2147483647 h 311"/>
                <a:gd name="T22" fmla="*/ 2147483647 w 218"/>
                <a:gd name="T23" fmla="*/ 2147483647 h 311"/>
                <a:gd name="T24" fmla="*/ 2147483647 w 218"/>
                <a:gd name="T25" fmla="*/ 2147483647 h 311"/>
                <a:gd name="T26" fmla="*/ 2147483647 w 218"/>
                <a:gd name="T27" fmla="*/ 2147483647 h 311"/>
                <a:gd name="T28" fmla="*/ 2147483647 w 218"/>
                <a:gd name="T29" fmla="*/ 2147483647 h 311"/>
                <a:gd name="T30" fmla="*/ 2147483647 w 218"/>
                <a:gd name="T31" fmla="*/ 2147483647 h 311"/>
                <a:gd name="T32" fmla="*/ 2147483647 w 218"/>
                <a:gd name="T33" fmla="*/ 2147483647 h 311"/>
                <a:gd name="T34" fmla="*/ 2147483647 w 218"/>
                <a:gd name="T35" fmla="*/ 2147483647 h 311"/>
                <a:gd name="T36" fmla="*/ 2147483647 w 218"/>
                <a:gd name="T37" fmla="*/ 2147483647 h 311"/>
                <a:gd name="T38" fmla="*/ 2147483647 w 218"/>
                <a:gd name="T39" fmla="*/ 2147483647 h 311"/>
                <a:gd name="T40" fmla="*/ 2147483647 w 218"/>
                <a:gd name="T41" fmla="*/ 2147483647 h 311"/>
                <a:gd name="T42" fmla="*/ 2147483647 w 218"/>
                <a:gd name="T43" fmla="*/ 2147483647 h 311"/>
                <a:gd name="T44" fmla="*/ 2147483647 w 218"/>
                <a:gd name="T45" fmla="*/ 2147483647 h 311"/>
                <a:gd name="T46" fmla="*/ 2147483647 w 218"/>
                <a:gd name="T47" fmla="*/ 2147483647 h 311"/>
                <a:gd name="T48" fmla="*/ 2147483647 w 218"/>
                <a:gd name="T49" fmla="*/ 2147483647 h 311"/>
                <a:gd name="T50" fmla="*/ 2147483647 w 218"/>
                <a:gd name="T51" fmla="*/ 2147483647 h 311"/>
                <a:gd name="T52" fmla="*/ 2147483647 w 218"/>
                <a:gd name="T53" fmla="*/ 2147483647 h 311"/>
                <a:gd name="T54" fmla="*/ 2147483647 w 218"/>
                <a:gd name="T55" fmla="*/ 2147483647 h 311"/>
                <a:gd name="T56" fmla="*/ 2147483647 w 218"/>
                <a:gd name="T57" fmla="*/ 2147483647 h 311"/>
                <a:gd name="T58" fmla="*/ 2147483647 w 218"/>
                <a:gd name="T59" fmla="*/ 2147483647 h 311"/>
                <a:gd name="T60" fmla="*/ 2147483647 w 218"/>
                <a:gd name="T61" fmla="*/ 2147483647 h 311"/>
                <a:gd name="T62" fmla="*/ 2147483647 w 218"/>
                <a:gd name="T63" fmla="*/ 2147483647 h 311"/>
                <a:gd name="T64" fmla="*/ 2147483647 w 218"/>
                <a:gd name="T65" fmla="*/ 2147483647 h 311"/>
                <a:gd name="T66" fmla="*/ 2147483647 w 218"/>
                <a:gd name="T67" fmla="*/ 2147483647 h 311"/>
                <a:gd name="T68" fmla="*/ 2147483647 w 218"/>
                <a:gd name="T69" fmla="*/ 2147483647 h 311"/>
                <a:gd name="T70" fmla="*/ 2147483647 w 218"/>
                <a:gd name="T71" fmla="*/ 2147483647 h 311"/>
                <a:gd name="T72" fmla="*/ 2147483647 w 218"/>
                <a:gd name="T73" fmla="*/ 2147483647 h 311"/>
                <a:gd name="T74" fmla="*/ 2147483647 w 218"/>
                <a:gd name="T75" fmla="*/ 2147483647 h 311"/>
                <a:gd name="T76" fmla="*/ 2147483647 w 218"/>
                <a:gd name="T77" fmla="*/ 2147483647 h 311"/>
                <a:gd name="T78" fmla="*/ 2147483647 w 218"/>
                <a:gd name="T79" fmla="*/ 0 h 311"/>
                <a:gd name="T80" fmla="*/ 2147483647 w 218"/>
                <a:gd name="T81" fmla="*/ 0 h 311"/>
                <a:gd name="T82" fmla="*/ 2147483647 w 218"/>
                <a:gd name="T83" fmla="*/ 2147483647 h 311"/>
                <a:gd name="T84" fmla="*/ 2147483647 w 218"/>
                <a:gd name="T85" fmla="*/ 2147483647 h 311"/>
                <a:gd name="T86" fmla="*/ 2147483647 w 218"/>
                <a:gd name="T87" fmla="*/ 2147483647 h 311"/>
                <a:gd name="T88" fmla="*/ 2147483647 w 218"/>
                <a:gd name="T89" fmla="*/ 2147483647 h 311"/>
                <a:gd name="T90" fmla="*/ 2147483647 w 218"/>
                <a:gd name="T91" fmla="*/ 2147483647 h 311"/>
                <a:gd name="T92" fmla="*/ 2147483647 w 218"/>
                <a:gd name="T93" fmla="*/ 2147483647 h 311"/>
                <a:gd name="T94" fmla="*/ 2147483647 w 218"/>
                <a:gd name="T95" fmla="*/ 2147483647 h 311"/>
                <a:gd name="T96" fmla="*/ 2147483647 w 218"/>
                <a:gd name="T97" fmla="*/ 2147483647 h 311"/>
                <a:gd name="T98" fmla="*/ 2147483647 w 218"/>
                <a:gd name="T99" fmla="*/ 2147483647 h 311"/>
                <a:gd name="T100" fmla="*/ 0 w 218"/>
                <a:gd name="T101" fmla="*/ 2147483647 h 31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18" h="311">
                  <a:moveTo>
                    <a:pt x="0" y="44"/>
                  </a:moveTo>
                  <a:lnTo>
                    <a:pt x="6" y="77"/>
                  </a:lnTo>
                  <a:lnTo>
                    <a:pt x="19" y="54"/>
                  </a:lnTo>
                  <a:lnTo>
                    <a:pt x="31" y="88"/>
                  </a:lnTo>
                  <a:lnTo>
                    <a:pt x="25" y="109"/>
                  </a:lnTo>
                  <a:lnTo>
                    <a:pt x="6" y="88"/>
                  </a:lnTo>
                  <a:lnTo>
                    <a:pt x="0" y="121"/>
                  </a:lnTo>
                  <a:lnTo>
                    <a:pt x="6" y="133"/>
                  </a:lnTo>
                  <a:lnTo>
                    <a:pt x="19" y="133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19" y="223"/>
                  </a:lnTo>
                  <a:lnTo>
                    <a:pt x="50" y="209"/>
                  </a:lnTo>
                  <a:lnTo>
                    <a:pt x="62" y="188"/>
                  </a:lnTo>
                  <a:lnTo>
                    <a:pt x="106" y="232"/>
                  </a:lnTo>
                  <a:lnTo>
                    <a:pt x="125" y="255"/>
                  </a:lnTo>
                  <a:lnTo>
                    <a:pt x="130" y="255"/>
                  </a:lnTo>
                  <a:lnTo>
                    <a:pt x="138" y="288"/>
                  </a:lnTo>
                  <a:lnTo>
                    <a:pt x="156" y="311"/>
                  </a:lnTo>
                  <a:lnTo>
                    <a:pt x="194" y="232"/>
                  </a:lnTo>
                  <a:lnTo>
                    <a:pt x="213" y="232"/>
                  </a:lnTo>
                  <a:lnTo>
                    <a:pt x="213" y="200"/>
                  </a:lnTo>
                  <a:lnTo>
                    <a:pt x="218" y="188"/>
                  </a:lnTo>
                  <a:lnTo>
                    <a:pt x="213" y="165"/>
                  </a:lnTo>
                  <a:lnTo>
                    <a:pt x="194" y="156"/>
                  </a:lnTo>
                  <a:lnTo>
                    <a:pt x="194" y="144"/>
                  </a:lnTo>
                  <a:lnTo>
                    <a:pt x="169" y="133"/>
                  </a:lnTo>
                  <a:lnTo>
                    <a:pt x="156" y="100"/>
                  </a:lnTo>
                  <a:lnTo>
                    <a:pt x="149" y="88"/>
                  </a:lnTo>
                  <a:lnTo>
                    <a:pt x="144" y="65"/>
                  </a:lnTo>
                  <a:lnTo>
                    <a:pt x="138" y="77"/>
                  </a:lnTo>
                  <a:lnTo>
                    <a:pt x="130" y="88"/>
                  </a:lnTo>
                  <a:lnTo>
                    <a:pt x="125" y="77"/>
                  </a:lnTo>
                  <a:lnTo>
                    <a:pt x="112" y="54"/>
                  </a:lnTo>
                  <a:lnTo>
                    <a:pt x="112" y="44"/>
                  </a:lnTo>
                  <a:lnTo>
                    <a:pt x="106" y="31"/>
                  </a:lnTo>
                  <a:lnTo>
                    <a:pt x="106" y="21"/>
                  </a:lnTo>
                  <a:lnTo>
                    <a:pt x="94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75" y="0"/>
                  </a:lnTo>
                  <a:lnTo>
                    <a:pt x="80" y="21"/>
                  </a:lnTo>
                  <a:lnTo>
                    <a:pt x="75" y="21"/>
                  </a:lnTo>
                  <a:lnTo>
                    <a:pt x="69" y="10"/>
                  </a:lnTo>
                  <a:lnTo>
                    <a:pt x="62" y="44"/>
                  </a:lnTo>
                  <a:lnTo>
                    <a:pt x="56" y="44"/>
                  </a:lnTo>
                  <a:lnTo>
                    <a:pt x="50" y="44"/>
                  </a:lnTo>
                  <a:lnTo>
                    <a:pt x="43" y="54"/>
                  </a:lnTo>
                  <a:lnTo>
                    <a:pt x="38" y="44"/>
                  </a:lnTo>
                  <a:lnTo>
                    <a:pt x="25" y="31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44" name="Freeform 1123"/>
            <p:cNvSpPr>
              <a:spLocks/>
            </p:cNvSpPr>
            <p:nvPr>
              <p:custDataLst>
                <p:tags r:id="rId952"/>
              </p:custDataLst>
            </p:nvPr>
          </p:nvSpPr>
          <p:spPr bwMode="auto">
            <a:xfrm>
              <a:off x="7532757" y="3623833"/>
              <a:ext cx="404989" cy="247650"/>
            </a:xfrm>
            <a:custGeom>
              <a:avLst/>
              <a:gdLst>
                <a:gd name="T0" fmla="*/ 0 w 218"/>
                <a:gd name="T1" fmla="*/ 2147483647 h 311"/>
                <a:gd name="T2" fmla="*/ 2147483647 w 218"/>
                <a:gd name="T3" fmla="*/ 2147483647 h 311"/>
                <a:gd name="T4" fmla="*/ 2147483647 w 218"/>
                <a:gd name="T5" fmla="*/ 2147483647 h 311"/>
                <a:gd name="T6" fmla="*/ 2147483647 w 218"/>
                <a:gd name="T7" fmla="*/ 2147483647 h 311"/>
                <a:gd name="T8" fmla="*/ 2147483647 w 218"/>
                <a:gd name="T9" fmla="*/ 2147483647 h 311"/>
                <a:gd name="T10" fmla="*/ 2147483647 w 218"/>
                <a:gd name="T11" fmla="*/ 2147483647 h 311"/>
                <a:gd name="T12" fmla="*/ 0 w 218"/>
                <a:gd name="T13" fmla="*/ 2147483647 h 311"/>
                <a:gd name="T14" fmla="*/ 2147483647 w 218"/>
                <a:gd name="T15" fmla="*/ 2147483647 h 311"/>
                <a:gd name="T16" fmla="*/ 2147483647 w 218"/>
                <a:gd name="T17" fmla="*/ 2147483647 h 311"/>
                <a:gd name="T18" fmla="*/ 2147483647 w 218"/>
                <a:gd name="T19" fmla="*/ 2147483647 h 311"/>
                <a:gd name="T20" fmla="*/ 2147483647 w 218"/>
                <a:gd name="T21" fmla="*/ 2147483647 h 311"/>
                <a:gd name="T22" fmla="*/ 2147483647 w 218"/>
                <a:gd name="T23" fmla="*/ 2147483647 h 311"/>
                <a:gd name="T24" fmla="*/ 2147483647 w 218"/>
                <a:gd name="T25" fmla="*/ 2147483647 h 311"/>
                <a:gd name="T26" fmla="*/ 2147483647 w 218"/>
                <a:gd name="T27" fmla="*/ 2147483647 h 311"/>
                <a:gd name="T28" fmla="*/ 2147483647 w 218"/>
                <a:gd name="T29" fmla="*/ 2147483647 h 311"/>
                <a:gd name="T30" fmla="*/ 2147483647 w 218"/>
                <a:gd name="T31" fmla="*/ 2147483647 h 311"/>
                <a:gd name="T32" fmla="*/ 2147483647 w 218"/>
                <a:gd name="T33" fmla="*/ 2147483647 h 311"/>
                <a:gd name="T34" fmla="*/ 2147483647 w 218"/>
                <a:gd name="T35" fmla="*/ 2147483647 h 311"/>
                <a:gd name="T36" fmla="*/ 2147483647 w 218"/>
                <a:gd name="T37" fmla="*/ 2147483647 h 311"/>
                <a:gd name="T38" fmla="*/ 2147483647 w 218"/>
                <a:gd name="T39" fmla="*/ 2147483647 h 311"/>
                <a:gd name="T40" fmla="*/ 2147483647 w 218"/>
                <a:gd name="T41" fmla="*/ 2147483647 h 311"/>
                <a:gd name="T42" fmla="*/ 2147483647 w 218"/>
                <a:gd name="T43" fmla="*/ 2147483647 h 311"/>
                <a:gd name="T44" fmla="*/ 2147483647 w 218"/>
                <a:gd name="T45" fmla="*/ 2147483647 h 311"/>
                <a:gd name="T46" fmla="*/ 2147483647 w 218"/>
                <a:gd name="T47" fmla="*/ 2147483647 h 311"/>
                <a:gd name="T48" fmla="*/ 2147483647 w 218"/>
                <a:gd name="T49" fmla="*/ 2147483647 h 311"/>
                <a:gd name="T50" fmla="*/ 2147483647 w 218"/>
                <a:gd name="T51" fmla="*/ 2147483647 h 311"/>
                <a:gd name="T52" fmla="*/ 2147483647 w 218"/>
                <a:gd name="T53" fmla="*/ 2147483647 h 311"/>
                <a:gd name="T54" fmla="*/ 2147483647 w 218"/>
                <a:gd name="T55" fmla="*/ 2147483647 h 311"/>
                <a:gd name="T56" fmla="*/ 2147483647 w 218"/>
                <a:gd name="T57" fmla="*/ 2147483647 h 311"/>
                <a:gd name="T58" fmla="*/ 2147483647 w 218"/>
                <a:gd name="T59" fmla="*/ 2147483647 h 311"/>
                <a:gd name="T60" fmla="*/ 2147483647 w 218"/>
                <a:gd name="T61" fmla="*/ 2147483647 h 311"/>
                <a:gd name="T62" fmla="*/ 2147483647 w 218"/>
                <a:gd name="T63" fmla="*/ 2147483647 h 311"/>
                <a:gd name="T64" fmla="*/ 2147483647 w 218"/>
                <a:gd name="T65" fmla="*/ 2147483647 h 311"/>
                <a:gd name="T66" fmla="*/ 2147483647 w 218"/>
                <a:gd name="T67" fmla="*/ 2147483647 h 311"/>
                <a:gd name="T68" fmla="*/ 2147483647 w 218"/>
                <a:gd name="T69" fmla="*/ 2147483647 h 311"/>
                <a:gd name="T70" fmla="*/ 2147483647 w 218"/>
                <a:gd name="T71" fmla="*/ 2147483647 h 311"/>
                <a:gd name="T72" fmla="*/ 2147483647 w 218"/>
                <a:gd name="T73" fmla="*/ 2147483647 h 311"/>
                <a:gd name="T74" fmla="*/ 2147483647 w 218"/>
                <a:gd name="T75" fmla="*/ 2147483647 h 311"/>
                <a:gd name="T76" fmla="*/ 2147483647 w 218"/>
                <a:gd name="T77" fmla="*/ 2147483647 h 311"/>
                <a:gd name="T78" fmla="*/ 2147483647 w 218"/>
                <a:gd name="T79" fmla="*/ 0 h 311"/>
                <a:gd name="T80" fmla="*/ 2147483647 w 218"/>
                <a:gd name="T81" fmla="*/ 0 h 311"/>
                <a:gd name="T82" fmla="*/ 2147483647 w 218"/>
                <a:gd name="T83" fmla="*/ 2147483647 h 311"/>
                <a:gd name="T84" fmla="*/ 2147483647 w 218"/>
                <a:gd name="T85" fmla="*/ 2147483647 h 311"/>
                <a:gd name="T86" fmla="*/ 2147483647 w 218"/>
                <a:gd name="T87" fmla="*/ 2147483647 h 311"/>
                <a:gd name="T88" fmla="*/ 2147483647 w 218"/>
                <a:gd name="T89" fmla="*/ 2147483647 h 311"/>
                <a:gd name="T90" fmla="*/ 2147483647 w 218"/>
                <a:gd name="T91" fmla="*/ 2147483647 h 311"/>
                <a:gd name="T92" fmla="*/ 2147483647 w 218"/>
                <a:gd name="T93" fmla="*/ 2147483647 h 311"/>
                <a:gd name="T94" fmla="*/ 2147483647 w 218"/>
                <a:gd name="T95" fmla="*/ 2147483647 h 311"/>
                <a:gd name="T96" fmla="*/ 2147483647 w 218"/>
                <a:gd name="T97" fmla="*/ 2147483647 h 311"/>
                <a:gd name="T98" fmla="*/ 2147483647 w 218"/>
                <a:gd name="T99" fmla="*/ 2147483647 h 311"/>
                <a:gd name="T100" fmla="*/ 0 w 218"/>
                <a:gd name="T101" fmla="*/ 2147483647 h 31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18" h="311">
                  <a:moveTo>
                    <a:pt x="0" y="44"/>
                  </a:moveTo>
                  <a:lnTo>
                    <a:pt x="6" y="77"/>
                  </a:lnTo>
                  <a:lnTo>
                    <a:pt x="19" y="54"/>
                  </a:lnTo>
                  <a:lnTo>
                    <a:pt x="31" y="88"/>
                  </a:lnTo>
                  <a:lnTo>
                    <a:pt x="25" y="109"/>
                  </a:lnTo>
                  <a:lnTo>
                    <a:pt x="6" y="88"/>
                  </a:lnTo>
                  <a:lnTo>
                    <a:pt x="0" y="121"/>
                  </a:lnTo>
                  <a:lnTo>
                    <a:pt x="6" y="133"/>
                  </a:lnTo>
                  <a:lnTo>
                    <a:pt x="19" y="133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19" y="223"/>
                  </a:lnTo>
                  <a:lnTo>
                    <a:pt x="50" y="209"/>
                  </a:lnTo>
                  <a:lnTo>
                    <a:pt x="62" y="188"/>
                  </a:lnTo>
                  <a:lnTo>
                    <a:pt x="106" y="232"/>
                  </a:lnTo>
                  <a:lnTo>
                    <a:pt x="125" y="255"/>
                  </a:lnTo>
                  <a:lnTo>
                    <a:pt x="130" y="255"/>
                  </a:lnTo>
                  <a:lnTo>
                    <a:pt x="138" y="288"/>
                  </a:lnTo>
                  <a:lnTo>
                    <a:pt x="156" y="311"/>
                  </a:lnTo>
                  <a:lnTo>
                    <a:pt x="194" y="232"/>
                  </a:lnTo>
                  <a:lnTo>
                    <a:pt x="213" y="232"/>
                  </a:lnTo>
                  <a:lnTo>
                    <a:pt x="213" y="200"/>
                  </a:lnTo>
                  <a:lnTo>
                    <a:pt x="218" y="188"/>
                  </a:lnTo>
                  <a:lnTo>
                    <a:pt x="213" y="165"/>
                  </a:lnTo>
                  <a:lnTo>
                    <a:pt x="194" y="156"/>
                  </a:lnTo>
                  <a:lnTo>
                    <a:pt x="194" y="144"/>
                  </a:lnTo>
                  <a:lnTo>
                    <a:pt x="169" y="133"/>
                  </a:lnTo>
                  <a:lnTo>
                    <a:pt x="156" y="100"/>
                  </a:lnTo>
                  <a:lnTo>
                    <a:pt x="149" y="88"/>
                  </a:lnTo>
                  <a:lnTo>
                    <a:pt x="144" y="65"/>
                  </a:lnTo>
                  <a:lnTo>
                    <a:pt x="138" y="77"/>
                  </a:lnTo>
                  <a:lnTo>
                    <a:pt x="130" y="88"/>
                  </a:lnTo>
                  <a:lnTo>
                    <a:pt x="125" y="77"/>
                  </a:lnTo>
                  <a:lnTo>
                    <a:pt x="112" y="54"/>
                  </a:lnTo>
                  <a:lnTo>
                    <a:pt x="112" y="44"/>
                  </a:lnTo>
                  <a:lnTo>
                    <a:pt x="106" y="31"/>
                  </a:lnTo>
                  <a:lnTo>
                    <a:pt x="106" y="21"/>
                  </a:lnTo>
                  <a:lnTo>
                    <a:pt x="94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75" y="0"/>
                  </a:lnTo>
                  <a:lnTo>
                    <a:pt x="80" y="21"/>
                  </a:lnTo>
                  <a:lnTo>
                    <a:pt x="75" y="21"/>
                  </a:lnTo>
                  <a:lnTo>
                    <a:pt x="69" y="10"/>
                  </a:lnTo>
                  <a:lnTo>
                    <a:pt x="62" y="44"/>
                  </a:lnTo>
                  <a:lnTo>
                    <a:pt x="56" y="44"/>
                  </a:lnTo>
                  <a:lnTo>
                    <a:pt x="50" y="44"/>
                  </a:lnTo>
                  <a:lnTo>
                    <a:pt x="43" y="54"/>
                  </a:lnTo>
                  <a:lnTo>
                    <a:pt x="38" y="44"/>
                  </a:lnTo>
                  <a:lnTo>
                    <a:pt x="25" y="31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45" name="Freeform 1124"/>
            <p:cNvSpPr>
              <a:spLocks/>
            </p:cNvSpPr>
            <p:nvPr>
              <p:custDataLst>
                <p:tags r:id="rId953"/>
              </p:custDataLst>
            </p:nvPr>
          </p:nvSpPr>
          <p:spPr bwMode="auto">
            <a:xfrm>
              <a:off x="7532757" y="3623833"/>
              <a:ext cx="404989" cy="247650"/>
            </a:xfrm>
            <a:custGeom>
              <a:avLst/>
              <a:gdLst>
                <a:gd name="T0" fmla="*/ 0 w 218"/>
                <a:gd name="T1" fmla="*/ 2147483647 h 311"/>
                <a:gd name="T2" fmla="*/ 2147483647 w 218"/>
                <a:gd name="T3" fmla="*/ 2147483647 h 311"/>
                <a:gd name="T4" fmla="*/ 2147483647 w 218"/>
                <a:gd name="T5" fmla="*/ 2147483647 h 311"/>
                <a:gd name="T6" fmla="*/ 2147483647 w 218"/>
                <a:gd name="T7" fmla="*/ 2147483647 h 311"/>
                <a:gd name="T8" fmla="*/ 2147483647 w 218"/>
                <a:gd name="T9" fmla="*/ 2147483647 h 311"/>
                <a:gd name="T10" fmla="*/ 2147483647 w 218"/>
                <a:gd name="T11" fmla="*/ 2147483647 h 311"/>
                <a:gd name="T12" fmla="*/ 0 w 218"/>
                <a:gd name="T13" fmla="*/ 2147483647 h 311"/>
                <a:gd name="T14" fmla="*/ 2147483647 w 218"/>
                <a:gd name="T15" fmla="*/ 2147483647 h 311"/>
                <a:gd name="T16" fmla="*/ 2147483647 w 218"/>
                <a:gd name="T17" fmla="*/ 2147483647 h 311"/>
                <a:gd name="T18" fmla="*/ 2147483647 w 218"/>
                <a:gd name="T19" fmla="*/ 2147483647 h 311"/>
                <a:gd name="T20" fmla="*/ 2147483647 w 218"/>
                <a:gd name="T21" fmla="*/ 2147483647 h 311"/>
                <a:gd name="T22" fmla="*/ 2147483647 w 218"/>
                <a:gd name="T23" fmla="*/ 2147483647 h 311"/>
                <a:gd name="T24" fmla="*/ 2147483647 w 218"/>
                <a:gd name="T25" fmla="*/ 2147483647 h 311"/>
                <a:gd name="T26" fmla="*/ 2147483647 w 218"/>
                <a:gd name="T27" fmla="*/ 2147483647 h 311"/>
                <a:gd name="T28" fmla="*/ 2147483647 w 218"/>
                <a:gd name="T29" fmla="*/ 2147483647 h 311"/>
                <a:gd name="T30" fmla="*/ 2147483647 w 218"/>
                <a:gd name="T31" fmla="*/ 2147483647 h 311"/>
                <a:gd name="T32" fmla="*/ 2147483647 w 218"/>
                <a:gd name="T33" fmla="*/ 2147483647 h 311"/>
                <a:gd name="T34" fmla="*/ 2147483647 w 218"/>
                <a:gd name="T35" fmla="*/ 2147483647 h 311"/>
                <a:gd name="T36" fmla="*/ 2147483647 w 218"/>
                <a:gd name="T37" fmla="*/ 2147483647 h 311"/>
                <a:gd name="T38" fmla="*/ 2147483647 w 218"/>
                <a:gd name="T39" fmla="*/ 2147483647 h 311"/>
                <a:gd name="T40" fmla="*/ 2147483647 w 218"/>
                <a:gd name="T41" fmla="*/ 2147483647 h 311"/>
                <a:gd name="T42" fmla="*/ 2147483647 w 218"/>
                <a:gd name="T43" fmla="*/ 2147483647 h 311"/>
                <a:gd name="T44" fmla="*/ 2147483647 w 218"/>
                <a:gd name="T45" fmla="*/ 2147483647 h 311"/>
                <a:gd name="T46" fmla="*/ 2147483647 w 218"/>
                <a:gd name="T47" fmla="*/ 2147483647 h 311"/>
                <a:gd name="T48" fmla="*/ 2147483647 w 218"/>
                <a:gd name="T49" fmla="*/ 2147483647 h 311"/>
                <a:gd name="T50" fmla="*/ 2147483647 w 218"/>
                <a:gd name="T51" fmla="*/ 2147483647 h 311"/>
                <a:gd name="T52" fmla="*/ 2147483647 w 218"/>
                <a:gd name="T53" fmla="*/ 2147483647 h 311"/>
                <a:gd name="T54" fmla="*/ 2147483647 w 218"/>
                <a:gd name="T55" fmla="*/ 2147483647 h 311"/>
                <a:gd name="T56" fmla="*/ 2147483647 w 218"/>
                <a:gd name="T57" fmla="*/ 2147483647 h 311"/>
                <a:gd name="T58" fmla="*/ 2147483647 w 218"/>
                <a:gd name="T59" fmla="*/ 2147483647 h 311"/>
                <a:gd name="T60" fmla="*/ 2147483647 w 218"/>
                <a:gd name="T61" fmla="*/ 2147483647 h 311"/>
                <a:gd name="T62" fmla="*/ 2147483647 w 218"/>
                <a:gd name="T63" fmla="*/ 2147483647 h 311"/>
                <a:gd name="T64" fmla="*/ 2147483647 w 218"/>
                <a:gd name="T65" fmla="*/ 2147483647 h 311"/>
                <a:gd name="T66" fmla="*/ 2147483647 w 218"/>
                <a:gd name="T67" fmla="*/ 2147483647 h 311"/>
                <a:gd name="T68" fmla="*/ 2147483647 w 218"/>
                <a:gd name="T69" fmla="*/ 2147483647 h 311"/>
                <a:gd name="T70" fmla="*/ 2147483647 w 218"/>
                <a:gd name="T71" fmla="*/ 2147483647 h 311"/>
                <a:gd name="T72" fmla="*/ 2147483647 w 218"/>
                <a:gd name="T73" fmla="*/ 2147483647 h 311"/>
                <a:gd name="T74" fmla="*/ 2147483647 w 218"/>
                <a:gd name="T75" fmla="*/ 2147483647 h 311"/>
                <a:gd name="T76" fmla="*/ 2147483647 w 218"/>
                <a:gd name="T77" fmla="*/ 2147483647 h 311"/>
                <a:gd name="T78" fmla="*/ 2147483647 w 218"/>
                <a:gd name="T79" fmla="*/ 0 h 311"/>
                <a:gd name="T80" fmla="*/ 2147483647 w 218"/>
                <a:gd name="T81" fmla="*/ 0 h 311"/>
                <a:gd name="T82" fmla="*/ 2147483647 w 218"/>
                <a:gd name="T83" fmla="*/ 2147483647 h 311"/>
                <a:gd name="T84" fmla="*/ 2147483647 w 218"/>
                <a:gd name="T85" fmla="*/ 2147483647 h 311"/>
                <a:gd name="T86" fmla="*/ 2147483647 w 218"/>
                <a:gd name="T87" fmla="*/ 2147483647 h 311"/>
                <a:gd name="T88" fmla="*/ 2147483647 w 218"/>
                <a:gd name="T89" fmla="*/ 2147483647 h 311"/>
                <a:gd name="T90" fmla="*/ 2147483647 w 218"/>
                <a:gd name="T91" fmla="*/ 2147483647 h 311"/>
                <a:gd name="T92" fmla="*/ 2147483647 w 218"/>
                <a:gd name="T93" fmla="*/ 2147483647 h 311"/>
                <a:gd name="T94" fmla="*/ 2147483647 w 218"/>
                <a:gd name="T95" fmla="*/ 2147483647 h 311"/>
                <a:gd name="T96" fmla="*/ 2147483647 w 218"/>
                <a:gd name="T97" fmla="*/ 2147483647 h 311"/>
                <a:gd name="T98" fmla="*/ 2147483647 w 218"/>
                <a:gd name="T99" fmla="*/ 2147483647 h 311"/>
                <a:gd name="T100" fmla="*/ 0 w 218"/>
                <a:gd name="T101" fmla="*/ 2147483647 h 31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18" h="311">
                  <a:moveTo>
                    <a:pt x="0" y="44"/>
                  </a:moveTo>
                  <a:lnTo>
                    <a:pt x="6" y="77"/>
                  </a:lnTo>
                  <a:lnTo>
                    <a:pt x="19" y="54"/>
                  </a:lnTo>
                  <a:lnTo>
                    <a:pt x="31" y="88"/>
                  </a:lnTo>
                  <a:lnTo>
                    <a:pt x="25" y="109"/>
                  </a:lnTo>
                  <a:lnTo>
                    <a:pt x="6" y="88"/>
                  </a:lnTo>
                  <a:lnTo>
                    <a:pt x="0" y="121"/>
                  </a:lnTo>
                  <a:lnTo>
                    <a:pt x="6" y="133"/>
                  </a:lnTo>
                  <a:lnTo>
                    <a:pt x="19" y="133"/>
                  </a:lnTo>
                  <a:lnTo>
                    <a:pt x="13" y="156"/>
                  </a:lnTo>
                  <a:lnTo>
                    <a:pt x="19" y="165"/>
                  </a:lnTo>
                  <a:lnTo>
                    <a:pt x="19" y="223"/>
                  </a:lnTo>
                  <a:lnTo>
                    <a:pt x="50" y="209"/>
                  </a:lnTo>
                  <a:lnTo>
                    <a:pt x="62" y="188"/>
                  </a:lnTo>
                  <a:lnTo>
                    <a:pt x="106" y="232"/>
                  </a:lnTo>
                  <a:lnTo>
                    <a:pt x="125" y="255"/>
                  </a:lnTo>
                  <a:lnTo>
                    <a:pt x="130" y="255"/>
                  </a:lnTo>
                  <a:lnTo>
                    <a:pt x="138" y="288"/>
                  </a:lnTo>
                  <a:lnTo>
                    <a:pt x="156" y="311"/>
                  </a:lnTo>
                  <a:lnTo>
                    <a:pt x="194" y="232"/>
                  </a:lnTo>
                  <a:lnTo>
                    <a:pt x="213" y="232"/>
                  </a:lnTo>
                  <a:lnTo>
                    <a:pt x="213" y="200"/>
                  </a:lnTo>
                  <a:lnTo>
                    <a:pt x="218" y="188"/>
                  </a:lnTo>
                  <a:lnTo>
                    <a:pt x="213" y="165"/>
                  </a:lnTo>
                  <a:lnTo>
                    <a:pt x="194" y="156"/>
                  </a:lnTo>
                  <a:lnTo>
                    <a:pt x="194" y="144"/>
                  </a:lnTo>
                  <a:lnTo>
                    <a:pt x="169" y="133"/>
                  </a:lnTo>
                  <a:lnTo>
                    <a:pt x="156" y="100"/>
                  </a:lnTo>
                  <a:lnTo>
                    <a:pt x="149" y="88"/>
                  </a:lnTo>
                  <a:lnTo>
                    <a:pt x="144" y="65"/>
                  </a:lnTo>
                  <a:lnTo>
                    <a:pt x="138" y="77"/>
                  </a:lnTo>
                  <a:lnTo>
                    <a:pt x="130" y="88"/>
                  </a:lnTo>
                  <a:lnTo>
                    <a:pt x="125" y="77"/>
                  </a:lnTo>
                  <a:lnTo>
                    <a:pt x="112" y="54"/>
                  </a:lnTo>
                  <a:lnTo>
                    <a:pt x="112" y="44"/>
                  </a:lnTo>
                  <a:lnTo>
                    <a:pt x="106" y="31"/>
                  </a:lnTo>
                  <a:lnTo>
                    <a:pt x="106" y="21"/>
                  </a:lnTo>
                  <a:lnTo>
                    <a:pt x="94" y="10"/>
                  </a:lnTo>
                  <a:lnTo>
                    <a:pt x="88" y="10"/>
                  </a:lnTo>
                  <a:lnTo>
                    <a:pt x="88" y="0"/>
                  </a:lnTo>
                  <a:lnTo>
                    <a:pt x="75" y="0"/>
                  </a:lnTo>
                  <a:lnTo>
                    <a:pt x="80" y="21"/>
                  </a:lnTo>
                  <a:lnTo>
                    <a:pt x="75" y="21"/>
                  </a:lnTo>
                  <a:lnTo>
                    <a:pt x="69" y="10"/>
                  </a:lnTo>
                  <a:lnTo>
                    <a:pt x="62" y="44"/>
                  </a:lnTo>
                  <a:lnTo>
                    <a:pt x="56" y="44"/>
                  </a:lnTo>
                  <a:lnTo>
                    <a:pt x="50" y="44"/>
                  </a:lnTo>
                  <a:lnTo>
                    <a:pt x="43" y="54"/>
                  </a:lnTo>
                  <a:lnTo>
                    <a:pt x="38" y="44"/>
                  </a:lnTo>
                  <a:lnTo>
                    <a:pt x="25" y="31"/>
                  </a:lnTo>
                  <a:lnTo>
                    <a:pt x="0" y="44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46" name="Freeform 1125"/>
            <p:cNvSpPr>
              <a:spLocks/>
            </p:cNvSpPr>
            <p:nvPr>
              <p:custDataLst>
                <p:tags r:id="rId954"/>
              </p:custDataLst>
            </p:nvPr>
          </p:nvSpPr>
          <p:spPr bwMode="auto">
            <a:xfrm>
              <a:off x="7985851" y="3614308"/>
              <a:ext cx="334818" cy="131762"/>
            </a:xfrm>
            <a:custGeom>
              <a:avLst/>
              <a:gdLst>
                <a:gd name="T0" fmla="*/ 2147483647 w 181"/>
                <a:gd name="T1" fmla="*/ 2147483647 h 167"/>
                <a:gd name="T2" fmla="*/ 2147483647 w 181"/>
                <a:gd name="T3" fmla="*/ 2147483647 h 167"/>
                <a:gd name="T4" fmla="*/ 2147483647 w 181"/>
                <a:gd name="T5" fmla="*/ 2147483647 h 167"/>
                <a:gd name="T6" fmla="*/ 0 w 181"/>
                <a:gd name="T7" fmla="*/ 2147483647 h 167"/>
                <a:gd name="T8" fmla="*/ 2147483647 w 181"/>
                <a:gd name="T9" fmla="*/ 2147483647 h 167"/>
                <a:gd name="T10" fmla="*/ 2147483647 w 181"/>
                <a:gd name="T11" fmla="*/ 2147483647 h 167"/>
                <a:gd name="T12" fmla="*/ 2147483647 w 181"/>
                <a:gd name="T13" fmla="*/ 2147483647 h 167"/>
                <a:gd name="T14" fmla="*/ 2147483647 w 181"/>
                <a:gd name="T15" fmla="*/ 2147483647 h 167"/>
                <a:gd name="T16" fmla="*/ 2147483647 w 181"/>
                <a:gd name="T17" fmla="*/ 2147483647 h 167"/>
                <a:gd name="T18" fmla="*/ 2147483647 w 181"/>
                <a:gd name="T19" fmla="*/ 2147483647 h 167"/>
                <a:gd name="T20" fmla="*/ 2147483647 w 181"/>
                <a:gd name="T21" fmla="*/ 2147483647 h 167"/>
                <a:gd name="T22" fmla="*/ 2147483647 w 181"/>
                <a:gd name="T23" fmla="*/ 2147483647 h 167"/>
                <a:gd name="T24" fmla="*/ 2147483647 w 181"/>
                <a:gd name="T25" fmla="*/ 2147483647 h 167"/>
                <a:gd name="T26" fmla="*/ 2147483647 w 181"/>
                <a:gd name="T27" fmla="*/ 2147483647 h 167"/>
                <a:gd name="T28" fmla="*/ 2147483647 w 181"/>
                <a:gd name="T29" fmla="*/ 2147483647 h 167"/>
                <a:gd name="T30" fmla="*/ 2147483647 w 181"/>
                <a:gd name="T31" fmla="*/ 2147483647 h 167"/>
                <a:gd name="T32" fmla="*/ 2147483647 w 181"/>
                <a:gd name="T33" fmla="*/ 2147483647 h 167"/>
                <a:gd name="T34" fmla="*/ 2147483647 w 181"/>
                <a:gd name="T35" fmla="*/ 2147483647 h 167"/>
                <a:gd name="T36" fmla="*/ 2147483647 w 181"/>
                <a:gd name="T37" fmla="*/ 2147483647 h 167"/>
                <a:gd name="T38" fmla="*/ 2147483647 w 181"/>
                <a:gd name="T39" fmla="*/ 2147483647 h 167"/>
                <a:gd name="T40" fmla="*/ 2147483647 w 181"/>
                <a:gd name="T41" fmla="*/ 2147483647 h 167"/>
                <a:gd name="T42" fmla="*/ 2147483647 w 181"/>
                <a:gd name="T43" fmla="*/ 0 h 167"/>
                <a:gd name="T44" fmla="*/ 2147483647 w 181"/>
                <a:gd name="T45" fmla="*/ 2147483647 h 167"/>
                <a:gd name="T46" fmla="*/ 2147483647 w 181"/>
                <a:gd name="T47" fmla="*/ 2147483647 h 167"/>
                <a:gd name="T48" fmla="*/ 2147483647 w 181"/>
                <a:gd name="T49" fmla="*/ 2147483647 h 167"/>
                <a:gd name="T50" fmla="*/ 2147483647 w 181"/>
                <a:gd name="T51" fmla="*/ 2147483647 h 167"/>
                <a:gd name="T52" fmla="*/ 2147483647 w 181"/>
                <a:gd name="T53" fmla="*/ 2147483647 h 167"/>
                <a:gd name="T54" fmla="*/ 2147483647 w 181"/>
                <a:gd name="T55" fmla="*/ 2147483647 h 167"/>
                <a:gd name="T56" fmla="*/ 2147483647 w 181"/>
                <a:gd name="T57" fmla="*/ 2147483647 h 167"/>
                <a:gd name="T58" fmla="*/ 2147483647 w 181"/>
                <a:gd name="T59" fmla="*/ 2147483647 h 167"/>
                <a:gd name="T60" fmla="*/ 2147483647 w 181"/>
                <a:gd name="T61" fmla="*/ 2147483647 h 167"/>
                <a:gd name="T62" fmla="*/ 2147483647 w 181"/>
                <a:gd name="T63" fmla="*/ 2147483647 h 167"/>
                <a:gd name="T64" fmla="*/ 2147483647 w 181"/>
                <a:gd name="T65" fmla="*/ 2147483647 h 167"/>
                <a:gd name="T66" fmla="*/ 2147483647 w 181"/>
                <a:gd name="T67" fmla="*/ 2147483647 h 167"/>
                <a:gd name="T68" fmla="*/ 2147483647 w 181"/>
                <a:gd name="T69" fmla="*/ 2147483647 h 167"/>
                <a:gd name="T70" fmla="*/ 2147483647 w 181"/>
                <a:gd name="T71" fmla="*/ 2147483647 h 167"/>
                <a:gd name="T72" fmla="*/ 2147483647 w 181"/>
                <a:gd name="T73" fmla="*/ 2147483647 h 167"/>
                <a:gd name="T74" fmla="*/ 2147483647 w 181"/>
                <a:gd name="T75" fmla="*/ 2147483647 h 167"/>
                <a:gd name="T76" fmla="*/ 2147483647 w 181"/>
                <a:gd name="T77" fmla="*/ 2147483647 h 167"/>
                <a:gd name="T78" fmla="*/ 2147483647 w 181"/>
                <a:gd name="T79" fmla="*/ 2147483647 h 167"/>
                <a:gd name="T80" fmla="*/ 2147483647 w 181"/>
                <a:gd name="T81" fmla="*/ 2147483647 h 16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81" h="167">
                  <a:moveTo>
                    <a:pt x="44" y="122"/>
                  </a:moveTo>
                  <a:lnTo>
                    <a:pt x="31" y="122"/>
                  </a:lnTo>
                  <a:lnTo>
                    <a:pt x="6" y="122"/>
                  </a:lnTo>
                  <a:lnTo>
                    <a:pt x="0" y="146"/>
                  </a:lnTo>
                  <a:lnTo>
                    <a:pt x="6" y="146"/>
                  </a:lnTo>
                  <a:lnTo>
                    <a:pt x="13" y="155"/>
                  </a:lnTo>
                  <a:lnTo>
                    <a:pt x="50" y="155"/>
                  </a:lnTo>
                  <a:lnTo>
                    <a:pt x="75" y="155"/>
                  </a:lnTo>
                  <a:lnTo>
                    <a:pt x="88" y="167"/>
                  </a:lnTo>
                  <a:lnTo>
                    <a:pt x="88" y="146"/>
                  </a:lnTo>
                  <a:lnTo>
                    <a:pt x="101" y="146"/>
                  </a:lnTo>
                  <a:lnTo>
                    <a:pt x="113" y="134"/>
                  </a:lnTo>
                  <a:lnTo>
                    <a:pt x="125" y="134"/>
                  </a:lnTo>
                  <a:lnTo>
                    <a:pt x="151" y="101"/>
                  </a:lnTo>
                  <a:lnTo>
                    <a:pt x="175" y="78"/>
                  </a:lnTo>
                  <a:lnTo>
                    <a:pt x="181" y="67"/>
                  </a:lnTo>
                  <a:lnTo>
                    <a:pt x="175" y="44"/>
                  </a:lnTo>
                  <a:lnTo>
                    <a:pt x="170" y="44"/>
                  </a:lnTo>
                  <a:lnTo>
                    <a:pt x="156" y="34"/>
                  </a:lnTo>
                  <a:lnTo>
                    <a:pt x="144" y="23"/>
                  </a:lnTo>
                  <a:lnTo>
                    <a:pt x="113" y="13"/>
                  </a:lnTo>
                  <a:lnTo>
                    <a:pt x="75" y="0"/>
                  </a:lnTo>
                  <a:lnTo>
                    <a:pt x="69" y="13"/>
                  </a:lnTo>
                  <a:lnTo>
                    <a:pt x="69" y="23"/>
                  </a:lnTo>
                  <a:lnTo>
                    <a:pt x="75" y="34"/>
                  </a:lnTo>
                  <a:lnTo>
                    <a:pt x="64" y="34"/>
                  </a:lnTo>
                  <a:lnTo>
                    <a:pt x="50" y="23"/>
                  </a:lnTo>
                  <a:lnTo>
                    <a:pt x="31" y="34"/>
                  </a:lnTo>
                  <a:lnTo>
                    <a:pt x="38" y="34"/>
                  </a:lnTo>
                  <a:lnTo>
                    <a:pt x="44" y="44"/>
                  </a:lnTo>
                  <a:lnTo>
                    <a:pt x="38" y="57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64" y="78"/>
                  </a:lnTo>
                  <a:lnTo>
                    <a:pt x="69" y="78"/>
                  </a:lnTo>
                  <a:lnTo>
                    <a:pt x="75" y="101"/>
                  </a:lnTo>
                  <a:lnTo>
                    <a:pt x="69" y="111"/>
                  </a:lnTo>
                  <a:lnTo>
                    <a:pt x="64" y="111"/>
                  </a:lnTo>
                  <a:lnTo>
                    <a:pt x="56" y="111"/>
                  </a:lnTo>
                  <a:lnTo>
                    <a:pt x="50" y="111"/>
                  </a:lnTo>
                  <a:lnTo>
                    <a:pt x="44" y="12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47" name="Freeform 1126"/>
            <p:cNvSpPr>
              <a:spLocks/>
            </p:cNvSpPr>
            <p:nvPr>
              <p:custDataLst>
                <p:tags r:id="rId955"/>
              </p:custDataLst>
            </p:nvPr>
          </p:nvSpPr>
          <p:spPr bwMode="auto">
            <a:xfrm>
              <a:off x="7985851" y="3614308"/>
              <a:ext cx="334818" cy="131762"/>
            </a:xfrm>
            <a:custGeom>
              <a:avLst/>
              <a:gdLst>
                <a:gd name="T0" fmla="*/ 2147483647 w 181"/>
                <a:gd name="T1" fmla="*/ 2147483647 h 167"/>
                <a:gd name="T2" fmla="*/ 2147483647 w 181"/>
                <a:gd name="T3" fmla="*/ 2147483647 h 167"/>
                <a:gd name="T4" fmla="*/ 2147483647 w 181"/>
                <a:gd name="T5" fmla="*/ 2147483647 h 167"/>
                <a:gd name="T6" fmla="*/ 0 w 181"/>
                <a:gd name="T7" fmla="*/ 2147483647 h 167"/>
                <a:gd name="T8" fmla="*/ 2147483647 w 181"/>
                <a:gd name="T9" fmla="*/ 2147483647 h 167"/>
                <a:gd name="T10" fmla="*/ 2147483647 w 181"/>
                <a:gd name="T11" fmla="*/ 2147483647 h 167"/>
                <a:gd name="T12" fmla="*/ 2147483647 w 181"/>
                <a:gd name="T13" fmla="*/ 2147483647 h 167"/>
                <a:gd name="T14" fmla="*/ 2147483647 w 181"/>
                <a:gd name="T15" fmla="*/ 2147483647 h 167"/>
                <a:gd name="T16" fmla="*/ 2147483647 w 181"/>
                <a:gd name="T17" fmla="*/ 2147483647 h 167"/>
                <a:gd name="T18" fmla="*/ 2147483647 w 181"/>
                <a:gd name="T19" fmla="*/ 2147483647 h 167"/>
                <a:gd name="T20" fmla="*/ 2147483647 w 181"/>
                <a:gd name="T21" fmla="*/ 2147483647 h 167"/>
                <a:gd name="T22" fmla="*/ 2147483647 w 181"/>
                <a:gd name="T23" fmla="*/ 2147483647 h 167"/>
                <a:gd name="T24" fmla="*/ 2147483647 w 181"/>
                <a:gd name="T25" fmla="*/ 2147483647 h 167"/>
                <a:gd name="T26" fmla="*/ 2147483647 w 181"/>
                <a:gd name="T27" fmla="*/ 2147483647 h 167"/>
                <a:gd name="T28" fmla="*/ 2147483647 w 181"/>
                <a:gd name="T29" fmla="*/ 2147483647 h 167"/>
                <a:gd name="T30" fmla="*/ 2147483647 w 181"/>
                <a:gd name="T31" fmla="*/ 2147483647 h 167"/>
                <a:gd name="T32" fmla="*/ 2147483647 w 181"/>
                <a:gd name="T33" fmla="*/ 2147483647 h 167"/>
                <a:gd name="T34" fmla="*/ 2147483647 w 181"/>
                <a:gd name="T35" fmla="*/ 2147483647 h 167"/>
                <a:gd name="T36" fmla="*/ 2147483647 w 181"/>
                <a:gd name="T37" fmla="*/ 2147483647 h 167"/>
                <a:gd name="T38" fmla="*/ 2147483647 w 181"/>
                <a:gd name="T39" fmla="*/ 2147483647 h 167"/>
                <a:gd name="T40" fmla="*/ 2147483647 w 181"/>
                <a:gd name="T41" fmla="*/ 2147483647 h 167"/>
                <a:gd name="T42" fmla="*/ 2147483647 w 181"/>
                <a:gd name="T43" fmla="*/ 0 h 167"/>
                <a:gd name="T44" fmla="*/ 2147483647 w 181"/>
                <a:gd name="T45" fmla="*/ 2147483647 h 167"/>
                <a:gd name="T46" fmla="*/ 2147483647 w 181"/>
                <a:gd name="T47" fmla="*/ 2147483647 h 167"/>
                <a:gd name="T48" fmla="*/ 2147483647 w 181"/>
                <a:gd name="T49" fmla="*/ 2147483647 h 167"/>
                <a:gd name="T50" fmla="*/ 2147483647 w 181"/>
                <a:gd name="T51" fmla="*/ 2147483647 h 167"/>
                <a:gd name="T52" fmla="*/ 2147483647 w 181"/>
                <a:gd name="T53" fmla="*/ 2147483647 h 167"/>
                <a:gd name="T54" fmla="*/ 2147483647 w 181"/>
                <a:gd name="T55" fmla="*/ 2147483647 h 167"/>
                <a:gd name="T56" fmla="*/ 2147483647 w 181"/>
                <a:gd name="T57" fmla="*/ 2147483647 h 167"/>
                <a:gd name="T58" fmla="*/ 2147483647 w 181"/>
                <a:gd name="T59" fmla="*/ 2147483647 h 167"/>
                <a:gd name="T60" fmla="*/ 2147483647 w 181"/>
                <a:gd name="T61" fmla="*/ 2147483647 h 167"/>
                <a:gd name="T62" fmla="*/ 2147483647 w 181"/>
                <a:gd name="T63" fmla="*/ 2147483647 h 167"/>
                <a:gd name="T64" fmla="*/ 2147483647 w 181"/>
                <a:gd name="T65" fmla="*/ 2147483647 h 167"/>
                <a:gd name="T66" fmla="*/ 2147483647 w 181"/>
                <a:gd name="T67" fmla="*/ 2147483647 h 167"/>
                <a:gd name="T68" fmla="*/ 2147483647 w 181"/>
                <a:gd name="T69" fmla="*/ 2147483647 h 167"/>
                <a:gd name="T70" fmla="*/ 2147483647 w 181"/>
                <a:gd name="T71" fmla="*/ 2147483647 h 167"/>
                <a:gd name="T72" fmla="*/ 2147483647 w 181"/>
                <a:gd name="T73" fmla="*/ 2147483647 h 167"/>
                <a:gd name="T74" fmla="*/ 2147483647 w 181"/>
                <a:gd name="T75" fmla="*/ 2147483647 h 167"/>
                <a:gd name="T76" fmla="*/ 2147483647 w 181"/>
                <a:gd name="T77" fmla="*/ 2147483647 h 167"/>
                <a:gd name="T78" fmla="*/ 2147483647 w 181"/>
                <a:gd name="T79" fmla="*/ 2147483647 h 167"/>
                <a:gd name="T80" fmla="*/ 2147483647 w 181"/>
                <a:gd name="T81" fmla="*/ 2147483647 h 16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81" h="167">
                  <a:moveTo>
                    <a:pt x="44" y="122"/>
                  </a:moveTo>
                  <a:lnTo>
                    <a:pt x="31" y="122"/>
                  </a:lnTo>
                  <a:lnTo>
                    <a:pt x="6" y="122"/>
                  </a:lnTo>
                  <a:lnTo>
                    <a:pt x="0" y="146"/>
                  </a:lnTo>
                  <a:lnTo>
                    <a:pt x="6" y="146"/>
                  </a:lnTo>
                  <a:lnTo>
                    <a:pt x="13" y="155"/>
                  </a:lnTo>
                  <a:lnTo>
                    <a:pt x="50" y="155"/>
                  </a:lnTo>
                  <a:lnTo>
                    <a:pt x="75" y="155"/>
                  </a:lnTo>
                  <a:lnTo>
                    <a:pt x="88" y="167"/>
                  </a:lnTo>
                  <a:lnTo>
                    <a:pt x="88" y="146"/>
                  </a:lnTo>
                  <a:lnTo>
                    <a:pt x="101" y="146"/>
                  </a:lnTo>
                  <a:lnTo>
                    <a:pt x="113" y="134"/>
                  </a:lnTo>
                  <a:lnTo>
                    <a:pt x="125" y="134"/>
                  </a:lnTo>
                  <a:lnTo>
                    <a:pt x="151" y="101"/>
                  </a:lnTo>
                  <a:lnTo>
                    <a:pt x="175" y="78"/>
                  </a:lnTo>
                  <a:lnTo>
                    <a:pt x="181" y="67"/>
                  </a:lnTo>
                  <a:lnTo>
                    <a:pt x="175" y="44"/>
                  </a:lnTo>
                  <a:lnTo>
                    <a:pt x="170" y="44"/>
                  </a:lnTo>
                  <a:lnTo>
                    <a:pt x="156" y="34"/>
                  </a:lnTo>
                  <a:lnTo>
                    <a:pt x="144" y="23"/>
                  </a:lnTo>
                  <a:lnTo>
                    <a:pt x="113" y="13"/>
                  </a:lnTo>
                  <a:lnTo>
                    <a:pt x="75" y="0"/>
                  </a:lnTo>
                  <a:lnTo>
                    <a:pt x="69" y="13"/>
                  </a:lnTo>
                  <a:lnTo>
                    <a:pt x="69" y="23"/>
                  </a:lnTo>
                  <a:lnTo>
                    <a:pt x="75" y="34"/>
                  </a:lnTo>
                  <a:lnTo>
                    <a:pt x="64" y="34"/>
                  </a:lnTo>
                  <a:lnTo>
                    <a:pt x="50" y="23"/>
                  </a:lnTo>
                  <a:lnTo>
                    <a:pt x="31" y="34"/>
                  </a:lnTo>
                  <a:lnTo>
                    <a:pt x="38" y="34"/>
                  </a:lnTo>
                  <a:lnTo>
                    <a:pt x="44" y="44"/>
                  </a:lnTo>
                  <a:lnTo>
                    <a:pt x="38" y="57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64" y="78"/>
                  </a:lnTo>
                  <a:lnTo>
                    <a:pt x="69" y="78"/>
                  </a:lnTo>
                  <a:lnTo>
                    <a:pt x="75" y="101"/>
                  </a:lnTo>
                  <a:lnTo>
                    <a:pt x="69" y="111"/>
                  </a:lnTo>
                  <a:lnTo>
                    <a:pt x="64" y="111"/>
                  </a:lnTo>
                  <a:lnTo>
                    <a:pt x="56" y="111"/>
                  </a:lnTo>
                  <a:lnTo>
                    <a:pt x="50" y="111"/>
                  </a:lnTo>
                  <a:lnTo>
                    <a:pt x="44" y="12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48" name="Freeform 1127"/>
            <p:cNvSpPr>
              <a:spLocks/>
            </p:cNvSpPr>
            <p:nvPr>
              <p:custDataLst>
                <p:tags r:id="rId956"/>
              </p:custDataLst>
            </p:nvPr>
          </p:nvSpPr>
          <p:spPr bwMode="auto">
            <a:xfrm>
              <a:off x="7985851" y="3614308"/>
              <a:ext cx="334818" cy="131762"/>
            </a:xfrm>
            <a:custGeom>
              <a:avLst/>
              <a:gdLst>
                <a:gd name="T0" fmla="*/ 2147483647 w 181"/>
                <a:gd name="T1" fmla="*/ 2147483647 h 167"/>
                <a:gd name="T2" fmla="*/ 2147483647 w 181"/>
                <a:gd name="T3" fmla="*/ 2147483647 h 167"/>
                <a:gd name="T4" fmla="*/ 2147483647 w 181"/>
                <a:gd name="T5" fmla="*/ 2147483647 h 167"/>
                <a:gd name="T6" fmla="*/ 0 w 181"/>
                <a:gd name="T7" fmla="*/ 2147483647 h 167"/>
                <a:gd name="T8" fmla="*/ 2147483647 w 181"/>
                <a:gd name="T9" fmla="*/ 2147483647 h 167"/>
                <a:gd name="T10" fmla="*/ 2147483647 w 181"/>
                <a:gd name="T11" fmla="*/ 2147483647 h 167"/>
                <a:gd name="T12" fmla="*/ 2147483647 w 181"/>
                <a:gd name="T13" fmla="*/ 2147483647 h 167"/>
                <a:gd name="T14" fmla="*/ 2147483647 w 181"/>
                <a:gd name="T15" fmla="*/ 2147483647 h 167"/>
                <a:gd name="T16" fmla="*/ 2147483647 w 181"/>
                <a:gd name="T17" fmla="*/ 2147483647 h 167"/>
                <a:gd name="T18" fmla="*/ 2147483647 w 181"/>
                <a:gd name="T19" fmla="*/ 2147483647 h 167"/>
                <a:gd name="T20" fmla="*/ 2147483647 w 181"/>
                <a:gd name="T21" fmla="*/ 2147483647 h 167"/>
                <a:gd name="T22" fmla="*/ 2147483647 w 181"/>
                <a:gd name="T23" fmla="*/ 2147483647 h 167"/>
                <a:gd name="T24" fmla="*/ 2147483647 w 181"/>
                <a:gd name="T25" fmla="*/ 2147483647 h 167"/>
                <a:gd name="T26" fmla="*/ 2147483647 w 181"/>
                <a:gd name="T27" fmla="*/ 2147483647 h 167"/>
                <a:gd name="T28" fmla="*/ 2147483647 w 181"/>
                <a:gd name="T29" fmla="*/ 2147483647 h 167"/>
                <a:gd name="T30" fmla="*/ 2147483647 w 181"/>
                <a:gd name="T31" fmla="*/ 2147483647 h 167"/>
                <a:gd name="T32" fmla="*/ 2147483647 w 181"/>
                <a:gd name="T33" fmla="*/ 2147483647 h 167"/>
                <a:gd name="T34" fmla="*/ 2147483647 w 181"/>
                <a:gd name="T35" fmla="*/ 2147483647 h 167"/>
                <a:gd name="T36" fmla="*/ 2147483647 w 181"/>
                <a:gd name="T37" fmla="*/ 2147483647 h 167"/>
                <a:gd name="T38" fmla="*/ 2147483647 w 181"/>
                <a:gd name="T39" fmla="*/ 2147483647 h 167"/>
                <a:gd name="T40" fmla="*/ 2147483647 w 181"/>
                <a:gd name="T41" fmla="*/ 2147483647 h 167"/>
                <a:gd name="T42" fmla="*/ 2147483647 w 181"/>
                <a:gd name="T43" fmla="*/ 0 h 167"/>
                <a:gd name="T44" fmla="*/ 2147483647 w 181"/>
                <a:gd name="T45" fmla="*/ 2147483647 h 167"/>
                <a:gd name="T46" fmla="*/ 2147483647 w 181"/>
                <a:gd name="T47" fmla="*/ 2147483647 h 167"/>
                <a:gd name="T48" fmla="*/ 2147483647 w 181"/>
                <a:gd name="T49" fmla="*/ 2147483647 h 167"/>
                <a:gd name="T50" fmla="*/ 2147483647 w 181"/>
                <a:gd name="T51" fmla="*/ 2147483647 h 167"/>
                <a:gd name="T52" fmla="*/ 2147483647 w 181"/>
                <a:gd name="T53" fmla="*/ 2147483647 h 167"/>
                <a:gd name="T54" fmla="*/ 2147483647 w 181"/>
                <a:gd name="T55" fmla="*/ 2147483647 h 167"/>
                <a:gd name="T56" fmla="*/ 2147483647 w 181"/>
                <a:gd name="T57" fmla="*/ 2147483647 h 167"/>
                <a:gd name="T58" fmla="*/ 2147483647 w 181"/>
                <a:gd name="T59" fmla="*/ 2147483647 h 167"/>
                <a:gd name="T60" fmla="*/ 2147483647 w 181"/>
                <a:gd name="T61" fmla="*/ 2147483647 h 167"/>
                <a:gd name="T62" fmla="*/ 2147483647 w 181"/>
                <a:gd name="T63" fmla="*/ 2147483647 h 167"/>
                <a:gd name="T64" fmla="*/ 2147483647 w 181"/>
                <a:gd name="T65" fmla="*/ 2147483647 h 167"/>
                <a:gd name="T66" fmla="*/ 2147483647 w 181"/>
                <a:gd name="T67" fmla="*/ 2147483647 h 167"/>
                <a:gd name="T68" fmla="*/ 2147483647 w 181"/>
                <a:gd name="T69" fmla="*/ 2147483647 h 167"/>
                <a:gd name="T70" fmla="*/ 2147483647 w 181"/>
                <a:gd name="T71" fmla="*/ 2147483647 h 167"/>
                <a:gd name="T72" fmla="*/ 2147483647 w 181"/>
                <a:gd name="T73" fmla="*/ 2147483647 h 167"/>
                <a:gd name="T74" fmla="*/ 2147483647 w 181"/>
                <a:gd name="T75" fmla="*/ 2147483647 h 167"/>
                <a:gd name="T76" fmla="*/ 2147483647 w 181"/>
                <a:gd name="T77" fmla="*/ 2147483647 h 167"/>
                <a:gd name="T78" fmla="*/ 2147483647 w 181"/>
                <a:gd name="T79" fmla="*/ 2147483647 h 167"/>
                <a:gd name="T80" fmla="*/ 2147483647 w 181"/>
                <a:gd name="T81" fmla="*/ 2147483647 h 16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81" h="167">
                  <a:moveTo>
                    <a:pt x="44" y="122"/>
                  </a:moveTo>
                  <a:lnTo>
                    <a:pt x="31" y="122"/>
                  </a:lnTo>
                  <a:lnTo>
                    <a:pt x="6" y="122"/>
                  </a:lnTo>
                  <a:lnTo>
                    <a:pt x="0" y="146"/>
                  </a:lnTo>
                  <a:lnTo>
                    <a:pt x="6" y="146"/>
                  </a:lnTo>
                  <a:lnTo>
                    <a:pt x="13" y="155"/>
                  </a:lnTo>
                  <a:lnTo>
                    <a:pt x="50" y="155"/>
                  </a:lnTo>
                  <a:lnTo>
                    <a:pt x="75" y="155"/>
                  </a:lnTo>
                  <a:lnTo>
                    <a:pt x="88" y="167"/>
                  </a:lnTo>
                  <a:lnTo>
                    <a:pt x="88" y="146"/>
                  </a:lnTo>
                  <a:lnTo>
                    <a:pt x="101" y="146"/>
                  </a:lnTo>
                  <a:lnTo>
                    <a:pt x="113" y="134"/>
                  </a:lnTo>
                  <a:lnTo>
                    <a:pt x="125" y="134"/>
                  </a:lnTo>
                  <a:lnTo>
                    <a:pt x="151" y="101"/>
                  </a:lnTo>
                  <a:lnTo>
                    <a:pt x="175" y="78"/>
                  </a:lnTo>
                  <a:lnTo>
                    <a:pt x="181" y="67"/>
                  </a:lnTo>
                  <a:lnTo>
                    <a:pt x="175" y="44"/>
                  </a:lnTo>
                  <a:lnTo>
                    <a:pt x="170" y="44"/>
                  </a:lnTo>
                  <a:lnTo>
                    <a:pt x="156" y="34"/>
                  </a:lnTo>
                  <a:lnTo>
                    <a:pt x="144" y="23"/>
                  </a:lnTo>
                  <a:lnTo>
                    <a:pt x="113" y="13"/>
                  </a:lnTo>
                  <a:lnTo>
                    <a:pt x="75" y="0"/>
                  </a:lnTo>
                  <a:lnTo>
                    <a:pt x="69" y="13"/>
                  </a:lnTo>
                  <a:lnTo>
                    <a:pt x="69" y="23"/>
                  </a:lnTo>
                  <a:lnTo>
                    <a:pt x="75" y="34"/>
                  </a:lnTo>
                  <a:lnTo>
                    <a:pt x="64" y="34"/>
                  </a:lnTo>
                  <a:lnTo>
                    <a:pt x="50" y="23"/>
                  </a:lnTo>
                  <a:lnTo>
                    <a:pt x="31" y="34"/>
                  </a:lnTo>
                  <a:lnTo>
                    <a:pt x="38" y="34"/>
                  </a:lnTo>
                  <a:lnTo>
                    <a:pt x="44" y="44"/>
                  </a:lnTo>
                  <a:lnTo>
                    <a:pt x="38" y="57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64" y="78"/>
                  </a:lnTo>
                  <a:lnTo>
                    <a:pt x="69" y="78"/>
                  </a:lnTo>
                  <a:lnTo>
                    <a:pt x="75" y="101"/>
                  </a:lnTo>
                  <a:lnTo>
                    <a:pt x="69" y="111"/>
                  </a:lnTo>
                  <a:lnTo>
                    <a:pt x="64" y="111"/>
                  </a:lnTo>
                  <a:lnTo>
                    <a:pt x="56" y="111"/>
                  </a:lnTo>
                  <a:lnTo>
                    <a:pt x="50" y="111"/>
                  </a:lnTo>
                  <a:lnTo>
                    <a:pt x="44" y="12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49" name="Freeform 1128"/>
            <p:cNvSpPr>
              <a:spLocks/>
            </p:cNvSpPr>
            <p:nvPr>
              <p:custDataLst>
                <p:tags r:id="rId957"/>
              </p:custDataLst>
            </p:nvPr>
          </p:nvSpPr>
          <p:spPr bwMode="auto">
            <a:xfrm>
              <a:off x="7985851" y="3614308"/>
              <a:ext cx="334818" cy="131762"/>
            </a:xfrm>
            <a:custGeom>
              <a:avLst/>
              <a:gdLst>
                <a:gd name="T0" fmla="*/ 2147483647 w 181"/>
                <a:gd name="T1" fmla="*/ 2147483647 h 167"/>
                <a:gd name="T2" fmla="*/ 2147483647 w 181"/>
                <a:gd name="T3" fmla="*/ 2147483647 h 167"/>
                <a:gd name="T4" fmla="*/ 2147483647 w 181"/>
                <a:gd name="T5" fmla="*/ 2147483647 h 167"/>
                <a:gd name="T6" fmla="*/ 0 w 181"/>
                <a:gd name="T7" fmla="*/ 2147483647 h 167"/>
                <a:gd name="T8" fmla="*/ 2147483647 w 181"/>
                <a:gd name="T9" fmla="*/ 2147483647 h 167"/>
                <a:gd name="T10" fmla="*/ 2147483647 w 181"/>
                <a:gd name="T11" fmla="*/ 2147483647 h 167"/>
                <a:gd name="T12" fmla="*/ 2147483647 w 181"/>
                <a:gd name="T13" fmla="*/ 2147483647 h 167"/>
                <a:gd name="T14" fmla="*/ 2147483647 w 181"/>
                <a:gd name="T15" fmla="*/ 2147483647 h 167"/>
                <a:gd name="T16" fmla="*/ 2147483647 w 181"/>
                <a:gd name="T17" fmla="*/ 2147483647 h 167"/>
                <a:gd name="T18" fmla="*/ 2147483647 w 181"/>
                <a:gd name="T19" fmla="*/ 2147483647 h 167"/>
                <a:gd name="T20" fmla="*/ 2147483647 w 181"/>
                <a:gd name="T21" fmla="*/ 2147483647 h 167"/>
                <a:gd name="T22" fmla="*/ 2147483647 w 181"/>
                <a:gd name="T23" fmla="*/ 2147483647 h 167"/>
                <a:gd name="T24" fmla="*/ 2147483647 w 181"/>
                <a:gd name="T25" fmla="*/ 2147483647 h 167"/>
                <a:gd name="T26" fmla="*/ 2147483647 w 181"/>
                <a:gd name="T27" fmla="*/ 2147483647 h 167"/>
                <a:gd name="T28" fmla="*/ 2147483647 w 181"/>
                <a:gd name="T29" fmla="*/ 2147483647 h 167"/>
                <a:gd name="T30" fmla="*/ 2147483647 w 181"/>
                <a:gd name="T31" fmla="*/ 2147483647 h 167"/>
                <a:gd name="T32" fmla="*/ 2147483647 w 181"/>
                <a:gd name="T33" fmla="*/ 2147483647 h 167"/>
                <a:gd name="T34" fmla="*/ 2147483647 w 181"/>
                <a:gd name="T35" fmla="*/ 2147483647 h 167"/>
                <a:gd name="T36" fmla="*/ 2147483647 w 181"/>
                <a:gd name="T37" fmla="*/ 2147483647 h 167"/>
                <a:gd name="T38" fmla="*/ 2147483647 w 181"/>
                <a:gd name="T39" fmla="*/ 2147483647 h 167"/>
                <a:gd name="T40" fmla="*/ 2147483647 w 181"/>
                <a:gd name="T41" fmla="*/ 2147483647 h 167"/>
                <a:gd name="T42" fmla="*/ 2147483647 w 181"/>
                <a:gd name="T43" fmla="*/ 0 h 167"/>
                <a:gd name="T44" fmla="*/ 2147483647 w 181"/>
                <a:gd name="T45" fmla="*/ 2147483647 h 167"/>
                <a:gd name="T46" fmla="*/ 2147483647 w 181"/>
                <a:gd name="T47" fmla="*/ 2147483647 h 167"/>
                <a:gd name="T48" fmla="*/ 2147483647 w 181"/>
                <a:gd name="T49" fmla="*/ 2147483647 h 167"/>
                <a:gd name="T50" fmla="*/ 2147483647 w 181"/>
                <a:gd name="T51" fmla="*/ 2147483647 h 167"/>
                <a:gd name="T52" fmla="*/ 2147483647 w 181"/>
                <a:gd name="T53" fmla="*/ 2147483647 h 167"/>
                <a:gd name="T54" fmla="*/ 2147483647 w 181"/>
                <a:gd name="T55" fmla="*/ 2147483647 h 167"/>
                <a:gd name="T56" fmla="*/ 2147483647 w 181"/>
                <a:gd name="T57" fmla="*/ 2147483647 h 167"/>
                <a:gd name="T58" fmla="*/ 2147483647 w 181"/>
                <a:gd name="T59" fmla="*/ 2147483647 h 167"/>
                <a:gd name="T60" fmla="*/ 2147483647 w 181"/>
                <a:gd name="T61" fmla="*/ 2147483647 h 167"/>
                <a:gd name="T62" fmla="*/ 2147483647 w 181"/>
                <a:gd name="T63" fmla="*/ 2147483647 h 167"/>
                <a:gd name="T64" fmla="*/ 2147483647 w 181"/>
                <a:gd name="T65" fmla="*/ 2147483647 h 167"/>
                <a:gd name="T66" fmla="*/ 2147483647 w 181"/>
                <a:gd name="T67" fmla="*/ 2147483647 h 167"/>
                <a:gd name="T68" fmla="*/ 2147483647 w 181"/>
                <a:gd name="T69" fmla="*/ 2147483647 h 167"/>
                <a:gd name="T70" fmla="*/ 2147483647 w 181"/>
                <a:gd name="T71" fmla="*/ 2147483647 h 167"/>
                <a:gd name="T72" fmla="*/ 2147483647 w 181"/>
                <a:gd name="T73" fmla="*/ 2147483647 h 167"/>
                <a:gd name="T74" fmla="*/ 2147483647 w 181"/>
                <a:gd name="T75" fmla="*/ 2147483647 h 167"/>
                <a:gd name="T76" fmla="*/ 2147483647 w 181"/>
                <a:gd name="T77" fmla="*/ 2147483647 h 167"/>
                <a:gd name="T78" fmla="*/ 2147483647 w 181"/>
                <a:gd name="T79" fmla="*/ 2147483647 h 167"/>
                <a:gd name="T80" fmla="*/ 2147483647 w 181"/>
                <a:gd name="T81" fmla="*/ 2147483647 h 16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81" h="167">
                  <a:moveTo>
                    <a:pt x="44" y="122"/>
                  </a:moveTo>
                  <a:lnTo>
                    <a:pt x="31" y="122"/>
                  </a:lnTo>
                  <a:lnTo>
                    <a:pt x="6" y="122"/>
                  </a:lnTo>
                  <a:lnTo>
                    <a:pt x="0" y="146"/>
                  </a:lnTo>
                  <a:lnTo>
                    <a:pt x="6" y="146"/>
                  </a:lnTo>
                  <a:lnTo>
                    <a:pt x="13" y="155"/>
                  </a:lnTo>
                  <a:lnTo>
                    <a:pt x="50" y="155"/>
                  </a:lnTo>
                  <a:lnTo>
                    <a:pt x="75" y="155"/>
                  </a:lnTo>
                  <a:lnTo>
                    <a:pt x="88" y="167"/>
                  </a:lnTo>
                  <a:lnTo>
                    <a:pt x="88" y="146"/>
                  </a:lnTo>
                  <a:lnTo>
                    <a:pt x="101" y="146"/>
                  </a:lnTo>
                  <a:lnTo>
                    <a:pt x="113" y="134"/>
                  </a:lnTo>
                  <a:lnTo>
                    <a:pt x="125" y="134"/>
                  </a:lnTo>
                  <a:lnTo>
                    <a:pt x="151" y="101"/>
                  </a:lnTo>
                  <a:lnTo>
                    <a:pt x="175" y="78"/>
                  </a:lnTo>
                  <a:lnTo>
                    <a:pt x="181" y="67"/>
                  </a:lnTo>
                  <a:lnTo>
                    <a:pt x="175" y="44"/>
                  </a:lnTo>
                  <a:lnTo>
                    <a:pt x="170" y="44"/>
                  </a:lnTo>
                  <a:lnTo>
                    <a:pt x="156" y="34"/>
                  </a:lnTo>
                  <a:lnTo>
                    <a:pt x="144" y="23"/>
                  </a:lnTo>
                  <a:lnTo>
                    <a:pt x="113" y="13"/>
                  </a:lnTo>
                  <a:lnTo>
                    <a:pt x="75" y="0"/>
                  </a:lnTo>
                  <a:lnTo>
                    <a:pt x="69" y="13"/>
                  </a:lnTo>
                  <a:lnTo>
                    <a:pt x="69" y="23"/>
                  </a:lnTo>
                  <a:lnTo>
                    <a:pt x="75" y="34"/>
                  </a:lnTo>
                  <a:lnTo>
                    <a:pt x="64" y="34"/>
                  </a:lnTo>
                  <a:lnTo>
                    <a:pt x="50" y="23"/>
                  </a:lnTo>
                  <a:lnTo>
                    <a:pt x="31" y="34"/>
                  </a:lnTo>
                  <a:lnTo>
                    <a:pt x="38" y="34"/>
                  </a:lnTo>
                  <a:lnTo>
                    <a:pt x="44" y="44"/>
                  </a:lnTo>
                  <a:lnTo>
                    <a:pt x="38" y="57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64" y="78"/>
                  </a:lnTo>
                  <a:lnTo>
                    <a:pt x="69" y="78"/>
                  </a:lnTo>
                  <a:lnTo>
                    <a:pt x="75" y="101"/>
                  </a:lnTo>
                  <a:lnTo>
                    <a:pt x="69" y="111"/>
                  </a:lnTo>
                  <a:lnTo>
                    <a:pt x="64" y="111"/>
                  </a:lnTo>
                  <a:lnTo>
                    <a:pt x="56" y="111"/>
                  </a:lnTo>
                  <a:lnTo>
                    <a:pt x="50" y="111"/>
                  </a:lnTo>
                  <a:lnTo>
                    <a:pt x="44" y="12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50" name="Freeform 1129"/>
            <p:cNvSpPr>
              <a:spLocks/>
            </p:cNvSpPr>
            <p:nvPr>
              <p:custDataLst>
                <p:tags r:id="rId958"/>
              </p:custDataLst>
            </p:nvPr>
          </p:nvSpPr>
          <p:spPr bwMode="auto">
            <a:xfrm>
              <a:off x="7963798" y="3696871"/>
              <a:ext cx="206504" cy="130175"/>
            </a:xfrm>
            <a:custGeom>
              <a:avLst/>
              <a:gdLst>
                <a:gd name="T0" fmla="*/ 0 w 112"/>
                <a:gd name="T1" fmla="*/ 2147483647 h 165"/>
                <a:gd name="T2" fmla="*/ 0 w 112"/>
                <a:gd name="T3" fmla="*/ 2147483647 h 165"/>
                <a:gd name="T4" fmla="*/ 2147483647 w 112"/>
                <a:gd name="T5" fmla="*/ 2147483647 h 165"/>
                <a:gd name="T6" fmla="*/ 2147483647 w 112"/>
                <a:gd name="T7" fmla="*/ 2147483647 h 165"/>
                <a:gd name="T8" fmla="*/ 2147483647 w 112"/>
                <a:gd name="T9" fmla="*/ 2147483647 h 165"/>
                <a:gd name="T10" fmla="*/ 2147483647 w 112"/>
                <a:gd name="T11" fmla="*/ 2147483647 h 165"/>
                <a:gd name="T12" fmla="*/ 2147483647 w 112"/>
                <a:gd name="T13" fmla="*/ 2147483647 h 165"/>
                <a:gd name="T14" fmla="*/ 2147483647 w 112"/>
                <a:gd name="T15" fmla="*/ 2147483647 h 165"/>
                <a:gd name="T16" fmla="*/ 2147483647 w 112"/>
                <a:gd name="T17" fmla="*/ 2147483647 h 165"/>
                <a:gd name="T18" fmla="*/ 2147483647 w 112"/>
                <a:gd name="T19" fmla="*/ 2147483647 h 165"/>
                <a:gd name="T20" fmla="*/ 2147483647 w 112"/>
                <a:gd name="T21" fmla="*/ 2147483647 h 165"/>
                <a:gd name="T22" fmla="*/ 2147483647 w 112"/>
                <a:gd name="T23" fmla="*/ 2147483647 h 165"/>
                <a:gd name="T24" fmla="*/ 2147483647 w 112"/>
                <a:gd name="T25" fmla="*/ 2147483647 h 165"/>
                <a:gd name="T26" fmla="*/ 2147483647 w 112"/>
                <a:gd name="T27" fmla="*/ 2147483647 h 165"/>
                <a:gd name="T28" fmla="*/ 2147483647 w 112"/>
                <a:gd name="T29" fmla="*/ 2147483647 h 165"/>
                <a:gd name="T30" fmla="*/ 2147483647 w 112"/>
                <a:gd name="T31" fmla="*/ 2147483647 h 165"/>
                <a:gd name="T32" fmla="*/ 2147483647 w 112"/>
                <a:gd name="T33" fmla="*/ 2147483647 h 165"/>
                <a:gd name="T34" fmla="*/ 2147483647 w 112"/>
                <a:gd name="T35" fmla="*/ 2147483647 h 165"/>
                <a:gd name="T36" fmla="*/ 2147483647 w 112"/>
                <a:gd name="T37" fmla="*/ 2147483647 h 165"/>
                <a:gd name="T38" fmla="*/ 2147483647 w 112"/>
                <a:gd name="T39" fmla="*/ 2147483647 h 165"/>
                <a:gd name="T40" fmla="*/ 2147483647 w 112"/>
                <a:gd name="T41" fmla="*/ 2147483647 h 165"/>
                <a:gd name="T42" fmla="*/ 2147483647 w 112"/>
                <a:gd name="T43" fmla="*/ 2147483647 h 165"/>
                <a:gd name="T44" fmla="*/ 2147483647 w 112"/>
                <a:gd name="T45" fmla="*/ 2147483647 h 165"/>
                <a:gd name="T46" fmla="*/ 2147483647 w 112"/>
                <a:gd name="T47" fmla="*/ 2147483647 h 165"/>
                <a:gd name="T48" fmla="*/ 2147483647 w 112"/>
                <a:gd name="T49" fmla="*/ 0 h 165"/>
                <a:gd name="T50" fmla="*/ 2147483647 w 112"/>
                <a:gd name="T51" fmla="*/ 2147483647 h 165"/>
                <a:gd name="T52" fmla="*/ 2147483647 w 112"/>
                <a:gd name="T53" fmla="*/ 0 h 165"/>
                <a:gd name="T54" fmla="*/ 2147483647 w 112"/>
                <a:gd name="T55" fmla="*/ 2147483647 h 165"/>
                <a:gd name="T56" fmla="*/ 0 w 112"/>
                <a:gd name="T57" fmla="*/ 2147483647 h 165"/>
                <a:gd name="T58" fmla="*/ 0 w 112"/>
                <a:gd name="T59" fmla="*/ 2147483647 h 165"/>
                <a:gd name="T60" fmla="*/ 2147483647 w 112"/>
                <a:gd name="T61" fmla="*/ 2147483647 h 165"/>
                <a:gd name="T62" fmla="*/ 2147483647 w 112"/>
                <a:gd name="T63" fmla="*/ 2147483647 h 165"/>
                <a:gd name="T64" fmla="*/ 2147483647 w 112"/>
                <a:gd name="T65" fmla="*/ 2147483647 h 165"/>
                <a:gd name="T66" fmla="*/ 2147483647 w 112"/>
                <a:gd name="T67" fmla="*/ 2147483647 h 165"/>
                <a:gd name="T68" fmla="*/ 2147483647 w 112"/>
                <a:gd name="T69" fmla="*/ 2147483647 h 165"/>
                <a:gd name="T70" fmla="*/ 0 w 112"/>
                <a:gd name="T71" fmla="*/ 2147483647 h 1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2" h="165">
                  <a:moveTo>
                    <a:pt x="0" y="142"/>
                  </a:moveTo>
                  <a:lnTo>
                    <a:pt x="0" y="142"/>
                  </a:lnTo>
                  <a:lnTo>
                    <a:pt x="6" y="142"/>
                  </a:lnTo>
                  <a:lnTo>
                    <a:pt x="25" y="154"/>
                  </a:lnTo>
                  <a:lnTo>
                    <a:pt x="50" y="98"/>
                  </a:lnTo>
                  <a:lnTo>
                    <a:pt x="55" y="133"/>
                  </a:lnTo>
                  <a:lnTo>
                    <a:pt x="62" y="165"/>
                  </a:lnTo>
                  <a:lnTo>
                    <a:pt x="81" y="154"/>
                  </a:lnTo>
                  <a:lnTo>
                    <a:pt x="93" y="142"/>
                  </a:lnTo>
                  <a:lnTo>
                    <a:pt x="112" y="142"/>
                  </a:lnTo>
                  <a:lnTo>
                    <a:pt x="112" y="98"/>
                  </a:lnTo>
                  <a:lnTo>
                    <a:pt x="100" y="89"/>
                  </a:lnTo>
                  <a:lnTo>
                    <a:pt x="93" y="89"/>
                  </a:lnTo>
                  <a:lnTo>
                    <a:pt x="100" y="66"/>
                  </a:lnTo>
                  <a:lnTo>
                    <a:pt x="87" y="54"/>
                  </a:lnTo>
                  <a:lnTo>
                    <a:pt x="75" y="54"/>
                  </a:lnTo>
                  <a:lnTo>
                    <a:pt x="55" y="54"/>
                  </a:lnTo>
                  <a:lnTo>
                    <a:pt x="43" y="54"/>
                  </a:lnTo>
                  <a:lnTo>
                    <a:pt x="31" y="54"/>
                  </a:lnTo>
                  <a:lnTo>
                    <a:pt x="18" y="44"/>
                  </a:lnTo>
                  <a:lnTo>
                    <a:pt x="12" y="44"/>
                  </a:lnTo>
                  <a:lnTo>
                    <a:pt x="18" y="31"/>
                  </a:lnTo>
                  <a:lnTo>
                    <a:pt x="25" y="21"/>
                  </a:lnTo>
                  <a:lnTo>
                    <a:pt x="43" y="10"/>
                  </a:lnTo>
                  <a:lnTo>
                    <a:pt x="43" y="0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6" y="21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12" y="66"/>
                  </a:lnTo>
                  <a:lnTo>
                    <a:pt x="12" y="89"/>
                  </a:lnTo>
                  <a:lnTo>
                    <a:pt x="12" y="110"/>
                  </a:lnTo>
                  <a:lnTo>
                    <a:pt x="6" y="110"/>
                  </a:lnTo>
                  <a:lnTo>
                    <a:pt x="6" y="119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51" name="Freeform 1130"/>
            <p:cNvSpPr>
              <a:spLocks/>
            </p:cNvSpPr>
            <p:nvPr>
              <p:custDataLst>
                <p:tags r:id="rId959"/>
              </p:custDataLst>
            </p:nvPr>
          </p:nvSpPr>
          <p:spPr bwMode="auto">
            <a:xfrm>
              <a:off x="7963798" y="3696871"/>
              <a:ext cx="206504" cy="130175"/>
            </a:xfrm>
            <a:custGeom>
              <a:avLst/>
              <a:gdLst>
                <a:gd name="T0" fmla="*/ 0 w 112"/>
                <a:gd name="T1" fmla="*/ 2147483647 h 165"/>
                <a:gd name="T2" fmla="*/ 0 w 112"/>
                <a:gd name="T3" fmla="*/ 2147483647 h 165"/>
                <a:gd name="T4" fmla="*/ 2147483647 w 112"/>
                <a:gd name="T5" fmla="*/ 2147483647 h 165"/>
                <a:gd name="T6" fmla="*/ 2147483647 w 112"/>
                <a:gd name="T7" fmla="*/ 2147483647 h 165"/>
                <a:gd name="T8" fmla="*/ 2147483647 w 112"/>
                <a:gd name="T9" fmla="*/ 2147483647 h 165"/>
                <a:gd name="T10" fmla="*/ 2147483647 w 112"/>
                <a:gd name="T11" fmla="*/ 2147483647 h 165"/>
                <a:gd name="T12" fmla="*/ 2147483647 w 112"/>
                <a:gd name="T13" fmla="*/ 2147483647 h 165"/>
                <a:gd name="T14" fmla="*/ 2147483647 w 112"/>
                <a:gd name="T15" fmla="*/ 2147483647 h 165"/>
                <a:gd name="T16" fmla="*/ 2147483647 w 112"/>
                <a:gd name="T17" fmla="*/ 2147483647 h 165"/>
                <a:gd name="T18" fmla="*/ 2147483647 w 112"/>
                <a:gd name="T19" fmla="*/ 2147483647 h 165"/>
                <a:gd name="T20" fmla="*/ 2147483647 w 112"/>
                <a:gd name="T21" fmla="*/ 2147483647 h 165"/>
                <a:gd name="T22" fmla="*/ 2147483647 w 112"/>
                <a:gd name="T23" fmla="*/ 2147483647 h 165"/>
                <a:gd name="T24" fmla="*/ 2147483647 w 112"/>
                <a:gd name="T25" fmla="*/ 2147483647 h 165"/>
                <a:gd name="T26" fmla="*/ 2147483647 w 112"/>
                <a:gd name="T27" fmla="*/ 2147483647 h 165"/>
                <a:gd name="T28" fmla="*/ 2147483647 w 112"/>
                <a:gd name="T29" fmla="*/ 2147483647 h 165"/>
                <a:gd name="T30" fmla="*/ 2147483647 w 112"/>
                <a:gd name="T31" fmla="*/ 2147483647 h 165"/>
                <a:gd name="T32" fmla="*/ 2147483647 w 112"/>
                <a:gd name="T33" fmla="*/ 2147483647 h 165"/>
                <a:gd name="T34" fmla="*/ 2147483647 w 112"/>
                <a:gd name="T35" fmla="*/ 2147483647 h 165"/>
                <a:gd name="T36" fmla="*/ 2147483647 w 112"/>
                <a:gd name="T37" fmla="*/ 2147483647 h 165"/>
                <a:gd name="T38" fmla="*/ 2147483647 w 112"/>
                <a:gd name="T39" fmla="*/ 2147483647 h 165"/>
                <a:gd name="T40" fmla="*/ 2147483647 w 112"/>
                <a:gd name="T41" fmla="*/ 2147483647 h 165"/>
                <a:gd name="T42" fmla="*/ 2147483647 w 112"/>
                <a:gd name="T43" fmla="*/ 2147483647 h 165"/>
                <a:gd name="T44" fmla="*/ 2147483647 w 112"/>
                <a:gd name="T45" fmla="*/ 2147483647 h 165"/>
                <a:gd name="T46" fmla="*/ 2147483647 w 112"/>
                <a:gd name="T47" fmla="*/ 2147483647 h 165"/>
                <a:gd name="T48" fmla="*/ 2147483647 w 112"/>
                <a:gd name="T49" fmla="*/ 0 h 165"/>
                <a:gd name="T50" fmla="*/ 2147483647 w 112"/>
                <a:gd name="T51" fmla="*/ 2147483647 h 165"/>
                <a:gd name="T52" fmla="*/ 2147483647 w 112"/>
                <a:gd name="T53" fmla="*/ 0 h 165"/>
                <a:gd name="T54" fmla="*/ 2147483647 w 112"/>
                <a:gd name="T55" fmla="*/ 2147483647 h 165"/>
                <a:gd name="T56" fmla="*/ 0 w 112"/>
                <a:gd name="T57" fmla="*/ 2147483647 h 165"/>
                <a:gd name="T58" fmla="*/ 0 w 112"/>
                <a:gd name="T59" fmla="*/ 2147483647 h 165"/>
                <a:gd name="T60" fmla="*/ 2147483647 w 112"/>
                <a:gd name="T61" fmla="*/ 2147483647 h 165"/>
                <a:gd name="T62" fmla="*/ 2147483647 w 112"/>
                <a:gd name="T63" fmla="*/ 2147483647 h 165"/>
                <a:gd name="T64" fmla="*/ 2147483647 w 112"/>
                <a:gd name="T65" fmla="*/ 2147483647 h 165"/>
                <a:gd name="T66" fmla="*/ 2147483647 w 112"/>
                <a:gd name="T67" fmla="*/ 2147483647 h 165"/>
                <a:gd name="T68" fmla="*/ 2147483647 w 112"/>
                <a:gd name="T69" fmla="*/ 2147483647 h 165"/>
                <a:gd name="T70" fmla="*/ 0 w 112"/>
                <a:gd name="T71" fmla="*/ 2147483647 h 1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2" h="165">
                  <a:moveTo>
                    <a:pt x="0" y="142"/>
                  </a:moveTo>
                  <a:lnTo>
                    <a:pt x="0" y="142"/>
                  </a:lnTo>
                  <a:lnTo>
                    <a:pt x="6" y="142"/>
                  </a:lnTo>
                  <a:lnTo>
                    <a:pt x="25" y="154"/>
                  </a:lnTo>
                  <a:lnTo>
                    <a:pt x="50" y="98"/>
                  </a:lnTo>
                  <a:lnTo>
                    <a:pt x="55" y="133"/>
                  </a:lnTo>
                  <a:lnTo>
                    <a:pt x="62" y="165"/>
                  </a:lnTo>
                  <a:lnTo>
                    <a:pt x="81" y="154"/>
                  </a:lnTo>
                  <a:lnTo>
                    <a:pt x="93" y="142"/>
                  </a:lnTo>
                  <a:lnTo>
                    <a:pt x="112" y="142"/>
                  </a:lnTo>
                  <a:lnTo>
                    <a:pt x="112" y="98"/>
                  </a:lnTo>
                  <a:lnTo>
                    <a:pt x="100" y="89"/>
                  </a:lnTo>
                  <a:lnTo>
                    <a:pt x="93" y="89"/>
                  </a:lnTo>
                  <a:lnTo>
                    <a:pt x="100" y="66"/>
                  </a:lnTo>
                  <a:lnTo>
                    <a:pt x="87" y="54"/>
                  </a:lnTo>
                  <a:lnTo>
                    <a:pt x="75" y="54"/>
                  </a:lnTo>
                  <a:lnTo>
                    <a:pt x="55" y="54"/>
                  </a:lnTo>
                  <a:lnTo>
                    <a:pt x="43" y="54"/>
                  </a:lnTo>
                  <a:lnTo>
                    <a:pt x="31" y="54"/>
                  </a:lnTo>
                  <a:lnTo>
                    <a:pt x="18" y="44"/>
                  </a:lnTo>
                  <a:lnTo>
                    <a:pt x="12" y="44"/>
                  </a:lnTo>
                  <a:lnTo>
                    <a:pt x="18" y="31"/>
                  </a:lnTo>
                  <a:lnTo>
                    <a:pt x="25" y="21"/>
                  </a:lnTo>
                  <a:lnTo>
                    <a:pt x="43" y="10"/>
                  </a:lnTo>
                  <a:lnTo>
                    <a:pt x="43" y="0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6" y="21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12" y="66"/>
                  </a:lnTo>
                  <a:lnTo>
                    <a:pt x="12" y="89"/>
                  </a:lnTo>
                  <a:lnTo>
                    <a:pt x="12" y="110"/>
                  </a:lnTo>
                  <a:lnTo>
                    <a:pt x="6" y="110"/>
                  </a:lnTo>
                  <a:lnTo>
                    <a:pt x="6" y="119"/>
                  </a:lnTo>
                  <a:lnTo>
                    <a:pt x="0" y="14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52" name="Freeform 1131"/>
            <p:cNvSpPr>
              <a:spLocks/>
            </p:cNvSpPr>
            <p:nvPr>
              <p:custDataLst>
                <p:tags r:id="rId960"/>
              </p:custDataLst>
            </p:nvPr>
          </p:nvSpPr>
          <p:spPr bwMode="auto">
            <a:xfrm>
              <a:off x="7963798" y="3696871"/>
              <a:ext cx="206504" cy="130175"/>
            </a:xfrm>
            <a:custGeom>
              <a:avLst/>
              <a:gdLst>
                <a:gd name="T0" fmla="*/ 0 w 112"/>
                <a:gd name="T1" fmla="*/ 2147483647 h 165"/>
                <a:gd name="T2" fmla="*/ 0 w 112"/>
                <a:gd name="T3" fmla="*/ 2147483647 h 165"/>
                <a:gd name="T4" fmla="*/ 2147483647 w 112"/>
                <a:gd name="T5" fmla="*/ 2147483647 h 165"/>
                <a:gd name="T6" fmla="*/ 2147483647 w 112"/>
                <a:gd name="T7" fmla="*/ 2147483647 h 165"/>
                <a:gd name="T8" fmla="*/ 2147483647 w 112"/>
                <a:gd name="T9" fmla="*/ 2147483647 h 165"/>
                <a:gd name="T10" fmla="*/ 2147483647 w 112"/>
                <a:gd name="T11" fmla="*/ 2147483647 h 165"/>
                <a:gd name="T12" fmla="*/ 2147483647 w 112"/>
                <a:gd name="T13" fmla="*/ 2147483647 h 165"/>
                <a:gd name="T14" fmla="*/ 2147483647 w 112"/>
                <a:gd name="T15" fmla="*/ 2147483647 h 165"/>
                <a:gd name="T16" fmla="*/ 2147483647 w 112"/>
                <a:gd name="T17" fmla="*/ 2147483647 h 165"/>
                <a:gd name="T18" fmla="*/ 2147483647 w 112"/>
                <a:gd name="T19" fmla="*/ 2147483647 h 165"/>
                <a:gd name="T20" fmla="*/ 2147483647 w 112"/>
                <a:gd name="T21" fmla="*/ 2147483647 h 165"/>
                <a:gd name="T22" fmla="*/ 2147483647 w 112"/>
                <a:gd name="T23" fmla="*/ 2147483647 h 165"/>
                <a:gd name="T24" fmla="*/ 2147483647 w 112"/>
                <a:gd name="T25" fmla="*/ 2147483647 h 165"/>
                <a:gd name="T26" fmla="*/ 2147483647 w 112"/>
                <a:gd name="T27" fmla="*/ 2147483647 h 165"/>
                <a:gd name="T28" fmla="*/ 2147483647 w 112"/>
                <a:gd name="T29" fmla="*/ 2147483647 h 165"/>
                <a:gd name="T30" fmla="*/ 2147483647 w 112"/>
                <a:gd name="T31" fmla="*/ 2147483647 h 165"/>
                <a:gd name="T32" fmla="*/ 2147483647 w 112"/>
                <a:gd name="T33" fmla="*/ 2147483647 h 165"/>
                <a:gd name="T34" fmla="*/ 2147483647 w 112"/>
                <a:gd name="T35" fmla="*/ 2147483647 h 165"/>
                <a:gd name="T36" fmla="*/ 2147483647 w 112"/>
                <a:gd name="T37" fmla="*/ 2147483647 h 165"/>
                <a:gd name="T38" fmla="*/ 2147483647 w 112"/>
                <a:gd name="T39" fmla="*/ 2147483647 h 165"/>
                <a:gd name="T40" fmla="*/ 2147483647 w 112"/>
                <a:gd name="T41" fmla="*/ 2147483647 h 165"/>
                <a:gd name="T42" fmla="*/ 2147483647 w 112"/>
                <a:gd name="T43" fmla="*/ 2147483647 h 165"/>
                <a:gd name="T44" fmla="*/ 2147483647 w 112"/>
                <a:gd name="T45" fmla="*/ 2147483647 h 165"/>
                <a:gd name="T46" fmla="*/ 2147483647 w 112"/>
                <a:gd name="T47" fmla="*/ 2147483647 h 165"/>
                <a:gd name="T48" fmla="*/ 2147483647 w 112"/>
                <a:gd name="T49" fmla="*/ 0 h 165"/>
                <a:gd name="T50" fmla="*/ 2147483647 w 112"/>
                <a:gd name="T51" fmla="*/ 2147483647 h 165"/>
                <a:gd name="T52" fmla="*/ 2147483647 w 112"/>
                <a:gd name="T53" fmla="*/ 0 h 165"/>
                <a:gd name="T54" fmla="*/ 2147483647 w 112"/>
                <a:gd name="T55" fmla="*/ 2147483647 h 165"/>
                <a:gd name="T56" fmla="*/ 0 w 112"/>
                <a:gd name="T57" fmla="*/ 2147483647 h 165"/>
                <a:gd name="T58" fmla="*/ 0 w 112"/>
                <a:gd name="T59" fmla="*/ 2147483647 h 165"/>
                <a:gd name="T60" fmla="*/ 2147483647 w 112"/>
                <a:gd name="T61" fmla="*/ 2147483647 h 165"/>
                <a:gd name="T62" fmla="*/ 2147483647 w 112"/>
                <a:gd name="T63" fmla="*/ 2147483647 h 165"/>
                <a:gd name="T64" fmla="*/ 2147483647 w 112"/>
                <a:gd name="T65" fmla="*/ 2147483647 h 165"/>
                <a:gd name="T66" fmla="*/ 2147483647 w 112"/>
                <a:gd name="T67" fmla="*/ 2147483647 h 165"/>
                <a:gd name="T68" fmla="*/ 2147483647 w 112"/>
                <a:gd name="T69" fmla="*/ 2147483647 h 165"/>
                <a:gd name="T70" fmla="*/ 0 w 112"/>
                <a:gd name="T71" fmla="*/ 2147483647 h 1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2" h="165">
                  <a:moveTo>
                    <a:pt x="0" y="142"/>
                  </a:moveTo>
                  <a:lnTo>
                    <a:pt x="0" y="142"/>
                  </a:lnTo>
                  <a:lnTo>
                    <a:pt x="6" y="142"/>
                  </a:lnTo>
                  <a:lnTo>
                    <a:pt x="25" y="154"/>
                  </a:lnTo>
                  <a:lnTo>
                    <a:pt x="50" y="98"/>
                  </a:lnTo>
                  <a:lnTo>
                    <a:pt x="55" y="133"/>
                  </a:lnTo>
                  <a:lnTo>
                    <a:pt x="62" y="165"/>
                  </a:lnTo>
                  <a:lnTo>
                    <a:pt x="81" y="154"/>
                  </a:lnTo>
                  <a:lnTo>
                    <a:pt x="93" y="142"/>
                  </a:lnTo>
                  <a:lnTo>
                    <a:pt x="112" y="142"/>
                  </a:lnTo>
                  <a:lnTo>
                    <a:pt x="112" y="98"/>
                  </a:lnTo>
                  <a:lnTo>
                    <a:pt x="100" y="89"/>
                  </a:lnTo>
                  <a:lnTo>
                    <a:pt x="93" y="89"/>
                  </a:lnTo>
                  <a:lnTo>
                    <a:pt x="100" y="66"/>
                  </a:lnTo>
                  <a:lnTo>
                    <a:pt x="87" y="54"/>
                  </a:lnTo>
                  <a:lnTo>
                    <a:pt x="75" y="54"/>
                  </a:lnTo>
                  <a:lnTo>
                    <a:pt x="55" y="54"/>
                  </a:lnTo>
                  <a:lnTo>
                    <a:pt x="43" y="54"/>
                  </a:lnTo>
                  <a:lnTo>
                    <a:pt x="31" y="54"/>
                  </a:lnTo>
                  <a:lnTo>
                    <a:pt x="18" y="44"/>
                  </a:lnTo>
                  <a:lnTo>
                    <a:pt x="12" y="44"/>
                  </a:lnTo>
                  <a:lnTo>
                    <a:pt x="18" y="31"/>
                  </a:lnTo>
                  <a:lnTo>
                    <a:pt x="25" y="21"/>
                  </a:lnTo>
                  <a:lnTo>
                    <a:pt x="43" y="10"/>
                  </a:lnTo>
                  <a:lnTo>
                    <a:pt x="43" y="0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6" y="21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12" y="66"/>
                  </a:lnTo>
                  <a:lnTo>
                    <a:pt x="12" y="89"/>
                  </a:lnTo>
                  <a:lnTo>
                    <a:pt x="12" y="110"/>
                  </a:lnTo>
                  <a:lnTo>
                    <a:pt x="6" y="110"/>
                  </a:lnTo>
                  <a:lnTo>
                    <a:pt x="6" y="119"/>
                  </a:lnTo>
                  <a:lnTo>
                    <a:pt x="0" y="142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53" name="Freeform 1132"/>
            <p:cNvSpPr>
              <a:spLocks/>
            </p:cNvSpPr>
            <p:nvPr>
              <p:custDataLst>
                <p:tags r:id="rId961"/>
              </p:custDataLst>
            </p:nvPr>
          </p:nvSpPr>
          <p:spPr bwMode="auto">
            <a:xfrm>
              <a:off x="7963798" y="3696871"/>
              <a:ext cx="206504" cy="130175"/>
            </a:xfrm>
            <a:custGeom>
              <a:avLst/>
              <a:gdLst>
                <a:gd name="T0" fmla="*/ 0 w 112"/>
                <a:gd name="T1" fmla="*/ 2147483647 h 165"/>
                <a:gd name="T2" fmla="*/ 0 w 112"/>
                <a:gd name="T3" fmla="*/ 2147483647 h 165"/>
                <a:gd name="T4" fmla="*/ 2147483647 w 112"/>
                <a:gd name="T5" fmla="*/ 2147483647 h 165"/>
                <a:gd name="T6" fmla="*/ 2147483647 w 112"/>
                <a:gd name="T7" fmla="*/ 2147483647 h 165"/>
                <a:gd name="T8" fmla="*/ 2147483647 w 112"/>
                <a:gd name="T9" fmla="*/ 2147483647 h 165"/>
                <a:gd name="T10" fmla="*/ 2147483647 w 112"/>
                <a:gd name="T11" fmla="*/ 2147483647 h 165"/>
                <a:gd name="T12" fmla="*/ 2147483647 w 112"/>
                <a:gd name="T13" fmla="*/ 2147483647 h 165"/>
                <a:gd name="T14" fmla="*/ 2147483647 w 112"/>
                <a:gd name="T15" fmla="*/ 2147483647 h 165"/>
                <a:gd name="T16" fmla="*/ 2147483647 w 112"/>
                <a:gd name="T17" fmla="*/ 2147483647 h 165"/>
                <a:gd name="T18" fmla="*/ 2147483647 w 112"/>
                <a:gd name="T19" fmla="*/ 2147483647 h 165"/>
                <a:gd name="T20" fmla="*/ 2147483647 w 112"/>
                <a:gd name="T21" fmla="*/ 2147483647 h 165"/>
                <a:gd name="T22" fmla="*/ 2147483647 w 112"/>
                <a:gd name="T23" fmla="*/ 2147483647 h 165"/>
                <a:gd name="T24" fmla="*/ 2147483647 w 112"/>
                <a:gd name="T25" fmla="*/ 2147483647 h 165"/>
                <a:gd name="T26" fmla="*/ 2147483647 w 112"/>
                <a:gd name="T27" fmla="*/ 2147483647 h 165"/>
                <a:gd name="T28" fmla="*/ 2147483647 w 112"/>
                <a:gd name="T29" fmla="*/ 2147483647 h 165"/>
                <a:gd name="T30" fmla="*/ 2147483647 w 112"/>
                <a:gd name="T31" fmla="*/ 2147483647 h 165"/>
                <a:gd name="T32" fmla="*/ 2147483647 w 112"/>
                <a:gd name="T33" fmla="*/ 2147483647 h 165"/>
                <a:gd name="T34" fmla="*/ 2147483647 w 112"/>
                <a:gd name="T35" fmla="*/ 2147483647 h 165"/>
                <a:gd name="T36" fmla="*/ 2147483647 w 112"/>
                <a:gd name="T37" fmla="*/ 2147483647 h 165"/>
                <a:gd name="T38" fmla="*/ 2147483647 w 112"/>
                <a:gd name="T39" fmla="*/ 2147483647 h 165"/>
                <a:gd name="T40" fmla="*/ 2147483647 w 112"/>
                <a:gd name="T41" fmla="*/ 2147483647 h 165"/>
                <a:gd name="T42" fmla="*/ 2147483647 w 112"/>
                <a:gd name="T43" fmla="*/ 2147483647 h 165"/>
                <a:gd name="T44" fmla="*/ 2147483647 w 112"/>
                <a:gd name="T45" fmla="*/ 2147483647 h 165"/>
                <a:gd name="T46" fmla="*/ 2147483647 w 112"/>
                <a:gd name="T47" fmla="*/ 2147483647 h 165"/>
                <a:gd name="T48" fmla="*/ 2147483647 w 112"/>
                <a:gd name="T49" fmla="*/ 0 h 165"/>
                <a:gd name="T50" fmla="*/ 2147483647 w 112"/>
                <a:gd name="T51" fmla="*/ 2147483647 h 165"/>
                <a:gd name="T52" fmla="*/ 2147483647 w 112"/>
                <a:gd name="T53" fmla="*/ 0 h 165"/>
                <a:gd name="T54" fmla="*/ 2147483647 w 112"/>
                <a:gd name="T55" fmla="*/ 2147483647 h 165"/>
                <a:gd name="T56" fmla="*/ 0 w 112"/>
                <a:gd name="T57" fmla="*/ 2147483647 h 165"/>
                <a:gd name="T58" fmla="*/ 0 w 112"/>
                <a:gd name="T59" fmla="*/ 2147483647 h 165"/>
                <a:gd name="T60" fmla="*/ 2147483647 w 112"/>
                <a:gd name="T61" fmla="*/ 2147483647 h 165"/>
                <a:gd name="T62" fmla="*/ 2147483647 w 112"/>
                <a:gd name="T63" fmla="*/ 2147483647 h 165"/>
                <a:gd name="T64" fmla="*/ 2147483647 w 112"/>
                <a:gd name="T65" fmla="*/ 2147483647 h 165"/>
                <a:gd name="T66" fmla="*/ 2147483647 w 112"/>
                <a:gd name="T67" fmla="*/ 2147483647 h 165"/>
                <a:gd name="T68" fmla="*/ 2147483647 w 112"/>
                <a:gd name="T69" fmla="*/ 2147483647 h 165"/>
                <a:gd name="T70" fmla="*/ 0 w 112"/>
                <a:gd name="T71" fmla="*/ 2147483647 h 1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12" h="165">
                  <a:moveTo>
                    <a:pt x="0" y="142"/>
                  </a:moveTo>
                  <a:lnTo>
                    <a:pt x="0" y="142"/>
                  </a:lnTo>
                  <a:lnTo>
                    <a:pt x="6" y="142"/>
                  </a:lnTo>
                  <a:lnTo>
                    <a:pt x="25" y="154"/>
                  </a:lnTo>
                  <a:lnTo>
                    <a:pt x="50" y="98"/>
                  </a:lnTo>
                  <a:lnTo>
                    <a:pt x="55" y="133"/>
                  </a:lnTo>
                  <a:lnTo>
                    <a:pt x="62" y="165"/>
                  </a:lnTo>
                  <a:lnTo>
                    <a:pt x="81" y="154"/>
                  </a:lnTo>
                  <a:lnTo>
                    <a:pt x="93" y="142"/>
                  </a:lnTo>
                  <a:lnTo>
                    <a:pt x="112" y="142"/>
                  </a:lnTo>
                  <a:lnTo>
                    <a:pt x="112" y="98"/>
                  </a:lnTo>
                  <a:lnTo>
                    <a:pt x="100" y="89"/>
                  </a:lnTo>
                  <a:lnTo>
                    <a:pt x="93" y="89"/>
                  </a:lnTo>
                  <a:lnTo>
                    <a:pt x="100" y="66"/>
                  </a:lnTo>
                  <a:lnTo>
                    <a:pt x="87" y="54"/>
                  </a:lnTo>
                  <a:lnTo>
                    <a:pt x="75" y="54"/>
                  </a:lnTo>
                  <a:lnTo>
                    <a:pt x="55" y="54"/>
                  </a:lnTo>
                  <a:lnTo>
                    <a:pt x="43" y="54"/>
                  </a:lnTo>
                  <a:lnTo>
                    <a:pt x="31" y="54"/>
                  </a:lnTo>
                  <a:lnTo>
                    <a:pt x="18" y="44"/>
                  </a:lnTo>
                  <a:lnTo>
                    <a:pt x="12" y="44"/>
                  </a:lnTo>
                  <a:lnTo>
                    <a:pt x="18" y="31"/>
                  </a:lnTo>
                  <a:lnTo>
                    <a:pt x="25" y="21"/>
                  </a:lnTo>
                  <a:lnTo>
                    <a:pt x="43" y="10"/>
                  </a:lnTo>
                  <a:lnTo>
                    <a:pt x="43" y="0"/>
                  </a:lnTo>
                  <a:lnTo>
                    <a:pt x="25" y="10"/>
                  </a:lnTo>
                  <a:lnTo>
                    <a:pt x="12" y="0"/>
                  </a:lnTo>
                  <a:lnTo>
                    <a:pt x="6" y="21"/>
                  </a:lnTo>
                  <a:lnTo>
                    <a:pt x="0" y="54"/>
                  </a:lnTo>
                  <a:lnTo>
                    <a:pt x="0" y="66"/>
                  </a:lnTo>
                  <a:lnTo>
                    <a:pt x="12" y="66"/>
                  </a:lnTo>
                  <a:lnTo>
                    <a:pt x="12" y="89"/>
                  </a:lnTo>
                  <a:lnTo>
                    <a:pt x="12" y="110"/>
                  </a:lnTo>
                  <a:lnTo>
                    <a:pt x="6" y="110"/>
                  </a:lnTo>
                  <a:lnTo>
                    <a:pt x="6" y="119"/>
                  </a:lnTo>
                  <a:lnTo>
                    <a:pt x="0" y="142"/>
                  </a:lnTo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 w="0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54" name="Freeform 306"/>
            <p:cNvSpPr>
              <a:spLocks/>
            </p:cNvSpPr>
            <p:nvPr>
              <p:custDataLst>
                <p:tags r:id="rId962"/>
              </p:custDataLst>
            </p:nvPr>
          </p:nvSpPr>
          <p:spPr bwMode="auto">
            <a:xfrm>
              <a:off x="5876722" y="3376183"/>
              <a:ext cx="372911" cy="284162"/>
            </a:xfrm>
            <a:custGeom>
              <a:avLst/>
              <a:gdLst>
                <a:gd name="T0" fmla="*/ 0 w 201"/>
                <a:gd name="T1" fmla="*/ 2147483647 h 357"/>
                <a:gd name="T2" fmla="*/ 2147483647 w 201"/>
                <a:gd name="T3" fmla="*/ 2147483647 h 357"/>
                <a:gd name="T4" fmla="*/ 2147483647 w 201"/>
                <a:gd name="T5" fmla="*/ 2147483647 h 357"/>
                <a:gd name="T6" fmla="*/ 2147483647 w 201"/>
                <a:gd name="T7" fmla="*/ 2147483647 h 357"/>
                <a:gd name="T8" fmla="*/ 2147483647 w 201"/>
                <a:gd name="T9" fmla="*/ 2147483647 h 357"/>
                <a:gd name="T10" fmla="*/ 2147483647 w 201"/>
                <a:gd name="T11" fmla="*/ 2147483647 h 357"/>
                <a:gd name="T12" fmla="*/ 2147483647 w 201"/>
                <a:gd name="T13" fmla="*/ 2147483647 h 357"/>
                <a:gd name="T14" fmla="*/ 2147483647 w 201"/>
                <a:gd name="T15" fmla="*/ 2147483647 h 357"/>
                <a:gd name="T16" fmla="*/ 2147483647 w 201"/>
                <a:gd name="T17" fmla="*/ 2147483647 h 357"/>
                <a:gd name="T18" fmla="*/ 2147483647 w 201"/>
                <a:gd name="T19" fmla="*/ 2147483647 h 357"/>
                <a:gd name="T20" fmla="*/ 2147483647 w 201"/>
                <a:gd name="T21" fmla="*/ 2147483647 h 357"/>
                <a:gd name="T22" fmla="*/ 2147483647 w 201"/>
                <a:gd name="T23" fmla="*/ 2147483647 h 357"/>
                <a:gd name="T24" fmla="*/ 2147483647 w 201"/>
                <a:gd name="T25" fmla="*/ 2147483647 h 357"/>
                <a:gd name="T26" fmla="*/ 2147483647 w 201"/>
                <a:gd name="T27" fmla="*/ 2147483647 h 357"/>
                <a:gd name="T28" fmla="*/ 2147483647 w 201"/>
                <a:gd name="T29" fmla="*/ 2147483647 h 357"/>
                <a:gd name="T30" fmla="*/ 2147483647 w 201"/>
                <a:gd name="T31" fmla="*/ 2147483647 h 357"/>
                <a:gd name="T32" fmla="*/ 2147483647 w 201"/>
                <a:gd name="T33" fmla="*/ 2147483647 h 357"/>
                <a:gd name="T34" fmla="*/ 2147483647 w 201"/>
                <a:gd name="T35" fmla="*/ 2147483647 h 357"/>
                <a:gd name="T36" fmla="*/ 2147483647 w 201"/>
                <a:gd name="T37" fmla="*/ 2147483647 h 357"/>
                <a:gd name="T38" fmla="*/ 2147483647 w 201"/>
                <a:gd name="T39" fmla="*/ 2147483647 h 357"/>
                <a:gd name="T40" fmla="*/ 2147483647 w 201"/>
                <a:gd name="T41" fmla="*/ 0 h 357"/>
                <a:gd name="T42" fmla="*/ 2147483647 w 201"/>
                <a:gd name="T43" fmla="*/ 2147483647 h 357"/>
                <a:gd name="T44" fmla="*/ 2147483647 w 201"/>
                <a:gd name="T45" fmla="*/ 2147483647 h 357"/>
                <a:gd name="T46" fmla="*/ 2147483647 w 201"/>
                <a:gd name="T47" fmla="*/ 2147483647 h 357"/>
                <a:gd name="T48" fmla="*/ 2147483647 w 201"/>
                <a:gd name="T49" fmla="*/ 2147483647 h 357"/>
                <a:gd name="T50" fmla="*/ 0 w 201"/>
                <a:gd name="T51" fmla="*/ 2147483647 h 35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201" h="357">
                  <a:moveTo>
                    <a:pt x="0" y="111"/>
                  </a:moveTo>
                  <a:lnTo>
                    <a:pt x="13" y="146"/>
                  </a:lnTo>
                  <a:lnTo>
                    <a:pt x="50" y="156"/>
                  </a:lnTo>
                  <a:lnTo>
                    <a:pt x="45" y="177"/>
                  </a:lnTo>
                  <a:lnTo>
                    <a:pt x="56" y="200"/>
                  </a:lnTo>
                  <a:lnTo>
                    <a:pt x="63" y="246"/>
                  </a:lnTo>
                  <a:lnTo>
                    <a:pt x="50" y="313"/>
                  </a:lnTo>
                  <a:lnTo>
                    <a:pt x="101" y="344"/>
                  </a:lnTo>
                  <a:lnTo>
                    <a:pt x="125" y="357"/>
                  </a:lnTo>
                  <a:lnTo>
                    <a:pt x="125" y="323"/>
                  </a:lnTo>
                  <a:lnTo>
                    <a:pt x="137" y="313"/>
                  </a:lnTo>
                  <a:lnTo>
                    <a:pt x="170" y="323"/>
                  </a:lnTo>
                  <a:lnTo>
                    <a:pt x="194" y="300"/>
                  </a:lnTo>
                  <a:lnTo>
                    <a:pt x="182" y="255"/>
                  </a:lnTo>
                  <a:lnTo>
                    <a:pt x="182" y="211"/>
                  </a:lnTo>
                  <a:lnTo>
                    <a:pt x="170" y="190"/>
                  </a:lnTo>
                  <a:lnTo>
                    <a:pt x="194" y="146"/>
                  </a:lnTo>
                  <a:lnTo>
                    <a:pt x="201" y="88"/>
                  </a:lnTo>
                  <a:lnTo>
                    <a:pt x="170" y="67"/>
                  </a:lnTo>
                  <a:lnTo>
                    <a:pt x="163" y="67"/>
                  </a:lnTo>
                  <a:lnTo>
                    <a:pt x="120" y="0"/>
                  </a:lnTo>
                  <a:lnTo>
                    <a:pt x="101" y="13"/>
                  </a:lnTo>
                  <a:lnTo>
                    <a:pt x="82" y="79"/>
                  </a:lnTo>
                  <a:lnTo>
                    <a:pt x="50" y="67"/>
                  </a:lnTo>
                  <a:lnTo>
                    <a:pt x="50" y="111"/>
                  </a:lnTo>
                  <a:lnTo>
                    <a:pt x="0" y="111"/>
                  </a:lnTo>
                </a:path>
              </a:pathLst>
            </a:custGeom>
            <a:solidFill>
              <a:schemeClr val="accent4"/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3155" name="Group 425"/>
            <p:cNvGrpSpPr>
              <a:grpSpLocks/>
            </p:cNvGrpSpPr>
            <p:nvPr>
              <p:custDataLst>
                <p:tags r:id="rId963"/>
              </p:custDataLst>
            </p:nvPr>
          </p:nvGrpSpPr>
          <p:grpSpPr bwMode="auto">
            <a:xfrm>
              <a:off x="6213532" y="3509551"/>
              <a:ext cx="324793" cy="280987"/>
              <a:chOff x="3051" y="1841"/>
              <a:chExt cx="175" cy="177"/>
            </a:xfrm>
            <a:solidFill>
              <a:schemeClr val="accent4"/>
            </a:solidFill>
          </p:grpSpPr>
          <p:sp>
            <p:nvSpPr>
              <p:cNvPr id="3185" name="Freeform 426"/>
              <p:cNvSpPr>
                <a:spLocks/>
              </p:cNvSpPr>
              <p:nvPr/>
            </p:nvSpPr>
            <p:spPr bwMode="auto">
              <a:xfrm>
                <a:off x="3051" y="1841"/>
                <a:ext cx="175" cy="177"/>
              </a:xfrm>
              <a:custGeom>
                <a:avLst/>
                <a:gdLst>
                  <a:gd name="T0" fmla="*/ 0 w 175"/>
                  <a:gd name="T1" fmla="*/ 0 h 355"/>
                  <a:gd name="T2" fmla="*/ 0 w 175"/>
                  <a:gd name="T3" fmla="*/ 0 h 355"/>
                  <a:gd name="T4" fmla="*/ 25 w 175"/>
                  <a:gd name="T5" fmla="*/ 0 h 355"/>
                  <a:gd name="T6" fmla="*/ 30 w 175"/>
                  <a:gd name="T7" fmla="*/ 0 h 355"/>
                  <a:gd name="T8" fmla="*/ 56 w 175"/>
                  <a:gd name="T9" fmla="*/ 0 h 355"/>
                  <a:gd name="T10" fmla="*/ 81 w 175"/>
                  <a:gd name="T11" fmla="*/ 0 h 355"/>
                  <a:gd name="T12" fmla="*/ 107 w 175"/>
                  <a:gd name="T13" fmla="*/ 0 h 355"/>
                  <a:gd name="T14" fmla="*/ 107 w 175"/>
                  <a:gd name="T15" fmla="*/ 0 h 355"/>
                  <a:gd name="T16" fmla="*/ 81 w 175"/>
                  <a:gd name="T17" fmla="*/ 0 h 355"/>
                  <a:gd name="T18" fmla="*/ 88 w 175"/>
                  <a:gd name="T19" fmla="*/ 0 h 355"/>
                  <a:gd name="T20" fmla="*/ 119 w 175"/>
                  <a:gd name="T21" fmla="*/ 0 h 355"/>
                  <a:gd name="T22" fmla="*/ 144 w 175"/>
                  <a:gd name="T23" fmla="*/ 0 h 355"/>
                  <a:gd name="T24" fmla="*/ 144 w 175"/>
                  <a:gd name="T25" fmla="*/ 0 h 355"/>
                  <a:gd name="T26" fmla="*/ 175 w 175"/>
                  <a:gd name="T27" fmla="*/ 0 h 355"/>
                  <a:gd name="T28" fmla="*/ 149 w 175"/>
                  <a:gd name="T29" fmla="*/ 0 h 355"/>
                  <a:gd name="T30" fmla="*/ 157 w 175"/>
                  <a:gd name="T31" fmla="*/ 0 h 355"/>
                  <a:gd name="T32" fmla="*/ 144 w 175"/>
                  <a:gd name="T33" fmla="*/ 0 h 355"/>
                  <a:gd name="T34" fmla="*/ 138 w 175"/>
                  <a:gd name="T35" fmla="*/ 0 h 355"/>
                  <a:gd name="T36" fmla="*/ 69 w 175"/>
                  <a:gd name="T37" fmla="*/ 0 h 355"/>
                  <a:gd name="T38" fmla="*/ 50 w 175"/>
                  <a:gd name="T39" fmla="*/ 0 h 355"/>
                  <a:gd name="T40" fmla="*/ 30 w 175"/>
                  <a:gd name="T41" fmla="*/ 0 h 355"/>
                  <a:gd name="T42" fmla="*/ 6 w 175"/>
                  <a:gd name="T43" fmla="*/ 0 h 355"/>
                  <a:gd name="T44" fmla="*/ 0 w 175"/>
                  <a:gd name="T45" fmla="*/ 0 h 35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75" h="355">
                    <a:moveTo>
                      <a:pt x="0" y="88"/>
                    </a:moveTo>
                    <a:lnTo>
                      <a:pt x="0" y="54"/>
                    </a:lnTo>
                    <a:lnTo>
                      <a:pt x="25" y="33"/>
                    </a:lnTo>
                    <a:lnTo>
                      <a:pt x="30" y="44"/>
                    </a:lnTo>
                    <a:lnTo>
                      <a:pt x="56" y="10"/>
                    </a:lnTo>
                    <a:lnTo>
                      <a:pt x="81" y="0"/>
                    </a:lnTo>
                    <a:lnTo>
                      <a:pt x="107" y="33"/>
                    </a:lnTo>
                    <a:lnTo>
                      <a:pt x="107" y="67"/>
                    </a:lnTo>
                    <a:lnTo>
                      <a:pt x="81" y="67"/>
                    </a:lnTo>
                    <a:lnTo>
                      <a:pt x="88" y="123"/>
                    </a:lnTo>
                    <a:lnTo>
                      <a:pt x="119" y="200"/>
                    </a:lnTo>
                    <a:lnTo>
                      <a:pt x="144" y="200"/>
                    </a:lnTo>
                    <a:lnTo>
                      <a:pt x="144" y="223"/>
                    </a:lnTo>
                    <a:lnTo>
                      <a:pt x="175" y="267"/>
                    </a:lnTo>
                    <a:lnTo>
                      <a:pt x="149" y="267"/>
                    </a:lnTo>
                    <a:lnTo>
                      <a:pt x="157" y="311"/>
                    </a:lnTo>
                    <a:lnTo>
                      <a:pt x="144" y="355"/>
                    </a:lnTo>
                    <a:lnTo>
                      <a:pt x="138" y="279"/>
                    </a:lnTo>
                    <a:lnTo>
                      <a:pt x="69" y="190"/>
                    </a:lnTo>
                    <a:lnTo>
                      <a:pt x="50" y="123"/>
                    </a:lnTo>
                    <a:lnTo>
                      <a:pt x="30" y="111"/>
                    </a:lnTo>
                    <a:lnTo>
                      <a:pt x="6" y="133"/>
                    </a:lnTo>
                    <a:lnTo>
                      <a:pt x="0" y="88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186" name="Freeform 427"/>
              <p:cNvSpPr>
                <a:spLocks/>
              </p:cNvSpPr>
              <p:nvPr/>
            </p:nvSpPr>
            <p:spPr bwMode="auto">
              <a:xfrm>
                <a:off x="3051" y="1841"/>
                <a:ext cx="175" cy="177"/>
              </a:xfrm>
              <a:custGeom>
                <a:avLst/>
                <a:gdLst>
                  <a:gd name="T0" fmla="*/ 0 w 175"/>
                  <a:gd name="T1" fmla="*/ 0 h 355"/>
                  <a:gd name="T2" fmla="*/ 0 w 175"/>
                  <a:gd name="T3" fmla="*/ 0 h 355"/>
                  <a:gd name="T4" fmla="*/ 25 w 175"/>
                  <a:gd name="T5" fmla="*/ 0 h 355"/>
                  <a:gd name="T6" fmla="*/ 30 w 175"/>
                  <a:gd name="T7" fmla="*/ 0 h 355"/>
                  <a:gd name="T8" fmla="*/ 56 w 175"/>
                  <a:gd name="T9" fmla="*/ 0 h 355"/>
                  <a:gd name="T10" fmla="*/ 81 w 175"/>
                  <a:gd name="T11" fmla="*/ 0 h 355"/>
                  <a:gd name="T12" fmla="*/ 107 w 175"/>
                  <a:gd name="T13" fmla="*/ 0 h 355"/>
                  <a:gd name="T14" fmla="*/ 107 w 175"/>
                  <a:gd name="T15" fmla="*/ 0 h 355"/>
                  <a:gd name="T16" fmla="*/ 81 w 175"/>
                  <a:gd name="T17" fmla="*/ 0 h 355"/>
                  <a:gd name="T18" fmla="*/ 88 w 175"/>
                  <a:gd name="T19" fmla="*/ 0 h 355"/>
                  <a:gd name="T20" fmla="*/ 119 w 175"/>
                  <a:gd name="T21" fmla="*/ 0 h 355"/>
                  <a:gd name="T22" fmla="*/ 144 w 175"/>
                  <a:gd name="T23" fmla="*/ 0 h 355"/>
                  <a:gd name="T24" fmla="*/ 144 w 175"/>
                  <a:gd name="T25" fmla="*/ 0 h 355"/>
                  <a:gd name="T26" fmla="*/ 175 w 175"/>
                  <a:gd name="T27" fmla="*/ 0 h 355"/>
                  <a:gd name="T28" fmla="*/ 149 w 175"/>
                  <a:gd name="T29" fmla="*/ 0 h 355"/>
                  <a:gd name="T30" fmla="*/ 157 w 175"/>
                  <a:gd name="T31" fmla="*/ 0 h 355"/>
                  <a:gd name="T32" fmla="*/ 144 w 175"/>
                  <a:gd name="T33" fmla="*/ 0 h 355"/>
                  <a:gd name="T34" fmla="*/ 138 w 175"/>
                  <a:gd name="T35" fmla="*/ 0 h 355"/>
                  <a:gd name="T36" fmla="*/ 69 w 175"/>
                  <a:gd name="T37" fmla="*/ 0 h 355"/>
                  <a:gd name="T38" fmla="*/ 50 w 175"/>
                  <a:gd name="T39" fmla="*/ 0 h 355"/>
                  <a:gd name="T40" fmla="*/ 30 w 175"/>
                  <a:gd name="T41" fmla="*/ 0 h 355"/>
                  <a:gd name="T42" fmla="*/ 6 w 175"/>
                  <a:gd name="T43" fmla="*/ 0 h 355"/>
                  <a:gd name="T44" fmla="*/ 0 w 175"/>
                  <a:gd name="T45" fmla="*/ 0 h 35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175" h="355">
                    <a:moveTo>
                      <a:pt x="0" y="88"/>
                    </a:moveTo>
                    <a:lnTo>
                      <a:pt x="0" y="54"/>
                    </a:lnTo>
                    <a:lnTo>
                      <a:pt x="25" y="33"/>
                    </a:lnTo>
                    <a:lnTo>
                      <a:pt x="30" y="44"/>
                    </a:lnTo>
                    <a:lnTo>
                      <a:pt x="56" y="10"/>
                    </a:lnTo>
                    <a:lnTo>
                      <a:pt x="81" y="0"/>
                    </a:lnTo>
                    <a:lnTo>
                      <a:pt x="107" y="33"/>
                    </a:lnTo>
                    <a:lnTo>
                      <a:pt x="107" y="67"/>
                    </a:lnTo>
                    <a:lnTo>
                      <a:pt x="81" y="67"/>
                    </a:lnTo>
                    <a:lnTo>
                      <a:pt x="88" y="123"/>
                    </a:lnTo>
                    <a:lnTo>
                      <a:pt x="119" y="200"/>
                    </a:lnTo>
                    <a:lnTo>
                      <a:pt x="144" y="200"/>
                    </a:lnTo>
                    <a:lnTo>
                      <a:pt x="144" y="223"/>
                    </a:lnTo>
                    <a:lnTo>
                      <a:pt x="175" y="267"/>
                    </a:lnTo>
                    <a:lnTo>
                      <a:pt x="149" y="267"/>
                    </a:lnTo>
                    <a:lnTo>
                      <a:pt x="157" y="311"/>
                    </a:lnTo>
                    <a:lnTo>
                      <a:pt x="144" y="355"/>
                    </a:lnTo>
                    <a:lnTo>
                      <a:pt x="138" y="279"/>
                    </a:lnTo>
                    <a:lnTo>
                      <a:pt x="69" y="190"/>
                    </a:lnTo>
                    <a:lnTo>
                      <a:pt x="50" y="123"/>
                    </a:lnTo>
                    <a:lnTo>
                      <a:pt x="30" y="111"/>
                    </a:lnTo>
                    <a:lnTo>
                      <a:pt x="6" y="133"/>
                    </a:lnTo>
                    <a:lnTo>
                      <a:pt x="0" y="88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3156" name="Freeform 567"/>
            <p:cNvSpPr>
              <a:spLocks/>
            </p:cNvSpPr>
            <p:nvPr>
              <p:custDataLst>
                <p:tags r:id="rId964"/>
              </p:custDataLst>
            </p:nvPr>
          </p:nvSpPr>
          <p:spPr bwMode="auto">
            <a:xfrm>
              <a:off x="3402342" y="4797162"/>
              <a:ext cx="370905" cy="460375"/>
            </a:xfrm>
            <a:custGeom>
              <a:avLst/>
              <a:gdLst>
                <a:gd name="T0" fmla="*/ 0 w 201"/>
                <a:gd name="T1" fmla="*/ 2147483647 h 580"/>
                <a:gd name="T2" fmla="*/ 2147483647 w 201"/>
                <a:gd name="T3" fmla="*/ 2147483647 h 580"/>
                <a:gd name="T4" fmla="*/ 2147483647 w 201"/>
                <a:gd name="T5" fmla="*/ 2147483647 h 580"/>
                <a:gd name="T6" fmla="*/ 2147483647 w 201"/>
                <a:gd name="T7" fmla="*/ 2147483647 h 580"/>
                <a:gd name="T8" fmla="*/ 2147483647 w 201"/>
                <a:gd name="T9" fmla="*/ 2147483647 h 580"/>
                <a:gd name="T10" fmla="*/ 2147483647 w 201"/>
                <a:gd name="T11" fmla="*/ 2147483647 h 580"/>
                <a:gd name="T12" fmla="*/ 2147483647 w 201"/>
                <a:gd name="T13" fmla="*/ 2147483647 h 580"/>
                <a:gd name="T14" fmla="*/ 2147483647 w 201"/>
                <a:gd name="T15" fmla="*/ 2147483647 h 580"/>
                <a:gd name="T16" fmla="*/ 2147483647 w 201"/>
                <a:gd name="T17" fmla="*/ 2147483647 h 580"/>
                <a:gd name="T18" fmla="*/ 2147483647 w 201"/>
                <a:gd name="T19" fmla="*/ 2147483647 h 580"/>
                <a:gd name="T20" fmla="*/ 2147483647 w 201"/>
                <a:gd name="T21" fmla="*/ 2147483647 h 580"/>
                <a:gd name="T22" fmla="*/ 2147483647 w 201"/>
                <a:gd name="T23" fmla="*/ 2147483647 h 580"/>
                <a:gd name="T24" fmla="*/ 2147483647 w 201"/>
                <a:gd name="T25" fmla="*/ 2147483647 h 580"/>
                <a:gd name="T26" fmla="*/ 2147483647 w 201"/>
                <a:gd name="T27" fmla="*/ 2147483647 h 580"/>
                <a:gd name="T28" fmla="*/ 2147483647 w 201"/>
                <a:gd name="T29" fmla="*/ 2147483647 h 580"/>
                <a:gd name="T30" fmla="*/ 2147483647 w 201"/>
                <a:gd name="T31" fmla="*/ 2147483647 h 580"/>
                <a:gd name="T32" fmla="*/ 2147483647 w 201"/>
                <a:gd name="T33" fmla="*/ 2147483647 h 580"/>
                <a:gd name="T34" fmla="*/ 2147483647 w 201"/>
                <a:gd name="T35" fmla="*/ 2147483647 h 580"/>
                <a:gd name="T36" fmla="*/ 2147483647 w 201"/>
                <a:gd name="T37" fmla="*/ 2147483647 h 580"/>
                <a:gd name="T38" fmla="*/ 2147483647 w 201"/>
                <a:gd name="T39" fmla="*/ 2147483647 h 580"/>
                <a:gd name="T40" fmla="*/ 2147483647 w 201"/>
                <a:gd name="T41" fmla="*/ 2147483647 h 580"/>
                <a:gd name="T42" fmla="*/ 2147483647 w 201"/>
                <a:gd name="T43" fmla="*/ 0 h 580"/>
                <a:gd name="T44" fmla="*/ 2147483647 w 201"/>
                <a:gd name="T45" fmla="*/ 2147483647 h 580"/>
                <a:gd name="T46" fmla="*/ 2147483647 w 201"/>
                <a:gd name="T47" fmla="*/ 2147483647 h 580"/>
                <a:gd name="T48" fmla="*/ 2147483647 w 201"/>
                <a:gd name="T49" fmla="*/ 2147483647 h 580"/>
                <a:gd name="T50" fmla="*/ 2147483647 w 201"/>
                <a:gd name="T51" fmla="*/ 2147483647 h 580"/>
                <a:gd name="T52" fmla="*/ 2147483647 w 201"/>
                <a:gd name="T53" fmla="*/ 2147483647 h 580"/>
                <a:gd name="T54" fmla="*/ 0 w 201"/>
                <a:gd name="T55" fmla="*/ 2147483647 h 58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201" h="580">
                  <a:moveTo>
                    <a:pt x="0" y="132"/>
                  </a:moveTo>
                  <a:lnTo>
                    <a:pt x="8" y="188"/>
                  </a:lnTo>
                  <a:lnTo>
                    <a:pt x="45" y="267"/>
                  </a:lnTo>
                  <a:lnTo>
                    <a:pt x="83" y="457"/>
                  </a:lnTo>
                  <a:lnTo>
                    <a:pt x="170" y="580"/>
                  </a:lnTo>
                  <a:lnTo>
                    <a:pt x="189" y="557"/>
                  </a:lnTo>
                  <a:lnTo>
                    <a:pt x="194" y="511"/>
                  </a:lnTo>
                  <a:lnTo>
                    <a:pt x="183" y="511"/>
                  </a:lnTo>
                  <a:lnTo>
                    <a:pt x="189" y="501"/>
                  </a:lnTo>
                  <a:lnTo>
                    <a:pt x="201" y="390"/>
                  </a:lnTo>
                  <a:lnTo>
                    <a:pt x="183" y="344"/>
                  </a:lnTo>
                  <a:lnTo>
                    <a:pt x="170" y="344"/>
                  </a:lnTo>
                  <a:lnTo>
                    <a:pt x="170" y="290"/>
                  </a:lnTo>
                  <a:lnTo>
                    <a:pt x="157" y="322"/>
                  </a:lnTo>
                  <a:lnTo>
                    <a:pt x="133" y="299"/>
                  </a:lnTo>
                  <a:lnTo>
                    <a:pt x="119" y="232"/>
                  </a:lnTo>
                  <a:lnTo>
                    <a:pt x="145" y="167"/>
                  </a:lnTo>
                  <a:lnTo>
                    <a:pt x="183" y="132"/>
                  </a:lnTo>
                  <a:lnTo>
                    <a:pt x="170" y="121"/>
                  </a:lnTo>
                  <a:lnTo>
                    <a:pt x="175" y="77"/>
                  </a:lnTo>
                  <a:lnTo>
                    <a:pt x="133" y="77"/>
                  </a:lnTo>
                  <a:lnTo>
                    <a:pt x="101" y="0"/>
                  </a:lnTo>
                  <a:lnTo>
                    <a:pt x="88" y="54"/>
                  </a:lnTo>
                  <a:lnTo>
                    <a:pt x="58" y="98"/>
                  </a:lnTo>
                  <a:lnTo>
                    <a:pt x="38" y="155"/>
                  </a:lnTo>
                  <a:lnTo>
                    <a:pt x="19" y="144"/>
                  </a:lnTo>
                  <a:lnTo>
                    <a:pt x="19" y="111"/>
                  </a:lnTo>
                  <a:lnTo>
                    <a:pt x="0" y="132"/>
                  </a:lnTo>
                </a:path>
              </a:pathLst>
            </a:custGeom>
            <a:solidFill>
              <a:schemeClr val="accent4"/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57" name="Freeform 747"/>
            <p:cNvSpPr>
              <a:spLocks/>
            </p:cNvSpPr>
            <p:nvPr>
              <p:custDataLst>
                <p:tags r:id="rId965"/>
              </p:custDataLst>
            </p:nvPr>
          </p:nvSpPr>
          <p:spPr bwMode="auto">
            <a:xfrm>
              <a:off x="6225552" y="3817525"/>
              <a:ext cx="116284" cy="187325"/>
            </a:xfrm>
            <a:custGeom>
              <a:avLst/>
              <a:gdLst>
                <a:gd name="T0" fmla="*/ 0 w 63"/>
                <a:gd name="T1" fmla="*/ 2147483647 h 234"/>
                <a:gd name="T2" fmla="*/ 2147483647 w 63"/>
                <a:gd name="T3" fmla="*/ 2147483647 h 234"/>
                <a:gd name="T4" fmla="*/ 2147483647 w 63"/>
                <a:gd name="T5" fmla="*/ 0 h 234"/>
                <a:gd name="T6" fmla="*/ 2147483647 w 63"/>
                <a:gd name="T7" fmla="*/ 0 h 234"/>
                <a:gd name="T8" fmla="*/ 2147483647 w 63"/>
                <a:gd name="T9" fmla="*/ 2147483647 h 234"/>
                <a:gd name="T10" fmla="*/ 2147483647 w 63"/>
                <a:gd name="T11" fmla="*/ 2147483647 h 234"/>
                <a:gd name="T12" fmla="*/ 2147483647 w 63"/>
                <a:gd name="T13" fmla="*/ 2147483647 h 234"/>
                <a:gd name="T14" fmla="*/ 2147483647 w 63"/>
                <a:gd name="T15" fmla="*/ 2147483647 h 234"/>
                <a:gd name="T16" fmla="*/ 2147483647 w 63"/>
                <a:gd name="T17" fmla="*/ 2147483647 h 234"/>
                <a:gd name="T18" fmla="*/ 2147483647 w 63"/>
                <a:gd name="T19" fmla="*/ 2147483647 h 234"/>
                <a:gd name="T20" fmla="*/ 0 w 63"/>
                <a:gd name="T21" fmla="*/ 2147483647 h 23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3" h="234">
                  <a:moveTo>
                    <a:pt x="0" y="111"/>
                  </a:moveTo>
                  <a:lnTo>
                    <a:pt x="13" y="88"/>
                  </a:lnTo>
                  <a:lnTo>
                    <a:pt x="19" y="0"/>
                  </a:lnTo>
                  <a:lnTo>
                    <a:pt x="56" y="0"/>
                  </a:lnTo>
                  <a:lnTo>
                    <a:pt x="50" y="23"/>
                  </a:lnTo>
                  <a:lnTo>
                    <a:pt x="56" y="67"/>
                  </a:lnTo>
                  <a:lnTo>
                    <a:pt x="38" y="111"/>
                  </a:lnTo>
                  <a:lnTo>
                    <a:pt x="63" y="132"/>
                  </a:lnTo>
                  <a:lnTo>
                    <a:pt x="32" y="234"/>
                  </a:lnTo>
                  <a:lnTo>
                    <a:pt x="26" y="177"/>
                  </a:lnTo>
                  <a:lnTo>
                    <a:pt x="0" y="111"/>
                  </a:lnTo>
                </a:path>
              </a:pathLst>
            </a:custGeom>
            <a:solidFill>
              <a:schemeClr val="accent4"/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3158" name="Group 785"/>
            <p:cNvGrpSpPr>
              <a:grpSpLocks/>
            </p:cNvGrpSpPr>
            <p:nvPr>
              <p:custDataLst>
                <p:tags r:id="rId966"/>
              </p:custDataLst>
            </p:nvPr>
          </p:nvGrpSpPr>
          <p:grpSpPr bwMode="auto">
            <a:xfrm>
              <a:off x="5844645" y="3120595"/>
              <a:ext cx="220539" cy="300038"/>
              <a:chOff x="2851" y="1596"/>
              <a:chExt cx="119" cy="189"/>
            </a:xfrm>
            <a:solidFill>
              <a:schemeClr val="accent4"/>
            </a:solidFill>
          </p:grpSpPr>
          <p:sp>
            <p:nvSpPr>
              <p:cNvPr id="3183" name="Freeform 786"/>
              <p:cNvSpPr>
                <a:spLocks/>
              </p:cNvSpPr>
              <p:nvPr/>
            </p:nvSpPr>
            <p:spPr bwMode="auto">
              <a:xfrm>
                <a:off x="2851" y="1596"/>
                <a:ext cx="119" cy="189"/>
              </a:xfrm>
              <a:custGeom>
                <a:avLst/>
                <a:gdLst>
                  <a:gd name="T0" fmla="*/ 0 w 119"/>
                  <a:gd name="T1" fmla="*/ 0 h 379"/>
                  <a:gd name="T2" fmla="*/ 5 w 119"/>
                  <a:gd name="T3" fmla="*/ 0 h 379"/>
                  <a:gd name="T4" fmla="*/ 19 w 119"/>
                  <a:gd name="T5" fmla="*/ 0 h 379"/>
                  <a:gd name="T6" fmla="*/ 44 w 119"/>
                  <a:gd name="T7" fmla="*/ 0 h 379"/>
                  <a:gd name="T8" fmla="*/ 25 w 119"/>
                  <a:gd name="T9" fmla="*/ 0 h 379"/>
                  <a:gd name="T10" fmla="*/ 63 w 119"/>
                  <a:gd name="T11" fmla="*/ 0 h 379"/>
                  <a:gd name="T12" fmla="*/ 44 w 119"/>
                  <a:gd name="T13" fmla="*/ 0 h 379"/>
                  <a:gd name="T14" fmla="*/ 69 w 119"/>
                  <a:gd name="T15" fmla="*/ 0 h 379"/>
                  <a:gd name="T16" fmla="*/ 94 w 119"/>
                  <a:gd name="T17" fmla="*/ 0 h 379"/>
                  <a:gd name="T18" fmla="*/ 88 w 119"/>
                  <a:gd name="T19" fmla="*/ 0 h 379"/>
                  <a:gd name="T20" fmla="*/ 100 w 119"/>
                  <a:gd name="T21" fmla="*/ 0 h 379"/>
                  <a:gd name="T22" fmla="*/ 94 w 119"/>
                  <a:gd name="T23" fmla="*/ 0 h 379"/>
                  <a:gd name="T24" fmla="*/ 119 w 119"/>
                  <a:gd name="T25" fmla="*/ 0 h 379"/>
                  <a:gd name="T26" fmla="*/ 106 w 119"/>
                  <a:gd name="T27" fmla="*/ 0 h 379"/>
                  <a:gd name="T28" fmla="*/ 113 w 119"/>
                  <a:gd name="T29" fmla="*/ 0 h 379"/>
                  <a:gd name="T30" fmla="*/ 5 w 119"/>
                  <a:gd name="T31" fmla="*/ 0 h 379"/>
                  <a:gd name="T32" fmla="*/ 56 w 119"/>
                  <a:gd name="T33" fmla="*/ 0 h 379"/>
                  <a:gd name="T34" fmla="*/ 38 w 119"/>
                  <a:gd name="T35" fmla="*/ 0 h 379"/>
                  <a:gd name="T36" fmla="*/ 13 w 119"/>
                  <a:gd name="T37" fmla="*/ 0 h 379"/>
                  <a:gd name="T38" fmla="*/ 31 w 119"/>
                  <a:gd name="T39" fmla="*/ 0 h 379"/>
                  <a:gd name="T40" fmla="*/ 19 w 119"/>
                  <a:gd name="T41" fmla="*/ 0 h 379"/>
                  <a:gd name="T42" fmla="*/ 44 w 119"/>
                  <a:gd name="T43" fmla="*/ 0 h 379"/>
                  <a:gd name="T44" fmla="*/ 50 w 119"/>
                  <a:gd name="T45" fmla="*/ 0 h 379"/>
                  <a:gd name="T46" fmla="*/ 38 w 119"/>
                  <a:gd name="T47" fmla="*/ 0 h 379"/>
                  <a:gd name="T48" fmla="*/ 44 w 119"/>
                  <a:gd name="T49" fmla="*/ 0 h 379"/>
                  <a:gd name="T50" fmla="*/ 19 w 119"/>
                  <a:gd name="T51" fmla="*/ 0 h 379"/>
                  <a:gd name="T52" fmla="*/ 19 w 119"/>
                  <a:gd name="T53" fmla="*/ 0 h 379"/>
                  <a:gd name="T54" fmla="*/ 5 w 119"/>
                  <a:gd name="T55" fmla="*/ 0 h 379"/>
                  <a:gd name="T56" fmla="*/ 13 w 119"/>
                  <a:gd name="T57" fmla="*/ 0 h 379"/>
                  <a:gd name="T58" fmla="*/ 0 w 119"/>
                  <a:gd name="T59" fmla="*/ 0 h 3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19" h="379">
                    <a:moveTo>
                      <a:pt x="0" y="91"/>
                    </a:moveTo>
                    <a:lnTo>
                      <a:pt x="5" y="35"/>
                    </a:lnTo>
                    <a:lnTo>
                      <a:pt x="19" y="0"/>
                    </a:lnTo>
                    <a:lnTo>
                      <a:pt x="44" y="0"/>
                    </a:lnTo>
                    <a:lnTo>
                      <a:pt x="25" y="46"/>
                    </a:lnTo>
                    <a:lnTo>
                      <a:pt x="63" y="56"/>
                    </a:lnTo>
                    <a:lnTo>
                      <a:pt x="44" y="112"/>
                    </a:lnTo>
                    <a:lnTo>
                      <a:pt x="69" y="135"/>
                    </a:lnTo>
                    <a:lnTo>
                      <a:pt x="94" y="213"/>
                    </a:lnTo>
                    <a:lnTo>
                      <a:pt x="88" y="213"/>
                    </a:lnTo>
                    <a:lnTo>
                      <a:pt x="100" y="235"/>
                    </a:lnTo>
                    <a:lnTo>
                      <a:pt x="94" y="258"/>
                    </a:lnTo>
                    <a:lnTo>
                      <a:pt x="119" y="258"/>
                    </a:lnTo>
                    <a:lnTo>
                      <a:pt x="106" y="311"/>
                    </a:lnTo>
                    <a:lnTo>
                      <a:pt x="113" y="323"/>
                    </a:lnTo>
                    <a:lnTo>
                      <a:pt x="5" y="379"/>
                    </a:lnTo>
                    <a:lnTo>
                      <a:pt x="56" y="302"/>
                    </a:lnTo>
                    <a:lnTo>
                      <a:pt x="38" y="311"/>
                    </a:lnTo>
                    <a:lnTo>
                      <a:pt x="13" y="290"/>
                    </a:lnTo>
                    <a:lnTo>
                      <a:pt x="31" y="267"/>
                    </a:lnTo>
                    <a:lnTo>
                      <a:pt x="19" y="258"/>
                    </a:lnTo>
                    <a:lnTo>
                      <a:pt x="44" y="223"/>
                    </a:lnTo>
                    <a:lnTo>
                      <a:pt x="50" y="190"/>
                    </a:lnTo>
                    <a:lnTo>
                      <a:pt x="38" y="179"/>
                    </a:lnTo>
                    <a:lnTo>
                      <a:pt x="44" y="167"/>
                    </a:lnTo>
                    <a:lnTo>
                      <a:pt x="19" y="179"/>
                    </a:lnTo>
                    <a:lnTo>
                      <a:pt x="19" y="123"/>
                    </a:lnTo>
                    <a:lnTo>
                      <a:pt x="5" y="144"/>
                    </a:lnTo>
                    <a:lnTo>
                      <a:pt x="13" y="91"/>
                    </a:lnTo>
                    <a:lnTo>
                      <a:pt x="0" y="91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184" name="Freeform 787"/>
              <p:cNvSpPr>
                <a:spLocks/>
              </p:cNvSpPr>
              <p:nvPr/>
            </p:nvSpPr>
            <p:spPr bwMode="auto">
              <a:xfrm>
                <a:off x="2851" y="1596"/>
                <a:ext cx="119" cy="189"/>
              </a:xfrm>
              <a:custGeom>
                <a:avLst/>
                <a:gdLst>
                  <a:gd name="T0" fmla="*/ 0 w 119"/>
                  <a:gd name="T1" fmla="*/ 0 h 379"/>
                  <a:gd name="T2" fmla="*/ 5 w 119"/>
                  <a:gd name="T3" fmla="*/ 0 h 379"/>
                  <a:gd name="T4" fmla="*/ 19 w 119"/>
                  <a:gd name="T5" fmla="*/ 0 h 379"/>
                  <a:gd name="T6" fmla="*/ 44 w 119"/>
                  <a:gd name="T7" fmla="*/ 0 h 379"/>
                  <a:gd name="T8" fmla="*/ 25 w 119"/>
                  <a:gd name="T9" fmla="*/ 0 h 379"/>
                  <a:gd name="T10" fmla="*/ 63 w 119"/>
                  <a:gd name="T11" fmla="*/ 0 h 379"/>
                  <a:gd name="T12" fmla="*/ 44 w 119"/>
                  <a:gd name="T13" fmla="*/ 0 h 379"/>
                  <a:gd name="T14" fmla="*/ 69 w 119"/>
                  <a:gd name="T15" fmla="*/ 0 h 379"/>
                  <a:gd name="T16" fmla="*/ 94 w 119"/>
                  <a:gd name="T17" fmla="*/ 0 h 379"/>
                  <a:gd name="T18" fmla="*/ 88 w 119"/>
                  <a:gd name="T19" fmla="*/ 0 h 379"/>
                  <a:gd name="T20" fmla="*/ 100 w 119"/>
                  <a:gd name="T21" fmla="*/ 0 h 379"/>
                  <a:gd name="T22" fmla="*/ 94 w 119"/>
                  <a:gd name="T23" fmla="*/ 0 h 379"/>
                  <a:gd name="T24" fmla="*/ 119 w 119"/>
                  <a:gd name="T25" fmla="*/ 0 h 379"/>
                  <a:gd name="T26" fmla="*/ 106 w 119"/>
                  <a:gd name="T27" fmla="*/ 0 h 379"/>
                  <a:gd name="T28" fmla="*/ 113 w 119"/>
                  <a:gd name="T29" fmla="*/ 0 h 379"/>
                  <a:gd name="T30" fmla="*/ 5 w 119"/>
                  <a:gd name="T31" fmla="*/ 0 h 379"/>
                  <a:gd name="T32" fmla="*/ 56 w 119"/>
                  <a:gd name="T33" fmla="*/ 0 h 379"/>
                  <a:gd name="T34" fmla="*/ 38 w 119"/>
                  <a:gd name="T35" fmla="*/ 0 h 379"/>
                  <a:gd name="T36" fmla="*/ 13 w 119"/>
                  <a:gd name="T37" fmla="*/ 0 h 379"/>
                  <a:gd name="T38" fmla="*/ 31 w 119"/>
                  <a:gd name="T39" fmla="*/ 0 h 379"/>
                  <a:gd name="T40" fmla="*/ 19 w 119"/>
                  <a:gd name="T41" fmla="*/ 0 h 379"/>
                  <a:gd name="T42" fmla="*/ 44 w 119"/>
                  <a:gd name="T43" fmla="*/ 0 h 379"/>
                  <a:gd name="T44" fmla="*/ 50 w 119"/>
                  <a:gd name="T45" fmla="*/ 0 h 379"/>
                  <a:gd name="T46" fmla="*/ 38 w 119"/>
                  <a:gd name="T47" fmla="*/ 0 h 379"/>
                  <a:gd name="T48" fmla="*/ 44 w 119"/>
                  <a:gd name="T49" fmla="*/ 0 h 379"/>
                  <a:gd name="T50" fmla="*/ 19 w 119"/>
                  <a:gd name="T51" fmla="*/ 0 h 379"/>
                  <a:gd name="T52" fmla="*/ 19 w 119"/>
                  <a:gd name="T53" fmla="*/ 0 h 379"/>
                  <a:gd name="T54" fmla="*/ 5 w 119"/>
                  <a:gd name="T55" fmla="*/ 0 h 379"/>
                  <a:gd name="T56" fmla="*/ 13 w 119"/>
                  <a:gd name="T57" fmla="*/ 0 h 379"/>
                  <a:gd name="T58" fmla="*/ 0 w 119"/>
                  <a:gd name="T59" fmla="*/ 0 h 37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19" h="379">
                    <a:moveTo>
                      <a:pt x="0" y="91"/>
                    </a:moveTo>
                    <a:lnTo>
                      <a:pt x="5" y="35"/>
                    </a:lnTo>
                    <a:lnTo>
                      <a:pt x="19" y="0"/>
                    </a:lnTo>
                    <a:lnTo>
                      <a:pt x="44" y="0"/>
                    </a:lnTo>
                    <a:lnTo>
                      <a:pt x="25" y="46"/>
                    </a:lnTo>
                    <a:lnTo>
                      <a:pt x="63" y="56"/>
                    </a:lnTo>
                    <a:lnTo>
                      <a:pt x="44" y="112"/>
                    </a:lnTo>
                    <a:lnTo>
                      <a:pt x="69" y="135"/>
                    </a:lnTo>
                    <a:lnTo>
                      <a:pt x="94" y="213"/>
                    </a:lnTo>
                    <a:lnTo>
                      <a:pt x="88" y="213"/>
                    </a:lnTo>
                    <a:lnTo>
                      <a:pt x="100" y="235"/>
                    </a:lnTo>
                    <a:lnTo>
                      <a:pt x="94" y="258"/>
                    </a:lnTo>
                    <a:lnTo>
                      <a:pt x="119" y="258"/>
                    </a:lnTo>
                    <a:lnTo>
                      <a:pt x="106" y="311"/>
                    </a:lnTo>
                    <a:lnTo>
                      <a:pt x="113" y="323"/>
                    </a:lnTo>
                    <a:lnTo>
                      <a:pt x="5" y="379"/>
                    </a:lnTo>
                    <a:lnTo>
                      <a:pt x="56" y="302"/>
                    </a:lnTo>
                    <a:lnTo>
                      <a:pt x="38" y="311"/>
                    </a:lnTo>
                    <a:lnTo>
                      <a:pt x="13" y="290"/>
                    </a:lnTo>
                    <a:lnTo>
                      <a:pt x="31" y="267"/>
                    </a:lnTo>
                    <a:lnTo>
                      <a:pt x="19" y="258"/>
                    </a:lnTo>
                    <a:lnTo>
                      <a:pt x="44" y="223"/>
                    </a:lnTo>
                    <a:lnTo>
                      <a:pt x="50" y="190"/>
                    </a:lnTo>
                    <a:lnTo>
                      <a:pt x="38" y="179"/>
                    </a:lnTo>
                    <a:lnTo>
                      <a:pt x="44" y="167"/>
                    </a:lnTo>
                    <a:lnTo>
                      <a:pt x="19" y="179"/>
                    </a:lnTo>
                    <a:lnTo>
                      <a:pt x="19" y="123"/>
                    </a:lnTo>
                    <a:lnTo>
                      <a:pt x="5" y="144"/>
                    </a:lnTo>
                    <a:lnTo>
                      <a:pt x="13" y="91"/>
                    </a:lnTo>
                    <a:lnTo>
                      <a:pt x="0" y="91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sp>
          <p:nvSpPr>
            <p:cNvPr id="3159" name="Freeform 972"/>
            <p:cNvSpPr>
              <a:spLocks/>
            </p:cNvSpPr>
            <p:nvPr>
              <p:custDataLst>
                <p:tags r:id="rId967"/>
              </p:custDataLst>
            </p:nvPr>
          </p:nvSpPr>
          <p:spPr bwMode="auto">
            <a:xfrm>
              <a:off x="6283717" y="3925458"/>
              <a:ext cx="453106" cy="368300"/>
            </a:xfrm>
            <a:custGeom>
              <a:avLst/>
              <a:gdLst>
                <a:gd name="T0" fmla="*/ 0 w 244"/>
                <a:gd name="T1" fmla="*/ 2147483647 h 465"/>
                <a:gd name="T2" fmla="*/ 0 w 244"/>
                <a:gd name="T3" fmla="*/ 2147483647 h 465"/>
                <a:gd name="T4" fmla="*/ 2147483647 w 244"/>
                <a:gd name="T5" fmla="*/ 0 h 465"/>
                <a:gd name="T6" fmla="*/ 2147483647 w 244"/>
                <a:gd name="T7" fmla="*/ 2147483647 h 465"/>
                <a:gd name="T8" fmla="*/ 2147483647 w 244"/>
                <a:gd name="T9" fmla="*/ 2147483647 h 465"/>
                <a:gd name="T10" fmla="*/ 2147483647 w 244"/>
                <a:gd name="T11" fmla="*/ 2147483647 h 465"/>
                <a:gd name="T12" fmla="*/ 2147483647 w 244"/>
                <a:gd name="T13" fmla="*/ 2147483647 h 465"/>
                <a:gd name="T14" fmla="*/ 2147483647 w 244"/>
                <a:gd name="T15" fmla="*/ 2147483647 h 465"/>
                <a:gd name="T16" fmla="*/ 2147483647 w 244"/>
                <a:gd name="T17" fmla="*/ 2147483647 h 465"/>
                <a:gd name="T18" fmla="*/ 2147483647 w 244"/>
                <a:gd name="T19" fmla="*/ 2147483647 h 465"/>
                <a:gd name="T20" fmla="*/ 2147483647 w 244"/>
                <a:gd name="T21" fmla="*/ 2147483647 h 465"/>
                <a:gd name="T22" fmla="*/ 2147483647 w 244"/>
                <a:gd name="T23" fmla="*/ 2147483647 h 465"/>
                <a:gd name="T24" fmla="*/ 2147483647 w 244"/>
                <a:gd name="T25" fmla="*/ 2147483647 h 465"/>
                <a:gd name="T26" fmla="*/ 2147483647 w 244"/>
                <a:gd name="T27" fmla="*/ 2147483647 h 465"/>
                <a:gd name="T28" fmla="*/ 2147483647 w 244"/>
                <a:gd name="T29" fmla="*/ 2147483647 h 465"/>
                <a:gd name="T30" fmla="*/ 2147483647 w 244"/>
                <a:gd name="T31" fmla="*/ 2147483647 h 465"/>
                <a:gd name="T32" fmla="*/ 2147483647 w 244"/>
                <a:gd name="T33" fmla="*/ 2147483647 h 465"/>
                <a:gd name="T34" fmla="*/ 2147483647 w 244"/>
                <a:gd name="T35" fmla="*/ 2147483647 h 465"/>
                <a:gd name="T36" fmla="*/ 0 w 244"/>
                <a:gd name="T37" fmla="*/ 2147483647 h 4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44" h="465">
                  <a:moveTo>
                    <a:pt x="0" y="244"/>
                  </a:moveTo>
                  <a:lnTo>
                    <a:pt x="0" y="100"/>
                  </a:lnTo>
                  <a:lnTo>
                    <a:pt x="31" y="0"/>
                  </a:lnTo>
                  <a:lnTo>
                    <a:pt x="87" y="33"/>
                  </a:lnTo>
                  <a:lnTo>
                    <a:pt x="100" y="68"/>
                  </a:lnTo>
                  <a:lnTo>
                    <a:pt x="150" y="100"/>
                  </a:lnTo>
                  <a:lnTo>
                    <a:pt x="161" y="89"/>
                  </a:lnTo>
                  <a:lnTo>
                    <a:pt x="161" y="45"/>
                  </a:lnTo>
                  <a:lnTo>
                    <a:pt x="180" y="12"/>
                  </a:lnTo>
                  <a:lnTo>
                    <a:pt x="244" y="56"/>
                  </a:lnTo>
                  <a:lnTo>
                    <a:pt x="237" y="112"/>
                  </a:lnTo>
                  <a:lnTo>
                    <a:pt x="244" y="388"/>
                  </a:lnTo>
                  <a:lnTo>
                    <a:pt x="244" y="456"/>
                  </a:lnTo>
                  <a:lnTo>
                    <a:pt x="231" y="456"/>
                  </a:lnTo>
                  <a:lnTo>
                    <a:pt x="231" y="465"/>
                  </a:lnTo>
                  <a:lnTo>
                    <a:pt x="106" y="333"/>
                  </a:lnTo>
                  <a:lnTo>
                    <a:pt x="87" y="356"/>
                  </a:lnTo>
                  <a:lnTo>
                    <a:pt x="36" y="333"/>
                  </a:lnTo>
                  <a:lnTo>
                    <a:pt x="0" y="244"/>
                  </a:lnTo>
                </a:path>
              </a:pathLst>
            </a:custGeom>
            <a:solidFill>
              <a:schemeClr val="accent4"/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60" name="Freeform 984"/>
            <p:cNvSpPr>
              <a:spLocks/>
            </p:cNvSpPr>
            <p:nvPr>
              <p:custDataLst>
                <p:tags r:id="rId968"/>
              </p:custDataLst>
            </p:nvPr>
          </p:nvSpPr>
          <p:spPr bwMode="auto">
            <a:xfrm>
              <a:off x="5670197" y="4155655"/>
              <a:ext cx="463130" cy="379413"/>
            </a:xfrm>
            <a:custGeom>
              <a:avLst/>
              <a:gdLst>
                <a:gd name="T0" fmla="*/ 0 w 250"/>
                <a:gd name="T1" fmla="*/ 2147483647 h 479"/>
                <a:gd name="T2" fmla="*/ 2147483647 w 250"/>
                <a:gd name="T3" fmla="*/ 2147483647 h 479"/>
                <a:gd name="T4" fmla="*/ 2147483647 w 250"/>
                <a:gd name="T5" fmla="*/ 2147483647 h 479"/>
                <a:gd name="T6" fmla="*/ 2147483647 w 250"/>
                <a:gd name="T7" fmla="*/ 2147483647 h 479"/>
                <a:gd name="T8" fmla="*/ 2147483647 w 250"/>
                <a:gd name="T9" fmla="*/ 0 h 479"/>
                <a:gd name="T10" fmla="*/ 2147483647 w 250"/>
                <a:gd name="T11" fmla="*/ 0 h 479"/>
                <a:gd name="T12" fmla="*/ 2147483647 w 250"/>
                <a:gd name="T13" fmla="*/ 2147483647 h 479"/>
                <a:gd name="T14" fmla="*/ 2147483647 w 250"/>
                <a:gd name="T15" fmla="*/ 2147483647 h 479"/>
                <a:gd name="T16" fmla="*/ 2147483647 w 250"/>
                <a:gd name="T17" fmla="*/ 2147483647 h 479"/>
                <a:gd name="T18" fmla="*/ 2147483647 w 250"/>
                <a:gd name="T19" fmla="*/ 2147483647 h 479"/>
                <a:gd name="T20" fmla="*/ 2147483647 w 250"/>
                <a:gd name="T21" fmla="*/ 2147483647 h 479"/>
                <a:gd name="T22" fmla="*/ 2147483647 w 250"/>
                <a:gd name="T23" fmla="*/ 2147483647 h 479"/>
                <a:gd name="T24" fmla="*/ 2147483647 w 250"/>
                <a:gd name="T25" fmla="*/ 2147483647 h 479"/>
                <a:gd name="T26" fmla="*/ 2147483647 w 250"/>
                <a:gd name="T27" fmla="*/ 2147483647 h 479"/>
                <a:gd name="T28" fmla="*/ 2147483647 w 250"/>
                <a:gd name="T29" fmla="*/ 2147483647 h 479"/>
                <a:gd name="T30" fmla="*/ 2147483647 w 250"/>
                <a:gd name="T31" fmla="*/ 2147483647 h 479"/>
                <a:gd name="T32" fmla="*/ 2147483647 w 250"/>
                <a:gd name="T33" fmla="*/ 2147483647 h 479"/>
                <a:gd name="T34" fmla="*/ 2147483647 w 250"/>
                <a:gd name="T35" fmla="*/ 2147483647 h 479"/>
                <a:gd name="T36" fmla="*/ 2147483647 w 250"/>
                <a:gd name="T37" fmla="*/ 2147483647 h 479"/>
                <a:gd name="T38" fmla="*/ 0 w 250"/>
                <a:gd name="T39" fmla="*/ 2147483647 h 47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50" h="479">
                  <a:moveTo>
                    <a:pt x="0" y="335"/>
                  </a:moveTo>
                  <a:lnTo>
                    <a:pt x="7" y="300"/>
                  </a:lnTo>
                  <a:lnTo>
                    <a:pt x="19" y="323"/>
                  </a:lnTo>
                  <a:lnTo>
                    <a:pt x="99" y="311"/>
                  </a:lnTo>
                  <a:lnTo>
                    <a:pt x="81" y="0"/>
                  </a:lnTo>
                  <a:lnTo>
                    <a:pt x="112" y="0"/>
                  </a:lnTo>
                  <a:lnTo>
                    <a:pt x="237" y="167"/>
                  </a:lnTo>
                  <a:lnTo>
                    <a:pt x="237" y="200"/>
                  </a:lnTo>
                  <a:lnTo>
                    <a:pt x="250" y="200"/>
                  </a:lnTo>
                  <a:lnTo>
                    <a:pt x="250" y="300"/>
                  </a:lnTo>
                  <a:lnTo>
                    <a:pt x="244" y="311"/>
                  </a:lnTo>
                  <a:lnTo>
                    <a:pt x="194" y="335"/>
                  </a:lnTo>
                  <a:lnTo>
                    <a:pt x="125" y="388"/>
                  </a:lnTo>
                  <a:lnTo>
                    <a:pt x="107" y="479"/>
                  </a:lnTo>
                  <a:lnTo>
                    <a:pt x="88" y="467"/>
                  </a:lnTo>
                  <a:lnTo>
                    <a:pt x="62" y="479"/>
                  </a:lnTo>
                  <a:lnTo>
                    <a:pt x="43" y="411"/>
                  </a:lnTo>
                  <a:lnTo>
                    <a:pt x="19" y="423"/>
                  </a:lnTo>
                  <a:lnTo>
                    <a:pt x="7" y="411"/>
                  </a:lnTo>
                  <a:lnTo>
                    <a:pt x="0" y="335"/>
                  </a:lnTo>
                </a:path>
              </a:pathLst>
            </a:custGeom>
            <a:solidFill>
              <a:schemeClr val="accent4"/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61" name="Freeform 988"/>
            <p:cNvSpPr>
              <a:spLocks/>
            </p:cNvSpPr>
            <p:nvPr>
              <p:custDataLst>
                <p:tags r:id="rId969"/>
              </p:custDataLst>
            </p:nvPr>
          </p:nvSpPr>
          <p:spPr bwMode="auto">
            <a:xfrm>
              <a:off x="5529876" y="4090558"/>
              <a:ext cx="346846" cy="330200"/>
            </a:xfrm>
            <a:custGeom>
              <a:avLst/>
              <a:gdLst>
                <a:gd name="T0" fmla="*/ 0 w 188"/>
                <a:gd name="T1" fmla="*/ 2147483647 h 415"/>
                <a:gd name="T2" fmla="*/ 2147483647 w 188"/>
                <a:gd name="T3" fmla="*/ 2147483647 h 415"/>
                <a:gd name="T4" fmla="*/ 2147483647 w 188"/>
                <a:gd name="T5" fmla="*/ 2147483647 h 415"/>
                <a:gd name="T6" fmla="*/ 2147483647 w 188"/>
                <a:gd name="T7" fmla="*/ 2147483647 h 415"/>
                <a:gd name="T8" fmla="*/ 2147483647 w 188"/>
                <a:gd name="T9" fmla="*/ 2147483647 h 415"/>
                <a:gd name="T10" fmla="*/ 2147483647 w 188"/>
                <a:gd name="T11" fmla="*/ 2147483647 h 415"/>
                <a:gd name="T12" fmla="*/ 2147483647 w 188"/>
                <a:gd name="T13" fmla="*/ 2147483647 h 415"/>
                <a:gd name="T14" fmla="*/ 2147483647 w 188"/>
                <a:gd name="T15" fmla="*/ 2147483647 h 415"/>
                <a:gd name="T16" fmla="*/ 2147483647 w 188"/>
                <a:gd name="T17" fmla="*/ 2147483647 h 415"/>
                <a:gd name="T18" fmla="*/ 2147483647 w 188"/>
                <a:gd name="T19" fmla="*/ 2147483647 h 415"/>
                <a:gd name="T20" fmla="*/ 2147483647 w 188"/>
                <a:gd name="T21" fmla="*/ 2147483647 h 415"/>
                <a:gd name="T22" fmla="*/ 2147483647 w 188"/>
                <a:gd name="T23" fmla="*/ 0 h 415"/>
                <a:gd name="T24" fmla="*/ 2147483647 w 188"/>
                <a:gd name="T25" fmla="*/ 2147483647 h 415"/>
                <a:gd name="T26" fmla="*/ 2147483647 w 188"/>
                <a:gd name="T27" fmla="*/ 2147483647 h 415"/>
                <a:gd name="T28" fmla="*/ 2147483647 w 188"/>
                <a:gd name="T29" fmla="*/ 2147483647 h 415"/>
                <a:gd name="T30" fmla="*/ 2147483647 w 188"/>
                <a:gd name="T31" fmla="*/ 2147483647 h 415"/>
                <a:gd name="T32" fmla="*/ 2147483647 w 188"/>
                <a:gd name="T33" fmla="*/ 2147483647 h 415"/>
                <a:gd name="T34" fmla="*/ 0 w 188"/>
                <a:gd name="T35" fmla="*/ 2147483647 h 41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88" h="415">
                  <a:moveTo>
                    <a:pt x="0" y="213"/>
                  </a:moveTo>
                  <a:lnTo>
                    <a:pt x="7" y="236"/>
                  </a:lnTo>
                  <a:lnTo>
                    <a:pt x="13" y="292"/>
                  </a:lnTo>
                  <a:lnTo>
                    <a:pt x="7" y="368"/>
                  </a:lnTo>
                  <a:lnTo>
                    <a:pt x="39" y="359"/>
                  </a:lnTo>
                  <a:lnTo>
                    <a:pt x="76" y="415"/>
                  </a:lnTo>
                  <a:lnTo>
                    <a:pt x="82" y="380"/>
                  </a:lnTo>
                  <a:lnTo>
                    <a:pt x="95" y="403"/>
                  </a:lnTo>
                  <a:lnTo>
                    <a:pt x="175" y="391"/>
                  </a:lnTo>
                  <a:lnTo>
                    <a:pt x="157" y="78"/>
                  </a:lnTo>
                  <a:lnTo>
                    <a:pt x="188" y="78"/>
                  </a:lnTo>
                  <a:lnTo>
                    <a:pt x="133" y="0"/>
                  </a:lnTo>
                  <a:lnTo>
                    <a:pt x="126" y="44"/>
                  </a:lnTo>
                  <a:lnTo>
                    <a:pt x="76" y="44"/>
                  </a:lnTo>
                  <a:lnTo>
                    <a:pt x="76" y="123"/>
                  </a:lnTo>
                  <a:lnTo>
                    <a:pt x="58" y="146"/>
                  </a:lnTo>
                  <a:lnTo>
                    <a:pt x="64" y="201"/>
                  </a:lnTo>
                  <a:lnTo>
                    <a:pt x="0" y="213"/>
                  </a:lnTo>
                </a:path>
              </a:pathLst>
            </a:custGeom>
            <a:solidFill>
              <a:schemeClr val="accent4"/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sp>
          <p:nvSpPr>
            <p:cNvPr id="3162" name="Freeform 1000"/>
            <p:cNvSpPr>
              <a:spLocks/>
            </p:cNvSpPr>
            <p:nvPr>
              <p:custDataLst>
                <p:tags r:id="rId970"/>
              </p:custDataLst>
            </p:nvPr>
          </p:nvSpPr>
          <p:spPr bwMode="auto">
            <a:xfrm>
              <a:off x="6017045" y="4190587"/>
              <a:ext cx="463132" cy="307975"/>
            </a:xfrm>
            <a:custGeom>
              <a:avLst/>
              <a:gdLst>
                <a:gd name="T0" fmla="*/ 0 w 250"/>
                <a:gd name="T1" fmla="*/ 2147483647 h 387"/>
                <a:gd name="T2" fmla="*/ 2147483647 w 250"/>
                <a:gd name="T3" fmla="*/ 2147483647 h 387"/>
                <a:gd name="T4" fmla="*/ 2147483647 w 250"/>
                <a:gd name="T5" fmla="*/ 2147483647 h 387"/>
                <a:gd name="T6" fmla="*/ 2147483647 w 250"/>
                <a:gd name="T7" fmla="*/ 2147483647 h 387"/>
                <a:gd name="T8" fmla="*/ 2147483647 w 250"/>
                <a:gd name="T9" fmla="*/ 2147483647 h 387"/>
                <a:gd name="T10" fmla="*/ 2147483647 w 250"/>
                <a:gd name="T11" fmla="*/ 2147483647 h 387"/>
                <a:gd name="T12" fmla="*/ 2147483647 w 250"/>
                <a:gd name="T13" fmla="*/ 2147483647 h 387"/>
                <a:gd name="T14" fmla="*/ 2147483647 w 250"/>
                <a:gd name="T15" fmla="*/ 2147483647 h 387"/>
                <a:gd name="T16" fmla="*/ 2147483647 w 250"/>
                <a:gd name="T17" fmla="*/ 2147483647 h 387"/>
                <a:gd name="T18" fmla="*/ 2147483647 w 250"/>
                <a:gd name="T19" fmla="*/ 2147483647 h 387"/>
                <a:gd name="T20" fmla="*/ 2147483647 w 250"/>
                <a:gd name="T21" fmla="*/ 2147483647 h 387"/>
                <a:gd name="T22" fmla="*/ 2147483647 w 250"/>
                <a:gd name="T23" fmla="*/ 2147483647 h 387"/>
                <a:gd name="T24" fmla="*/ 2147483647 w 250"/>
                <a:gd name="T25" fmla="*/ 2147483647 h 387"/>
                <a:gd name="T26" fmla="*/ 2147483647 w 250"/>
                <a:gd name="T27" fmla="*/ 0 h 387"/>
                <a:gd name="T28" fmla="*/ 2147483647 w 250"/>
                <a:gd name="T29" fmla="*/ 2147483647 h 387"/>
                <a:gd name="T30" fmla="*/ 2147483647 w 250"/>
                <a:gd name="T31" fmla="*/ 2147483647 h 387"/>
                <a:gd name="T32" fmla="*/ 2147483647 w 250"/>
                <a:gd name="T33" fmla="*/ 2147483647 h 387"/>
                <a:gd name="T34" fmla="*/ 2147483647 w 250"/>
                <a:gd name="T35" fmla="*/ 2147483647 h 387"/>
                <a:gd name="T36" fmla="*/ 0 w 250"/>
                <a:gd name="T37" fmla="*/ 2147483647 h 38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50" h="387">
                  <a:moveTo>
                    <a:pt x="0" y="288"/>
                  </a:moveTo>
                  <a:lnTo>
                    <a:pt x="6" y="309"/>
                  </a:lnTo>
                  <a:lnTo>
                    <a:pt x="37" y="376"/>
                  </a:lnTo>
                  <a:lnTo>
                    <a:pt x="44" y="366"/>
                  </a:lnTo>
                  <a:lnTo>
                    <a:pt x="56" y="387"/>
                  </a:lnTo>
                  <a:lnTo>
                    <a:pt x="75" y="322"/>
                  </a:lnTo>
                  <a:lnTo>
                    <a:pt x="144" y="353"/>
                  </a:lnTo>
                  <a:lnTo>
                    <a:pt x="205" y="322"/>
                  </a:lnTo>
                  <a:lnTo>
                    <a:pt x="205" y="299"/>
                  </a:lnTo>
                  <a:lnTo>
                    <a:pt x="237" y="220"/>
                  </a:lnTo>
                  <a:lnTo>
                    <a:pt x="250" y="111"/>
                  </a:lnTo>
                  <a:lnTo>
                    <a:pt x="231" y="67"/>
                  </a:lnTo>
                  <a:lnTo>
                    <a:pt x="231" y="23"/>
                  </a:lnTo>
                  <a:lnTo>
                    <a:pt x="181" y="0"/>
                  </a:lnTo>
                  <a:lnTo>
                    <a:pt x="87" y="132"/>
                  </a:lnTo>
                  <a:lnTo>
                    <a:pt x="62" y="155"/>
                  </a:lnTo>
                  <a:lnTo>
                    <a:pt x="62" y="253"/>
                  </a:lnTo>
                  <a:lnTo>
                    <a:pt x="49" y="265"/>
                  </a:lnTo>
                  <a:lnTo>
                    <a:pt x="0" y="288"/>
                  </a:lnTo>
                </a:path>
              </a:pathLst>
            </a:custGeom>
            <a:solidFill>
              <a:schemeClr val="accent4"/>
            </a:solidFill>
            <a:ln w="0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fr-FR" sz="1200" b="1" dirty="0">
                <a:solidFill>
                  <a:prstClr val="black"/>
                </a:solidFill>
                <a:cs typeface="Arial" charset="0"/>
              </a:endParaRPr>
            </a:p>
          </p:txBody>
        </p:sp>
        <p:grpSp>
          <p:nvGrpSpPr>
            <p:cNvPr id="3163" name="Group 1006"/>
            <p:cNvGrpSpPr>
              <a:grpSpLocks/>
            </p:cNvGrpSpPr>
            <p:nvPr>
              <p:custDataLst>
                <p:tags r:id="rId971"/>
              </p:custDataLst>
            </p:nvPr>
          </p:nvGrpSpPr>
          <p:grpSpPr bwMode="auto">
            <a:xfrm>
              <a:off x="6099256" y="4446158"/>
              <a:ext cx="336823" cy="247650"/>
              <a:chOff x="2989" y="2431"/>
              <a:chExt cx="182" cy="156"/>
            </a:xfrm>
            <a:solidFill>
              <a:schemeClr val="accent4"/>
            </a:solidFill>
          </p:grpSpPr>
          <p:sp>
            <p:nvSpPr>
              <p:cNvPr id="3181" name="Freeform 1007"/>
              <p:cNvSpPr>
                <a:spLocks/>
              </p:cNvSpPr>
              <p:nvPr/>
            </p:nvSpPr>
            <p:spPr bwMode="auto">
              <a:xfrm>
                <a:off x="2989" y="2431"/>
                <a:ext cx="182" cy="156"/>
              </a:xfrm>
              <a:custGeom>
                <a:avLst/>
                <a:gdLst>
                  <a:gd name="T0" fmla="*/ 0 w 182"/>
                  <a:gd name="T1" fmla="*/ 1 h 311"/>
                  <a:gd name="T2" fmla="*/ 12 w 182"/>
                  <a:gd name="T3" fmla="*/ 1 h 311"/>
                  <a:gd name="T4" fmla="*/ 31 w 182"/>
                  <a:gd name="T5" fmla="*/ 0 h 311"/>
                  <a:gd name="T6" fmla="*/ 100 w 182"/>
                  <a:gd name="T7" fmla="*/ 1 h 311"/>
                  <a:gd name="T8" fmla="*/ 163 w 182"/>
                  <a:gd name="T9" fmla="*/ 0 h 311"/>
                  <a:gd name="T10" fmla="*/ 175 w 182"/>
                  <a:gd name="T11" fmla="*/ 1 h 311"/>
                  <a:gd name="T12" fmla="*/ 182 w 182"/>
                  <a:gd name="T13" fmla="*/ 1 h 311"/>
                  <a:gd name="T14" fmla="*/ 163 w 182"/>
                  <a:gd name="T15" fmla="*/ 1 h 311"/>
                  <a:gd name="T16" fmla="*/ 131 w 182"/>
                  <a:gd name="T17" fmla="*/ 1 h 311"/>
                  <a:gd name="T18" fmla="*/ 100 w 182"/>
                  <a:gd name="T19" fmla="*/ 1 h 311"/>
                  <a:gd name="T20" fmla="*/ 87 w 182"/>
                  <a:gd name="T21" fmla="*/ 1 h 311"/>
                  <a:gd name="T22" fmla="*/ 50 w 182"/>
                  <a:gd name="T23" fmla="*/ 1 h 311"/>
                  <a:gd name="T24" fmla="*/ 31 w 182"/>
                  <a:gd name="T25" fmla="*/ 1 h 311"/>
                  <a:gd name="T26" fmla="*/ 0 w 182"/>
                  <a:gd name="T27" fmla="*/ 1 h 3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82" h="311">
                    <a:moveTo>
                      <a:pt x="0" y="244"/>
                    </a:moveTo>
                    <a:lnTo>
                      <a:pt x="12" y="65"/>
                    </a:lnTo>
                    <a:lnTo>
                      <a:pt x="31" y="0"/>
                    </a:lnTo>
                    <a:lnTo>
                      <a:pt x="100" y="33"/>
                    </a:lnTo>
                    <a:lnTo>
                      <a:pt x="163" y="0"/>
                    </a:lnTo>
                    <a:lnTo>
                      <a:pt x="175" y="44"/>
                    </a:lnTo>
                    <a:lnTo>
                      <a:pt x="182" y="65"/>
                    </a:lnTo>
                    <a:lnTo>
                      <a:pt x="163" y="89"/>
                    </a:lnTo>
                    <a:lnTo>
                      <a:pt x="131" y="233"/>
                    </a:lnTo>
                    <a:lnTo>
                      <a:pt x="100" y="223"/>
                    </a:lnTo>
                    <a:lnTo>
                      <a:pt x="87" y="288"/>
                    </a:lnTo>
                    <a:lnTo>
                      <a:pt x="50" y="311"/>
                    </a:lnTo>
                    <a:lnTo>
                      <a:pt x="31" y="244"/>
                    </a:lnTo>
                    <a:lnTo>
                      <a:pt x="0" y="244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182" name="Freeform 1008"/>
              <p:cNvSpPr>
                <a:spLocks/>
              </p:cNvSpPr>
              <p:nvPr/>
            </p:nvSpPr>
            <p:spPr bwMode="auto">
              <a:xfrm>
                <a:off x="2989" y="2431"/>
                <a:ext cx="182" cy="156"/>
              </a:xfrm>
              <a:custGeom>
                <a:avLst/>
                <a:gdLst>
                  <a:gd name="T0" fmla="*/ 0 w 182"/>
                  <a:gd name="T1" fmla="*/ 1 h 311"/>
                  <a:gd name="T2" fmla="*/ 12 w 182"/>
                  <a:gd name="T3" fmla="*/ 1 h 311"/>
                  <a:gd name="T4" fmla="*/ 31 w 182"/>
                  <a:gd name="T5" fmla="*/ 0 h 311"/>
                  <a:gd name="T6" fmla="*/ 100 w 182"/>
                  <a:gd name="T7" fmla="*/ 1 h 311"/>
                  <a:gd name="T8" fmla="*/ 163 w 182"/>
                  <a:gd name="T9" fmla="*/ 0 h 311"/>
                  <a:gd name="T10" fmla="*/ 175 w 182"/>
                  <a:gd name="T11" fmla="*/ 1 h 311"/>
                  <a:gd name="T12" fmla="*/ 182 w 182"/>
                  <a:gd name="T13" fmla="*/ 1 h 311"/>
                  <a:gd name="T14" fmla="*/ 163 w 182"/>
                  <a:gd name="T15" fmla="*/ 1 h 311"/>
                  <a:gd name="T16" fmla="*/ 131 w 182"/>
                  <a:gd name="T17" fmla="*/ 1 h 311"/>
                  <a:gd name="T18" fmla="*/ 100 w 182"/>
                  <a:gd name="T19" fmla="*/ 1 h 311"/>
                  <a:gd name="T20" fmla="*/ 87 w 182"/>
                  <a:gd name="T21" fmla="*/ 1 h 311"/>
                  <a:gd name="T22" fmla="*/ 50 w 182"/>
                  <a:gd name="T23" fmla="*/ 1 h 311"/>
                  <a:gd name="T24" fmla="*/ 31 w 182"/>
                  <a:gd name="T25" fmla="*/ 1 h 311"/>
                  <a:gd name="T26" fmla="*/ 0 w 182"/>
                  <a:gd name="T27" fmla="*/ 1 h 3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82" h="311">
                    <a:moveTo>
                      <a:pt x="0" y="244"/>
                    </a:moveTo>
                    <a:lnTo>
                      <a:pt x="12" y="65"/>
                    </a:lnTo>
                    <a:lnTo>
                      <a:pt x="31" y="0"/>
                    </a:lnTo>
                    <a:lnTo>
                      <a:pt x="100" y="33"/>
                    </a:lnTo>
                    <a:lnTo>
                      <a:pt x="163" y="0"/>
                    </a:lnTo>
                    <a:lnTo>
                      <a:pt x="175" y="44"/>
                    </a:lnTo>
                    <a:lnTo>
                      <a:pt x="182" y="65"/>
                    </a:lnTo>
                    <a:lnTo>
                      <a:pt x="163" y="89"/>
                    </a:lnTo>
                    <a:lnTo>
                      <a:pt x="131" y="233"/>
                    </a:lnTo>
                    <a:lnTo>
                      <a:pt x="100" y="223"/>
                    </a:lnTo>
                    <a:lnTo>
                      <a:pt x="87" y="288"/>
                    </a:lnTo>
                    <a:lnTo>
                      <a:pt x="50" y="311"/>
                    </a:lnTo>
                    <a:lnTo>
                      <a:pt x="31" y="244"/>
                    </a:lnTo>
                    <a:lnTo>
                      <a:pt x="0" y="244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grpSp>
          <p:nvGrpSpPr>
            <p:cNvPr id="3164" name="Group 621"/>
            <p:cNvGrpSpPr>
              <a:grpSpLocks/>
            </p:cNvGrpSpPr>
            <p:nvPr>
              <p:custDataLst>
                <p:tags r:id="rId972"/>
              </p:custDataLst>
            </p:nvPr>
          </p:nvGrpSpPr>
          <p:grpSpPr bwMode="auto">
            <a:xfrm>
              <a:off x="5748544" y="3673491"/>
              <a:ext cx="80196" cy="141288"/>
              <a:chOff x="2801" y="1946"/>
              <a:chExt cx="44" cy="89"/>
            </a:xfrm>
            <a:solidFill>
              <a:schemeClr val="accent4"/>
            </a:solidFill>
          </p:grpSpPr>
          <p:sp>
            <p:nvSpPr>
              <p:cNvPr id="3179" name="Freeform 622"/>
              <p:cNvSpPr>
                <a:spLocks/>
              </p:cNvSpPr>
              <p:nvPr/>
            </p:nvSpPr>
            <p:spPr bwMode="auto">
              <a:xfrm>
                <a:off x="2801" y="1946"/>
                <a:ext cx="44" cy="89"/>
              </a:xfrm>
              <a:custGeom>
                <a:avLst/>
                <a:gdLst>
                  <a:gd name="T0" fmla="*/ 0 w 44"/>
                  <a:gd name="T1" fmla="*/ 0 h 179"/>
                  <a:gd name="T2" fmla="*/ 6 w 44"/>
                  <a:gd name="T3" fmla="*/ 0 h 179"/>
                  <a:gd name="T4" fmla="*/ 44 w 44"/>
                  <a:gd name="T5" fmla="*/ 0 h 179"/>
                  <a:gd name="T6" fmla="*/ 31 w 44"/>
                  <a:gd name="T7" fmla="*/ 0 h 179"/>
                  <a:gd name="T8" fmla="*/ 31 w 44"/>
                  <a:gd name="T9" fmla="*/ 0 h 179"/>
                  <a:gd name="T10" fmla="*/ 6 w 44"/>
                  <a:gd name="T11" fmla="*/ 0 h 179"/>
                  <a:gd name="T12" fmla="*/ 13 w 44"/>
                  <a:gd name="T13" fmla="*/ 0 h 179"/>
                  <a:gd name="T14" fmla="*/ 0 w 44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179">
                    <a:moveTo>
                      <a:pt x="0" y="114"/>
                    </a:moveTo>
                    <a:lnTo>
                      <a:pt x="6" y="0"/>
                    </a:lnTo>
                    <a:lnTo>
                      <a:pt x="44" y="12"/>
                    </a:lnTo>
                    <a:lnTo>
                      <a:pt x="31" y="79"/>
                    </a:lnTo>
                    <a:lnTo>
                      <a:pt x="31" y="167"/>
                    </a:lnTo>
                    <a:lnTo>
                      <a:pt x="6" y="179"/>
                    </a:lnTo>
                    <a:lnTo>
                      <a:pt x="13" y="123"/>
                    </a:lnTo>
                    <a:lnTo>
                      <a:pt x="0" y="114"/>
                    </a:lnTo>
                    <a:close/>
                  </a:path>
                </a:pathLst>
              </a:custGeom>
              <a:grpFill/>
              <a:ln w="0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180" name="Freeform 623"/>
              <p:cNvSpPr>
                <a:spLocks/>
              </p:cNvSpPr>
              <p:nvPr/>
            </p:nvSpPr>
            <p:spPr bwMode="auto">
              <a:xfrm>
                <a:off x="2801" y="1946"/>
                <a:ext cx="44" cy="89"/>
              </a:xfrm>
              <a:custGeom>
                <a:avLst/>
                <a:gdLst>
                  <a:gd name="T0" fmla="*/ 0 w 44"/>
                  <a:gd name="T1" fmla="*/ 0 h 179"/>
                  <a:gd name="T2" fmla="*/ 6 w 44"/>
                  <a:gd name="T3" fmla="*/ 0 h 179"/>
                  <a:gd name="T4" fmla="*/ 44 w 44"/>
                  <a:gd name="T5" fmla="*/ 0 h 179"/>
                  <a:gd name="T6" fmla="*/ 31 w 44"/>
                  <a:gd name="T7" fmla="*/ 0 h 179"/>
                  <a:gd name="T8" fmla="*/ 31 w 44"/>
                  <a:gd name="T9" fmla="*/ 0 h 179"/>
                  <a:gd name="T10" fmla="*/ 6 w 44"/>
                  <a:gd name="T11" fmla="*/ 0 h 179"/>
                  <a:gd name="T12" fmla="*/ 13 w 44"/>
                  <a:gd name="T13" fmla="*/ 0 h 179"/>
                  <a:gd name="T14" fmla="*/ 0 w 44"/>
                  <a:gd name="T15" fmla="*/ 0 h 17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44" h="179">
                    <a:moveTo>
                      <a:pt x="0" y="114"/>
                    </a:moveTo>
                    <a:lnTo>
                      <a:pt x="6" y="0"/>
                    </a:lnTo>
                    <a:lnTo>
                      <a:pt x="44" y="12"/>
                    </a:lnTo>
                    <a:lnTo>
                      <a:pt x="31" y="79"/>
                    </a:lnTo>
                    <a:lnTo>
                      <a:pt x="31" y="167"/>
                    </a:lnTo>
                    <a:lnTo>
                      <a:pt x="6" y="179"/>
                    </a:lnTo>
                    <a:lnTo>
                      <a:pt x="13" y="123"/>
                    </a:lnTo>
                    <a:lnTo>
                      <a:pt x="0" y="114"/>
                    </a:lnTo>
                  </a:path>
                </a:pathLst>
              </a:custGeom>
              <a:grpFill/>
              <a:ln w="0">
                <a:solidFill>
                  <a:srgbClr val="FFFFFF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  <p:grpSp>
          <p:nvGrpSpPr>
            <p:cNvPr id="3165" name="Group 689"/>
            <p:cNvGrpSpPr>
              <a:grpSpLocks/>
            </p:cNvGrpSpPr>
            <p:nvPr>
              <p:custDataLst>
                <p:tags r:id="rId973"/>
              </p:custDataLst>
            </p:nvPr>
          </p:nvGrpSpPr>
          <p:grpSpPr bwMode="auto">
            <a:xfrm>
              <a:off x="5748567" y="3611583"/>
              <a:ext cx="356871" cy="231775"/>
              <a:chOff x="2801" y="1907"/>
              <a:chExt cx="193" cy="146"/>
            </a:xfrm>
            <a:solidFill>
              <a:schemeClr val="accent4"/>
            </a:solidFill>
          </p:grpSpPr>
          <p:sp>
            <p:nvSpPr>
              <p:cNvPr id="3177" name="Freeform 690"/>
              <p:cNvSpPr>
                <a:spLocks/>
              </p:cNvSpPr>
              <p:nvPr/>
            </p:nvSpPr>
            <p:spPr bwMode="auto">
              <a:xfrm>
                <a:off x="2801" y="1907"/>
                <a:ext cx="193" cy="146"/>
              </a:xfrm>
              <a:custGeom>
                <a:avLst/>
                <a:gdLst>
                  <a:gd name="T0" fmla="*/ 0 w 193"/>
                  <a:gd name="T1" fmla="*/ 1 h 291"/>
                  <a:gd name="T2" fmla="*/ 6 w 193"/>
                  <a:gd name="T3" fmla="*/ 1 h 291"/>
                  <a:gd name="T4" fmla="*/ 44 w 193"/>
                  <a:gd name="T5" fmla="*/ 1 h 291"/>
                  <a:gd name="T6" fmla="*/ 31 w 193"/>
                  <a:gd name="T7" fmla="*/ 1 h 291"/>
                  <a:gd name="T8" fmla="*/ 31 w 193"/>
                  <a:gd name="T9" fmla="*/ 1 h 291"/>
                  <a:gd name="T10" fmla="*/ 55 w 193"/>
                  <a:gd name="T11" fmla="*/ 1 h 291"/>
                  <a:gd name="T12" fmla="*/ 113 w 193"/>
                  <a:gd name="T13" fmla="*/ 1 h 291"/>
                  <a:gd name="T14" fmla="*/ 150 w 193"/>
                  <a:gd name="T15" fmla="*/ 1 h 291"/>
                  <a:gd name="T16" fmla="*/ 137 w 193"/>
                  <a:gd name="T17" fmla="*/ 1 h 291"/>
                  <a:gd name="T18" fmla="*/ 155 w 193"/>
                  <a:gd name="T19" fmla="*/ 1 h 291"/>
                  <a:gd name="T20" fmla="*/ 193 w 193"/>
                  <a:gd name="T21" fmla="*/ 1 h 291"/>
                  <a:gd name="T22" fmla="*/ 193 w 193"/>
                  <a:gd name="T23" fmla="*/ 1 h 291"/>
                  <a:gd name="T24" fmla="*/ 169 w 193"/>
                  <a:gd name="T25" fmla="*/ 1 h 291"/>
                  <a:gd name="T26" fmla="*/ 119 w 193"/>
                  <a:gd name="T27" fmla="*/ 1 h 291"/>
                  <a:gd name="T28" fmla="*/ 19 w 193"/>
                  <a:gd name="T29" fmla="*/ 0 h 291"/>
                  <a:gd name="T30" fmla="*/ 0 w 193"/>
                  <a:gd name="T31" fmla="*/ 1 h 29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93" h="291">
                    <a:moveTo>
                      <a:pt x="0" y="34"/>
                    </a:moveTo>
                    <a:lnTo>
                      <a:pt x="6" y="78"/>
                    </a:lnTo>
                    <a:lnTo>
                      <a:pt x="44" y="78"/>
                    </a:lnTo>
                    <a:lnTo>
                      <a:pt x="31" y="157"/>
                    </a:lnTo>
                    <a:lnTo>
                      <a:pt x="31" y="245"/>
                    </a:lnTo>
                    <a:lnTo>
                      <a:pt x="55" y="291"/>
                    </a:lnTo>
                    <a:lnTo>
                      <a:pt x="113" y="268"/>
                    </a:lnTo>
                    <a:lnTo>
                      <a:pt x="150" y="192"/>
                    </a:lnTo>
                    <a:lnTo>
                      <a:pt x="137" y="169"/>
                    </a:lnTo>
                    <a:lnTo>
                      <a:pt x="155" y="113"/>
                    </a:lnTo>
                    <a:lnTo>
                      <a:pt x="193" y="78"/>
                    </a:lnTo>
                    <a:lnTo>
                      <a:pt x="193" y="57"/>
                    </a:lnTo>
                    <a:lnTo>
                      <a:pt x="169" y="46"/>
                    </a:lnTo>
                    <a:lnTo>
                      <a:pt x="119" y="13"/>
                    </a:lnTo>
                    <a:lnTo>
                      <a:pt x="19" y="0"/>
                    </a:lnTo>
                    <a:lnTo>
                      <a:pt x="0" y="34"/>
                    </a:lnTo>
                    <a:close/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  <p:sp>
            <p:nvSpPr>
              <p:cNvPr id="3178" name="Freeform 691"/>
              <p:cNvSpPr>
                <a:spLocks/>
              </p:cNvSpPr>
              <p:nvPr/>
            </p:nvSpPr>
            <p:spPr bwMode="auto">
              <a:xfrm>
                <a:off x="2801" y="1907"/>
                <a:ext cx="193" cy="146"/>
              </a:xfrm>
              <a:custGeom>
                <a:avLst/>
                <a:gdLst>
                  <a:gd name="T0" fmla="*/ 0 w 193"/>
                  <a:gd name="T1" fmla="*/ 1 h 291"/>
                  <a:gd name="T2" fmla="*/ 6 w 193"/>
                  <a:gd name="T3" fmla="*/ 1 h 291"/>
                  <a:gd name="T4" fmla="*/ 44 w 193"/>
                  <a:gd name="T5" fmla="*/ 1 h 291"/>
                  <a:gd name="T6" fmla="*/ 31 w 193"/>
                  <a:gd name="T7" fmla="*/ 1 h 291"/>
                  <a:gd name="T8" fmla="*/ 31 w 193"/>
                  <a:gd name="T9" fmla="*/ 1 h 291"/>
                  <a:gd name="T10" fmla="*/ 55 w 193"/>
                  <a:gd name="T11" fmla="*/ 1 h 291"/>
                  <a:gd name="T12" fmla="*/ 113 w 193"/>
                  <a:gd name="T13" fmla="*/ 1 h 291"/>
                  <a:gd name="T14" fmla="*/ 150 w 193"/>
                  <a:gd name="T15" fmla="*/ 1 h 291"/>
                  <a:gd name="T16" fmla="*/ 137 w 193"/>
                  <a:gd name="T17" fmla="*/ 1 h 291"/>
                  <a:gd name="T18" fmla="*/ 155 w 193"/>
                  <a:gd name="T19" fmla="*/ 1 h 291"/>
                  <a:gd name="T20" fmla="*/ 193 w 193"/>
                  <a:gd name="T21" fmla="*/ 1 h 291"/>
                  <a:gd name="T22" fmla="*/ 193 w 193"/>
                  <a:gd name="T23" fmla="*/ 1 h 291"/>
                  <a:gd name="T24" fmla="*/ 169 w 193"/>
                  <a:gd name="T25" fmla="*/ 1 h 291"/>
                  <a:gd name="T26" fmla="*/ 119 w 193"/>
                  <a:gd name="T27" fmla="*/ 1 h 291"/>
                  <a:gd name="T28" fmla="*/ 19 w 193"/>
                  <a:gd name="T29" fmla="*/ 0 h 291"/>
                  <a:gd name="T30" fmla="*/ 0 w 193"/>
                  <a:gd name="T31" fmla="*/ 1 h 29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93" h="291">
                    <a:moveTo>
                      <a:pt x="0" y="34"/>
                    </a:moveTo>
                    <a:lnTo>
                      <a:pt x="6" y="78"/>
                    </a:lnTo>
                    <a:lnTo>
                      <a:pt x="44" y="78"/>
                    </a:lnTo>
                    <a:lnTo>
                      <a:pt x="31" y="157"/>
                    </a:lnTo>
                    <a:lnTo>
                      <a:pt x="31" y="245"/>
                    </a:lnTo>
                    <a:lnTo>
                      <a:pt x="55" y="291"/>
                    </a:lnTo>
                    <a:lnTo>
                      <a:pt x="113" y="268"/>
                    </a:lnTo>
                    <a:lnTo>
                      <a:pt x="150" y="192"/>
                    </a:lnTo>
                    <a:lnTo>
                      <a:pt x="137" y="169"/>
                    </a:lnTo>
                    <a:lnTo>
                      <a:pt x="155" y="113"/>
                    </a:lnTo>
                    <a:lnTo>
                      <a:pt x="193" y="78"/>
                    </a:lnTo>
                    <a:lnTo>
                      <a:pt x="193" y="57"/>
                    </a:lnTo>
                    <a:lnTo>
                      <a:pt x="169" y="46"/>
                    </a:lnTo>
                    <a:lnTo>
                      <a:pt x="119" y="13"/>
                    </a:lnTo>
                    <a:lnTo>
                      <a:pt x="19" y="0"/>
                    </a:lnTo>
                    <a:lnTo>
                      <a:pt x="0" y="34"/>
                    </a:lnTo>
                  </a:path>
                </a:pathLst>
              </a:custGeom>
              <a:grpFill/>
              <a:ln w="0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fr-FR" sz="1200" b="1" dirty="0">
                  <a:solidFill>
                    <a:prstClr val="black"/>
                  </a:solidFill>
                  <a:cs typeface="Arial" charset="0"/>
                </a:endParaRPr>
              </a:p>
            </p:txBody>
          </p:sp>
        </p:grpSp>
      </p:grpSp>
      <p:sp>
        <p:nvSpPr>
          <p:cNvPr id="1153" name="Text Box 128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05473" y="4456246"/>
            <a:ext cx="1783746" cy="1791260"/>
          </a:xfrm>
          <a:prstGeom prst="accentCallout2">
            <a:avLst>
              <a:gd name="adj1" fmla="val 18750"/>
              <a:gd name="adj2" fmla="val 92692"/>
              <a:gd name="adj3" fmla="val 15420"/>
              <a:gd name="adj4" fmla="val 100560"/>
              <a:gd name="adj5" fmla="val 35844"/>
              <a:gd name="adj6" fmla="val 112711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defPPr>
              <a:defRPr lang="fr-FR"/>
            </a:defPPr>
            <a:lvl1pPr marL="185738" indent="-185738" eaLnBrk="0" hangingPunct="0">
              <a:lnSpc>
                <a:spcPct val="120000"/>
              </a:lnSpc>
              <a:defRPr>
                <a:solidFill>
                  <a:srgbClr val="000000"/>
                </a:solidFill>
                <a:latin typeface="Arial Narrow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cs typeface="Arial" charset="0"/>
              </a:rPr>
              <a:t>Peru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charset="0"/>
              </a:rPr>
              <a:t>Pipeline Project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charset="0"/>
              </a:rPr>
              <a:t>Gas and Oil Transport from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err="1">
                <a:cs typeface="Arial" charset="0"/>
              </a:rPr>
              <a:t>Camisea</a:t>
            </a:r>
            <a:r>
              <a:rPr lang="en-US" sz="1200" dirty="0">
                <a:cs typeface="Arial" charset="0"/>
              </a:rPr>
              <a:t> Field to 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charset="0"/>
              </a:rPr>
              <a:t>Lima &amp; Callao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200" dirty="0">
              <a:cs typeface="Arial" charset="0"/>
            </a:endParaRP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charset="0"/>
              </a:rPr>
              <a:t>The development of</a:t>
            </a:r>
          </a:p>
          <a:p>
            <a:pPr marL="0" indent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charset="0"/>
              </a:rPr>
              <a:t>blocks 88 and 56 in </a:t>
            </a:r>
            <a:r>
              <a:rPr lang="en-US" sz="1200" dirty="0" err="1">
                <a:cs typeface="Arial" charset="0"/>
              </a:rPr>
              <a:t>Camisea</a:t>
            </a:r>
            <a:endParaRPr lang="en-US" sz="1200" dirty="0">
              <a:cs typeface="Arial" charset="0"/>
            </a:endParaRPr>
          </a:p>
        </p:txBody>
      </p:sp>
      <p:sp>
        <p:nvSpPr>
          <p:cNvPr id="1154" name="Text Box 1150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00456" y="980731"/>
            <a:ext cx="2164375" cy="1237262"/>
          </a:xfrm>
          <a:prstGeom prst="accentCallout2">
            <a:avLst>
              <a:gd name="adj1" fmla="val 19571"/>
              <a:gd name="adj2" fmla="val 105053"/>
              <a:gd name="adj3" fmla="val 17929"/>
              <a:gd name="adj4" fmla="val 112309"/>
              <a:gd name="adj5" fmla="val 216293"/>
              <a:gd name="adj6" fmla="val 192163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>
            <a:spAutoFit/>
          </a:bodyPr>
          <a:lstStyle>
            <a:defPPr>
              <a:defRPr lang="fr-FR"/>
            </a:defPPr>
            <a:lvl1pPr marL="185738" indent="-185738" eaLnBrk="0" hangingPunct="0">
              <a:lnSpc>
                <a:spcPct val="120000"/>
              </a:lnSpc>
              <a:defRPr>
                <a:solidFill>
                  <a:srgbClr val="000000"/>
                </a:solidFill>
                <a:latin typeface="Arial Narrow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z="1200" b="1" dirty="0">
                <a:cs typeface="Arial" charset="0"/>
              </a:rPr>
              <a:t>Spain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200" dirty="0" err="1">
                <a:cs typeface="Arial" charset="0"/>
              </a:rPr>
              <a:t>Reganosa</a:t>
            </a:r>
            <a:r>
              <a:rPr lang="fr-FR" sz="1200" dirty="0">
                <a:cs typeface="Arial" charset="0"/>
              </a:rPr>
              <a:t> (10%): </a:t>
            </a:r>
            <a:r>
              <a:rPr lang="fr-FR" sz="1200" dirty="0" err="1">
                <a:cs typeface="Arial" charset="0"/>
              </a:rPr>
              <a:t>Regasification</a:t>
            </a:r>
            <a:endParaRPr lang="fr-FR" sz="1200" dirty="0">
              <a:cs typeface="Arial" charset="0"/>
            </a:endParaRP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200" dirty="0">
                <a:cs typeface="Arial" charset="0"/>
              </a:rPr>
              <a:t>GEPSA(30%) : </a:t>
            </a:r>
            <a:r>
              <a:rPr lang="fr-FR" sz="1200" dirty="0" err="1">
                <a:cs typeface="Arial" charset="0"/>
              </a:rPr>
              <a:t>Cogeneration</a:t>
            </a:r>
            <a:endParaRPr lang="fr-FR" sz="1200" dirty="0">
              <a:cs typeface="Arial" charset="0"/>
            </a:endParaRP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200" dirty="0">
                <a:cs typeface="Arial" charset="0"/>
              </a:rPr>
              <a:t>CGC (30%) : </a:t>
            </a:r>
            <a:r>
              <a:rPr lang="fr-FR" sz="1200" dirty="0" err="1">
                <a:cs typeface="Arial" charset="0"/>
              </a:rPr>
              <a:t>Trading</a:t>
            </a:r>
            <a:r>
              <a:rPr lang="fr-FR" sz="1200" dirty="0">
                <a:cs typeface="Arial" charset="0"/>
              </a:rPr>
              <a:t> 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200" dirty="0">
                <a:cs typeface="Arial" charset="0"/>
              </a:rPr>
              <a:t>SGC (100%) : </a:t>
            </a:r>
            <a:r>
              <a:rPr lang="fr-FR" sz="1200" dirty="0" err="1">
                <a:cs typeface="Arial" charset="0"/>
              </a:rPr>
              <a:t>Trading</a:t>
            </a:r>
            <a:endParaRPr lang="fr-FR" sz="1200" dirty="0">
              <a:cs typeface="Arial" charset="0"/>
            </a:endParaRP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200" dirty="0" err="1">
                <a:cs typeface="Arial" charset="0"/>
              </a:rPr>
              <a:t>Propanchem</a:t>
            </a:r>
            <a:r>
              <a:rPr lang="fr-FR" sz="1200" dirty="0">
                <a:cs typeface="Arial" charset="0"/>
              </a:rPr>
              <a:t> (49%): </a:t>
            </a:r>
            <a:r>
              <a:rPr lang="fr-FR" sz="1200" dirty="0" err="1">
                <a:cs typeface="Arial" charset="0"/>
              </a:rPr>
              <a:t>Petrochimicals</a:t>
            </a:r>
            <a:endParaRPr lang="fr-FR" sz="1200" dirty="0">
              <a:cs typeface="Arial" charset="0"/>
            </a:endParaRPr>
          </a:p>
        </p:txBody>
      </p:sp>
      <p:sp>
        <p:nvSpPr>
          <p:cNvPr id="1155" name="Text Box 1309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170556" y="4735132"/>
            <a:ext cx="1250663" cy="498598"/>
          </a:xfrm>
          <a:prstGeom prst="accentCallout2">
            <a:avLst>
              <a:gd name="adj1" fmla="val 20721"/>
              <a:gd name="adj2" fmla="val 96697"/>
              <a:gd name="adj3" fmla="val 18186"/>
              <a:gd name="adj4" fmla="val 107816"/>
              <a:gd name="adj5" fmla="val -68194"/>
              <a:gd name="adj6" fmla="val 124842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>
            <a:spAutoFit/>
          </a:bodyPr>
          <a:lstStyle>
            <a:defPPr>
              <a:defRPr lang="fr-FR"/>
            </a:defPPr>
            <a:lvl1pPr marL="185738" indent="-185738" eaLnBrk="0" hangingPunct="0">
              <a:lnSpc>
                <a:spcPct val="120000"/>
              </a:lnSpc>
              <a:defRPr>
                <a:solidFill>
                  <a:srgbClr val="000000"/>
                </a:solidFill>
                <a:latin typeface="Arial Narrow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cs typeface="Arial" charset="0"/>
              </a:rPr>
              <a:t>Mali</a:t>
            </a:r>
          </a:p>
          <a:p>
            <a:pPr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4F81BD"/>
                </a:solidFill>
                <a:cs typeface="Arial" charset="0"/>
              </a:rPr>
              <a:t>1</a:t>
            </a:r>
            <a:r>
              <a:rPr lang="en-US" sz="1200" dirty="0">
                <a:cs typeface="Arial" charset="0"/>
              </a:rPr>
              <a:t> Exploration block</a:t>
            </a:r>
          </a:p>
        </p:txBody>
      </p:sp>
      <p:sp>
        <p:nvSpPr>
          <p:cNvPr id="1156" name="Text Box 130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63883" y="5287484"/>
            <a:ext cx="1277337" cy="498598"/>
          </a:xfrm>
          <a:prstGeom prst="accentCallout2">
            <a:avLst>
              <a:gd name="adj1" fmla="val 18186"/>
              <a:gd name="adj2" fmla="val 95197"/>
              <a:gd name="adj3" fmla="val 16779"/>
              <a:gd name="adj4" fmla="val 112269"/>
              <a:gd name="adj5" fmla="val -129318"/>
              <a:gd name="adj6" fmla="val 125985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>
            <a:spAutoFit/>
          </a:bodyPr>
          <a:lstStyle>
            <a:defPPr>
              <a:defRPr lang="fr-FR"/>
            </a:defPPr>
            <a:lvl1pPr marL="185738" indent="-185738" eaLnBrk="0" hangingPunct="0">
              <a:lnSpc>
                <a:spcPct val="120000"/>
              </a:lnSpc>
              <a:defRPr>
                <a:solidFill>
                  <a:srgbClr val="000000"/>
                </a:solidFill>
                <a:latin typeface="Arial Narrow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cs typeface="Arial" charset="0"/>
              </a:rPr>
              <a:t>Nigeria</a:t>
            </a:r>
          </a:p>
          <a:p>
            <a:pPr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charset="0"/>
              </a:rPr>
              <a:t>TSGP Gas Pipeline</a:t>
            </a:r>
          </a:p>
        </p:txBody>
      </p:sp>
      <p:sp>
        <p:nvSpPr>
          <p:cNvPr id="1157" name="Text Box 130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75482" y="5357807"/>
            <a:ext cx="1265090" cy="498598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02202"/>
              <a:gd name="adj6" fmla="val -53336"/>
            </a:avLst>
          </a:prstGeom>
          <a:solidFill>
            <a:schemeClr val="bg1"/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>
            <a:spAutoFit/>
          </a:bodyPr>
          <a:lstStyle>
            <a:defPPr>
              <a:defRPr lang="fr-FR"/>
            </a:defPPr>
            <a:lvl1pPr marL="185738" indent="-185738" eaLnBrk="0" hangingPunct="0">
              <a:lnSpc>
                <a:spcPct val="120000"/>
              </a:lnSpc>
              <a:defRPr>
                <a:solidFill>
                  <a:srgbClr val="000000"/>
                </a:solidFill>
                <a:latin typeface="Arial Narrow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cs typeface="Arial" charset="0"/>
              </a:rPr>
              <a:t>Niger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charset="0"/>
              </a:rPr>
              <a:t>1 Exploration Block</a:t>
            </a:r>
          </a:p>
        </p:txBody>
      </p:sp>
      <p:sp>
        <p:nvSpPr>
          <p:cNvPr id="1158" name="Text Box 1309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555577" y="3973037"/>
            <a:ext cx="1313180" cy="498598"/>
          </a:xfrm>
          <a:prstGeom prst="accentCallout2">
            <a:avLst>
              <a:gd name="adj1" fmla="val 38462"/>
              <a:gd name="adj2" fmla="val 113230"/>
              <a:gd name="adj3" fmla="val 36491"/>
              <a:gd name="adj4" fmla="val 130488"/>
              <a:gd name="adj5" fmla="val 52060"/>
              <a:gd name="adj6" fmla="val 136612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>
            <a:spAutoFit/>
          </a:bodyPr>
          <a:lstStyle>
            <a:defPPr>
              <a:defRPr lang="fr-FR"/>
            </a:defPPr>
            <a:lvl1pPr marL="185738" indent="-185738" eaLnBrk="0" hangingPunct="0">
              <a:lnSpc>
                <a:spcPct val="120000"/>
              </a:lnSpc>
              <a:defRPr>
                <a:solidFill>
                  <a:srgbClr val="000000"/>
                </a:solidFill>
                <a:latin typeface="Arial Narrow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ZA" sz="1200" b="1" dirty="0">
                <a:cs typeface="Arial" charset="0"/>
              </a:rPr>
              <a:t>Mauritania</a:t>
            </a:r>
          </a:p>
          <a:p>
            <a:pPr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ZA" sz="1200" b="1" dirty="0">
                <a:solidFill>
                  <a:srgbClr val="4F81BD"/>
                </a:solidFill>
                <a:cs typeface="Arial" charset="0"/>
              </a:rPr>
              <a:t>2 </a:t>
            </a:r>
            <a:r>
              <a:rPr lang="en-ZA" sz="1200" dirty="0">
                <a:cs typeface="Arial" charset="0"/>
              </a:rPr>
              <a:t>Exploration blocks</a:t>
            </a:r>
          </a:p>
        </p:txBody>
      </p:sp>
      <p:sp>
        <p:nvSpPr>
          <p:cNvPr id="1159" name="Text Box 1296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613414" y="4471635"/>
            <a:ext cx="1313180" cy="683264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49139"/>
              <a:gd name="adj6" fmla="val -55119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>
            <a:spAutoFit/>
          </a:bodyPr>
          <a:lstStyle>
            <a:lvl1pPr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85738" indent="-185738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000000"/>
                </a:solidFill>
                <a:latin typeface="Arial Narrow" pitchFamily="34" charset="0"/>
              </a:rPr>
              <a:t>Libya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0" dirty="0">
                <a:solidFill>
                  <a:srgbClr val="000000"/>
                </a:solidFill>
                <a:latin typeface="Arial Narrow" pitchFamily="34" charset="0"/>
              </a:rPr>
              <a:t>2 Exploration block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0" dirty="0" err="1">
                <a:solidFill>
                  <a:srgbClr val="000000"/>
                </a:solidFill>
                <a:latin typeface="Arial Narrow" pitchFamily="34" charset="0"/>
              </a:rPr>
              <a:t>Ghadames</a:t>
            </a:r>
            <a:r>
              <a:rPr lang="en-US" b="0" dirty="0">
                <a:solidFill>
                  <a:srgbClr val="000000"/>
                </a:solidFill>
                <a:latin typeface="Arial Narrow" pitchFamily="34" charset="0"/>
              </a:rPr>
              <a:t> Basin</a:t>
            </a:r>
          </a:p>
        </p:txBody>
      </p:sp>
      <p:sp>
        <p:nvSpPr>
          <p:cNvPr id="1160" name="Text Box 129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081768" y="1134758"/>
            <a:ext cx="1573976" cy="1015663"/>
          </a:xfrm>
          <a:prstGeom prst="accentCallout2">
            <a:avLst>
              <a:gd name="adj1" fmla="val 51624"/>
              <a:gd name="adj2" fmla="val 96924"/>
              <a:gd name="adj3" fmla="val 58174"/>
              <a:gd name="adj4" fmla="val 104974"/>
              <a:gd name="adj5" fmla="val 315359"/>
              <a:gd name="adj6" fmla="val 90611"/>
            </a:avLst>
          </a:prstGeom>
          <a:solidFill>
            <a:schemeClr val="bg1">
              <a:alpha val="50000"/>
            </a:schemeClr>
          </a:solidFill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fr-FR"/>
            </a:defPPr>
            <a:lvl1pPr marL="185738" indent="-185738" eaLnBrk="0" hangingPunct="0">
              <a:lnSpc>
                <a:spcPct val="120000"/>
              </a:lnSpc>
              <a:defRPr>
                <a:solidFill>
                  <a:srgbClr val="000000"/>
                </a:solidFill>
                <a:latin typeface="Arial Narrow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cs typeface="Arial" charset="0"/>
              </a:rPr>
              <a:t>UK &amp; Netherlands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charset="0"/>
              </a:rPr>
              <a:t>Crude Oil Trading, LPG, LNG Regasification </a:t>
            </a:r>
            <a:endParaRPr lang="en-US" sz="1200" dirty="0" smtClean="0">
              <a:cs typeface="Arial" charset="0"/>
            </a:endParaRP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cs typeface="Arial" charset="0"/>
              </a:rPr>
              <a:t>Italy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cs typeface="Arial" charset="0"/>
              </a:rPr>
              <a:t>Oil Refinery, Augusta</a:t>
            </a:r>
            <a:endParaRPr lang="en-US" sz="1200" dirty="0">
              <a:cs typeface="Arial" charset="0"/>
            </a:endParaRPr>
          </a:p>
        </p:txBody>
      </p:sp>
      <p:sp>
        <p:nvSpPr>
          <p:cNvPr id="1161" name="Text Box 1153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186757" y="1576936"/>
            <a:ext cx="900888" cy="498598"/>
          </a:xfrm>
          <a:prstGeom prst="accent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387133"/>
              <a:gd name="adj6" fmla="val -63568"/>
            </a:avLst>
          </a:prstGeom>
          <a:solidFill>
            <a:schemeClr val="bg1">
              <a:alpha val="50000"/>
            </a:schemeClr>
          </a:solidFill>
          <a:ln w="63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fr-FR"/>
            </a:defPPr>
            <a:lvl1pPr marL="185738" indent="-185738" eaLnBrk="0" hangingPunct="0">
              <a:lnSpc>
                <a:spcPct val="120000"/>
              </a:lnSpc>
              <a:defRPr>
                <a:solidFill>
                  <a:srgbClr val="000000"/>
                </a:solidFill>
                <a:latin typeface="Arial Narrow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cs typeface="Arial" charset="0"/>
              </a:rPr>
              <a:t>France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charset="0"/>
              </a:rPr>
              <a:t>LNG Trading</a:t>
            </a:r>
          </a:p>
        </p:txBody>
      </p:sp>
      <p:sp>
        <p:nvSpPr>
          <p:cNvPr id="1162" name="Text Box 130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958092" y="3538329"/>
            <a:ext cx="1383712" cy="498598"/>
          </a:xfrm>
          <a:prstGeom prst="accentCallout2">
            <a:avLst>
              <a:gd name="adj1" fmla="val 16013"/>
              <a:gd name="adj2" fmla="val 1039"/>
              <a:gd name="adj3" fmla="val 16013"/>
              <a:gd name="adj4" fmla="val -6514"/>
              <a:gd name="adj5" fmla="val 60096"/>
              <a:gd name="adj6" fmla="val -16998"/>
            </a:avLst>
          </a:prstGeom>
          <a:noFill/>
          <a:ln w="6350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>
            <a:spAutoFit/>
          </a:bodyPr>
          <a:lstStyle>
            <a:defPPr>
              <a:defRPr lang="fr-FR"/>
            </a:defPPr>
            <a:lvl1pPr marL="185738" indent="-185738" eaLnBrk="0" hangingPunct="0">
              <a:lnSpc>
                <a:spcPct val="120000"/>
              </a:lnSpc>
              <a:defRPr>
                <a:solidFill>
                  <a:srgbClr val="000000"/>
                </a:solidFill>
                <a:latin typeface="Arial Narrow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cs typeface="Arial" charset="0"/>
              </a:rPr>
              <a:t>Tunisia</a:t>
            </a:r>
          </a:p>
          <a:p>
            <a:pPr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cs typeface="Arial" charset="0"/>
              </a:rPr>
              <a:t>03 Exploration blocks</a:t>
            </a:r>
          </a:p>
        </p:txBody>
      </p:sp>
      <p:sp>
        <p:nvSpPr>
          <p:cNvPr id="1163" name="Text Box 115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00457" y="3182546"/>
            <a:ext cx="1329889" cy="830997"/>
          </a:xfrm>
          <a:prstGeom prst="accentCallout2">
            <a:avLst>
              <a:gd name="adj1" fmla="val 33298"/>
              <a:gd name="adj2" fmla="val 105724"/>
              <a:gd name="adj3" fmla="val 14782"/>
              <a:gd name="adj4" fmla="val 118956"/>
              <a:gd name="adj5" fmla="val 68294"/>
              <a:gd name="adj6" fmla="val 285870"/>
            </a:avLst>
          </a:prstGeom>
          <a:noFill/>
          <a:ln w="9525" algn="ctr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defPPr>
              <a:defRPr lang="fr-FR"/>
            </a:defPPr>
            <a:lvl1pPr marL="185738" indent="-185738" eaLnBrk="0" hangingPunct="0">
              <a:lnSpc>
                <a:spcPct val="120000"/>
              </a:lnSpc>
              <a:defRPr>
                <a:solidFill>
                  <a:srgbClr val="000000"/>
                </a:solidFill>
                <a:latin typeface="Arial Narrow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9144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200" b="1" dirty="0">
                <a:cs typeface="Arial" charset="0"/>
              </a:rPr>
              <a:t>Portugal</a:t>
            </a:r>
          </a:p>
          <a:p>
            <a:pPr marL="9144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200" dirty="0">
                <a:cs typeface="Arial" charset="0"/>
              </a:rPr>
              <a:t>2% of EDP</a:t>
            </a:r>
          </a:p>
          <a:p>
            <a:pPr marL="9144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200" dirty="0">
                <a:cs typeface="Arial" charset="0"/>
              </a:rPr>
              <a:t>25% in EDP Power Plant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F5B5D8-74B3-4FD1-88D7-1C79C37A0425}" type="slidenum">
              <a:rPr lang="fr-FR" smtClean="0"/>
              <a:pPr>
                <a:defRPr/>
              </a:pPr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77037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1"/>
          <p:cNvSpPr txBox="1">
            <a:spLocks/>
          </p:cNvSpPr>
          <p:nvPr/>
        </p:nvSpPr>
        <p:spPr bwMode="auto">
          <a:xfrm>
            <a:off x="188124" y="266711"/>
            <a:ext cx="6384128" cy="32067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lIns="63862" tIns="31931" rIns="63862" bIns="31931" rtlCol="0" anchor="ctr">
            <a:noAutofit/>
          </a:bodyPr>
          <a:lstStyle>
            <a:defPPr>
              <a:defRPr lang="fr-FR"/>
            </a:defPPr>
            <a:lvl1pPr defTabSz="639366" eaLnBrk="0" fontAlgn="base" hangingPunct="0">
              <a:spcBef>
                <a:spcPct val="0"/>
              </a:spcBef>
              <a:spcAft>
                <a:spcPct val="0"/>
              </a:spcAft>
              <a:defRPr sz="165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  <a:lvl2pPr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2pPr>
            <a:lvl3pPr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3pPr>
            <a:lvl4pPr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4pPr>
            <a:lvl5pPr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5pPr>
            <a:lvl6pPr marL="457200"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6pPr>
            <a:lvl7pPr marL="914400"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7pPr>
            <a:lvl8pPr marL="1371600"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8pPr>
            <a:lvl9pPr marL="1828800" defTabSz="685800" fontAlgn="base">
              <a:spcBef>
                <a:spcPct val="0"/>
              </a:spcBef>
              <a:spcAft>
                <a:spcPct val="0"/>
              </a:spcAft>
              <a:defRPr sz="1600" b="1"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US" sz="2000" dirty="0" smtClean="0"/>
              <a:t>SONATRACH, An </a:t>
            </a:r>
            <a:r>
              <a:rPr lang="en-US" sz="2000" dirty="0"/>
              <a:t>intensive </a:t>
            </a:r>
            <a:r>
              <a:rPr lang="en-US" sz="2000" dirty="0" smtClean="0"/>
              <a:t>Exploration efforts</a:t>
            </a:r>
            <a:endParaRPr lang="en-US" sz="2000" dirty="0"/>
          </a:p>
        </p:txBody>
      </p:sp>
      <p:sp>
        <p:nvSpPr>
          <p:cNvPr id="17" name="ZoneTexte 61"/>
          <p:cNvSpPr txBox="1"/>
          <p:nvPr/>
        </p:nvSpPr>
        <p:spPr>
          <a:xfrm>
            <a:off x="192881" y="808041"/>
            <a:ext cx="3611166" cy="338137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Exploration </a:t>
            </a:r>
            <a:r>
              <a:rPr kumimoji="0" lang="fr-F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Efforts</a:t>
            </a: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 Narrow" pitchFamily="34" charset="0"/>
              <a:ea typeface="+mn-ea"/>
              <a:cs typeface="Arial" charset="0"/>
            </a:endParaRPr>
          </a:p>
        </p:txBody>
      </p:sp>
      <p:cxnSp>
        <p:nvCxnSpPr>
          <p:cNvPr id="18" name="Connecteur droit 17"/>
          <p:cNvCxnSpPr/>
          <p:nvPr/>
        </p:nvCxnSpPr>
        <p:spPr>
          <a:xfrm>
            <a:off x="252412" y="1117600"/>
            <a:ext cx="4006454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ZoneTexte 19"/>
          <p:cNvSpPr txBox="1"/>
          <p:nvPr/>
        </p:nvSpPr>
        <p:spPr>
          <a:xfrm>
            <a:off x="4712494" y="808038"/>
            <a:ext cx="2863454" cy="584200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Exploration </a:t>
            </a:r>
            <a:r>
              <a:rPr kumimoji="0" lang="fr-FR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Results</a:t>
            </a: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 Narrow" pitchFamily="34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600" b="1" i="0" u="none" strike="noStrike" kern="1200" cap="none" spc="0" normalizeH="0" baseline="0" noProof="0" dirty="0" smtClean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 Narrow" pitchFamily="34" charset="0"/>
              <a:ea typeface="+mn-ea"/>
              <a:cs typeface="Arial" charset="0"/>
            </a:endParaRPr>
          </a:p>
        </p:txBody>
      </p:sp>
      <p:cxnSp>
        <p:nvCxnSpPr>
          <p:cNvPr id="20" name="Connecteur droit 19"/>
          <p:cNvCxnSpPr/>
          <p:nvPr/>
        </p:nvCxnSpPr>
        <p:spPr>
          <a:xfrm flipV="1">
            <a:off x="4772025" y="1117600"/>
            <a:ext cx="4056460" cy="0"/>
          </a:xfrm>
          <a:prstGeom prst="line">
            <a:avLst/>
          </a:prstGeom>
          <a:ln w="28575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ZoneTexte 58"/>
          <p:cNvSpPr txBox="1"/>
          <p:nvPr/>
        </p:nvSpPr>
        <p:spPr>
          <a:xfrm>
            <a:off x="1250570" y="1460502"/>
            <a:ext cx="2347146" cy="55403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Number</a:t>
            </a:r>
            <a:r>
              <a:rPr kumimoji="0" lang="fr-F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of </a:t>
            </a:r>
            <a:r>
              <a:rPr kumimoji="0" lang="fr-FR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wells</a:t>
            </a:r>
            <a:r>
              <a:rPr kumimoji="0" lang="fr-FR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</a:t>
            </a:r>
            <a:r>
              <a:rPr kumimoji="0" lang="fr-FR" sz="14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drilled</a:t>
            </a:r>
            <a:endParaRPr kumimoji="0" lang="fr-FR" sz="1400" b="0" i="0" u="none" strike="noStrike" kern="1200" cap="none" spc="0" normalizeH="0" baseline="0" noProof="0" dirty="0" smtClean="0">
              <a:ln>
                <a:noFill/>
              </a:ln>
              <a:solidFill>
                <a:srgbClr val="9BBB59">
                  <a:lumMod val="50000"/>
                </a:srgbClr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2 759 </a:t>
            </a:r>
            <a:r>
              <a:rPr kumimoji="0" lang="fr-FR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9BBB59">
                    <a:lumMod val="50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wells</a:t>
            </a:r>
            <a:endParaRPr kumimoji="0" lang="fr-FR" sz="1600" b="0" i="0" u="none" strike="noStrike" kern="1200" cap="none" spc="0" normalizeH="0" baseline="0" noProof="0" dirty="0" smtClean="0">
              <a:ln>
                <a:noFill/>
              </a:ln>
              <a:solidFill>
                <a:srgbClr val="9BBB59">
                  <a:lumMod val="50000"/>
                </a:srgbClr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28" name="ZoneTexte 55"/>
          <p:cNvSpPr txBox="1"/>
          <p:nvPr/>
        </p:nvSpPr>
        <p:spPr>
          <a:xfrm>
            <a:off x="3016413" y="3912968"/>
            <a:ext cx="2007394" cy="1354217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1200" b="1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Number</a:t>
            </a:r>
            <a:r>
              <a:rPr kumimoji="0" lang="fr-FR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 of </a:t>
            </a:r>
            <a:r>
              <a:rPr kumimoji="0" lang="fr-FR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discoveries</a:t>
            </a:r>
            <a:endParaRPr kumimoji="0" lang="fr-FR" sz="1600" b="0" i="0" u="none" strike="noStrike" kern="1200" cap="none" spc="0" normalizeH="0" baseline="0" noProof="0" dirty="0" smtClean="0">
              <a:ln>
                <a:noFill/>
              </a:ln>
              <a:solidFill>
                <a:srgbClr val="F79646">
                  <a:lumMod val="75000"/>
                </a:srgbClr>
              </a:solidFill>
              <a:effectLst/>
              <a:uLnTx/>
              <a:uFillTx/>
              <a:latin typeface="Arial Narrow" pitchFamily="34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456 </a:t>
            </a:r>
            <a:r>
              <a:rPr kumimoji="0" lang="fr-FR" sz="16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79646">
                    <a:lumMod val="75000"/>
                  </a:srgbClr>
                </a:solidFill>
                <a:effectLst/>
                <a:uLnTx/>
                <a:uFillTx/>
                <a:latin typeface="Arial Narrow" pitchFamily="34" charset="0"/>
                <a:ea typeface="+mn-ea"/>
                <a:cs typeface="Arial" charset="0"/>
              </a:rPr>
              <a:t>discoveries</a:t>
            </a:r>
            <a:endParaRPr kumimoji="0" lang="fr-FR" sz="1600" b="1" i="0" u="none" strike="noStrike" kern="1200" cap="none" spc="0" normalizeH="0" baseline="0" noProof="0" dirty="0" smtClean="0">
              <a:ln>
                <a:noFill/>
              </a:ln>
              <a:solidFill>
                <a:srgbClr val="F79646">
                  <a:lumMod val="75000"/>
                </a:srgbClr>
              </a:solidFill>
              <a:effectLst/>
              <a:uLnTx/>
              <a:uFillTx/>
              <a:latin typeface="Arial Narrow" pitchFamily="34" charset="0"/>
              <a:ea typeface="+mn-ea"/>
              <a:cs typeface="Arial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fr-FR" sz="1600" dirty="0">
              <a:solidFill>
                <a:srgbClr val="F79646">
                  <a:lumMod val="75000"/>
                </a:srgbClr>
              </a:solidFill>
              <a:latin typeface="Arial Narrow" pitchFamily="34" charset="0"/>
            </a:endParaRPr>
          </a:p>
          <a:p>
            <a:pPr lvl="0" fontAlgn="auto">
              <a:spcAft>
                <a:spcPts val="0"/>
              </a:spcAft>
              <a:defRPr/>
            </a:pPr>
            <a:r>
              <a:rPr lang="fr-FR" altLang="fr-FR" sz="1600" b="0" dirty="0">
                <a:solidFill>
                  <a:srgbClr val="4BACC6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Volume of </a:t>
            </a:r>
            <a:r>
              <a:rPr lang="fr-FR" altLang="fr-FR" sz="1600" b="0" dirty="0" err="1">
                <a:solidFill>
                  <a:srgbClr val="4BACC6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discoveries</a:t>
            </a:r>
            <a:endParaRPr lang="fr-FR" altLang="fr-FR" sz="1600" b="0" dirty="0">
              <a:solidFill>
                <a:srgbClr val="4BACC6">
                  <a:lumMod val="75000"/>
                </a:srgb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lvl="0" fontAlgn="auto">
              <a:spcAft>
                <a:spcPts val="0"/>
              </a:spcAft>
              <a:defRPr/>
            </a:pPr>
            <a:r>
              <a:rPr lang="fr-FR" altLang="fr-FR" sz="1800" dirty="0">
                <a:solidFill>
                  <a:srgbClr val="4BACC6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 085 Millions </a:t>
            </a:r>
            <a:r>
              <a:rPr lang="fr-FR" altLang="fr-FR" sz="1800" dirty="0" smtClean="0">
                <a:solidFill>
                  <a:srgbClr val="4BACC6">
                    <a:lumMod val="75000"/>
                  </a:srgb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TOE</a:t>
            </a:r>
            <a:endParaRPr lang="fr-FR" altLang="fr-FR" sz="1800" dirty="0">
              <a:solidFill>
                <a:srgbClr val="4BACC6">
                  <a:lumMod val="75000"/>
                </a:srgb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0" name="ZoneTexte 59"/>
          <p:cNvSpPr txBox="1">
            <a:spLocks noChangeArrowheads="1"/>
          </p:cNvSpPr>
          <p:nvPr/>
        </p:nvSpPr>
        <p:spPr bwMode="auto">
          <a:xfrm>
            <a:off x="5831683" y="1268760"/>
            <a:ext cx="1481138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E46C0A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indent="-214313">
              <a:spcBef>
                <a:spcPct val="20000"/>
              </a:spcBef>
              <a:buClr>
                <a:srgbClr val="E46C0A"/>
              </a:buClr>
              <a:buFont typeface="Arial" panose="020B0604020202020204" pitchFamily="34" charset="0"/>
              <a:buChar char="–"/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indent="-214313">
              <a:spcBef>
                <a:spcPct val="20000"/>
              </a:spcBef>
              <a:buClr>
                <a:srgbClr val="E46C0A"/>
              </a:buClr>
              <a:buSzPct val="70000"/>
              <a:buFont typeface="Wingdings" panose="05000000000000000000" pitchFamily="2" charset="2"/>
              <a:buChar char="q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indent="-171450">
              <a:spcBef>
                <a:spcPct val="20000"/>
              </a:spcBef>
              <a:buClr>
                <a:srgbClr val="E46C0A"/>
              </a:buClr>
              <a:buFont typeface="Courier New" panose="02070309020205020404" pitchFamily="49" charset="0"/>
              <a:buChar char="o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indent="-171450">
              <a:spcBef>
                <a:spcPct val="20000"/>
              </a:spcBef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indent="-17145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indent="-17145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indent="-17145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indent="-17145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9BBB59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D </a:t>
            </a:r>
            <a:r>
              <a:rPr kumimoji="0" lang="fr-FR" alt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9BBB59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Seismic</a:t>
            </a:r>
            <a:endParaRPr kumimoji="0" lang="fr-FR" altLang="fr-FR" sz="1600" b="0" i="0" u="none" strike="noStrike" kern="1200" cap="none" spc="0" normalizeH="0" baseline="0" noProof="0" dirty="0">
              <a:ln>
                <a:noFill/>
              </a:ln>
              <a:solidFill>
                <a:srgbClr val="9BBB59">
                  <a:lumMod val="75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FR" altLang="fr-F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BBB59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98 649 km²</a:t>
            </a:r>
            <a:endParaRPr kumimoji="0" lang="fr-FR" altLang="fr-FR" sz="1800" b="1" i="0" u="none" strike="noStrike" kern="1200" cap="none" spc="0" normalizeH="0" baseline="0" noProof="0" dirty="0">
              <a:ln>
                <a:noFill/>
              </a:ln>
              <a:solidFill>
                <a:srgbClr val="9BBB59">
                  <a:lumMod val="75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ZoneTexte 60"/>
          <p:cNvSpPr txBox="1">
            <a:spLocks noChangeArrowheads="1"/>
          </p:cNvSpPr>
          <p:nvPr/>
        </p:nvSpPr>
        <p:spPr bwMode="auto">
          <a:xfrm>
            <a:off x="7252812" y="1268760"/>
            <a:ext cx="15240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E46C0A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indent="-214313">
              <a:spcBef>
                <a:spcPct val="20000"/>
              </a:spcBef>
              <a:buClr>
                <a:srgbClr val="E46C0A"/>
              </a:buClr>
              <a:buFont typeface="Arial" panose="020B0604020202020204" pitchFamily="34" charset="0"/>
              <a:buChar char="–"/>
              <a:defRPr sz="13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indent="-214313">
              <a:spcBef>
                <a:spcPct val="20000"/>
              </a:spcBef>
              <a:buClr>
                <a:srgbClr val="E46C0A"/>
              </a:buClr>
              <a:buSzPct val="70000"/>
              <a:buFont typeface="Wingdings" panose="05000000000000000000" pitchFamily="2" charset="2"/>
              <a:buChar char="q"/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indent="-171450">
              <a:spcBef>
                <a:spcPct val="20000"/>
              </a:spcBef>
              <a:buClr>
                <a:srgbClr val="E46C0A"/>
              </a:buClr>
              <a:buFont typeface="Courier New" panose="02070309020205020404" pitchFamily="49" charset="0"/>
              <a:buChar char="o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indent="-171450">
              <a:spcBef>
                <a:spcPct val="20000"/>
              </a:spcBef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indent="-17145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indent="-17145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indent="-17145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indent="-171450" fontAlgn="base">
              <a:spcBef>
                <a:spcPct val="20000"/>
              </a:spcBef>
              <a:spcAft>
                <a:spcPct val="0"/>
              </a:spcAft>
              <a:buClr>
                <a:srgbClr val="E46C0A"/>
              </a:buClr>
              <a:buFont typeface="Arial" panose="020B0604020202020204" pitchFamily="34" charset="0"/>
              <a:buChar char="»"/>
              <a:defRPr sz="1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D </a:t>
            </a:r>
            <a:r>
              <a:rPr kumimoji="0" lang="fr-FR" alt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Seismic</a:t>
            </a:r>
            <a:endParaRPr kumimoji="0" lang="fr-FR" altLang="fr-FR" sz="16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fr-FR" altLang="fr-FR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92 997 km²</a:t>
            </a:r>
            <a:endParaRPr kumimoji="0" lang="fr-FR" altLang="fr-FR" sz="18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F5B5D8-74B3-4FD1-88D7-1C79C37A0425}" type="slidenum">
              <a:rPr lang="fr-FR" smtClean="0"/>
              <a:pPr>
                <a:defRPr/>
              </a:pPr>
              <a:t>7</a:t>
            </a:fld>
            <a:endParaRPr lang="fr-FR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772" y="1392238"/>
            <a:ext cx="3944937" cy="2273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6899" y="1621235"/>
            <a:ext cx="4151313" cy="207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6718" y="3860978"/>
            <a:ext cx="3938587" cy="2401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881071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>
          <a:xfrm>
            <a:off x="127221" y="44450"/>
            <a:ext cx="8721725" cy="655638"/>
          </a:xfrm>
          <a:extLst/>
        </p:spPr>
        <p:txBody>
          <a:bodyPr vert="horz" lIns="85149" tIns="42574" rIns="85149" bIns="42574" rtlCol="0" anchor="ctr">
            <a:normAutofit/>
          </a:bodyPr>
          <a:lstStyle/>
          <a:p>
            <a:pPr defTabSz="852488" eaLnBrk="0" fontAlgn="base" hangingPunct="0">
              <a:spcAft>
                <a:spcPct val="0"/>
              </a:spcAft>
              <a:defRPr/>
            </a:pPr>
            <a:r>
              <a:rPr lang="fr-FR" sz="2000" dirty="0">
                <a:ea typeface="+mn-ea"/>
                <a:cs typeface="+mn-cs"/>
              </a:rPr>
              <a:t>SONATRACH, a </a:t>
            </a:r>
            <a:r>
              <a:rPr lang="fr-FR" sz="2000" dirty="0" err="1">
                <a:ea typeface="+mn-ea"/>
                <a:cs typeface="+mn-cs"/>
              </a:rPr>
              <a:t>Historical</a:t>
            </a:r>
            <a:r>
              <a:rPr lang="fr-FR" sz="2000" dirty="0">
                <a:ea typeface="+mn-ea"/>
                <a:cs typeface="+mn-cs"/>
              </a:rPr>
              <a:t> </a:t>
            </a:r>
            <a:r>
              <a:rPr lang="fr-FR" sz="2000" dirty="0" err="1" smtClean="0">
                <a:ea typeface="+mn-ea"/>
                <a:cs typeface="+mn-cs"/>
              </a:rPr>
              <a:t>Hydrocarbons</a:t>
            </a:r>
            <a:r>
              <a:rPr lang="fr-FR" sz="2000" dirty="0" smtClean="0">
                <a:ea typeface="+mn-ea"/>
                <a:cs typeface="+mn-cs"/>
              </a:rPr>
              <a:t> Producer </a:t>
            </a:r>
            <a:endParaRPr lang="fr-FR" sz="2000" dirty="0">
              <a:ea typeface="+mn-ea"/>
              <a:cs typeface="+mn-cs"/>
            </a:endParaRPr>
          </a:p>
        </p:txBody>
      </p:sp>
      <p:graphicFrame>
        <p:nvGraphicFramePr>
          <p:cNvPr id="14339" name="Rectangle 8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7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ZoneTexte 15"/>
          <p:cNvSpPr txBox="1"/>
          <p:nvPr/>
        </p:nvSpPr>
        <p:spPr>
          <a:xfrm>
            <a:off x="216614" y="908720"/>
            <a:ext cx="87478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 Narrow" pitchFamily="34" charset="0"/>
                <a:cs typeface="Arial" charset="0"/>
              </a:rPr>
              <a:t>Cumulative Production </a:t>
            </a:r>
            <a:r>
              <a:rPr lang="fr-FR" b="1" dirty="0" err="1">
                <a:solidFill>
                  <a:prstClr val="black">
                    <a:lumMod val="50000"/>
                    <a:lumOff val="50000"/>
                  </a:prstClr>
                </a:solidFill>
                <a:latin typeface="Arial Narrow" pitchFamily="34" charset="0"/>
                <a:cs typeface="Arial" charset="0"/>
              </a:rPr>
              <a:t>from</a:t>
            </a:r>
            <a:r>
              <a:rPr lang="fr-FR" b="1" dirty="0">
                <a:solidFill>
                  <a:prstClr val="black">
                    <a:lumMod val="50000"/>
                    <a:lumOff val="50000"/>
                  </a:prstClr>
                </a:solidFill>
                <a:latin typeface="Arial Narrow" pitchFamily="34" charset="0"/>
                <a:cs typeface="Arial" charset="0"/>
              </a:rPr>
              <a:t> 1964 to 2017 of  7 555 Million TOE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F5B5D8-74B3-4FD1-88D7-1C79C37A0425}" type="slidenum">
              <a:rPr lang="fr-FR" smtClean="0"/>
              <a:pPr>
                <a:defRPr/>
              </a:pPr>
              <a:t>8</a:t>
            </a:fld>
            <a:endParaRPr lang="fr-FR" dirty="0"/>
          </a:p>
        </p:txBody>
      </p:sp>
      <p:pic>
        <p:nvPicPr>
          <p:cNvPr id="2311" name="Picture 26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834" y="1093386"/>
            <a:ext cx="8351837" cy="53165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95304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à coins arrondis 55"/>
          <p:cNvSpPr/>
          <p:nvPr/>
        </p:nvSpPr>
        <p:spPr>
          <a:xfrm>
            <a:off x="5356647" y="3043708"/>
            <a:ext cx="2986727" cy="1035331"/>
          </a:xfrm>
          <a:prstGeom prst="roundRect">
            <a:avLst/>
          </a:prstGeom>
          <a:solidFill>
            <a:schemeClr val="bg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 err="1" smtClean="0">
              <a:solidFill>
                <a:schemeClr val="tx2"/>
              </a:solidFill>
            </a:endParaRPr>
          </a:p>
        </p:txBody>
      </p:sp>
      <p:sp>
        <p:nvSpPr>
          <p:cNvPr id="3" name="Rectangle à coins arrondis 2"/>
          <p:cNvSpPr/>
          <p:nvPr/>
        </p:nvSpPr>
        <p:spPr>
          <a:xfrm>
            <a:off x="774975" y="3023809"/>
            <a:ext cx="4230797" cy="1035331"/>
          </a:xfrm>
          <a:prstGeom prst="roundRect">
            <a:avLst/>
          </a:prstGeom>
          <a:solidFill>
            <a:schemeClr val="bg2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200" dirty="0" err="1" smtClean="0">
              <a:solidFill>
                <a:schemeClr val="tx2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defTabSz="639366" eaLnBrk="0" hangingPunct="0">
              <a:defRPr/>
            </a:pPr>
            <a:r>
              <a:rPr lang="en-US" sz="2000" dirty="0"/>
              <a:t>SONATRACH, </a:t>
            </a:r>
            <a:r>
              <a:rPr lang="en-US" altLang="fr-FR" sz="2000" dirty="0">
                <a:solidFill>
                  <a:srgbClr val="000000"/>
                </a:solidFill>
              </a:rPr>
              <a:t>Rich Successful Partnership </a:t>
            </a:r>
            <a:r>
              <a:rPr lang="en-US" altLang="fr-FR" sz="2000" dirty="0" smtClean="0">
                <a:solidFill>
                  <a:srgbClr val="000000"/>
                </a:solidFill>
              </a:rPr>
              <a:t>in E&amp;P</a:t>
            </a:r>
            <a:endParaRPr lang="en-US" sz="1800" b="0" dirty="0">
              <a:solidFill>
                <a:srgbClr val="000000"/>
              </a:solidFill>
              <a:effectLst/>
              <a:ea typeface="+mn-ea"/>
              <a:cs typeface="Arial" charset="0"/>
            </a:endParaRPr>
          </a:p>
        </p:txBody>
      </p:sp>
      <p:pic>
        <p:nvPicPr>
          <p:cNvPr id="32" name="Picture 2" descr="http://www.whoswho.fr/usr/l/H/L/tota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31986" y="1039546"/>
            <a:ext cx="535785" cy="872189"/>
          </a:xfrm>
          <a:prstGeom prst="rect">
            <a:avLst/>
          </a:prstGeom>
          <a:noFill/>
        </p:spPr>
      </p:pic>
      <p:pic>
        <p:nvPicPr>
          <p:cNvPr id="33" name="Picture 4" descr="http://www.gizmodo.fr/wp-content/uploads/2011/07/BP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47866" y="917480"/>
            <a:ext cx="530666" cy="928667"/>
          </a:xfrm>
          <a:prstGeom prst="rect">
            <a:avLst/>
          </a:prstGeom>
          <a:noFill/>
        </p:spPr>
      </p:pic>
      <p:pic>
        <p:nvPicPr>
          <p:cNvPr id="34" name="Picture 6" descr="http://upload.wikimedia.org/wikipedia/fr/thumb/9/9e/Statoil_logo.gif/220px-Statoil_logo.gif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381991" y="1018746"/>
            <a:ext cx="600474" cy="789715"/>
          </a:xfrm>
          <a:prstGeom prst="rect">
            <a:avLst/>
          </a:prstGeom>
          <a:noFill/>
        </p:spPr>
      </p:pic>
      <p:pic>
        <p:nvPicPr>
          <p:cNvPr id="35" name="Picture 12" descr="http://www.adipec.com/g/2012/logos/logo_partex_high_resolution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27986" y="2170874"/>
            <a:ext cx="778634" cy="385907"/>
          </a:xfrm>
          <a:prstGeom prst="rect">
            <a:avLst/>
          </a:prstGeom>
          <a:noFill/>
        </p:spPr>
      </p:pic>
      <p:pic>
        <p:nvPicPr>
          <p:cNvPr id="36" name="Picture 14" descr="http://www.political-motion.com/images/Actus_Art_172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838381" y="1166467"/>
            <a:ext cx="535921" cy="716375"/>
          </a:xfrm>
          <a:prstGeom prst="rect">
            <a:avLst/>
          </a:prstGeom>
          <a:noFill/>
        </p:spPr>
      </p:pic>
      <p:pic>
        <p:nvPicPr>
          <p:cNvPr id="37" name="Picture 18" descr="http://upload.wikimedia.org/wikipedia/fr/thumb/2/23/Enel_logo.svg/709px-Enel_logo.svg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310270" y="4316286"/>
            <a:ext cx="832217" cy="514903"/>
          </a:xfrm>
          <a:prstGeom prst="rect">
            <a:avLst/>
          </a:prstGeom>
          <a:noFill/>
        </p:spPr>
      </p:pic>
      <p:pic>
        <p:nvPicPr>
          <p:cNvPr id="38" name="Picture 20" descr="http://www.energy-dz.com/wordpress/wp-content/uploads/2012/01/logo_pttep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653137" y="4285462"/>
            <a:ext cx="551015" cy="1002630"/>
          </a:xfrm>
          <a:prstGeom prst="rect">
            <a:avLst/>
          </a:prstGeom>
          <a:noFill/>
        </p:spPr>
      </p:pic>
      <p:pic>
        <p:nvPicPr>
          <p:cNvPr id="39" name="Picture 22" descr="http://www.marketwatch.com/Story/story/RenderImage?guid=81a849ccca3a4fc4a2e2e889b1693bc9&amp;imageID=201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077178" y="3066590"/>
            <a:ext cx="696116" cy="921193"/>
          </a:xfrm>
          <a:prstGeom prst="rect">
            <a:avLst/>
          </a:prstGeom>
          <a:noFill/>
        </p:spPr>
      </p:pic>
      <p:pic>
        <p:nvPicPr>
          <p:cNvPr id="40" name="Picture 32" descr="http://www.2b1stconsulting.com/wp-content/uploads/2012/10/Eni_Key_Facts_and_Figures_in_brief1.gif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3516120" y="1093252"/>
            <a:ext cx="589966" cy="789578"/>
          </a:xfrm>
          <a:prstGeom prst="rect">
            <a:avLst/>
          </a:prstGeom>
          <a:noFill/>
        </p:spPr>
      </p:pic>
      <p:pic>
        <p:nvPicPr>
          <p:cNvPr id="41" name="Picture 34" descr="http://www.iraqenergy.org/images/energy-news/CNPC%20Logo_a3d74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689908" y="3115716"/>
            <a:ext cx="593164" cy="851519"/>
          </a:xfrm>
          <a:prstGeom prst="rect">
            <a:avLst/>
          </a:prstGeom>
          <a:noFill/>
        </p:spPr>
      </p:pic>
      <p:pic>
        <p:nvPicPr>
          <p:cNvPr id="42" name="Picture 40" descr="http://www.energy-dz.com/wordpress/wp-content/uploads/2012/03/logo-anadarko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299279" y="941401"/>
            <a:ext cx="1375157" cy="1085457"/>
          </a:xfrm>
          <a:prstGeom prst="rect">
            <a:avLst/>
          </a:prstGeom>
          <a:noFill/>
        </p:spPr>
      </p:pic>
      <p:pic>
        <p:nvPicPr>
          <p:cNvPr id="43" name="Picture 42" descr="http://www.shippingcontainers24.com/wp-content/uploads/2011/12/Maersk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415580" y="5500893"/>
            <a:ext cx="746812" cy="684577"/>
          </a:xfrm>
          <a:prstGeom prst="rect">
            <a:avLst/>
          </a:prstGeom>
          <a:noFill/>
        </p:spPr>
      </p:pic>
      <p:pic>
        <p:nvPicPr>
          <p:cNvPr id="44" name="Picture 46" descr="http://www.ventures-africa.com/wp-content/uploads/2012/05/conocophillips.jpeg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319242" y="4474005"/>
            <a:ext cx="714368" cy="714368"/>
          </a:xfrm>
          <a:prstGeom prst="rect">
            <a:avLst/>
          </a:prstGeom>
          <a:noFill/>
        </p:spPr>
      </p:pic>
      <p:pic>
        <p:nvPicPr>
          <p:cNvPr id="45" name="Picture 48" descr="http://www.jagsreport.com/logos/talisman-energy-inc-logo.jp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546255" y="2245460"/>
            <a:ext cx="1232277" cy="352079"/>
          </a:xfrm>
          <a:prstGeom prst="rect">
            <a:avLst/>
          </a:prstGeom>
          <a:noFill/>
        </p:spPr>
      </p:pic>
      <p:pic>
        <p:nvPicPr>
          <p:cNvPr id="46" name="Picture 52" descr="http://www.2b1stconsulting.com/wp-content/uploads/2012/09/Petronas_Key_Facts_and_Figures_in_brief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687713" y="5693285"/>
            <a:ext cx="863483" cy="492185"/>
          </a:xfrm>
          <a:prstGeom prst="rect">
            <a:avLst/>
          </a:prstGeom>
          <a:noFill/>
        </p:spPr>
      </p:pic>
      <p:pic>
        <p:nvPicPr>
          <p:cNvPr id="47" name="Picture 54" descr="http://metalminingwire.com/wp-content/uploads/2012/10/Rosneft-logo1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557884" y="1671224"/>
            <a:ext cx="785490" cy="671501"/>
          </a:xfrm>
          <a:prstGeom prst="rect">
            <a:avLst/>
          </a:prstGeom>
          <a:noFill/>
        </p:spPr>
      </p:pic>
      <p:pic>
        <p:nvPicPr>
          <p:cNvPr id="48" name="Picture 56" descr="http://petersburgcity.com/images/docs/4372.jpg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6801323" y="5459243"/>
            <a:ext cx="1035839" cy="491678"/>
          </a:xfrm>
          <a:prstGeom prst="rect">
            <a:avLst/>
          </a:prstGeom>
          <a:noFill/>
        </p:spPr>
      </p:pic>
      <p:pic>
        <p:nvPicPr>
          <p:cNvPr id="49" name="Picture 58" descr="http://www.saigon-gpdaily.com.vn/dataimages/original/2011/06/images203180_Petrovietnam.jpg"/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5115880" y="2085631"/>
            <a:ext cx="558556" cy="832113"/>
          </a:xfrm>
          <a:prstGeom prst="rect">
            <a:avLst/>
          </a:prstGeom>
          <a:noFill/>
        </p:spPr>
      </p:pic>
      <p:pic>
        <p:nvPicPr>
          <p:cNvPr id="50" name="Picture 60" descr="http://upload.wikimedia.org/wikipedia/fr/thumb/3/36/Sinopec_-_Logo.svg/220px-Sinopec_-_Logo.svg.png"/>
          <p:cNvPicPr>
            <a:picLocks noChangeAspect="1" noChangeArrowheads="1"/>
          </p:cNvPicPr>
          <p:nvPr/>
        </p:nvPicPr>
        <p:blipFill>
          <a:blip r:embed="rId21"/>
          <a:srcRect/>
          <a:stretch>
            <a:fillRect/>
          </a:stretch>
        </p:blipFill>
        <p:spPr bwMode="auto">
          <a:xfrm>
            <a:off x="967676" y="3130759"/>
            <a:ext cx="625704" cy="857024"/>
          </a:xfrm>
          <a:prstGeom prst="rect">
            <a:avLst/>
          </a:prstGeom>
          <a:noFill/>
        </p:spPr>
      </p:pic>
      <p:pic>
        <p:nvPicPr>
          <p:cNvPr id="51" name="Picture 66" descr="http://www.corriereinformazione.it/images/stories/logo-edison_hi.jpg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404156" y="4498943"/>
            <a:ext cx="965715" cy="575668"/>
          </a:xfrm>
          <a:prstGeom prst="rect">
            <a:avLst/>
          </a:prstGeom>
          <a:noFill/>
        </p:spPr>
      </p:pic>
      <p:pic>
        <p:nvPicPr>
          <p:cNvPr id="52" name="Picture 16" descr="http://legraoullydechaine.fr/wp-content/uploads/2012/08/gdf-suez.jpg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6277263" y="2170874"/>
            <a:ext cx="857256" cy="826299"/>
          </a:xfrm>
          <a:prstGeom prst="rect">
            <a:avLst/>
          </a:prstGeom>
          <a:noFill/>
        </p:spPr>
      </p:pic>
      <p:pic>
        <p:nvPicPr>
          <p:cNvPr id="53" name="Picture 10" descr="http://isovision.com/images/img_client/cepsa.jpg"/>
          <p:cNvPicPr>
            <a:picLocks noChangeAspect="1" noChangeArrowheads="1"/>
          </p:cNvPicPr>
          <p:nvPr/>
        </p:nvPicPr>
        <p:blipFill>
          <a:blip r:embed="rId24"/>
          <a:srcRect/>
          <a:stretch>
            <a:fillRect/>
          </a:stretch>
        </p:blipFill>
        <p:spPr bwMode="auto">
          <a:xfrm>
            <a:off x="6801327" y="3223485"/>
            <a:ext cx="1232283" cy="730241"/>
          </a:xfrm>
          <a:prstGeom prst="rect">
            <a:avLst/>
          </a:prstGeom>
          <a:noFill/>
        </p:spPr>
      </p:pic>
      <p:pic>
        <p:nvPicPr>
          <p:cNvPr id="54" name="Picture 28" descr="http://www.solomilan.com/wp-content/uploads/2012/08/gazprom.pn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495598" y="1917612"/>
            <a:ext cx="992954" cy="650523"/>
          </a:xfrm>
          <a:prstGeom prst="rect">
            <a:avLst/>
          </a:prstGeom>
          <a:noFill/>
        </p:spPr>
      </p:pic>
      <p:pic>
        <p:nvPicPr>
          <p:cNvPr id="55" name="Picture 36" descr="http://www.yourindustrynews.com/upload_images/petrocelticLogo_9.gif"/>
          <p:cNvPicPr>
            <a:picLocks noChangeAspect="1" noChangeArrowheads="1"/>
          </p:cNvPicPr>
          <p:nvPr/>
        </p:nvPicPr>
        <p:blipFill>
          <a:blip r:embed="rId26"/>
          <a:srcRect/>
          <a:stretch>
            <a:fillRect/>
          </a:stretch>
        </p:blipFill>
        <p:spPr bwMode="auto">
          <a:xfrm>
            <a:off x="3849403" y="4255408"/>
            <a:ext cx="1080120" cy="949761"/>
          </a:xfrm>
          <a:prstGeom prst="rect">
            <a:avLst/>
          </a:prstGeom>
          <a:noFill/>
          <a:ln w="25400" cap="flat" cmpd="sng" algn="ctr">
            <a:solidFill>
              <a:srgbClr val="9BBB59"/>
            </a:solidFill>
            <a:prstDash val="solid"/>
          </a:ln>
          <a:effectLst/>
        </p:spPr>
      </p:pic>
      <p:pic>
        <p:nvPicPr>
          <p:cNvPr id="57" name="Picture 62" descr="http://www.medexoil.com/img/logo-medex.gif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5579240" y="3193005"/>
            <a:ext cx="821529" cy="732531"/>
          </a:xfrm>
          <a:prstGeom prst="rect">
            <a:avLst/>
          </a:prstGeom>
          <a:noFill/>
        </p:spPr>
      </p:pic>
      <p:pic>
        <p:nvPicPr>
          <p:cNvPr id="58" name="Picture 26" descr="http://s385652415.websitehome.co.uk/shareworld_files/images/gulfkey.jpg"/>
          <p:cNvPicPr>
            <a:picLocks noChangeAspect="1" noChangeArrowheads="1"/>
          </p:cNvPicPr>
          <p:nvPr/>
        </p:nvPicPr>
        <p:blipFill>
          <a:blip r:embed="rId28"/>
          <a:srcRect/>
          <a:stretch>
            <a:fillRect/>
          </a:stretch>
        </p:blipFill>
        <p:spPr bwMode="auto">
          <a:xfrm>
            <a:off x="1806736" y="5575870"/>
            <a:ext cx="1257300" cy="609600"/>
          </a:xfrm>
          <a:prstGeom prst="rect">
            <a:avLst/>
          </a:prstGeom>
          <a:noFill/>
        </p:spPr>
      </p:pic>
      <p:pic>
        <p:nvPicPr>
          <p:cNvPr id="59" name="Picture 5" descr="DEA Group logo.png"/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5085184"/>
            <a:ext cx="564356" cy="124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7868" y="3704846"/>
            <a:ext cx="440516" cy="252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ZoneTexte 3"/>
          <p:cNvSpPr txBox="1"/>
          <p:nvPr/>
        </p:nvSpPr>
        <p:spPr>
          <a:xfrm rot="16200000">
            <a:off x="77251" y="3342520"/>
            <a:ext cx="10261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chemeClr val="bg1">
                    <a:lumMod val="75000"/>
                  </a:schemeClr>
                </a:solidFill>
              </a:rPr>
              <a:t>China</a:t>
            </a:r>
            <a:endParaRPr lang="fr-FR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0" name="ZoneTexte 59"/>
          <p:cNvSpPr txBox="1"/>
          <p:nvPr/>
        </p:nvSpPr>
        <p:spPr>
          <a:xfrm rot="16200000">
            <a:off x="8022148" y="3267715"/>
            <a:ext cx="13290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err="1" smtClean="0">
                <a:solidFill>
                  <a:schemeClr val="bg1">
                    <a:lumMod val="75000"/>
                  </a:schemeClr>
                </a:solidFill>
              </a:rPr>
              <a:t>Arab</a:t>
            </a:r>
            <a:r>
              <a:rPr lang="fr-FR" dirty="0" smtClean="0">
                <a:solidFill>
                  <a:schemeClr val="bg1">
                    <a:lumMod val="75000"/>
                  </a:schemeClr>
                </a:solidFill>
              </a:rPr>
              <a:t> Countries</a:t>
            </a:r>
            <a:endParaRPr lang="fr-FR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4330D31-4995-49B9-86BD-656E33C59AFD}" type="slidenum">
              <a:rPr lang="fr-FR" smtClean="0"/>
              <a:pPr>
                <a:defRPr/>
              </a:pPr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5532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BB5zmTME2uJ_2baw6kC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to.mh.LUqtN12YqGz0q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pm12JQ90GecWWSFXVIdA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zV7VhniE2kcRL2VXrVTQ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5GGOHhd9Ee3X2XNeo__DQ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.a7wR8_0yZ2Mip7.q2Dg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mc2l18qk.6PtBiBbXtH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uCYThOXECB.1MsLq2if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qLRG3S4EubDixXY7c1og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OH8wwxKkWFtmtJn2GMvQ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4.1upTLkuLH3oJcQ469g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pefanvDUi7y1BnQdzGz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grfsXbMkmyG8ppFEe0b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Szs02vCUq.ldi5WD8Lu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X5NNGG1kaHTxzzPhJeig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s6t8Xn40idGint2.V5uw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3fR20k0.AdxCa7N6p6Q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.KYdmkaEqp7gY9tV3.ag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wPUAOpGkmmO2q_iju.a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ZupZZjYUOAV90lbCEeH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tOraI4NUmFpE5ujt2rrw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AsXaRxEkeWRH6MtpBGvQ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zSUJoOQUeL46Xxj_zAK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kLdMY9uEK55obY342f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ic_XY.SE2f7vSLUUoRtg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mdMI0q1k6JqI2b_SwCFQ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P_C3ishkmM2jBfuC.6J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6X51pbQUWOgOx7iX9dWg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GXbKICgUSMoZ68qrK2Ig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9ryuF6M0i78eYCtxwW7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FwQ3egoU6.7.rDK7eqHA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AbI7AxE0.5LE6VZxW3vA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pj3fFuDEGbmhdEHjBw_Q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5.QSmgREyX6tufWUzhAA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JWkThRJk.LltpV3iK1P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1OMiub4UeNrpthyjHBu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t0Pwp0uEmUMppRsNrea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Nt6H6F6kS6IzuBP0rYxw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NeyDlPzU2.DqVZB_HYh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XEU6gUok2_oGWaiXc0lw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HqDz5M5UGe7dfvt7pdRw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G8HsXUK0yyM.tqazP6g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0vm89ekuf1XwLbF._1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KqqTlwakSMHdNhF46qOA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iRREQk6UWOeLf1Od36Lw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nu1AihA0OZUPJyHhScm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TPu3BpyUij7D1tHI8Bh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Ge7V0F0OUcK3buZTzK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jjqv6hxkSzK4msOL0qv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GVnVei10K2HzGNELWEGQ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lPWQFHKEWQ3govl5bxqQ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MDMD_asE28qqj5U9.bQw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shibFFDkKh2KqVbJQ.6w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0s4h4Sg06GVz0rWIk8tg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8uM4HMbEGVOfhVWclB5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fu6akwr0W.9DzkOwwx7w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FBk.mGxU.js7atv5_l4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DY357090efiWpPcujf1A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PhckKPJkKB1JEH37GPiA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6p2WKFv0O8gG6R4tVYT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X2Ue1qWE651Zf5lPd6vA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ruA8Ar802.zL3QPJulNw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6zJZUU3kOAMkI8IiyIUw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mzb8sIiUWGt_YoNHxjog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J4dmQtSEeXOQbOc4t5yw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egr.P2EUaanOGzNnoS7w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_xWw5Uo0uuIP6ww3g6k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7LrgW7cUOwCQoWEBhLF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VzyJ_qOEqvvhbxGO6dSg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TrIHLvYk2SrPG2K2j_xw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HfTlGDOkCHWOXFj0irjA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1ziTf4502ZeQ3MBSB78g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41KyKaA0K5ZcL0lu3PKw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pm12JQ90GecWWSFXVIdA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Szs02vCUq.ldi5WD8Luw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ic_XY.SE2f7vSLUUoRtg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1OMiub4UeNrpthyjHBug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TPu3BpyUij7D1tHI8Bh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DY357090efiWpPcujf1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tRhwzUqEu8.NTYhvjdF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VzyJ_qOEqvvhbxGO6dSg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tRhwzUqEu8.NTYhvjdF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flTCb0g0iaXvUKBtL6Ig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S1ehF_Hk65sGfGKFpkL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YiThxU_UqpMGNKIA_SOw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F_9oo_G0SWJOL9MGnorg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z4loxg9UKkjc6E8AJ2e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bP7JPnEeH1oiA3jdSFw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pHpn2AJEulkXXpX9Vhvw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w5Pay1MkyyxcnBuVnRk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flTCb0g0iaXvUKBtL6Ig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LCS2Y3hU.BMMz6L0qtkg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bG16YbcE6EUC.HzWpeVw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2OpEuGn0Cl4QUJOEQdew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joq_6TxUCAw_hG.WLIcA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0HG0JFj0OkokzJ_GESN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_ICEORvkeIQwfz6Ll49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a6fgzPnk68dP74JviEAA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wmy46wgkOGuS_UPNJlXA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rzS9YmakOSxS2e3I2qwg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WwDDblG0ug.fqFgaXqu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S1ehF_Hk65sGfGKFpkLA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2UDeS9JkmnokG_K6jPBw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7d0C7cJEqTTcQBXpd7v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3_sdITb0GH9l29UjIDCQ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8BkRbP.0OlJNs5rFWmgQ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RCm3QjDEO94SZTld1Zig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vRu1XCLESrZf8N0O9Sog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ldPaArhkui7KSgtn4WCA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FmM1AJQUOgCuxkz.I6d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UvyDQFAE.IJi_hHNOBW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7fR7rK0EG_ZHJkh820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uXL9gyPk2e6Rm_msRk6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YiThxU_UqpMGNKIA_SOw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ZOqssrj0qR36S8Iwgr9w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DMOb6jaU611TBA5qwZxQ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dUpMAIz0y5TmE0VUVptg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QnZMGzNkmMac48j7lCxQ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25r_P8C0GBBksE3xnkrg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ANn9sR_E2QeHg7MTNdqA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VFZDEdmUuIJCPvfekipg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aU7dmmp0CzF5hIudPb5w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pisVrQD0WVIuFIsOdpBA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gacdJL9keAEoNIQkVJs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F_9oo_G0SWJOL9MGnorg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r3J4qdtkOLCD87bgjdwQ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G.WttT9kybnT5o3yt8TQ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cSjeYhZUGPPz_Qw8LerQ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RPIXH2ekWYsvvW6M5wO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t9ch0hRU.pUJaYQikQAQ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qPcEB0XU2H5lPJtowdwA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HXOmlbwE6ACTbXeCC6yA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fiN4gdNE6X3p_6rHTN4w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W145UYnU.hY3eSQFy4vA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S3thh1yEG17eQxdzp7L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z4loxg9UKkjc6E8AJ2eQ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9XC5HydUWbtbWlJbBWX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h8QqQFaUGcAPv4ZGmCzg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Ap898fEUOTnDuRRCOZ4A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mWlOTiN0KjOjW.rBCkZ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goUfNnJ0iReNCLDfOh0w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HdP0JPCEm_EdJ6mf94IQ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ekjffREUqf96ec.4PGs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7hFw4cVk.b7KTR_ez8wg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HxT.Afh0uuxXk0fPTUR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chuqnULEGGKXFHK2xY9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lbP7JPnEeH1oiA3jdSFw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r4l0tZzkKrhRZ4wFw2Rg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FNffF05EqBk_x65Hklrw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7HYdLeSkOmtxoFowy1gw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OZhJOJs0Kl7BdMnohCFg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mJSvUshEWurtzubfSs0A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j8TyvsUuC8FnQqcSTmw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dWWZ7m40qCDjbdjFvc.w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3koFPYFE2nXyGW8gXafw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13aLIgokeX.zeqlk8z8w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Ej5it3Em3X6zkP0_.t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pHpn2AJEulkXXpX9Vhv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oUHdCNE0K4AtTiPEjVmg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.vvMJ8DkKc0hindKKTrw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RLQZLHwE6wU3mccW.SZA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dLkkzIu0GZz0RblgkAXw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j_.swPlU2tnBZQNlfGvQ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AfEgZA2UmFpKcZ5FHVuA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o5vT8LM0y2zU_z9F5IQQ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reejXJrkC7S4ptoGLXMw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fSUx.jh0.hPQ7atRc3FQ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I4ivF_WEG12GU.fJq19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w5Pay1MkyyxcnBuVnRkA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VfhOgzEeiKLkPCVO05g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bO9jk9NkSRXvUO42._2Q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kEwTDcEUeL7LWjPr8WRg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csTEOQwEKGEcJcSUgMiw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go3t2drUmibGVVTZ5pPg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.J4fP1cEOC..bn_er8Fg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MvMk_Z7EGZ4M4Jr8lmq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AQIYdKokm6fyF5KsnBbQ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_tip2oKEu6P9M4KLXrbw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SL0rvC5UWJNLHiVzdMy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LCS2Y3hU.BMMz6L0qtkg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I4eRoDvUGZIAh.wnasXw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XcLmYtgESSFdlhCCGTcg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S.avYa8Uy0.r5N6C0aUQ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ADSfEyTEOOgpua2Sp4jA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58cZMRekm5eEUN_7iI_g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Sn3p__m0C78cXl82nkNA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7qP5YpCEKlwIp9Z9M0mw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J29tO5xk2N4ZqDhre5iw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VKs7lnvku6E4MXC4_g1Q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47crHHmkWF.1jBApHiq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bG16YbcE6EUC.HzWpeVw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HuCDJDGk6Cobe_pUXXX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Cx2HWG8E6go9LgfwSiTQ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3bwQimD06lAuBxqImI_g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BdyUIKC0SOVXCk_V1X3Q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tLVZWMsUaZNDltaspodw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DaZ1oNgk.zXW0SAREodg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OkDIK_LUGvbU1AIwk8OA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D1_UbXR0uP2BGfQEwfwA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FAoQCEUk2bxM9cWFfUPg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jGVGKbdki9QHn1R2QxG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2OpEuGn0Cl4QUJOEQdew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8M6OxXF02MctB7T6zANg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24Ct2.j02Cbw6cQHCSjg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8gP7rYV0izzw4n47GITA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9FSshukSG8VIyNwccsQ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XbZjAa1U2NboteB9lGyA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IRpYIxjkGNczrA2YI5AQ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514zFJNkaAmWzU.PFGPQ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zg0G4s40SnNuEsVYEM6w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701ZpyEKAT1Myi4U.gw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QlSXFP1kCcHtPSZ..JV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joq_6TxUCAw_hG.WLIcA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u9AmE69ku3et1gcpWOEA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Ihb6mhe0aPjLPGZibPaw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VkOgIDAkarS.JZI614yw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q7vyHcYkuzUNd244p7vg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fTmVODA0qE24ML7sgOrw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_0nTch9Emn.GbEtdsA_A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XIibfrRE66t7aXTe6oLw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y.CnpqaEuMRc1RNiyFbQ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vYJ1vk8Uy.umrQzFFVXA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Uz0PJ4N0ajudzx7U0S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0IQRk2E0OsjSVm.XHPn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0HG0JFj0OkokzJ_GESNw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4nsrKULkarw9hEhyEjgg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ZstPHWVUuXMecNpiRMzA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lYnQSwyka8gqbS.2wuvg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4yeMZiTUqBHYiogRY4.g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vg3UJd40SaE6AKVaTM1w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RW1P.2cUKA78hay2XJGQ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apdD8BcE2aCJm_0gUmy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LY53Ijrk2RwXCxiEtUgQ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yJ1yIrxUOHaGlzcFZvAQ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cZdoWSm0m2aPPMUKpYJ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_ICEORvkeIQwfz6Ll49w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SQzwRekEO7pBOCq7bDpQ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njynHeq0KHLqEvE68.HA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Z8VUWM6U21RHl6qH192A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KH2JCKe0SO1iaZPz8IHQ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AuiqU02rKwJ.ZSq8AA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diPC9MXka1anpl.dV0mg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zT2b820yBl8kmjkbpag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16.zd.jU6L2nJqAZ1HGg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oOv48K6E.DZbWEB0SkEA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Ua.q4u20uUwFSr.cP8Z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a6fgzPnk68dP74JviEAA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iuk42daE.GDbGonDNSXg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lMZ8RaNUKu0XxY5A5M6w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hgZHjs1kq0hLM4r_vD.g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ykcCf_d0mScJD.KJbTQQ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nyMoxWY0qopiZ3v.6gvQ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RdxvPn40mipruTYOUwaw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MsoxwFsESnq91PRrYMQw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.SJQnZDUenSc7MM51CPQ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RBJMxTL0ucAym0ZTX1tw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u3th1pZUiCsoVITMc6s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wmy46wgkOGuS_UPNJlXA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Js_mwrv0q9spDBI6XIWQ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I3CY50O0.53SPyt4Qq0g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TqplkTnkaflTUgKX0.1w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vyLFr1vk2WGxF7OxDnEw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bDdaIAbUW5YYCktYghUw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tCKpmT0UCziJUwyQHY_w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Fu5xOt1USHjjm2pjfz3Q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Btc0H_Fk6ZP7bkPwPgCA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b0Zz1akCjiKkCTR.tyw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8qBQUYZUO1VhaFHg_e_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rzS9YmakOSxS2e3I2qwg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Px7cjRmU.Jkhk6VyWH1w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Zh_Vw1PUGUTAmHt0QnKA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JfkojeI0WlTBXJaQeEbg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D.7L9y9Em6ywleGHGZug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qO7ziLRk.t56PFeqSs9g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.PyXSEdkG_RMJH8wdkgQ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Q8GeLbDUWauRg5SA1H7w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7axvNT8E.dais_eEkS8w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BaODLbkC9nGMzg.BpSw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NENfBDskm6.uiWhAn_u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WwDDblG0ug.fqFgaXqug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5XKTeeAEWg46asZevxjg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GLPCuDtkWdcAiusOoZPQ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eXDz0O8kaEqb8a.Wlh3Q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KRQonAykqy4YkLbSufKw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GulATVRUKEtT.6EPViYQ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u_GFM8aEKTzzhvtjRJkw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5pYj0IykamZ_YEq2kRqA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vKGnEkEUi2m8epjfPNLQ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jWbLU5BUqk5sANPycJ7A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qUqyLSMEiMNBZYV_OLH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2UDeS9JkmnokG_K6jPBw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XGgmTNOkCorQjjmEJOeg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TeTIY902sAdicB8czsQ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wCpcFeekuoKGQF0xfyGA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SJo6Kdpk2.IvDpD0tLgg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bO73EH702BHoy17Cj9bw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.tky09UOtO5y6i50gMA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cc6qB.RkO5H0uXLCuFXQ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yRTH5dD0i1IJtzCMTtVw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AD5cwiFESHffibYWvDMg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CiPh0XLkmgXeNmxh8J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7d0C7cJEqTTcQBXpd7vA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jBej.wZUi_krhipnaZsQ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cROgnKTkuyVw.gdbZGaQ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G.7TZh30uulIQ3XxqV_A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.H7pW9EUikP07PnM6eYA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YPZTFIJkSjYQO.JnOPzA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MgiJzCB0y9QS.YBfLVWQ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gME64OhkOap6YTOuLRJQ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pyAUmlHkqus6pmHpj6xQ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7UMHTmX0uojSsf69HhMw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sE.KnG.EiZO1L9CYi6K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3_sdITb0GH9l29UjIDCQ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fAee9K2ECcRQdc1LMEmA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Mn61tn00qEfHD2tqUfzA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4KStraRk21KrT8L2zITA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t9nawqPU2xxG7x7HPYeA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teuxKDkEKB_Akn0eQTVA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l6mtbYwUKRAl4kwRRbfQ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ANGZeptUGF_gyZE9UCXQ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k1gx3_0y.Il2GAXG5ZQ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YdVO6Hu0u9XXmpAM1ZlA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qkliaxe06ZVSx3bJolH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8BkRbP.0OlJNs5rFWmgQ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Myzyozv0uyqNO7EcCceA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JQ3xGe5E6pgd0AFiXGew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twIncJekqIVciT8Q6Okg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vpxZJkdEuu1L3Zr5pwCA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5V9XU4UUKuya.H57A5HQ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NzvSoTEUuHHrqTPADcuw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w31akrr06zoNSjWhXnFQ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y__5hzeUOzdScpaiDjgw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fulj.IikSI1joUN00v2Q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aTdz9Y4Uqk5tso_zgC7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QgfCaZ806BTAGPBu.VI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RCm3QjDEO94SZTld1Zig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5w.i66p0SgVXDLb7s81Q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JWOYnkTkSK48pWMbWcnA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iprJ1kekOaTU_ov3U4ew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f2xvLEGEGNDzYAGUHLUA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1Jjbi4yEOr9_EYJbJmhA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a.SyXnZEaTv_6vraYgVA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_68octdkegXvNuhAi71g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ao37YNoku3v75HuiqxI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ZLdkVJj0imjuMfSmr81w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AJXxLlx0abnY8YhykJr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vRu1XCLESrZf8N0O9Sog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h3NEaJokCxNIzPSRfPXg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1ToeDuHku7Xo9WaDqGrg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W3HM.tw0q9VS02LZFrFA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SnWNeL0kufW62mqrK1sA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JzGpi5E6CBS0h414.zw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0RtmAu80iJ2lC2Uc2V2g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FAodeFwkmb_PmIsf0Tfw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l8zw5C.0C1yAL0BzRuUQ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6FzKYJhEC4J..Q0F12Pw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9CWSCXhEmGKwWXr39s.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ldPaArhkui7KSgtn4WCA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brADF3N02MM_elymoAOQ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e1.OGDGE24yNHJhihrvQ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EjbnsFaES_7Y4GHrAB3Q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zUe2HRrk6Eb8Slbm4q.Q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ub.mkd4Uivj_FbMglHdA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9Qf99hyUiuTF.y.WlUGw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koIbQpvEGL1xSNkqR1dg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I8EWTYLEGGnuHq0gDNqw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.vCo56EEqy9aXPXSYrQQ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JNea3K80uwrUjXaBF2p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FmM1AJQUOgCuxkz.I6dQ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Ej7hj.SUeEbH6jDSeb4A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budGnWY0yXFQljg_NPJw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AtndjGJUCUI8DHMSFK.g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qdbGLaeEWMzdna9vXODQ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2sEnS_H0WkGPbkTtTYjw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QK4NJtO0Cb9DAEqrwRTA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vBcuceaE2_SW6PDapMQQ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zbliRbiEeBXeWg6R_EqA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Y.vMcbC0y8k3IPlWs87A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bOfDs4KEiST.KGx5ZWt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UvyDQFAE.IJi_hHNOBWA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z8s7mO9U2HngVnE3D7AA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yrlTZy1kG.g_FNYLoAUg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czuMp5lkSAXyKV3l_TDA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xPGOxZk6TdgqzpMXBiQ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W3E6gEckGuYtgNl9Zh5w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qb0Do3TkaCTlNZGe8Jlw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1M_oNYaU2e_zSUrPT6rQ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BomeTqwEm4u2y22OCIQQ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_Xej.3I06ZderJF9etPQ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UI_h7MxkWJ2zdXQWUdT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7fR7rK0EG_ZHJkh8200A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vn_zNqa0SmpAY55Cgxew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UKdnj940aZ.Jha0ymxKQ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H5toG9kmpZ4F6o6_PXg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4Tec1Nl0WnIquZQDM2Hw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05Da0I50mEyOQBFWY8HQ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FFKlFmDEuxq0zX0NbrZg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AowYGQykqDc60AvG0zQQ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kqM97.pU6OGvcjheCYcg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MJfxVZkeUOdFon7IBdA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7yveSJ0.p72l_qTZtR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ZOqssrj0qR36S8Iwgr9w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Njh3qb1EycM87OgdRnsA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QuP2VEY0iuvkw9R0oFVQ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jLZ_eqNUSYgL9xk8AZfg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kmE1v3sUa9_GycyK4pEA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Xa_keyMkm8lw18hmeneQ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6W4Ahen0.3uf_lxM6LEA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0fBuIml0iWjnwnwL3VBw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i11DmxVkabp0cGntKRyg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4dipF.PUqygOOt4TF1aQ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iYm4Mak0eQ6puEsoFGE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DMOb6jaU611TBA5qwZxQ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TUTHj7ESuuO.7bOpYnw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ks4n1YGkWSC4yCmrP0pg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a5YinZJkiedy58nURP8w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sakGZUnkaKZWhZO_8KEQ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ROxzpjxUGOW9p_zTIX6g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GevBWdD0O78aEXe0f6yA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FhQyhs5U.5s1CjR_b29Q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4wSGb2UCn44m71IvO3w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Kb7hqe70K5BRyl1lyq6g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DkNe8ZskuaUREPOiOvf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dUpMAIz0y5TmE0VUVptg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4x7cMfDUmJLUPL7Xms2w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kfPYgC50WstPl1Z2NUYg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YY_f3zK0uaiXSWW.JJsQ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WZBIUkRUCcQYBDhRhd2Q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XvspW07Ui1LHSG.pCl.w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Zzujj2VEGoEueIPM8zqg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0Jw54tSW0qGYvcZmoScCQ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O8.XWIdkm1brEOtbhSNw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.6ZwYqkUuGlhU9yeQd9w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7SIIj8GkyxyGsfrEpXK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QnZMGzNkmMac48j7lCxQ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jyZjYaaEKPEMYwmlAU5Q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oJp4BIiUKmdtK0yh.OvA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P7jszBs0CmAdxHhr9mug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0Im3jqNkqehfE7uYx9jA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nTpgz4CkC2qwJE70taRA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.qeMsD_0yZZJQCki.gsw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XzI0dISk2Vi9VfirQnyw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ThOgoNd0.jr_QSoanh7g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B8hMp.jUWyExKtkFe6Tg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ULzEXP7kCDVcSNrndV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LCnN.I8Ui3g1.z149bR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25r_P8C0GBBksE3xnkrg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e1G_xJK0CRdWGBagHDYQ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1NcDbOUineoez1RxqQw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LxdxwYMU.c8wU7bIUcrw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4vTGZ2d0ehdfchwgkjJQ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yxGhiFakahJpjgm7vcaQ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.0Ytw3dEWIU3566JTC4g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9669aOdEm4GxohXlMu4Q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IWoQ105kmQTevQcaajGw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t4TRgwsEGFifS67kbhoA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1Z9MXl0.ZaeP.U2jPc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ANn9sR_E2QeHg7MTNdqA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crqHvLZEqAXiCoYbf.yw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iQW6RvwUKEr_Yl4mwXuw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IxDs6FhkyoFATccGT_xg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FeF2YHBkKt5.oNPPqOrg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z4D6SkMEurpS91st0aYg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JKyAYZYESfZVGur3xZvQ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bnwkhpwEmVmA67n0sBxw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jE5mf0u0eun_0wHPGz3g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R2AJ6JUOV3Oy9XzNDNw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t0d8G6GEqcsuXaBHEqs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VFZDEdmUuIJCPvfekipg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oubo5niUSkY1ZlIuDhhg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mDGM6jOU2j4a3HjWBwKw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OJPes1g0.M219hJmmqdw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HHQwluYEq38NfBBXT9Uw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22HWw4x0u9.89UEcJSig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LsOhENJ0SBrRlY1npf8w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yXCsZgbEGMWotDjdYyvg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voeqCt6EWv9Q6wesWJdQ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EDyr01kUGeCarEWVJQpw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bm_wNEt0OSKIYy5uEkT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aU7dmmp0CzF5hIudPb5w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t.Y80f_UGPlR7eHsjqVg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uCw7JO80uEq744rD0gYA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g_qqHgBkym.ol0_16ffg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OWlj3r8EqP3BPJFOhQsQ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3PvxIzW0ufO2T0gI5QbQ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lry4HvyUiJSVd6HjOT3Q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6rgwrif0KUaTUa3mb1hg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mzR0OlOU.xSmJAyvN5.A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8z0uhHZE2Rl_aZ3st9hw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3JbKGiy0.LGZrx6GcCf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pisVrQD0WVIuFIsOdpBA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BG5o7GES4v2_DC2bc9A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SJViGG70C4.VGXthLBww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DPM_szUGvNMf.QXgxJA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Wevu7L1061RTbXll591g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1_Z1z9.EeadfjfzEgXIg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baTepG0kiZ56eif4n5oA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FdnpnFPUWpMj7l4oLzcQ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csVfkFRESTpe601K_mrw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fwY97SaESaLiqwzW_9Zg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OobU5BUkyKRVF7MksNw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gacdJL9keAEoNIQkVJsQ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YiCg2eKEK9fg_Z33fGyg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ntat1pJ0i3Z8s0pArRyA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UFUeTzka._ZKe8C_.NA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_I73v10UKC44KP46Uy8g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_kZggT3ki1CO96K1jHMA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XYs3EqXE.Nz6APdftYbA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48D9wXmUSreCWC.tFpvg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I96ZvCD0KqZC2TIhNhMA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n9hG1GxUWvJbvOiA.mEw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OTDWcrbkyfn7qMGQ6RZ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r3J4qdtkOLCD87bgjdwQ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53CkXBJ02xM_BLANRhXA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G0K60WDEOTkVhpHSm4vA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cnv8x9wEWVWK1ISVkTAg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jwTKc.bk.RQO5QLCgaVg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b6n6rxwUyrhiZemOrk8Q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0S9JvZ0UWjXbYt11ocKA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NfRfyvxEKXA36D6hGtBQ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x24OeTLkCKU8sWnmoZLw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DtoFw7VUechw7vzUgyFA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p.aqIKEUy__VinSpW4l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G.WttT9kybnT5o3yt8TQ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uxPI7a5UK2DEBDaKeRng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Uv9mw6R0uJg41Opv9X4Q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GTXEi9WEqWcQOGCwWhvA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7QFRf_TUOKCcbQdVDW0Q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q1HB8mPEu47Cq.iCresg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tM.TrZlEyVL9OMZBgxbg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_bXCMVM0Kw3juJcVlcpg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QOqb3Ud0KTNTzkBA45nA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qCYkPkfUiLIHRkyM1_Aw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ayj1LHb06en474efAcb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cSjeYhZUGPPz_Qw8LerQ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SpXJnV2EWdPlxnfe3B.g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608yTuZEm0QucJTWG5tA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6eeonluk.RMvtGvxDYEw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oFvoLagkmxQPiPbx_zSw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QL0hKYTkqNx_jMlFqebA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tTJMWWIE.wKuGDgrgi1Q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Yz6qh_hEeVv9YtPL5BbA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N6ul3Xkk2g7Exg8wiDVw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KhIsPxVk65bjM.6XmYTQ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o1CVnXTUWN_fwe6xKg1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RPIXH2ekWYsvvW6M5wOQ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RuJzUjSE.KzDjFisW.uQ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EVMPunIEGiwwUMsDK3XQ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5f.7tpfE.C6aX.b5wdjA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D1yXNcpkqfmfggID6o8g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8AAKy4kUKo0kOG7CrGiA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72aiXiek2ewUqS1KH3gg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SpMiQKREu6PxQo1mAg0g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R7_w_gz0qBUkvxCGpCOg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FN.eNQrkWr50Oa2KgWhw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M_GAoHFEiuMatbIAnU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jN3jexZUaX_CT.ECeRI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t9ch0hRU.pUJaYQikQAQ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mkw5JYYk.K5sU.eaVELQ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Msg1cZ4E6YN3eX2lpbhA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HLIo5gUU2Gr0gq8FG.fw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iEHr7YqESrTlqt5qYPYg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ezFzQKDUmsOqwBddMZFw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d8BJL2ZkiwHxnogF5VxA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4qKgAz0EKGGR6jFFMIrg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urluk.10qtAEnO_bPqQQ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Ud_.C2mEa15seFT4vhyA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ksotYVEiaVry58EnuO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qPcEB0XU2H5lPJtowdwA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hmSHNSrEOFECb4eMgwKQ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.YAI4i70GYHQLKYs39rg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KpfFAjWEqEFrjc9RatjQ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ooJqIMT0uDS_2ewYeAIQ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4YbOiu202CuF3Be2J7Xg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LmHPvX_0yyVrJC8pbPEQ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UqTO.OX0ScyrmUlVe0.Q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SsZlQ4tUOHt4yEX09h2g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_WM.UtM20mFOaDGql0gIQ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hOj5.4bECdStF3BK27i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HXOmlbwE6ACTbXeCC6yA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kFMSXtzkaye5DxJpPaKw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p1KPxOyE.SygueBcQvtQ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NGkZS3UUqLYXbKQ0x7nw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RDc0B3KkOeH1yYCT9RUQ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XSiRPrVkafy3ejwpRahQ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S1GE3XQEmYSO9TvLUuuw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qtXvUmb0.wfVMBw.h6Rw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g063s_GkCUGsie4ard8Q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_w6pYrwESdMeRyigI2ow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n6nrhzNkyHLYww3Hwmc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fiN4gdNE6X3p_6rHTN4w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OwwJ6DL0ebjDQAeNFfTw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q14r8_qE.fNDLcRKK2uA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FAf.mB3k2yvEL4Eu8O1w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nOVxZY0uV9dD02pRYHg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srQZOW9UCfkhYe2Gu09g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89ScDs3UG4Nwu0yWgXxg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Rn2Tq9GUmzFypjJM1RUw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cyVvyMn0.IDC0eLq4UAA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m08_nKf0a5xKS4ObAyJg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KblRM2UGnqv_FzwSJJ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W145UYnU.hY3eSQFy4vA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ym.AXhOk.IwZTVBQH7_g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mVnaEWyUeghW7eLTY5qA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BlNuQ_JUa.s2Uz1N8XsA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yRo1wMgkCAOATdI7aeTg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6eI0KdZ0mv9WytwisTwg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AED9otJk2Yf9wQrpMG.w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qZu1WwN0urzGtUiMo_dw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.I.EpA20uvxkT3uQveXA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IuzTvVdEi5_9k9jw7BGw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nOuhjW906f2fZDKLZ1w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S3thh1yEG17eQxdzp7LQ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IPnHfXwk6yH6suLfUJmg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hiXTYot0maRWHSeQThKA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je_8HTC0S7vgVWDT00dw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b3hGr3DUy0WG7TXZTo_g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UsuZK5TkSddI7RHqBcNw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88NXKCkmVx0vZgStm8Q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viytrYAUO2JUTKU3.ZHw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HdZuGX0S0cBTycvIjQg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Why09vPkS0SoPYyVasMg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B1t4BdDkC9r2qq07Ypj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9XC5HydUWbtbWlJbBWXg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9H20xJgUaozdEO6sPu0Q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WXtwI7nEyb3Gn.zmEzRQ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NLsxGiKUi30mHxkyGOPQ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6nJAK9EqGS_Mm8l8T6Q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Pcl9HNtk.78cJjXo1SNA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ZUxTbEaUO7nl1tPTCJlg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OUAyEwk0iKXVI6OGSpEw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n7twdldUuXTqVPqpd9KQ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ZVtCjp2E642XfWqoGQnw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Xfolk9E0eOTpsk_hZqM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h8QqQFaUGcAPv4ZGmCzg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IzKZH4RkK_eDpHeedfMA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ulzg8S1k.AQ4y7ZROWPQ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92Z2PYOkuuycxv35HtWg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Ks.Qa1lEuouKlJdMrDnQ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FtSLnNrEOUNTXmm_TZKg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bVqrgN1U.qFoLUXEtTVg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fkvZm_MkuzLQDuZYdyNQ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ZXz.9W80KW6s9rZIH3Iw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1V9dzP6km.aiTY3aRnpA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fuvhpIyUmPj3IdUQxnP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Ap898fEUOTnDuRRCOZ4A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bJcGWm7E6agcUdjTjgFA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q02FF0o0egtF5wnWoQmA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wdPg5peECP61XWBWhECA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ca7y2GckWGCm9QU4_HTg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ERDl9FjEi9nbELb43k_Q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7CR5JEVUmRaNRYHZ.zfQ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vScY.TF0GgyDWh8CylxA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zFQmccT0GJ59.hRTa2PQ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wgWVmQbUaR1qc6e7XxHA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_a45J1wkeUIGKW8NgsZ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mWlOTiN0KjOjW.rBCkZg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bH0sU01UmMmg2T6f60WQ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Fh7mubOUG.61fxuqxqQQ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3y53Di_UWmui0NTku3EA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C.l42DfkC.Fpob309Weg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awUm8ef0KvFIk1Zyfogw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pDn.TpI0.UrPuHu_ztBg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Y9DsrzFEexB4AOtOySEQ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Rrnhnum0qJPnMRFse_zQ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3yBLpLmU.SeDyPC9i_Bg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R2bl6TXU23J6ODcvq2H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_HpasojkGB2wdEfViNL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goUfNnJ0iReNCLDfOh0w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fXk11P902rEcqb8zsiyg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4l30CnAkCwkmaY4QLFmw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xqFKHA6EmkIwCEGp0luw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hWr5eOE6eQj6d.TLvMg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wYbW19okKEPsvRsJ9FVQ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fQLxAnX0CdLUq5tRKamw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BGW2edOEeoijPV4ixpxw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EM2BhGaUuMu3CzIaomwA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EnW9sNxEKO85FjwM68ZA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R8NZTddkiL.TvFlgiTG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HdP0JPCEm_EdJ6mf94IQ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iqcRk_Vkayq1qAAih7sg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ea6xkM9Um3MrNFgj2c5g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T.n_xhpk6n_buOOkWc.g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MUKCjMskKyRgOffzWIfw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trsh8e0W_UaQyT6OUDA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LzZeKQkUiZL6TcIUMIHQ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PF3254RUmpeIuSxtfE7w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DOYsbV9kCFRWsn6sd.SA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ePAbNVckaXsDOaYZ2JCg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MLlcnDvUe.LAyD7OBWR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_ekjffREUqf96ec.4PGsQ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LEbNQfmEeIw_mqRVLimQ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85bUq95EyQmAQJPRPdfA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y2x6URJ0C6QlPW3oe9BQ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qRKFSr70C4W2tqB_a5_w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MngFUiokq9Q973nxq1zg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Nc.4LdlEmFNmHt3jg2oQ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iwsUKsfkOEr7P26iQOWw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HEpdAjIEmLYxZuhCdARw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tZkTbuIE.xgU_Ov8Hy.g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lMWDe690iwfLqxhHlpx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7hFw4cVk.b7KTR_ez8wg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64tJFukmjohJvQQk7UA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MPVOt_N0SfhRm6Bq7sAQ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y25SMYCE6C.p3hsVKmOw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OKAbX710Kjb1DAFfuLFA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CDESC7CE2adCK_qib7FA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rpztA5HU2rhZIXasrSPQ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tjM0sDUU6Mr4CNCmYCVw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YojtF9aky6gAq8eFyQdg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Xq5t1_50iMDwG7l3wTlw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fVYjhHVEm56oPuktG6C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HxT.Afh0uuxXk0fPTURQ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gMlotkrEO1LjWNpctY.A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4EPD9tbE6Qm_boOf6l3g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CbuFvRjEGQEpI3eCG4cQ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vl2uDLA0yYFnokCZDpZQ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efSt1OQUGW.Ka7GF6ajA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77Ps48dkukJPQCefLTfA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sx.uC0k6ElK2t6_mjtQ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2Ek9wUeq_cQyTecRnQ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620sGmlMUCoI32atS4lKg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RKp3D3yEeJ87QPB15Bb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chuqnULEGGKXFHK2xY9g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Kw8qbCyEiPx2nTCiXsYg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syMZ5ZJECYHgLFqm5bUA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YpxY.akaGKB4fO0qwpw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SF9nJumEqFVozwgTcX3g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2Gby1rOEG4oTwI0sOnQg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ZtfRzGNUuW9sDUG8yKIQ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yYrh6460Ws.2l8JqVA.w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4LoHXuTE.iyNyizm1Xjw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mYps0XckGoOs30vJq.CQ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G1iZTJiU27xKLcPlaT5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r4l0tZzkKrhRZ4wFw2Rg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d3isMdgE.v36WgJagkxA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ty6T3qWEOl0GLwHw9bog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Iekg8kcEq.IcyltwXJYw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wtn65BrU.jZvVEq2jtew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PYaPk7mUe49EDUFLhm5w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m.vwmDnku_4sTas9mifA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1IJbfK0kGrBfbniHs6yQ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EVvOLUuUyxqDRdyl5tvg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3x5D8H0.V7Jcp8VTTcw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x4iYw32EqvEtllAOK94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FNffF05EqBk_x65Hklrw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uofScUkU.9JqgqoMqQFw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dvxDHKCkifvjZf8KwAhA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QCsfo2dUSfxTHnr4wb8w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KhU0nLDEO2tI.jEteXrQ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YPlmICpkmmRT2qifMyVA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KItgJvIUSwp3tZiIXA8Q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TM2RWq3EKrSB6MiU9TCw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G_Cpn6bkqkkk2aN1V3nQ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u1zKU9D0at9jgwioQaMw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g6bX6ECC2j9OhU3lc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7HYdLeSkOmtxoFowy1gw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p01cz7.EmHxlyEuepk4g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3wc_BmEmkAMVINPSuhQ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8NTOg9iUyBvvQFConxUQ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onTJ7glkaKyKjjJDTrBQ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fgtMfCvEWA5HJWearosA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IqhdITNUiyaJuZljTbZg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5lHOGYekiprsuRYqGimw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qtU0xk2keBkqE6A3Kz.A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IqX0Fr4kysVKW.9Lr6qA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XoAOn9kebXuyovqnqx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OZhJOJs0Kl7BdMnohCFg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Ef2q5AgkG1MKSv2cylag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6rQ_2qRkKw6VZ0NbvFwg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INg1vlr0GzkQTW3KUaPw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6y0RWDukiYDRlmEDCJlg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O4A7qP7EqZhyY8JtBVbw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epTHCmtUOR.LIw6XPAWQ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YFevwqAkmsVNojQxBnOg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U0Gf6ouES.GgTZexmSxQ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eDTfwHpE.DEog8M0SySg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DFE2EuKkiX_Hk1G7b5g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.GzQ_CVka1KPiVMYEcp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mJSvUshEWurtzubfSs0A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u9_DI7C0a_bN39VdlUsQ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_JVscEh0erndJrBN3gYQ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ymkyprjkmzknxv7WN7_Q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ms7PbsG0mc3SfBCK38Eg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l8K.EO1k.3HrrEj8PH6A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Glw1tMEEOO9oex8e32.w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bklbXLrkuXwp8I_1AePQ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nfH9AJnkm7A7MX17FKLQ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2eUPMHUEmx_Qgd8_a7tA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WQ.SsYgUCx5nYgVvkdi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wj8TyvsUuC8FnQqcSTmw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Gx3LriIU66uecHuTXbSQ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iHruZBw0S_wUbLS_4Vdg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kA.Thx.0Sbtuar8wWtTQ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ab4piqkEaGStad9VS8PA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oLQ4vSrUyG1U97QXF7vA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BjNREx4ESMEXHqJycg_A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dol.7KOkiA0VCARLLURw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C28w6.pUq.UkdbTFJkAA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72CGnkwEaTpBL8S70cUw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WyAcg1.0OGRJtTOp1wI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dWWZ7m40qCDjbdjFvc.w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Iepe6go06TNuDvbXfnzQ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sAxRrc6EWD3Lb5Yzgqkw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sf8z0mREaTL1CWpiwM0Q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zJPr3zF0y36YWySgLRew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EmmBZji0yQly4uGCFtag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sDONluWEuC2SVcnDvIEg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gUeQhp7EGQPFCrcGOpmA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7LZOe.oEG3Y5tdR4IR7g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id1PwKgUiYuMhkglA4Sg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5IFZYR9UaYo1vZgHcqw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i3koFPYFE2nXyGW8gXafw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xA_vSmTEuutyvGr1hLYg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XykajMz0eomwajEEpbKg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DRfWF.NEGDJYk1DLwT3g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mqhycfDE.GwI9kz0749g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yJQ5Q0w0CSHRnVSy2.PQ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k4ZWOIikWOV6dEcBvYGA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zEbpHxfUmpx0HHwqbGIg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7K96n8UEGXVfLOe.gQJw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DkR.9PkUaBpoPhg0CXMQ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UB49wRyUeS31A.0l16j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13aLIgokeX.zeqlk8z8w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ENf6j2.ESd7XGx1zmOrQ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EDZvJTMU6z50KQQLGoLw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YgzNZyhkqQ9rBjje0v8w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u.QehGp0egienCRclCKw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lGv4ExyUWvkhyB0DUP8w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QiPFgnHEmRAwJrZ7p2bg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iQOKi0CU62EVOo66Fhig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98xk6btkmNXNKsl.3eWQ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3dOsB5JEGaPOcVBRgdGA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ya16IjU0yIDFuAkKS3e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Ej5it3Em3X6zkP0_.tw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hdkDBsDEWGe.0puAjQEw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V3zDJ8P0KY3FAisYAIjA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uL9qVv0OMIsU_Z5as3A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QDgdrdakirDhhnR8tGKg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YBlMxHA0agQMG8Smq2mg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E8fmBLAkKlriAj.MWY7g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fyfG_V_kes.v4JXE.t6A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A6YY_CKkOSGm9tfkYGfQ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BX0Fm8D0yJT66Svd5F_g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_ZiM7ISEulWkpk39vtr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oUHdCNE0K4AtTiPEjVmg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_stkZYz0OsJv8Wb0DN3w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O3pq0BiEGRlfkNw5s.mA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Jo2whm5UCsKlVlsXHqUg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.q94BXLEuMif0tY2Va6A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NC337wmEKjibiv_Mp_0Q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.UGhXI2km4MZH_1Mdsgw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qwPXD03EiUb0v4DI0JlQ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_lu15z.Uuyq1uPIWv9vA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WqAVaIfkWWUKV3S2Rhog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6vzxAI_0KrMOXc3dHN4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.vvMJ8DkKc0hindKKTrw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.Ov9Mrv0aMAHZ6UeN7pg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BY.hrhkEWnzLVvdy2ohA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xfhbLPeUqZcELM_WMUig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i.nK7kKkOigB_RTASUuQ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I5fTJmlEeZbrCPfzuVig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rDBGdyvEmRq9eZW1BBWA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P7c6z_fUuHbHH9AXdZEA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4dYvg7VU.cpFX4Q3SuHw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b6zcKLhUeQwVHNwad73g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fJMDsyqEuSrCa5A_Moe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RLQZLHwE6wU3mccW.SZA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hkpYTKgEKBp44usKTSCg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GbLxeXO0mMMLAkehqmJA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AuwWuZTEiLwYh3ZXfG7g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DP414rokGkyx4FRJntvg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8dtFptHUGF6nqzf8e4FQ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LghYVFJUyvXx0yRAKgmQ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_a7l3SkqmDc605LhXFQ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yKOC97kkCWEk5BVFEHDQ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6C.VoHYUKrVauXiRfbPg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aiw0T3B0eTOWuHX1477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dLkkzIu0GZz0RblgkAXw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rqMM.2J0iDBEl6aPub7A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B6ZwewH0qliPZzdIeKRQ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mDiExdykK3DCIDu6w1rg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btnQW37E.7AmzpeFQKaw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x82S5Dg0agR6OJ1idGUA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inThItKUidJ8Ex1xMaxA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ckNt3p.0660X3VC0zlPw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Bsrt2BtEK7NyNaendFOg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YLTaDlm0aozHgJZ7pv6A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RvJDfSNES3nkUug2jQ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RiZdBBUqCz1fwRiJB1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j_.swPlU2tnBZQNlfGvQ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4xzTh0xkCmV0WUfOeULg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LBkaCcNkamX9tcOZsx3g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sg7T4vaEe6Rbe2raxs.A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7ubLmc0kGPjvpH9m2jEg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QzyHTxNU6v7GRo4rJpKw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esPvkRmU2sm.dVOowusA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BdvcCTeUmffDYj_kYMbw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P.HoyqaUC7smlvnVV7TQ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y5LSq8kEq8J.FV.tMTJg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QTY._AI0CVE0XjjxTb8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AfEgZA2UmFpKcZ5FHVuA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dEgEZtK0m0pX5aC.G23Q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9sCRcw7U6uhZ6y6551hg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oMRD62bU.ecNw3HKvIfw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jN7PdLU.5IZuTDMp1TA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uKgV2f602_tlaeTv8XtA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l4K3BzbEKJuyBsk4LmNw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3nArRG3U.QYnaVmtahtg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yR3_d9i0C8MK28aw64og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UEiNQnvUaoDGRHYyL2MQ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GZFdt31kqOT06ZwIqz5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o5vT8LM0y2zU_z9F5IQQ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Vg7N7zDUCsEmTCoLSp4Q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vKRFq6REuW7H496bGKAQ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IPw.Vl7EqGJBEUCFBZ.w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n348ima0.AQwr49.GqUQ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it2AcjaEGQxorlhKHENg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yPJ8vxC0GH7WTnHyQEbQ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HBEbj5zUSmRushVF10VQ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vPDooUr061QE4aQTpVmA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Pxqw58Q0uniuZ3gZfvpw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tYU0AGESS25PDHlY4C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reejXJrkC7S4ptoGLXMw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JfHrsCf0yx6Lhhs2qYMA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WUr5MpEGrbC87DWb5SQ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ULbWFCECm08ID26k_bw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HH5aT74ki2AWi8KgQwzQ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K3.sRmJkymTFblh12a5w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ztQZI5.kua.jZfZnPW.w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LqPahGYUCbGpy3RaKV9g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kaOhfg.E6lF85U77BpCg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JzOUG6QE2ahfcW5cEJ7A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Xlc4qjH0W8Z4FN9Qywm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fSUx.jh0.hPQ7atRc3FQ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VZq8c_EGF2rAsqWadxQ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VT4z4vb0GPa7AMGVthAg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sZisu4d0a1RGeH.tJZZQ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PnJZ11CUWRRX8DOt29PQ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Qn2GgfkCbkw1Omb8M0A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CdvjMXg0iRx_77KK34lw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mThrVo20m36puIBCo5pA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u2DZVDV0ytid861d59lA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aOf_7PK06Q2imHLfOmog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k9FT4TkGeqJcRnQkVk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I4ivF_WEG12GU.fJq19w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LDl7oDb0GiNek8JJwCpw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g_cEvSM0WHODnFgKrovQ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ueTOkTG0uJL3S4Fc1Jmg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xya3wEtEuGWe1BV6Udsw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76f7IKAUOP_H1SzSiN7w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449JCusE.PvTmO2XKdYA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UHi9cB606QZggSYY42kg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XucbKGUGqTnQJF_1EFg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G7lpHLpUmrhULU2MGi5Q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qWzWzwqESB2axdlvJox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VfhOgzEeiKLkPCVO05g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_Pb7WKNkmaENnySGEiIQ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3qgtyID0umf2_PeDgKwQ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Px29lQ.0uucxyO2I9hyA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IoP0_RFkuzg4lzjfB6KQ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yFo2wtqkCReothoMVTiQ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jRH1zuxUiK8jSzsmacpg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XWPVBgmE2dzffcEm4Qvw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x1xwv0zEm13KbcaQEOfQ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8ExE_.b0OuSl5qdxD9yQ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VQvGHymU2UF_AIIwkK3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bO9jk9NkSRXvUO42._2Q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HO79dGDk60r9wXpGUaOw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v74v099UyZ5I8x7SzSXA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Ah14A0UCzAL5oYjLebQ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ryc6cjX0SbHlJMvzIiiw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t1R03GYEuR6cMyVLpYHw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AZCucJOk.wUtV.S_Msmg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7UY86MCk6BoRovOFu5VA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21V5p1C0GOkR9WZPsDYA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tOW_l2k0ClT875et.nEA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gypTkazkSbG481Il.3B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kEwTDcEUeL7LWjPr8WRg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eR8N0GTUWoJAGaVpNLOQ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FK3jv6SkuCRFV2DOADTg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8U5JRfEmZS1i3l3L1YQ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_Ebj1wUmZHFm_ne5e7g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I5ETyQEimGcfXly9TaQ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GVpj0RXk.KPbOt_l32Ug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8f9dKWJESXaoZzWpn1Jw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.0UJWEKEmQLox06D2fUg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gEnkle0Kbvteu2pGSxA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AEIH1gPUK2P8FDen_wt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csTEOQwEKGEcJcSUgMiw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cbLJawzUaD85QF5pgFHg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PBbrHEU0q3_68EnFxn5w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xIpwJ.zEGuXWc5lTgljg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XgWHLvbEOTgO7jVAiDAw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Dr6wEGv0Sslw4KesSD8A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H1jmESLE6DO1W9M8wNEw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CflykXOUWh99npEOemCw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TYfKy.NkeTfxbg_aSZ4w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IeJ86Kakqk5SWJL7ppOQ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8wpax4m0iYlFF9dIJ6m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YtIkG1k0mTgWvgTJpu0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go3t2drUmibGVVTZ5pPg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cwJHEvqEeGlo92ZODSXA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L3gel61U6rpmsCGIanYg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DxrJgvzUav568aPt1jBw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x1MjIuaEGMHw5UUyYFRA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7OqzeIdEC1NasGnMpj7w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5UwwQ5F0aX1wbLTve2Tw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d3ee38GUSS2bgRkxvO4w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liyca7G0.71hI38yS7Xg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JyGUPr06Ymxy6u2Ah3A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AYfZLS002_uT_4Zwotn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.J4fP1cEOC..bn_er8Fg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PS0K_uFE.2F8LCof7CWQ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Zm9rjgsUSLCJYhVfhdVg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yDqtR3RUK2ity21py7sQ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Up8ZcCmkGdjryLyczaWw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S2rvl5UWOa_f.gYIbyQ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d10MIbN06L1DG4K81S3w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BovEd0Fk.cHdpElhNL2A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.M3tH60KSpcJal3lSfg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RxT3AB8UCLsmuHcobCww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utYMSUv0GQvmDJqrFh1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MvMk_Z7EGZ4M4Jr8lmqw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OOSR6sh0yViX7xTNLLDg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pHfdr1nUiS7qWD3PYqHA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gzQWiuJUaQWplYyiGpeA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2.0w8506rgKxiDdBNqw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mvaLgiH0WDylKSttOpJA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QnPH7ykmAGOLRq7_40g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UJftRhA0Kt4M6zwdwiMw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0fc50xSUWszAbWpZt1Ng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9a0764o0qfGVn2FaSgJQ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aS1tMj3Ei0Abzq7yWbW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AQIYdKokm6fyF5KsnBbQ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gkzgmlZUOi8ZgK6eB.6Q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PI8YnpUEWsUS47ur5ZXA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clpvApuESpfS5NDvs5Yg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H5EW.1Uafq8R6oqpJ7w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yj4ya7Tk6YD30Y_ayWsA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kPK.6HI0.VubMRyGfTuw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uFo0IW.UOyLTr99dCrtw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M..HH8hUqSSCxqEwR01Q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rF5nOmYUaQFq9F7zy52Q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aVSt8HESW2VGTYRfu_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_tip2oKEu6P9M4KLXrbw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HzUpBN7E2y7IAPAu0nog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ZjYWCEiU2SsDahjiFWNw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AvSUsHNk2hLz.DL4rtpw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u4r1Y63U.Ptih_ZoqnBQ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4BVIWL7Uq9nipoVtSg5w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z5EX5KA06jJPFxcM2rtA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NsFPcPREOVV5kKJlbsyQ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vNNKYFhUufkpu_qBcq7w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CLpDNmw0iIWdHBD7f4QA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MTMZckq0ymMCgKZsZGL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SL0rvC5UWJNLHiVzdMyQ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NsFPcPREOVV5kKJlbsy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I4eRoDvUGZIAh.wnasX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5XcLmYtgESSFdlhCCGTc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S.avYa8Uy0.r5N6C0aU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ADSfEyTEOOgpua2Sp4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u7QmGswUu5xQi.P6yOc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MAwAP7v0iEYNI3TAVtU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58cZMRekm5eEUN_7iI_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Sn3p__m0C78cXl82nkN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7qP5YpCEKlwIp9Z9M0m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J29tO5xk2N4ZqDhre5i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VKs7lnvku6E4MXC4_g1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47crHHmkWF.1jBApHiq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HuCDJDGk6Cobe_pUXXX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Cx2HWG8E6go9LgfwSiT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3bwQimD06lAuBxqImI_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BdyUIKC0SOVXCk_V1X3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WPmRADiUai9P_NxUwLG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2tLVZWMsUaZNDltaspod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DaZ1oNgk.zXW0SAREod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OkDIK_LUGvbU1AIwk8O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D1_UbXR0uP2BGfQEwfw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FAoQCEUk2bxM9cWFfUP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jGVGKbdki9QHn1R2QxG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8M6OxXF02MctB7T6zAN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24Ct2.j02Cbw6cQHCSj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8gP7rYV0izzw4n47GIT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y9FSshukSG8VIyNwcc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Ag_gVNo0mhy09JKWzBw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XbZjAa1U2NboteB9lGy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IRpYIxjkGNczrA2YI5A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514zFJNkaAmWzU.PFGP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7zg0G4s40SnNuEsVYEM6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701ZpyEKAT1Myi4U.g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QlSXFP1kCcHtPSZ..JV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u9AmE69ku3et1gcpWOE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Ihb6mhe0aPjLPGZibPa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VkOgIDAkarS.JZI614y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q7vyHcYkuzUNd244p7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jInuiQeUqVXprGKk2F9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fTmVODA0qE24ML7sgOr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_0nTch9Emn.GbEtdsA_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XIibfrRE66t7aXTe6oL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y.CnpqaEuMRc1RNiyFb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6vYJ1vk8Uy.umrQzFFVX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Uz0PJ4N0ajudzx7U0SA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4nsrKULkarw9hEhyEjg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ZstPHWVUuXMecNpiRMz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lYnQSwyka8gqbS.2wuv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4yeMZiTUqBHYiogRY4.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.0itixfUmRTnlzfSc6G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vg3UJd40SaE6AKVaTM1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RW1P.2cUKA78hay2XJG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apdD8BcE2aCJm_0gUmy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LY53Ijrk2RwXCxiEtUg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yJ1yIrxUOHaGlzcFZvA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cZdoWSm0m2aPPMUKpYJ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SQzwRekEO7pBOCq7bDp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njynHeq0KHLqEvE68.H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Z8VUWM6U21RHl6qH192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KH2JCKe0SO1iaZPz8IH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y2kGJbEUaRsT2BrV68R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AuiqU02rKwJ.ZSq8A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diPC9MXka1anpl.dV0m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zT2b820yBl8kmjkbpa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16.zd.jU6L2nJqAZ1HG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oOv48K6E.DZbWEB0SkE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Ua.q4u20uUwFSr.cP8Z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iuk42daE.GDbGonDNSX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lMZ8RaNUKu0XxY5A5M6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hgZHjs1kq0hLM4r_vD.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ykcCf_d0mScJD.KJbT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dxSR.gaUO84v69Od1o1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nyMoxWY0qopiZ3v.6gv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RdxvPn40mipruTYOUwa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MsoxwFsESnq91PRrYMQ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.SJQnZDUenSc7MM51CP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RBJMxTL0ucAym0ZTX1t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u3th1pZUiCsoVITMc6s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Js_mwrv0q9spDBI6XIW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I3CY50O0.53SPyt4Qq0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TqplkTnkaflTUgKX0.1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vyLFr1vk2WGxF7OxDn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w7UnIY70akAKzoFTS5I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bDdaIAbUW5YYCktYghU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tCKpmT0UCziJUwyQHY_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Fu5xOt1USHjjm2pjfz3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Btc0H_Fk6ZP7bkPwPgC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lb0Zz1akCjiKkCTR.ty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8qBQUYZUO1VhaFHg_e_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Px7cjRmU.Jkhk6VyWH1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JfkojeI0WlTBXJaQeEb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D.7L9y9Em6ywleGHGZu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qO7ziLRk.t56PFeqSs9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5q1VHtaU.atORCYYnig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.PyXSEdkG_RMJH8wdkg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Q8GeLbDUWauRg5SA1H7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7axvNT8E.dais_eEkS8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BaODLbkC9nGMzg.BpS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NENfBDskm6.uiWhAn_u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5XKTeeAEWg46asZevxj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GLPCuDtkWdcAiusOoZP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eXDz0O8kaEqb8a.Wlh3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KRQonAykqy4YkLbSufK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GulATVRUKEtT.6EPVi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e74rSDcEKJcL1VWsZAU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u_GFM8aEKTzzhvtjRJk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5pYj0IykamZ_YEq2kRq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vKGnEkEUi2m8epjfPNL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jWbLU5BUqk5sANPycJ7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qUqyLSMEiMNBZYV_OLH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XGgmTNOkCorQjjmEJOe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TeTIY902sAdicB8czs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wCpcFeekuoKGQF0xfyG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SJo6Kdpk2.IvDpD0tLg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bO73EH702BHoy17Cj9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kKUKWa2UKaDJPar2nwf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99zQ6X3kKThCRuWADEX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.tky09UOtO5y6i50gM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cc6qB.RkO5H0uXLCuFX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yRTH5dD0i1IJtzCMTtV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AD5cwiFESHffibYWvDM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CiPh0XLkmgXeNmxh8JW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jBej.wZUi_krhipnaZs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cROgnKTkuyVw.gdbZGa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G.7TZh30uulIQ3XxqV_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.H7pW9EUikP07PnM6eY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YPZTFIJkSjYQO.JnOPz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EFHbrzLkiUAcHFATBrB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MgiJzCB0y9QS.YBfLVW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gME64OhkOap6YTOuLRJ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pyAUmlHkqus6pmHpj6x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7UMHTmX0uojSsf69HhM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sE.KnG.EiZO1L9CYi6K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fAee9K2ECcRQdc1LMEm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Mn61tn00qEfHD2tqUfz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4KStraRk21KrT8L2zIT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t9nawqPU2xxG7x7HPYe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teuxKDkEKB_Akn0eQTV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4TCxGEq0OpP5b9dTbpY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l6mtbYwUKRAl4kwRRbf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ANGZeptUGF_gyZE9UCX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3Mk1gx3_0y.Il2GAXG5Z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YdVO6Hu0u9XXmpAM1Zl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qkliaxe06ZVSx3bJolH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Myzyozv0uyqNO7EcCce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JQ3xGe5E6pgd0AFiXGe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twIncJekqIVciT8Q6Ok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vpxZJkdEuu1L3Zr5pwC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5V9XU4UUKuya.H57A5H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fFXiU7CkCcsYdkgnYiN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NzvSoTEUuHHrqTPADcu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w31akrr06zoNSjWhXnF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y__5hzeUOzdScpaiDj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fulj.IikSI1joUN00v2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aTdz9Y4Uqk5tso_zgC7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5w.i66p0SgVXDLb7s81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JWOYnkTkSK48pWMbWcn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iprJ1kekOaTU_ov3U4e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f2xvLEGEGNDzYAGUHLU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1Jjbi4yEOr9_EYJbJmh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zkxYqKFk2oR2NqOXwRx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a.SyXnZEaTv_6vraYgV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_68octdkegXvNuhAi71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ao37YNoku3v75HuiqxI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ZLdkVJj0imjuMfSmr81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AJXxLlx0abnY8YhykJr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h3NEaJokCxNIzPSRfPX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1ToeDuHku7Xo9WaDqGr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W3HM.tw0q9VS02LZFrF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SnWNeL0kufW62mqrK1s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JzGpi5E6CBS0h414.z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A3wDYJi0K_2keTwVPxp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0RtmAu80iJ2lC2Uc2V2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FAodeFwkmb_PmIsf0Tf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l8zw5C.0C1yAL0BzRuU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6FzKYJhEC4J..Q0F12P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9CWSCXhEmGKwWXr39s.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brADF3N02MM_elymoAO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e1.OGDGE24yNHJhihrv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EjbnsFaES_7Y4GHrAB3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zUe2HRrk6Eb8Slbm4q.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ub.mkd4Uivj_FbMglHd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zV7VhniE2kcRL2VXrVT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9Qf99hyUiuTF.y.WlUG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koIbQpvEGL1xSNkqR1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I8EWTYLEGGnuHq0gDNq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.vCo56EEqy9aXPXSYrQ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JNea3K80uwrUjXaBF2p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Ej7hj.SUeEbH6jDSeb4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budGnWY0yXFQljg_NPJ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AtndjGJUCUI8DHMSFK.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qdbGLaeEWMzdna9vXOD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2sEnS_H0WkGPbkTtTYj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5GGOHhd9Ee3X2XNeo__D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QK4NJtO0Cb9DAEqrwRT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vBcuceaE2_SW6PDapMQ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zbliRbiEeBXeWg6R_Eq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bOfDs4KEiST.KGx5ZWt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z8s7mO9U2HngVnE3D7A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yrlTZy1kG.g_FNYLoAU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czuMp5lkSAXyKV3l_TD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FxPGOxZk6TdgqzpMXBi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W3E6gEckGuYtgNl9Zh5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qb0Do3TkaCTlNZGe8J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.a7wR8_0yZ2Mip7.q2D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1M_oNYaU2e_zSUrPT6r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BomeTqwEm4u2y22OCIQ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_Xej.3I06ZderJF9etP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UI_h7MxkWJ2zdXQWUdT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vn_zNqa0SmpAY55Cgxe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UKdnj940aZ.Jha0ymxK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H5toG9kmpZ4F6o6_PX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4Tec1Nl0WnIquZQDM2H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05Da0I50mEyOQBFWY8H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FFKlFmDEuxq0zX0NbrZ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mc2l18qk.6PtBiBbXtH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AowYGQykqDc60AvG0zQ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SkqM97.pU6OGvcjheCYc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PMJfxVZkeUOdFon7IBd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D7yveSJ0.p72l_qTZtR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Njh3qb1EycM87OgdRns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QuP2VEY0iuvkw9R0oFV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jLZ_eqNUSYgL9xk8AZf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kmE1v3sUa9_GycyK4pE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Xa_keyMkm8lw18hmene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6W4Ahen0.3uf_lxM6LE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L7dHkH30.YaM_5dhSOT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uCYThOXECB.1MsLq2if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0fBuIml0iWjnwnwL3VB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i11DmxVkabp0cGntKRyg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4dipF.PUqygOOt4TF1a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iYm4Mak0eQ6puEsoFGE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qTUTHj7ESuuO.7bOpYn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ks4n1YGkWSC4yCmrP0p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a5YinZJkiedy58nURP8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sakGZUnkaKZWhZO_8KE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ROxzpjxUGOW9p_zTIX6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GevBWdD0O78aEXe0f6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qLRG3S4EubDixXY7c1o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FhQyhs5U.5s1CjR_b29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4wSGb2UCn44m71IvO3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Kb7hqe70K5BRyl1lyq6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DkNe8ZskuaUREPOiOvf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4x7cMfDUmJLUPL7Xms2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kfPYgC50WstPl1Z2NUYg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YY_f3zK0uaiXSWW.JJs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WZBIUkRUCcQYBDhRhd2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XvspW07Ui1LHSG.pCl.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Zzujj2VEGoEueIPM8z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OH8wwxKkWFtmtJn2GMv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0Jw54tSW0qGYvcZmoScC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O8.XWIdkm1brEOtbhSN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.6ZwYqkUuGlhU9yeQd9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7SIIj8GkyxyGsfrEpXK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jyZjYaaEKPEMYwmlAU5Q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oJp4BIiUKmdtK0yh.OvA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P7jszBs0CmAdxHhr9mu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0Im3jqNkqehfE7uYx9j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nTpgz4CkC2qwJE70taR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.qeMsD_0yZZJQCki.gs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4.1upTLkuLH3oJcQ469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XzI0dISk2Vi9VfirQny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ThOgoNd0.jr_QSoanh7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B8hMp.jUWyExKtkFe6T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ULzEXP7kCDVcSNrndVn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e1G_xJK0CRdWGBagHDYQ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1NcDbOUineoez1RxqQ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LxdxwYMU.c8wU7bIUcr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4vTGZ2d0ehdfchwgkjJ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yxGhiFakahJpjgm7vca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.0Ytw3dEWIU3566JTC4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pefanvDUi7y1BnQdzGz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9669aOdEm4GxohXlMu4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IWoQ105kmQTevQcaajG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t4TRgwsEGFifS67kbho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1Z9MXl0.ZaeP.U2jPc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crqHvLZEqAXiCoYbf.y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iQW6RvwUKEr_Yl4mwXu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IxDs6FhkyoFATccGT_x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.FeF2YHBkKt5.oNPPqOr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z4D6SkMEurpS91st0aY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JKyAYZYESfZVGur3xZv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grfsXbMkmyG8ppFEe0b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bnwkhpwEmVmA67n0sBxw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jE5mf0u0eun_0wHPGz3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R2AJ6JUOV3Oy9XzNDN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t0d8G6GEqcsuXaBHEqs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oubo5niUSkY1ZlIuDhh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mDGM6jOU2j4a3HjWBwK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OJPes1g0.M219hJmmqd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HHQwluYEq38NfBBXT9U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22HWw4x0u9.89UEcJSi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LsOhENJ0SBrRlY1npf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X5NNGG1kaHTxzzPhJeig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yXCsZgbEGMWotDjdYyv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voeqCt6EWv9Q6wesWJd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EDyr01kUGeCarEWVJQpw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bm_wNEt0OSKIYy5uEkT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t.Y80f_UGPlR7eHsjqV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uCw7JO80uEq744rD0gY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g_qqHgBkym.ol0_16ff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OWlj3r8EqP3BPJFOhQs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3PvxIzW0ufO2T0gI5Qb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lry4HvyUiJSVd6HjOT3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s6t8Xn40idGint2.V5u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6rgwrif0KUaTUa3mb1h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mzR0OlOU.xSmJAyvN5.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8z0uhHZE2Rl_aZ3st9h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3JbKGiy0.LGZrx6GcCf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BG5o7GES4v2_DC2bc9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SJViGG70C4.VGXthLBww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DPM_szUGvNMf.QXgxJ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Wevu7L1061RTbXll591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1_Z1z9.EeadfjfzEgXI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baTepG0kiZ56eif4n5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3fR20k0.AdxCa7N6p6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csVfkFRESTpe601K_mr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fwY97SaESaLiqwzW_9Z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OobU5BUkyKRVF7MksNw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YiCg2eKEK9fg_Z33fGy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ntat1pJ0i3Z8s0pArRy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UFUeTzka._ZKe8C_.N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_I73v10UKC44KP46Uy8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_kZggT3ki1CO96K1jHM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XYs3EqXE.Nz6APdftYb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48D9wXmUSreCWC.tFpv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.KYdmkaEqp7gY9tV3.a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I96ZvCD0KqZC2TIhNhM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n9hG1GxUWvJbvOiA.mE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OTDWcrbkyfn7qMGQ6RZ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53CkXBJ02xM_BLANRhX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G0K60WDEOTkVhpHSm4v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cnv8x9wEWVWK1ISVkTA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jwTKc.bk.RQO5QLCgaV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b6n6rxwUyrhiZemOrk8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0S9JvZ0UWjXbYt11ocK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NfRfyvxEKXA36D6hGt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8X2pqpO02CVTVYdglTG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wPUAOpGkmmO2q_iju.a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x24OeTLkCKU8sWnmoZL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DtoFw7VUechw7vzUgyF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p.aqIKEUy__VinSpW4lw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uxPI7a5UK2DEBDaKeRn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Uv9mw6R0uJg41Opv9X4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GTXEi9WEqWcQOGCwWhv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_7QFRf_TUOKCcbQdVDW0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q1HB8mPEu47Cq.iCres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_bXCMVM0Kw3juJcVlcp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QOqb3Ud0KTNTzkBA45n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ZupZZjYUOAV90lbCEeH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qCYkPkfUiLIHRkyM1_A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ayj1LHb06en474efAcbQ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SpXJnV2EWdPlxnfe3B.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608yTuZEm0QucJTWG5t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6eeonluk.RMvtGvxDYE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oFvoLagkmxQPiPbx_zS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QL0hKYTkqNx_jMlFqeb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tTJMWWIE.wKuGDgrgi1Q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Yz6qh_hEeVv9YtPL5Bb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N6ul3Xkk2g7Exg8wiD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tOraI4NUmFpE5ujt2rr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KhIsPxVk65bjM.6XmYT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o1CVnXTUWN_fwe6xKg1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RuJzUjSE.KzDjFisW.u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EVMPunIEGiwwUMsDK3X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5f.7tpfE.C6aX.b5wdj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D1yXNcpkqfmfggID6o8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8AAKy4kUKo0kOG7CrGi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72aiXiek2ewUqS1KH3g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SpMiQKREu6PxQo1mAg0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R7_w_gz0qBUkvxCGpC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AsXaRxEkeWRH6MtpBGv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9FN.eNQrkWr50Oa2KgWh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M_GAoHFEiuMatbIAnUb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mkw5JYYk.K5sU.eaVEL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Msg1cZ4E6YN3eX2lpbh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HLIo5gUU2Gr0gq8FG.fw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iEHr7YqESrTlqt5qYPY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ezFzQKDUmsOqwBddMZF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d8BJL2ZkiwHxnogF5Vx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4qKgAz0EKGGR6jFFMIr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urluk.10qtAEnO_bPqQ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zSUJoOQUeL46Xxj_zAK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Ud_.C2mEa15seFT4vhyA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GksotYVEiaVry58EnuOw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hmSHNSrEOFECb4eMgwK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.YAI4i70GYHQLKYs39r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KpfFAjWEqEFrjc9RatjQ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ooJqIMT0uDS_2ewYeAI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4YbOiu202CuF3Be2J7X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LmHPvX_0yyVrJC8pbPE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UqTO.OX0ScyrmUlVe0.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SsZlQ4tUOHt4yEX09h2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kLdMY9uEK55obY342fc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_WM.UtM20mFOaDGql0gI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hOj5.4bECdStF3BK27i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kFMSXtzkaye5DxJpPaKw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p1KPxOyE.SygueBcQvt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NGkZS3UUqLYXbKQ0x7n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RDc0B3KkOeH1yYCT9RU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XSiRPrVkafy3ejwpRah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S1GE3XQEmYSO9TvLUuu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qtXvUmb0.wfVMBw.h6R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g063s_GkCUGsie4ard8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bmdMI0q1k6JqI2b_SwCF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_w6pYrwESdMeRyigI2o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n6nrhzNkyHLYww3Hwmc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OwwJ6DL0ebjDQAeNFfTw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Nq14r8_qE.fNDLcRKK2u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FAf.mB3k2yvEL4Eu8O1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nOVxZY0uV9dD02pRYH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srQZOW9UCfkhYe2Gu09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89ScDs3UG4Nwu0yWgXx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Rn2Tq9GUmzFypjJM1RU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cyVvyMn0.IDC0eLq4UA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P_C3ishkmM2jBfuC.6J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m08_nKf0a5xKS4ObAyJ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KblRM2UGnqv_FzwSJJ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ym.AXhOk.IwZTVBQH7_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mVnaEWyUeghW7eLTY5q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BlNuQ_JUa.s2Uz1N8Xs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yRo1wMgkCAOATdI7aeT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AED9otJk2Yf9wQrpMG.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qZu1WwN0urzGtUiMo_d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.I.EpA20uvxkT3uQveX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IuzTvVdEi5_9k9jw7B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6X51pbQUWOgOx7iX9dWg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nOuhjW906f2fZDKLZ1w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QIPnHfXwk6yH6suLfUJm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8hiXTYot0maRWHSeQThK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je_8HTC0S7vgVWDT00dw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b3hGr3DUy0WG7TXZTo_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UsuZK5TkSddI7RHqBcN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88NXKCkmVx0vZgStm8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viytrYAUO2JUTKU3.ZH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HdZuGX0S0cBTycvIjQ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Why09vPkS0SoPYyVasM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GXbKICgUSMoZ68qrK2Ig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B1t4BdDkC9r2qq07Ypj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9H20xJgUaozdEO6sPu0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WXtwI7nEyb3Gn.zmEzRQ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NLsxGiKUi30mHxkyGOP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6nJAK9EqGS_Mm8l8T6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Pcl9HNtk.78cJjXo1SN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ZUxTbEaUO7nl1tPTCJl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OUAyEwk0iKXVI6OGSpE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n7twdldUuXTqVPqpd9KQ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ZVtCjp2E642XfWqoGQ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Z9uxqfGUWNxrWazh_T_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9ryuF6M0i78eYCtxwW7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Xfolk9E0eOTpsk_hZqM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IzKZH4RkK_eDpHeedfM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ulzg8S1k.AQ4y7ZROWP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92Z2PYOkuuycxv35HtW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Ks.Qa1lEuouKlJdMrDn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FtSLnNrEOUNTXmm_TZK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bVqrgN1U.qFoLUXEtTV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fkvZm_MkuzLQDuZYdyN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ZXz.9W80KW6s9rZIH3I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1V9dzP6km.aiTY3aRnp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FwQ3egoU6.7.rDK7eqH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fuvhpIyUmPj3IdUQxnPw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bJcGWm7E6agcUdjTjgFA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q02FF0o0egtF5wnWoQm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wdPg5peECP61XWBWhEC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ca7y2GckWGCm9QU4_HT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ERDl9FjEi9nbELb43k_Q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7CR5JEVUmRaNRYHZ.zf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vScY.TF0GgyDWh8CylxA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zFQmccT0GJ59.hRTa2PQ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_a45J1wkeUIGKW8NgsZ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AbI7AxE0.5LE6VZxW3v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bH0sU01UmMmg2T6f60W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Fh7mubOUG.61fxuqxqQ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3y53Di_UWmui0NTku3EA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C.l42DfkC.Fpob309We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awUm8ef0KvFIk1Zyfog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pDn.TpI0.UrPuHu_ztB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Y9DsrzFEexB4AOtOySEQ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Rrnhnum0qJPnMRFse_z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3yBLpLmU.SeDyPC9i_Bg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R2bl6TXU23J6ODcvq2H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pj3fFuDEGbmhdEHjBw_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fXk11P902rEcqb8zsiy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4l30CnAkCwkmaY4QLFm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xqFKHA6EmkIwCEGp0lu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nhWr5eOE6eQj6d.TLvM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wYbW19okKEPsvRsJ9FV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fQLxAnX0CdLUq5tRKam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BGW2edOEeoijPV4ixpx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EM2BhGaUuMu3CzIaomw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EnW9sNxEKO85FjwM68Z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R8NZTddkiL.TvFlgiTG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5.QSmgREyX6tufWUzhA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iqcRk_Vkayq1qAAih7s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ea6xkM9Um3MrNFgj2c5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T.n_xhpk6n_buOOkWc.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MUKCjMskKyRgOffzWIfw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trsh8e0W_UaQyT6OUD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LzZeKQkUiZL6TcIUMIH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DOYsbV9kCFRWsn6sd.S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ePAbNVckaXsDOaYZ2JCg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MLlcnDvUe.LAyD7OBWR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LEbNQfmEeIw_mqRVLim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JWkThRJk.LltpV3iK1P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85bUq95EyQmAQJPRPdfA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y2x6URJ0C6QlPW3oe9B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qRKFSr70C4W2tqB_a5_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MngFUiokq9Q973nxq1z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Nc.4LdlEmFNmHt3jg2o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iwsUKsfkOEr7P26iQOW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HEpdAjIEmLYxZuhCdAR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tZkTbuIE.xgU_Ov8Hy.g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lMWDe690iwfLqxhHlpx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Y64tJFukmjohJvQQk7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t0Pwp0uEmUMppRsNrea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MPVOt_N0SfhRm6Bq7sA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y25SMYCE6C.p3hsVKmOw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OKAbX710Kjb1DAFfuLF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CDESC7CE2adCK_qib7F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rpztA5HU2rhZIXasrSP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tjM0sDUU6Mr4CNCmYCV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YojtF9aky6gAq8eFyQd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Xq5t1_50iMDwG7l3wTlw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fVYjhHVEm56oPuktG6C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gMlotkrEO1LjWNpctY.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Nt6H6F6kS6IzuBP0rYxw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4EPD9tbE6Qm_boOf6l3g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CbuFvRjEGQEpI3eCG4c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vl2uDLA0yYFnokCZDpZ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efSt1OQUGW.Ka7GF6aj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77Ps48dkukJPQCefLTf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sx.uC0k6ElK2t6_mjt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jT2Ek9wUeq_cQyTecRnQ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620sGmlMUCoI32atS4lK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RKp3D3yEeJ87QPB15Bb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Kw8qbCyEiPx2nTCiXsY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NeyDlPzU2.DqVZB_HYh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syMZ5ZJECYHgLFqm5bU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YpxY.akaGKB4fO0qwp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JSF9nJumEqFVozwgTcX3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2Gby1rOEG4oTwI0sOnQ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ZtfRzGNUuW9sDUG8yKI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yYrh6460Ws.2l8JqVA.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4LoHXuTE.iyNyizm1Xj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mYps0XckGoOs30vJq.C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G1iZTJiU27xKLcPlaT5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d3isMdgE.v36WgJagkx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XEU6gUok2_oGWaiXc0lw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ty6T3qWEOl0GLwHw9bo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Iekg8kcEq.IcyltwXJY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wtn65BrU.jZvVEq2jtew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PYaPk7mUe49EDUFLhm5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m.vwmDnku_4sTas9mif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1IJbfK0kGrBfbniHs6y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EVvOLUuUyxqDRdyl5tv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3x5D8H0.V7Jcp8VTTcw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x4iYw32EqvEtllAOK94A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uofScUkU.9JqgqoMqQ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yGLOIlm0OehmaMg4ZMX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HqDz5M5UGe7dfvt7pdR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dvxDHKCkifvjZf8KwAh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QCsfo2dUSfxTHnr4wb8w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KhU0nLDEO2tI.jEteXrQ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YPlmICpkmmRT2qifMyV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KItgJvIUSwp3tZiIXA8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TM2RWq3EKrSB6MiU9TC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G_Cpn6bkqkkk2aN1V3nQ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u1zKU9D0at9jgwioQaM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g6bX6ECC2j9OhU3lc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p01cz7.EmHxlyEuepk4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G8HsXUK0yyM.tqazP6g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3wc_BmEmkAMVINPSuh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8NTOg9iUyBvvQFConxU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onTJ7glkaKyKjjJDTrBQ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fgtMfCvEWA5HJWearos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IqhdITNUiyaJuZljTbZ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5lHOGYekiprsuRYqGim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qtU0xk2keBkqE6A3Kz.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IqX0Fr4kysVKW.9Lr6qA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XoAOn9kebXuyovqnqx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Ef2q5AgkG1MKSv2cyla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0vm89ekuf1XwLbF._1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6rQ_2qRkKw6VZ0NbvFw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INg1vlr0GzkQTW3KUaP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6y0RWDukiYDRlmEDCJlg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O4A7qP7EqZhyY8JtBVb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epTHCmtUOR.LIw6XPAWQ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YFevwqAkmsVNojQxBnO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U0Gf6ouES.GgTZexmSx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eDTfwHpE.DEog8M0SyS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DFE2EuKkiX_Hk1G7b5gw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u9_DI7C0a_bN39VdlUs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KqqTlwakSMHdNhF46qO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_JVscEh0erndJrBN3gY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ymkyprjkmzknxv7WN7_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ms7PbsG0mc3SfBCK38E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l8K.EO1k.3HrrEj8PH6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Glw1tMEEOO9oex8e32.w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bklbXLrkuXwp8I_1AeP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2nfH9AJnkm7A7MX17FKLQ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2eUPMHUEmx_Qgd8_a7t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WQ.SsYgUCx5nYgVvkdi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Gx3LriIU66uecHuTXbS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8iRREQk6UWOeLf1Od36L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iHruZBw0S_wUbLS_4Vd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kA.Thx.0Sbtuar8wWtT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ab4piqkEaGStad9VS8P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oLQ4vSrUyG1U97QXF7v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BjNREx4ESMEXHqJycg_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dol.7KOkiA0VCARLLUR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C28w6.pUq.UkdbTFJkA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72CGnkwEaTpBL8S70cU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WyAcg1.0OGRJtTOp1wIg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Iepe6go06TNuDvbXfnz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nu1AihA0OZUPJyHhScmQ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sAxRrc6EWD3Lb5Yzgqkw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sf8z0mREaTL1CWpiwM0Q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zJPr3zF0y36YWySgLRew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EmmBZji0yQly4uGCFtag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sDONluWEuC2SVcnDvIE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gUeQhp7EGQPFCrcGOpmA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7LZOe.oEG3Y5tdR4IR7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id1PwKgUiYuMhkglA4S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85IFZYR9UaYo1vZgHcqw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xA_vSmTEuutyvGr1hL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Ge7V0F0OUcK3buZTzKw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XykajMz0eomwajEEpbK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DRfWF.NEGDJYk1DLwT3g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mqhycfDE.GwI9kz0749g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yJQ5Q0w0CSHRnVSy2.P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k4ZWOIikWOV6dEcBvYG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zEbpHxfUmpx0HHwqbGIg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7K96n8UEGXVfLOe.gQJ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DkR.9PkUaBpoPhg0CXMQ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UB49wRyUeS31A.0l16j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ENf6j2.ESd7XGx1zmOr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jjqv6hxkSzK4msOL0qvg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EDZvJTMU6z50KQQLGoL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YgzNZyhkqQ9rBjje0v8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u.QehGp0egienCRclCKw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lGv4ExyUWvkhyB0DUP8w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QiPFgnHEmRAwJrZ7p2bg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iQOKi0CU62EVOo66Fhig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98xk6btkmNXNKsl.3eW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3dOsB5JEGaPOcVBRgdGA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ya16IjU0yIDFuAkKS3ew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hdkDBsDEWGe.0puAjQE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GVnVei10K2HzGNELWEGQ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V3zDJ8P0KY3FAisYAIj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VuL9qVv0OMIsU_Z5as3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QDgdrdakirDhhnR8tGK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YBlMxHA0agQMG8Smq2mg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E8fmBLAkKlriAj.MWY7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fyfG_V_kes.v4JXE.t6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A6YY_CKkOSGm9tfkYGf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BX0Fm8D0yJT66Svd5F_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_ZiM7ISEulWkpk39vtrw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_stkZYz0OsJv8Wb0DN3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lPWQFHKEWQ3govl5bxqQ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O3pq0BiEGRlfkNw5s.m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Jo2whm5UCsKlVlsXHqU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.q94BXLEuMif0tY2Va6A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NC337wmEKjibiv_Mp_0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.UGhXI2km4MZH_1Mdsgw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qwPXD03EiUb0v4DI0Jl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_lu15z.Uuyq1uPIWv9vA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WqAVaIfkWWUKV3S2Rhog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6vzxAI_0KrMOXc3dHN4Q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.Ov9Mrv0aMAHZ6UeN7p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wirjkRpEiYhElIspL9L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MDMD_asE28qqj5U9.bQw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BY.hrhkEWnzLVvdy2ohA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xfhbLPeUqZcELM_WMUig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i.nK7kKkOigB_RTASUu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I5fTJmlEeZbrCPfzuVi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rDBGdyvEmRq9eZW1BBWA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P7c6z_fUuHbHH9AXdZE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4dYvg7VU.cpFX4Q3SuH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b6zcKLhUeQwVHNwad73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fJMDsyqEuSrCa5A_Moeg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hkpYTKgEKBp44usKTSC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7shibFFDkKh2KqVbJQ.6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GbLxeXO0mMMLAkehqmJ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AuwWuZTEiLwYh3ZXfG7g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DP414rokGkyx4FRJntvg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8dtFptHUGF6nqzf8e4F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LghYVFJUyvXx0yRAKgmQ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_a7l3SkqmDc605LhXF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yKOC97kkCWEk5BVFEHD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6C.VoHYUKrVauXiRfbP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aiw0T3B0eTOWuHX1477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rqMM.2J0iDBEl6aPub7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_0s4h4Sg06GVz0rWIk8tg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6mDiExdykK3DCIDu6w1r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btnQW37E.7AmzpeFQKa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x82S5Dg0agR6OJ1idGU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inThItKUidJ8Ex1xMaxA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ckNt3p.0660X3VC0zlP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Bsrt2BtEK7NyNaendFO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YLTaDlm0aozHgJZ7pv6A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RvJDfSNES3nkUug2jQsQ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4xzTh0xkCmV0WUfOeULg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LBkaCcNkamX9tcOZsx3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8uM4HMbEGVOfhVWclB5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sg7T4vaEe6Rbe2raxs.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QzyHTxNU6v7GRo4rJpKw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esPvkRmU2sm.dVOowus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BdvcCTeUmffDYj_kYMb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y5LSq8kEq8J.FV.tMTJg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QTY._AI0CVE0XjjxTb8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dEgEZtK0m0pX5aC.G23Q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9sCRcw7U6uhZ6y6551h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oMRD62bU.ecNw3HKvIfw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jN7PdLU.5IZuTDMp1T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fu6akwr0W.9DzkOwwx7w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uKgV2f602_tlaeTv8Xt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l4K3BzbEKJuyBsk4LmN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3nArRG3U.QYnaVmtahtg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yR3_d9i0C8MK28aw64o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UEiNQnvUaoDGRHYyL2M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Vg7N7zDUCsEmTCoLSp4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vKRFq6REuW7H496bGKA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IPw.Vl7EqGJBEUCFBZ.w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it2AcjaEGQxorlhKHEN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yPJ8vxC0GH7WTnHyQEb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FBk.mGxU.js7atv5_l4A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HBEbj5zUSmRushVF10VQ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vPDooUr061QE4aQTpVm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Pxqw58Q0uniuZ3gZfvp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1tYU0AGESS25PDHlY4C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JfHrsCf0yx6Lhhs2qYM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WUr5MpEGrbC87DWb5S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XULbWFCECm08ID26k_bw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HH5aT74ki2AWi8KgQwz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K3.sRmJkymTFblh12a5w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ztQZI5.kua.jZfZnPW.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3PhckKPJkKB1JEH37GPi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LqPahGYUCbGpy3RaKV9g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kaOhfg.E6lF85U77BpCg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JzOUG6QE2ahfcW5cEJ7A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Xlc4qjH0W8Z4FN9Qywm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VZq8c_EGF2rAsqWadxQ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VT4z4vb0GPa7AMGVthA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sZisu4d0a1RGeH.tJZZ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PnJZ11CUWRRX8DOt29P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Qn2GgfkCbkw1Omb8M0A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CdvjMXg0iRx_77KK34l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6p2WKFv0O8gG6R4tVYTg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mThrVo20m36puIBCo5pA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u2DZVDV0ytid861d59l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aOf_7PK06Q2imHLfOmo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9k9FT4TkGeqJcRnQkVk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LDl7oDb0GiNek8JJwCpw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g_cEvSM0WHODnFgKrovQ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ueTOkTG0uJL3S4Fc1Jmg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xya3wEtEuGWe1BV6Udsw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76f7IKAUOP_H1SzSiN7w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449JCusE.PvTmO2XKd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X2Ue1qWE651Zf5lPd6vA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UHi9cB606QZggSYY42kg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XucbKGUGqTnQJF_1EFg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G7lpHLpUmrhULU2MGi5Q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qWzWzwqESB2axdlvJoxw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_Pb7WKNkmaENnySGEiIQ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3qgtyID0umf2_PeDgKw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Px29lQ.0uucxyO2I9hy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IoP0_RFkuzg4lzjfB6K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yFo2wtqkCReothoMVTiQ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jRH1zuxUiK8jSzsmacp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ruA8Ar802.zL3QPJulNw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XWPVBgmE2dzffcEm4Qvw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x1xwv0zEm13KbcaQEOf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8ExE_.b0OuSl5qdxD9yQ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VQvGHymU2UF_AIIwkK3A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gHO79dGDk60r9wXpGUaO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v74v099UyZ5I8x7SzSXA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Ah14A0UCzAL5oYjLebQ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ryc6cjX0SbHlJMvzIiiw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t1R03GYEuR6cMyVLpYH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AZCucJOk.wUtV.S_Ms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gxQfgWkCE2pmfAebVy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6zJZUU3kOAMkI8IiyIUw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7UY86MCk6BoRovOFu5VA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21V5p1C0GOkR9WZPsDYA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8tOW_l2k0ClT875et.nEA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gypTkazkSbG481Il.3B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eR8N0GTUWoJAGaVpNLO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FK3jv6SkuCRFV2DOADTg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98U5JRfEmZS1i3l3L1Y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pO_Ebj1wUmZHFm_ne5e7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kI5ETyQEimGcfXly9Ta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GVpj0RXk.KPbOt_l32U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mzb8sIiUWGt_YoNHxjog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8f9dKWJESXaoZzWpn1Jw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.0UJWEKEmQLox06D2fU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qgEnkle0Kbvteu2pGSxA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AEIH1gPUK2P8FDen_wtA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cbLJawzUaD85QF5pgFHg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PBbrHEU0q3_68EnFxn5w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xIpwJ.zEGuXWc5lTglj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XgWHLvbEOTgO7jVAiDA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Dr6wEGv0Sslw4KesSD8A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H1jmESLE6DO1W9M8wN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J4dmQtSEeXOQbOc4t5y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CflykXOUWh99npEOemC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TYfKy.NkeTfxbg_aSZ4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IeJ86Kakqk5SWJL7ppOQ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8wpax4m0iYlFF9dIJ6m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cwJHEvqEeGlo92ZODSXA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L3gel61U6rpmsCGIanYg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DxrJgvzUav568aPt1jBw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x1MjIuaEGMHw5UUyYFRA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7OqzeIdEC1NasGnMpj7w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5UwwQ5F0aX1wbLTve2T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egr.P2EUaanOGzNnoS7w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d3ee38GUSS2bgRkxvO4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liyca7G0.71hI38yS7Xg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JyGUPr06Ymxy6u2Ah3A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AYfZLS002_uT_4Zwotng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PS0K_uFE.2F8LCof7CW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Zm9rjgsUSLCJYhVfhdVg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yDqtR3RUK2ity21py7s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Up8ZcCmkGdjryLyczaW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S2rvl5UWOa_f.gYIby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d10MIbN06L1DG4K81S3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_xWw5Uo0uuIP6ww3g6k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BovEd0Fk.cHdpElhNL2A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9.M3tH60KSpcJal3lSfg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RxT3AB8UCLsmuHcobCww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4utYMSUv0GQvmDJqrFh1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OOSR6sh0yViX7xTNLLDg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pHfdr1nUiS7qWD3PYqH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1gzQWiuJUaQWplYyiGpeA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n2.0w8506rgKxiDdBNqw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mvaLgiH0WDylKSttOpJA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QnPH7ykmAGOLRq7_40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7LrgW7cUOwCQoWEBhLFg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UJftRhA0Kt4M6zwdwiMw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0fc50xSUWszAbWpZt1Ng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9a0764o0qfGVn2FaSgJQ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aS1tMj3Ei0Abzq7yWbW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gkzgmlZUOi8ZgK6eB.6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PI8YnpUEWsUS47ur5ZXA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clpvApuESpfS5NDvs5Y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H5EW.1Uafq8R6oqpJ7w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yj4ya7Tk6YD30Y_ayWs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kPK.6HI0.VubMRyGfTu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TrIHLvYk2SrPG2K2j_xw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uFo0IW.UOyLTr99dCrtw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M..HH8hUqSSCxqEwR01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rF5nOmYUaQFq9F7zy52Q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aVSt8HESW2VGTYRfu_A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HzUpBN7E2y7IAPAu0no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ZjYWCEiU2SsDahjiFWNw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AvSUsHNk2hLz.DL4rtp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u4r1Y63U.Ptih_ZoqnBQ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Zh_Vw1PUGUTAmHt0QnK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Y.vMcbC0y8k3IPlWs87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HfTlGDOkCHWOXFj0irj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4FdnpnFPUWpMj7l4oLzc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wgWVmQbUaR1qc6e7XxHA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PF3254RUmpeIuSxtfE7w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B6ZwewH0qliPZzdIeKRQ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7ubLmc0kGPjvpH9m2jEg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P.HoyqaUC7smlvnVV7T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GZFdt31kqOT06ZwIqz5w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n348ima0.AQwr49.GqUQ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qCYkPkfUiLIHRkyM1_Aw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6eI0KdZ0mv9WytwisTw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1ziTf4502ZeQ3MBSB78g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5C6rfeckUOsZ.nY5_ryw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RiZdBBUqCz1fwRiJB1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YtIkG1k0mTgWvgTJpu0g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MAwAP7v0iEYNI3TAVtUg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WPmRADiUai9P_NxUwLGg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Ag_gVNo0mhy09JKWzBwQ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jInuiQeUqVXprGKk2F9A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.0itixfUmRTnlzfSc6GQ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y2kGJbEUaRsT2BrV68R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41KyKaA0K5ZcL0lu3PKw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dxSR.gaUO84v69Od1o1w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w7UnIY70akAKzoFTS5Ig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5q1VHtaU.atORCYYnigw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e74rSDcEKJcL1VWsZAU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99zQ6X3kKThCRuWADEXw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EFHbrzLkiUAcHFATBrBQ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4TCxGEq0OpP5b9dTbpYA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fFXiU7CkCcsYdkgnYiNQ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_zkxYqKFk2oR2NqOXwRx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A3wDYJi0K_2keTwVPxpw"/>
</p:tagLst>
</file>

<file path=ppt/theme/theme1.xml><?xml version="1.0" encoding="utf-8"?>
<a:theme xmlns:a="http://schemas.openxmlformats.org/drawingml/2006/main" name="Modèle SH v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8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Modèle SH v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dèle SPE 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Modèle SH v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Modèle SH v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1">
              <a:lumMod val="85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04</TotalTime>
  <Words>1217</Words>
  <Application>Microsoft Office PowerPoint</Application>
  <PresentationFormat>On-screen Show (4:3)</PresentationFormat>
  <Paragraphs>425</Paragraphs>
  <Slides>25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25</vt:i4>
      </vt:variant>
    </vt:vector>
  </HeadingPairs>
  <TitlesOfParts>
    <vt:vector size="30" baseType="lpstr">
      <vt:lpstr>Modèle SH v0</vt:lpstr>
      <vt:lpstr>1_Modèle SH v0</vt:lpstr>
      <vt:lpstr>Modèle SPE 2</vt:lpstr>
      <vt:lpstr>2_Modèle SH v0</vt:lpstr>
      <vt:lpstr>3_Modèle SH v0</vt:lpstr>
      <vt:lpstr>COOPERATION WITH CHINA &amp; ARAB COUNTRIES IN OIL &amp; GAS INDUSTRY</vt:lpstr>
      <vt:lpstr>PowerPoint Presentation</vt:lpstr>
      <vt:lpstr>Algeria Overview</vt:lpstr>
      <vt:lpstr>PowerPoint Presentation</vt:lpstr>
      <vt:lpstr>SONATRACH, An integrated Oil &amp; Gas company over the whole value chain</vt:lpstr>
      <vt:lpstr>SONATRACH, with International Presence </vt:lpstr>
      <vt:lpstr>PowerPoint Presentation</vt:lpstr>
      <vt:lpstr>SONATRACH, a Historical Hydrocarbons Producer </vt:lpstr>
      <vt:lpstr>SONATRACH, Rich Successful Partnership in E&amp;P</vt:lpstr>
      <vt:lpstr>PowerPoint Presentation</vt:lpstr>
      <vt:lpstr>PowerPoint Presentation</vt:lpstr>
      <vt:lpstr>PowerPoint Presentation</vt:lpstr>
      <vt:lpstr>SONATRACH, Gas &amp; LPG Player in the world</vt:lpstr>
      <vt:lpstr>SONATRACH, Major rôle in the Algerian Energy market &amp; Econom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ONATRACH, Hydrocarbons Exports to China... faraway so clos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6EME CONFERENCE SINO ARABE SUR LA COOPERATION DANS LE DOMAINE DE L'ENERGIE SONATRACH  Partnership Opportunities in the oil and gas sector</dc:title>
  <dc:creator>MEDJERAB MAKHLOUF</dc:creator>
  <cp:lastModifiedBy>Marriott</cp:lastModifiedBy>
  <cp:revision>338</cp:revision>
  <dcterms:created xsi:type="dcterms:W3CDTF">2018-10-15T12:51:24Z</dcterms:created>
  <dcterms:modified xsi:type="dcterms:W3CDTF">2018-11-06T08:51:03Z</dcterms:modified>
</cp:coreProperties>
</file>